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8" r:id="rId3"/>
    <p:sldMasterId id="2147483711" r:id="rId4"/>
    <p:sldMasterId id="2147483740" r:id="rId5"/>
    <p:sldMasterId id="2147483767" r:id="rId6"/>
    <p:sldMasterId id="2147483787" r:id="rId7"/>
    <p:sldMasterId id="2147483813" r:id="rId8"/>
    <p:sldMasterId id="2147483838" r:id="rId9"/>
  </p:sldMasterIdLst>
  <p:notesMasterIdLst>
    <p:notesMasterId r:id="rId28"/>
  </p:notesMasterIdLst>
  <p:sldIdLst>
    <p:sldId id="4463" r:id="rId10"/>
    <p:sldId id="2208" r:id="rId11"/>
    <p:sldId id="587" r:id="rId12"/>
    <p:sldId id="1875" r:id="rId13"/>
    <p:sldId id="1876" r:id="rId14"/>
    <p:sldId id="1879" r:id="rId15"/>
    <p:sldId id="1873" r:id="rId16"/>
    <p:sldId id="1874" r:id="rId17"/>
    <p:sldId id="1882" r:id="rId18"/>
    <p:sldId id="1883" r:id="rId19"/>
    <p:sldId id="4464" r:id="rId20"/>
    <p:sldId id="1886" r:id="rId21"/>
    <p:sldId id="1901" r:id="rId22"/>
    <p:sldId id="1887" r:id="rId23"/>
    <p:sldId id="1888" r:id="rId24"/>
    <p:sldId id="1897" r:id="rId25"/>
    <p:sldId id="1891" r:id="rId26"/>
    <p:sldId id="1598"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BC8079-896B-464A-B33F-2AC441536800}">
          <p14:sldIdLst>
            <p14:sldId id="4463"/>
            <p14:sldId id="2208"/>
          </p14:sldIdLst>
        </p14:section>
        <p14:section name="Terraform Relationship" id="{C4B542CC-AFEC-4E3E-B83B-1247452B3F1A}">
          <p14:sldIdLst>
            <p14:sldId id="587"/>
            <p14:sldId id="1875"/>
            <p14:sldId id="1876"/>
            <p14:sldId id="1879"/>
            <p14:sldId id="1873"/>
            <p14:sldId id="1874"/>
            <p14:sldId id="1882"/>
            <p14:sldId id="1883"/>
          </p14:sldIdLst>
        </p14:section>
        <p14:section name="Terraform Fundamentals" id="{06D08DCA-64B6-4D4B-AC95-B9B6CB45083E}">
          <p14:sldIdLst>
            <p14:sldId id="4464"/>
            <p14:sldId id="1886"/>
            <p14:sldId id="1901"/>
            <p14:sldId id="1887"/>
            <p14:sldId id="1888"/>
            <p14:sldId id="1897"/>
            <p14:sldId id="1891"/>
          </p14:sldIdLst>
        </p14:section>
        <p14:section name="Wrap Up" id="{B3ED8014-E24E-4BD6-B437-6042E540C2EC}">
          <p14:sldIdLst>
            <p14:sldId id="159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29" autoAdjust="0"/>
    <p:restoredTop sz="94660"/>
  </p:normalViewPr>
  <p:slideViewPr>
    <p:cSldViewPr snapToGrid="0">
      <p:cViewPr varScale="1">
        <p:scale>
          <a:sx n="106" d="100"/>
          <a:sy n="106" d="100"/>
        </p:scale>
        <p:origin x="78" y="7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12CA69-55BD-3A4F-BF0B-826CF4CF3990}" type="doc">
      <dgm:prSet loTypeId="urn:microsoft.com/office/officeart/2005/8/layout/cycle5" loCatId="relationship" qsTypeId="urn:microsoft.com/office/officeart/2005/8/quickstyle/simple1" qsCatId="simple" csTypeId="urn:microsoft.com/office/officeart/2005/8/colors/accent1_2" csCatId="accent1"/>
      <dgm:spPr/>
      <dgm:t>
        <a:bodyPr/>
        <a:lstStyle/>
        <a:p>
          <a:endParaRPr lang="en-US"/>
        </a:p>
      </dgm:t>
    </dgm:pt>
    <dgm:pt modelId="{32425089-B721-9948-A28C-478ED14A0FD9}">
      <dgm:prSet/>
      <dgm:spPr/>
      <dgm:t>
        <a:bodyPr/>
        <a:lstStyle/>
        <a:p>
          <a:r>
            <a:rPr lang="en-US" baseline="0"/>
            <a:t>Init</a:t>
          </a:r>
          <a:endParaRPr lang="en-US"/>
        </a:p>
      </dgm:t>
    </dgm:pt>
    <dgm:pt modelId="{431B3F90-0D9D-6241-9221-F6EDBD874ADB}" type="parTrans" cxnId="{48F2F83D-E6D2-2749-A9B4-E956AF56C6C4}">
      <dgm:prSet/>
      <dgm:spPr/>
      <dgm:t>
        <a:bodyPr/>
        <a:lstStyle/>
        <a:p>
          <a:endParaRPr lang="en-US"/>
        </a:p>
      </dgm:t>
    </dgm:pt>
    <dgm:pt modelId="{DB9DEB8F-35A5-C749-AA3B-A13ABBBC1B0B}" type="sibTrans" cxnId="{48F2F83D-E6D2-2749-A9B4-E956AF56C6C4}">
      <dgm:prSet/>
      <dgm:spPr/>
      <dgm:t>
        <a:bodyPr/>
        <a:lstStyle/>
        <a:p>
          <a:endParaRPr lang="en-US"/>
        </a:p>
      </dgm:t>
    </dgm:pt>
    <dgm:pt modelId="{066EE0CE-8F12-AA47-8660-A99832FDAF7B}">
      <dgm:prSet/>
      <dgm:spPr/>
      <dgm:t>
        <a:bodyPr/>
        <a:lstStyle/>
        <a:p>
          <a:r>
            <a:rPr lang="en-US" baseline="0"/>
            <a:t>Plan</a:t>
          </a:r>
          <a:endParaRPr lang="en-US"/>
        </a:p>
      </dgm:t>
    </dgm:pt>
    <dgm:pt modelId="{CC04EB4F-5871-7E46-B5E8-9A102FA3FEA7}" type="parTrans" cxnId="{1DA2C5C4-D2DF-C845-AFC4-6352316A6618}">
      <dgm:prSet/>
      <dgm:spPr/>
      <dgm:t>
        <a:bodyPr/>
        <a:lstStyle/>
        <a:p>
          <a:endParaRPr lang="en-US"/>
        </a:p>
      </dgm:t>
    </dgm:pt>
    <dgm:pt modelId="{61AF2CA8-55A5-F647-BA9F-64E7785EA73B}" type="sibTrans" cxnId="{1DA2C5C4-D2DF-C845-AFC4-6352316A6618}">
      <dgm:prSet/>
      <dgm:spPr/>
      <dgm:t>
        <a:bodyPr/>
        <a:lstStyle/>
        <a:p>
          <a:endParaRPr lang="en-US"/>
        </a:p>
      </dgm:t>
    </dgm:pt>
    <dgm:pt modelId="{07F863A7-BA94-6544-8859-A37F28FB3928}">
      <dgm:prSet/>
      <dgm:spPr/>
      <dgm:t>
        <a:bodyPr/>
        <a:lstStyle/>
        <a:p>
          <a:r>
            <a:rPr lang="en-US" baseline="0"/>
            <a:t>Apply</a:t>
          </a:r>
          <a:endParaRPr lang="en-US"/>
        </a:p>
      </dgm:t>
    </dgm:pt>
    <dgm:pt modelId="{4EB0A6C4-C99E-7742-A866-089BC7065546}" type="parTrans" cxnId="{24B0F9FC-8E06-E943-AB0D-CC1F157D7784}">
      <dgm:prSet/>
      <dgm:spPr/>
      <dgm:t>
        <a:bodyPr/>
        <a:lstStyle/>
        <a:p>
          <a:endParaRPr lang="en-US"/>
        </a:p>
      </dgm:t>
    </dgm:pt>
    <dgm:pt modelId="{A3FB5390-806E-9240-9CB9-008EB3AD45E2}" type="sibTrans" cxnId="{24B0F9FC-8E06-E943-AB0D-CC1F157D7784}">
      <dgm:prSet/>
      <dgm:spPr/>
      <dgm:t>
        <a:bodyPr/>
        <a:lstStyle/>
        <a:p>
          <a:endParaRPr lang="en-US"/>
        </a:p>
      </dgm:t>
    </dgm:pt>
    <dgm:pt modelId="{7B60CE42-2F25-9342-BC66-7C00303C64B6}">
      <dgm:prSet/>
      <dgm:spPr/>
      <dgm:t>
        <a:bodyPr/>
        <a:lstStyle/>
        <a:p>
          <a:r>
            <a:rPr lang="en-US" baseline="0"/>
            <a:t>Destroy</a:t>
          </a:r>
          <a:endParaRPr lang="en-US"/>
        </a:p>
      </dgm:t>
    </dgm:pt>
    <dgm:pt modelId="{A83BCCC0-A4CC-534E-A420-7ADEC39E4F57}" type="parTrans" cxnId="{229AE3EF-0FBC-224A-84D7-EAF262BCA78E}">
      <dgm:prSet/>
      <dgm:spPr/>
      <dgm:t>
        <a:bodyPr/>
        <a:lstStyle/>
        <a:p>
          <a:endParaRPr lang="en-US"/>
        </a:p>
      </dgm:t>
    </dgm:pt>
    <dgm:pt modelId="{9F823263-7EC1-4C4D-9F5E-8FD31AAAE702}" type="sibTrans" cxnId="{229AE3EF-0FBC-224A-84D7-EAF262BCA78E}">
      <dgm:prSet/>
      <dgm:spPr/>
      <dgm:t>
        <a:bodyPr/>
        <a:lstStyle/>
        <a:p>
          <a:endParaRPr lang="en-US"/>
        </a:p>
      </dgm:t>
    </dgm:pt>
    <dgm:pt modelId="{FACD3167-2585-B746-A513-8C7CA2B945F4}" type="pres">
      <dgm:prSet presAssocID="{EA12CA69-55BD-3A4F-BF0B-826CF4CF3990}" presName="cycle" presStyleCnt="0">
        <dgm:presLayoutVars>
          <dgm:dir/>
          <dgm:resizeHandles val="exact"/>
        </dgm:presLayoutVars>
      </dgm:prSet>
      <dgm:spPr/>
    </dgm:pt>
    <dgm:pt modelId="{0CCB90E8-FC25-6C49-B12E-5C37AAC757E0}" type="pres">
      <dgm:prSet presAssocID="{32425089-B721-9948-A28C-478ED14A0FD9}" presName="node" presStyleLbl="node1" presStyleIdx="0" presStyleCnt="4">
        <dgm:presLayoutVars>
          <dgm:bulletEnabled val="1"/>
        </dgm:presLayoutVars>
      </dgm:prSet>
      <dgm:spPr/>
    </dgm:pt>
    <dgm:pt modelId="{9FF17663-74C4-9B45-B8EA-9F8F1C1D3E01}" type="pres">
      <dgm:prSet presAssocID="{32425089-B721-9948-A28C-478ED14A0FD9}" presName="spNode" presStyleCnt="0"/>
      <dgm:spPr/>
    </dgm:pt>
    <dgm:pt modelId="{2CB7FFE5-305F-C843-B929-36D165941CA4}" type="pres">
      <dgm:prSet presAssocID="{DB9DEB8F-35A5-C749-AA3B-A13ABBBC1B0B}" presName="sibTrans" presStyleLbl="sibTrans1D1" presStyleIdx="0" presStyleCnt="4"/>
      <dgm:spPr/>
    </dgm:pt>
    <dgm:pt modelId="{F20C4F48-3F6E-1346-8EFD-CC4A951B45F2}" type="pres">
      <dgm:prSet presAssocID="{066EE0CE-8F12-AA47-8660-A99832FDAF7B}" presName="node" presStyleLbl="node1" presStyleIdx="1" presStyleCnt="4">
        <dgm:presLayoutVars>
          <dgm:bulletEnabled val="1"/>
        </dgm:presLayoutVars>
      </dgm:prSet>
      <dgm:spPr/>
    </dgm:pt>
    <dgm:pt modelId="{E024EA4D-5126-E84A-A06B-5DD0F76AB844}" type="pres">
      <dgm:prSet presAssocID="{066EE0CE-8F12-AA47-8660-A99832FDAF7B}" presName="spNode" presStyleCnt="0"/>
      <dgm:spPr/>
    </dgm:pt>
    <dgm:pt modelId="{D62BB88E-2D05-414D-A8DC-6D1EC6756A2B}" type="pres">
      <dgm:prSet presAssocID="{61AF2CA8-55A5-F647-BA9F-64E7785EA73B}" presName="sibTrans" presStyleLbl="sibTrans1D1" presStyleIdx="1" presStyleCnt="4"/>
      <dgm:spPr/>
    </dgm:pt>
    <dgm:pt modelId="{82A59F08-517E-B544-A5D4-092479758166}" type="pres">
      <dgm:prSet presAssocID="{07F863A7-BA94-6544-8859-A37F28FB3928}" presName="node" presStyleLbl="node1" presStyleIdx="2" presStyleCnt="4">
        <dgm:presLayoutVars>
          <dgm:bulletEnabled val="1"/>
        </dgm:presLayoutVars>
      </dgm:prSet>
      <dgm:spPr/>
    </dgm:pt>
    <dgm:pt modelId="{A7BE64AF-C065-6F47-8D18-336FF37ED015}" type="pres">
      <dgm:prSet presAssocID="{07F863A7-BA94-6544-8859-A37F28FB3928}" presName="spNode" presStyleCnt="0"/>
      <dgm:spPr/>
    </dgm:pt>
    <dgm:pt modelId="{7B385A37-799C-8145-BD2B-869F7C05A5A7}" type="pres">
      <dgm:prSet presAssocID="{A3FB5390-806E-9240-9CB9-008EB3AD45E2}" presName="sibTrans" presStyleLbl="sibTrans1D1" presStyleIdx="2" presStyleCnt="4"/>
      <dgm:spPr/>
    </dgm:pt>
    <dgm:pt modelId="{D6BEA90E-C675-3F4B-95BD-1FD886D2FE4D}" type="pres">
      <dgm:prSet presAssocID="{7B60CE42-2F25-9342-BC66-7C00303C64B6}" presName="node" presStyleLbl="node1" presStyleIdx="3" presStyleCnt="4">
        <dgm:presLayoutVars>
          <dgm:bulletEnabled val="1"/>
        </dgm:presLayoutVars>
      </dgm:prSet>
      <dgm:spPr/>
    </dgm:pt>
    <dgm:pt modelId="{01D97161-7D42-2A4A-A58A-C52D85F5190D}" type="pres">
      <dgm:prSet presAssocID="{7B60CE42-2F25-9342-BC66-7C00303C64B6}" presName="spNode" presStyleCnt="0"/>
      <dgm:spPr/>
    </dgm:pt>
    <dgm:pt modelId="{F3FF9642-9748-6746-B04A-619CD3B218AB}" type="pres">
      <dgm:prSet presAssocID="{9F823263-7EC1-4C4D-9F5E-8FD31AAAE702}" presName="sibTrans" presStyleLbl="sibTrans1D1" presStyleIdx="3" presStyleCnt="4"/>
      <dgm:spPr/>
    </dgm:pt>
  </dgm:ptLst>
  <dgm:cxnLst>
    <dgm:cxn modelId="{4CA6690A-3A11-7842-8E37-2F3C6FA69DE3}" type="presOf" srcId="{7B60CE42-2F25-9342-BC66-7C00303C64B6}" destId="{D6BEA90E-C675-3F4B-95BD-1FD886D2FE4D}" srcOrd="0" destOrd="0" presId="urn:microsoft.com/office/officeart/2005/8/layout/cycle5"/>
    <dgm:cxn modelId="{7928D436-DF6C-4D42-8555-D155766AE05F}" type="presOf" srcId="{32425089-B721-9948-A28C-478ED14A0FD9}" destId="{0CCB90E8-FC25-6C49-B12E-5C37AAC757E0}" srcOrd="0" destOrd="0" presId="urn:microsoft.com/office/officeart/2005/8/layout/cycle5"/>
    <dgm:cxn modelId="{48F2F83D-E6D2-2749-A9B4-E956AF56C6C4}" srcId="{EA12CA69-55BD-3A4F-BF0B-826CF4CF3990}" destId="{32425089-B721-9948-A28C-478ED14A0FD9}" srcOrd="0" destOrd="0" parTransId="{431B3F90-0D9D-6241-9221-F6EDBD874ADB}" sibTransId="{DB9DEB8F-35A5-C749-AA3B-A13ABBBC1B0B}"/>
    <dgm:cxn modelId="{F4ABB162-35FE-FD41-9A1B-579D3D52FD83}" type="presOf" srcId="{EA12CA69-55BD-3A4F-BF0B-826CF4CF3990}" destId="{FACD3167-2585-B746-A513-8C7CA2B945F4}" srcOrd="0" destOrd="0" presId="urn:microsoft.com/office/officeart/2005/8/layout/cycle5"/>
    <dgm:cxn modelId="{DCDBB764-DEC6-9F4A-8B4C-880C99EB386E}" type="presOf" srcId="{61AF2CA8-55A5-F647-BA9F-64E7785EA73B}" destId="{D62BB88E-2D05-414D-A8DC-6D1EC6756A2B}" srcOrd="0" destOrd="0" presId="urn:microsoft.com/office/officeart/2005/8/layout/cycle5"/>
    <dgm:cxn modelId="{F158AA6F-047B-2B4F-91F0-5B81A7C41836}" type="presOf" srcId="{9F823263-7EC1-4C4D-9F5E-8FD31AAAE702}" destId="{F3FF9642-9748-6746-B04A-619CD3B218AB}" srcOrd="0" destOrd="0" presId="urn:microsoft.com/office/officeart/2005/8/layout/cycle5"/>
    <dgm:cxn modelId="{69AB4E94-EE52-CF4C-B29A-E4BAE0EF2333}" type="presOf" srcId="{DB9DEB8F-35A5-C749-AA3B-A13ABBBC1B0B}" destId="{2CB7FFE5-305F-C843-B929-36D165941CA4}" srcOrd="0" destOrd="0" presId="urn:microsoft.com/office/officeart/2005/8/layout/cycle5"/>
    <dgm:cxn modelId="{E33E0BAB-57D0-C140-8252-64B5C0176AE3}" type="presOf" srcId="{066EE0CE-8F12-AA47-8660-A99832FDAF7B}" destId="{F20C4F48-3F6E-1346-8EFD-CC4A951B45F2}" srcOrd="0" destOrd="0" presId="urn:microsoft.com/office/officeart/2005/8/layout/cycle5"/>
    <dgm:cxn modelId="{1DA2C5C4-D2DF-C845-AFC4-6352316A6618}" srcId="{EA12CA69-55BD-3A4F-BF0B-826CF4CF3990}" destId="{066EE0CE-8F12-AA47-8660-A99832FDAF7B}" srcOrd="1" destOrd="0" parTransId="{CC04EB4F-5871-7E46-B5E8-9A102FA3FEA7}" sibTransId="{61AF2CA8-55A5-F647-BA9F-64E7785EA73B}"/>
    <dgm:cxn modelId="{932E22EE-0000-904D-A109-E16DA71A6A43}" type="presOf" srcId="{07F863A7-BA94-6544-8859-A37F28FB3928}" destId="{82A59F08-517E-B544-A5D4-092479758166}" srcOrd="0" destOrd="0" presId="urn:microsoft.com/office/officeart/2005/8/layout/cycle5"/>
    <dgm:cxn modelId="{229AE3EF-0FBC-224A-84D7-EAF262BCA78E}" srcId="{EA12CA69-55BD-3A4F-BF0B-826CF4CF3990}" destId="{7B60CE42-2F25-9342-BC66-7C00303C64B6}" srcOrd="3" destOrd="0" parTransId="{A83BCCC0-A4CC-534E-A420-7ADEC39E4F57}" sibTransId="{9F823263-7EC1-4C4D-9F5E-8FD31AAAE702}"/>
    <dgm:cxn modelId="{FFB3C4F4-4762-7A40-B7DF-837B65C6CFD0}" type="presOf" srcId="{A3FB5390-806E-9240-9CB9-008EB3AD45E2}" destId="{7B385A37-799C-8145-BD2B-869F7C05A5A7}" srcOrd="0" destOrd="0" presId="urn:microsoft.com/office/officeart/2005/8/layout/cycle5"/>
    <dgm:cxn modelId="{24B0F9FC-8E06-E943-AB0D-CC1F157D7784}" srcId="{EA12CA69-55BD-3A4F-BF0B-826CF4CF3990}" destId="{07F863A7-BA94-6544-8859-A37F28FB3928}" srcOrd="2" destOrd="0" parTransId="{4EB0A6C4-C99E-7742-A866-089BC7065546}" sibTransId="{A3FB5390-806E-9240-9CB9-008EB3AD45E2}"/>
    <dgm:cxn modelId="{0A2AF6AE-D432-EE4A-B0DB-35CC6B8DC461}" type="presParOf" srcId="{FACD3167-2585-B746-A513-8C7CA2B945F4}" destId="{0CCB90E8-FC25-6C49-B12E-5C37AAC757E0}" srcOrd="0" destOrd="0" presId="urn:microsoft.com/office/officeart/2005/8/layout/cycle5"/>
    <dgm:cxn modelId="{9C5DF2B5-95BE-DE40-99F9-AD041DD41D9A}" type="presParOf" srcId="{FACD3167-2585-B746-A513-8C7CA2B945F4}" destId="{9FF17663-74C4-9B45-B8EA-9F8F1C1D3E01}" srcOrd="1" destOrd="0" presId="urn:microsoft.com/office/officeart/2005/8/layout/cycle5"/>
    <dgm:cxn modelId="{E16D854A-FB4D-2847-A2A7-31BB0558073E}" type="presParOf" srcId="{FACD3167-2585-B746-A513-8C7CA2B945F4}" destId="{2CB7FFE5-305F-C843-B929-36D165941CA4}" srcOrd="2" destOrd="0" presId="urn:microsoft.com/office/officeart/2005/8/layout/cycle5"/>
    <dgm:cxn modelId="{412F06CD-A1D1-194F-ACD1-EA481F1F55FF}" type="presParOf" srcId="{FACD3167-2585-B746-A513-8C7CA2B945F4}" destId="{F20C4F48-3F6E-1346-8EFD-CC4A951B45F2}" srcOrd="3" destOrd="0" presId="urn:microsoft.com/office/officeart/2005/8/layout/cycle5"/>
    <dgm:cxn modelId="{049EA952-6393-4644-BAAF-CFBF47A7B0B9}" type="presParOf" srcId="{FACD3167-2585-B746-A513-8C7CA2B945F4}" destId="{E024EA4D-5126-E84A-A06B-5DD0F76AB844}" srcOrd="4" destOrd="0" presId="urn:microsoft.com/office/officeart/2005/8/layout/cycle5"/>
    <dgm:cxn modelId="{2428C998-7997-CC4A-AC4E-9CF120D2EB65}" type="presParOf" srcId="{FACD3167-2585-B746-A513-8C7CA2B945F4}" destId="{D62BB88E-2D05-414D-A8DC-6D1EC6756A2B}" srcOrd="5" destOrd="0" presId="urn:microsoft.com/office/officeart/2005/8/layout/cycle5"/>
    <dgm:cxn modelId="{5D060E93-2872-3346-9254-F7AF78FA0682}" type="presParOf" srcId="{FACD3167-2585-B746-A513-8C7CA2B945F4}" destId="{82A59F08-517E-B544-A5D4-092479758166}" srcOrd="6" destOrd="0" presId="urn:microsoft.com/office/officeart/2005/8/layout/cycle5"/>
    <dgm:cxn modelId="{77B50CC7-28FC-CA44-9C8B-1F30E5670915}" type="presParOf" srcId="{FACD3167-2585-B746-A513-8C7CA2B945F4}" destId="{A7BE64AF-C065-6F47-8D18-336FF37ED015}" srcOrd="7" destOrd="0" presId="urn:microsoft.com/office/officeart/2005/8/layout/cycle5"/>
    <dgm:cxn modelId="{AF2F4713-4578-2C4E-A274-752EAD27F8D7}" type="presParOf" srcId="{FACD3167-2585-B746-A513-8C7CA2B945F4}" destId="{7B385A37-799C-8145-BD2B-869F7C05A5A7}" srcOrd="8" destOrd="0" presId="urn:microsoft.com/office/officeart/2005/8/layout/cycle5"/>
    <dgm:cxn modelId="{5CDFE2BE-96BC-E546-8E7D-19F7B96DB1CD}" type="presParOf" srcId="{FACD3167-2585-B746-A513-8C7CA2B945F4}" destId="{D6BEA90E-C675-3F4B-95BD-1FD886D2FE4D}" srcOrd="9" destOrd="0" presId="urn:microsoft.com/office/officeart/2005/8/layout/cycle5"/>
    <dgm:cxn modelId="{91546C67-9224-E548-ADE2-839DDFAA884D}" type="presParOf" srcId="{FACD3167-2585-B746-A513-8C7CA2B945F4}" destId="{01D97161-7D42-2A4A-A58A-C52D85F5190D}" srcOrd="10" destOrd="0" presId="urn:microsoft.com/office/officeart/2005/8/layout/cycle5"/>
    <dgm:cxn modelId="{FF4E718A-2D25-DE49-8AC9-97ACE0F10F8E}" type="presParOf" srcId="{FACD3167-2585-B746-A513-8C7CA2B945F4}" destId="{F3FF9642-9748-6746-B04A-619CD3B218AB}" srcOrd="11"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CB90E8-FC25-6C49-B12E-5C37AAC757E0}">
      <dsp:nvSpPr>
        <dsp:cNvPr id="0" name=""/>
        <dsp:cNvSpPr/>
      </dsp:nvSpPr>
      <dsp:spPr>
        <a:xfrm>
          <a:off x="4567736" y="1353"/>
          <a:ext cx="1883047" cy="122398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Init</a:t>
          </a:r>
          <a:endParaRPr lang="en-US" sz="3700" kern="1200"/>
        </a:p>
      </dsp:txBody>
      <dsp:txXfrm>
        <a:off x="4627486" y="61103"/>
        <a:ext cx="1763547" cy="1104481"/>
      </dsp:txXfrm>
    </dsp:sp>
    <dsp:sp modelId="{2CB7FFE5-305F-C843-B929-36D165941CA4}">
      <dsp:nvSpPr>
        <dsp:cNvPr id="0" name=""/>
        <dsp:cNvSpPr/>
      </dsp:nvSpPr>
      <dsp:spPr>
        <a:xfrm>
          <a:off x="3486989" y="613344"/>
          <a:ext cx="4044541" cy="4044541"/>
        </a:xfrm>
        <a:custGeom>
          <a:avLst/>
          <a:gdLst/>
          <a:ahLst/>
          <a:cxnLst/>
          <a:rect l="0" t="0" r="0" b="0"/>
          <a:pathLst>
            <a:path>
              <a:moveTo>
                <a:pt x="3223771" y="395625"/>
              </a:moveTo>
              <a:arcTo wR="2022270" hR="2022270" stAng="18387057" swAng="1633820"/>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20C4F48-3F6E-1346-8EFD-CC4A951B45F2}">
      <dsp:nvSpPr>
        <dsp:cNvPr id="0" name=""/>
        <dsp:cNvSpPr/>
      </dsp:nvSpPr>
      <dsp:spPr>
        <a:xfrm>
          <a:off x="6590007" y="2023624"/>
          <a:ext cx="1883047" cy="122398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Plan</a:t>
          </a:r>
          <a:endParaRPr lang="en-US" sz="3700" kern="1200"/>
        </a:p>
      </dsp:txBody>
      <dsp:txXfrm>
        <a:off x="6649757" y="2083374"/>
        <a:ext cx="1763547" cy="1104481"/>
      </dsp:txXfrm>
    </dsp:sp>
    <dsp:sp modelId="{D62BB88E-2D05-414D-A8DC-6D1EC6756A2B}">
      <dsp:nvSpPr>
        <dsp:cNvPr id="0" name=""/>
        <dsp:cNvSpPr/>
      </dsp:nvSpPr>
      <dsp:spPr>
        <a:xfrm>
          <a:off x="3486989" y="613344"/>
          <a:ext cx="4044541" cy="4044541"/>
        </a:xfrm>
        <a:custGeom>
          <a:avLst/>
          <a:gdLst/>
          <a:ahLst/>
          <a:cxnLst/>
          <a:rect l="0" t="0" r="0" b="0"/>
          <a:pathLst>
            <a:path>
              <a:moveTo>
                <a:pt x="3834916" y="2918872"/>
              </a:moveTo>
              <a:arcTo wR="2022270" hR="2022270" stAng="1579122" swAng="1633820"/>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82A59F08-517E-B544-A5D4-092479758166}">
      <dsp:nvSpPr>
        <dsp:cNvPr id="0" name=""/>
        <dsp:cNvSpPr/>
      </dsp:nvSpPr>
      <dsp:spPr>
        <a:xfrm>
          <a:off x="4567736" y="4045895"/>
          <a:ext cx="1883047" cy="122398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Apply</a:t>
          </a:r>
          <a:endParaRPr lang="en-US" sz="3700" kern="1200"/>
        </a:p>
      </dsp:txBody>
      <dsp:txXfrm>
        <a:off x="4627486" y="4105645"/>
        <a:ext cx="1763547" cy="1104481"/>
      </dsp:txXfrm>
    </dsp:sp>
    <dsp:sp modelId="{7B385A37-799C-8145-BD2B-869F7C05A5A7}">
      <dsp:nvSpPr>
        <dsp:cNvPr id="0" name=""/>
        <dsp:cNvSpPr/>
      </dsp:nvSpPr>
      <dsp:spPr>
        <a:xfrm>
          <a:off x="3486989" y="613344"/>
          <a:ext cx="4044541" cy="4044541"/>
        </a:xfrm>
        <a:custGeom>
          <a:avLst/>
          <a:gdLst/>
          <a:ahLst/>
          <a:cxnLst/>
          <a:rect l="0" t="0" r="0" b="0"/>
          <a:pathLst>
            <a:path>
              <a:moveTo>
                <a:pt x="820770" y="3648916"/>
              </a:moveTo>
              <a:arcTo wR="2022270" hR="2022270" stAng="7587057" swAng="1633820"/>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D6BEA90E-C675-3F4B-95BD-1FD886D2FE4D}">
      <dsp:nvSpPr>
        <dsp:cNvPr id="0" name=""/>
        <dsp:cNvSpPr/>
      </dsp:nvSpPr>
      <dsp:spPr>
        <a:xfrm>
          <a:off x="2545465" y="2023624"/>
          <a:ext cx="1883047" cy="122398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Destroy</a:t>
          </a:r>
          <a:endParaRPr lang="en-US" sz="3700" kern="1200"/>
        </a:p>
      </dsp:txBody>
      <dsp:txXfrm>
        <a:off x="2605215" y="2083374"/>
        <a:ext cx="1763547" cy="1104481"/>
      </dsp:txXfrm>
    </dsp:sp>
    <dsp:sp modelId="{F3FF9642-9748-6746-B04A-619CD3B218AB}">
      <dsp:nvSpPr>
        <dsp:cNvPr id="0" name=""/>
        <dsp:cNvSpPr/>
      </dsp:nvSpPr>
      <dsp:spPr>
        <a:xfrm>
          <a:off x="3486989" y="613344"/>
          <a:ext cx="4044541" cy="4044541"/>
        </a:xfrm>
        <a:custGeom>
          <a:avLst/>
          <a:gdLst/>
          <a:ahLst/>
          <a:cxnLst/>
          <a:rect l="0" t="0" r="0" b="0"/>
          <a:pathLst>
            <a:path>
              <a:moveTo>
                <a:pt x="209625" y="1125669"/>
              </a:moveTo>
              <a:arcTo wR="2022270" hR="2022270" stAng="12379122" swAng="1633820"/>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C033BC-E953-4280-B9ED-FEB4AD79EF73}" type="datetimeFigureOut">
              <a:rPr lang="en-US" smtClean="0"/>
              <a:t>1/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A01C1D-B41E-439F-9BD1-C101F5C3B107}" type="slidenum">
              <a:rPr lang="en-US" smtClean="0"/>
              <a:t>‹#›</a:t>
            </a:fld>
            <a:endParaRPr lang="en-US"/>
          </a:p>
        </p:txBody>
      </p:sp>
    </p:spTree>
    <p:extLst>
      <p:ext uri="{BB962C8B-B14F-4D97-AF65-F5344CB8AC3E}">
        <p14:creationId xmlns:p14="http://schemas.microsoft.com/office/powerpoint/2010/main" val="372482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articles/storage-introduction/"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8/2020 2:3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2762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7197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E27224-6F3E-4CDA-957A-214E82920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37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44862"/>
            <a:ext cx="5608320" cy="4635638"/>
          </a:xfrm>
        </p:spPr>
        <p:txBody>
          <a:bodyPr/>
          <a:lstStyle/>
          <a:p>
            <a:r>
              <a:rPr lang="en-US" baseline="0"/>
              <a:t>There is more….</a:t>
            </a:r>
          </a:p>
          <a:p>
            <a:pPr marL="228600" indent="-228600">
              <a:buFont typeface="+mj-lt"/>
              <a:buAutoNum type="arabicPeriod"/>
            </a:pPr>
            <a:endParaRPr lang="en-US" b="1" baseline="0"/>
          </a:p>
          <a:p>
            <a:pPr marL="0" lvl="0" indent="0">
              <a:buFont typeface="Arial" panose="020B0604020202020204" pitchFamily="34" charset="0"/>
              <a:buNone/>
            </a:pPr>
            <a:r>
              <a:rPr lang="en-US" b="1" baseline="0"/>
              <a:t>3. Power BI Desktop </a:t>
            </a:r>
            <a:r>
              <a:rPr lang="en-US" baseline="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a:solidFill>
                  <a:srgbClr val="000000"/>
                </a:solidFill>
              </a:rPr>
              <a:t>Acquire and </a:t>
            </a:r>
            <a:r>
              <a:rPr lang="en-GB" sz="1200" i="1">
                <a:solidFill>
                  <a:srgbClr val="000000"/>
                </a:solidFill>
              </a:rPr>
              <a:t>prepare</a:t>
            </a:r>
            <a:r>
              <a:rPr lang="en-GB" sz="1200">
                <a:solidFill>
                  <a:srgbClr val="000000"/>
                </a:solidFill>
              </a:rPr>
              <a:t> data using extensive query capabilities.</a:t>
            </a:r>
          </a:p>
          <a:p>
            <a:pPr marL="628650" lvl="1" indent="-171450">
              <a:buFont typeface="Arial" panose="020B0604020202020204" pitchFamily="34" charset="0"/>
              <a:buChar char="•"/>
            </a:pPr>
            <a:r>
              <a:rPr lang="en-GB" sz="1200">
                <a:solidFill>
                  <a:srgbClr val="000000"/>
                </a:solidFill>
              </a:rPr>
              <a:t>Manipulation</a:t>
            </a:r>
            <a:r>
              <a:rPr lang="en-GB" sz="1200" baseline="0">
                <a:solidFill>
                  <a:srgbClr val="000000"/>
                </a:solidFill>
              </a:rPr>
              <a:t> and consolidation of m</a:t>
            </a:r>
            <a:r>
              <a:rPr lang="en-GB" sz="1200">
                <a:solidFill>
                  <a:srgbClr val="000000"/>
                </a:solidFill>
              </a:rPr>
              <a:t>ultiple</a:t>
            </a:r>
            <a:r>
              <a:rPr lang="en-GB" sz="1200" baseline="0">
                <a:solidFill>
                  <a:srgbClr val="000000"/>
                </a:solidFill>
              </a:rPr>
              <a:t> data sources is performed in Power BI Desktop – this enables Power BI service users to use data from multiple sources in a single report.</a:t>
            </a:r>
            <a:endParaRPr lang="en-GB" sz="1200">
              <a:solidFill>
                <a:srgbClr val="000000"/>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rPr>
              <a:t>Establish data structure, then transform and analyze data.</a:t>
            </a:r>
            <a:endParaRPr lang="en-GB" sz="1200">
              <a:solidFill>
                <a:srgbClr val="000000"/>
              </a:solidFill>
            </a:endParaRPr>
          </a:p>
          <a:p>
            <a:pPr marL="628650" lvl="1" indent="-171450">
              <a:buFont typeface="Arial" panose="020B0604020202020204" pitchFamily="34" charset="0"/>
              <a:buChar char="•"/>
            </a:pPr>
            <a:r>
              <a:rPr lang="en-GB" sz="1200">
                <a:solidFill>
                  <a:srgbClr val="000000"/>
                </a:solidFill>
              </a:rPr>
              <a:t>Visualize and </a:t>
            </a:r>
            <a:r>
              <a:rPr lang="en-GB" sz="1200" i="1">
                <a:solidFill>
                  <a:srgbClr val="000000"/>
                </a:solidFill>
              </a:rPr>
              <a:t>explore</a:t>
            </a:r>
            <a:r>
              <a:rPr lang="en-GB" sz="1200">
                <a:solidFill>
                  <a:srgbClr val="000000"/>
                </a:solidFill>
              </a:rPr>
              <a:t> your data in new ways </a:t>
            </a:r>
            <a:r>
              <a:rPr lang="en-US" sz="1200">
                <a:solidFill>
                  <a:srgbClr val="000000"/>
                </a:solidFill>
              </a:rPr>
              <a:t>through a freeform drag-and-drop canvas.</a:t>
            </a:r>
            <a:endParaRPr lang="en-GB" sz="1200">
              <a:solidFill>
                <a:srgbClr val="000000"/>
              </a:solidFill>
            </a:endParaRPr>
          </a:p>
          <a:p>
            <a:pPr marL="628650" lvl="1" indent="-171450">
              <a:buFont typeface="Arial" panose="020B0604020202020204" pitchFamily="34" charset="0"/>
              <a:buChar char="•"/>
            </a:pPr>
            <a:r>
              <a:rPr lang="en-US" sz="1200">
                <a:solidFill>
                  <a:srgbClr val="000000"/>
                </a:solidFill>
              </a:rPr>
              <a:t>Author </a:t>
            </a:r>
            <a:r>
              <a:rPr lang="en-US" sz="1200" i="1">
                <a:solidFill>
                  <a:srgbClr val="000000"/>
                </a:solidFill>
              </a:rPr>
              <a:t>reports</a:t>
            </a:r>
            <a:r>
              <a:rPr lang="en-US" sz="1200">
                <a:solidFill>
                  <a:srgbClr val="000000"/>
                </a:solidFill>
              </a:rPr>
              <a:t> with a broad range of modern data visualizations.</a:t>
            </a:r>
          </a:p>
          <a:p>
            <a:pPr marL="628650" lvl="1" indent="-171450">
              <a:buFont typeface="Arial" panose="020B0604020202020204" pitchFamily="34" charset="0"/>
              <a:buChar char="•"/>
            </a:pPr>
            <a:r>
              <a:rPr lang="en-US" sz="1200">
                <a:solidFill>
                  <a:srgbClr val="000000"/>
                </a:solidFill>
              </a:rPr>
              <a:t>Publish beautiful, interactive reports directly to powerbi.com.</a:t>
            </a:r>
            <a:endParaRPr lang="en-US" sz="1400">
              <a:solidFill>
                <a:srgbClr val="000000"/>
              </a:solidFill>
            </a:endParaRPr>
          </a:p>
          <a:p>
            <a:pPr marL="628650" lvl="1" indent="-171450">
              <a:buFont typeface="Arial" panose="020B0604020202020204" pitchFamily="34" charset="0"/>
              <a:buChar char="•"/>
            </a:pPr>
            <a:r>
              <a:rPr lang="en-US" sz="1200">
                <a:solidFill>
                  <a:srgbClr val="000000"/>
                </a:solidFill>
              </a:rPr>
              <a:t>Securely </a:t>
            </a:r>
            <a:r>
              <a:rPr lang="en-US" sz="1200" i="1">
                <a:solidFill>
                  <a:srgbClr val="000000"/>
                </a:solidFill>
              </a:rPr>
              <a:t>share</a:t>
            </a:r>
            <a:r>
              <a:rPr lang="en-US" sz="1200">
                <a:solidFill>
                  <a:srgbClr val="000000"/>
                </a:solidFill>
              </a:rPr>
              <a:t> reports through unique, curated content library approach.</a:t>
            </a:r>
            <a:endParaRPr lang="en-US" sz="1400">
              <a:solidFill>
                <a:srgbClr val="000000"/>
              </a:solidFill>
            </a:endParaRPr>
          </a:p>
          <a:p>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b="1"/>
              <a:t>4. Finally, the Power BI Platform </a:t>
            </a:r>
            <a:r>
              <a:rPr lang="en-US"/>
              <a:t>allows you to embed, extend,</a:t>
            </a:r>
            <a:r>
              <a:rPr lang="en-US" baseline="0"/>
              <a:t> and integrate Power BI into other applications and environments.</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478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a:t>
            </a:r>
            <a:r>
              <a:rPr lang="en-US" dirty="0" err="1"/>
              <a:t>IaC</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8/2020 2:4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509422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re is Azure in terms of resources and </a:t>
            </a:r>
            <a:r>
              <a:rPr lang="en-US" dirty="0" err="1"/>
              <a:t>datasources</a:t>
            </a:r>
            <a:r>
              <a:rPr lang="en-US" dirty="0"/>
              <a:t> for azure? IaaS ~100%, PaaS Good and getting better, ARM template fallback</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8/2020 2:4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562236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Terraform</a:t>
            </a:r>
          </a:p>
          <a:p>
            <a:pPr marL="171450" indent="-171450">
              <a:buFontTx/>
              <a:buChar char="-"/>
            </a:pPr>
            <a:r>
              <a:rPr lang="en-US" sz="882" b="0" i="0" kern="1200" dirty="0">
                <a:solidFill>
                  <a:schemeClr val="tx1"/>
                </a:solidFill>
                <a:effectLst/>
                <a:latin typeface="Segoe UI Light" pitchFamily="34" charset="0"/>
                <a:ea typeface="+mn-ea"/>
                <a:cs typeface="+mn-cs"/>
              </a:rPr>
              <a:t> Terraform command support, resource graph visualization and </a:t>
            </a:r>
            <a:r>
              <a:rPr lang="en-US" sz="882" b="0" i="0" kern="1200" dirty="0" err="1">
                <a:solidFill>
                  <a:schemeClr val="tx1"/>
                </a:solidFill>
                <a:effectLst/>
                <a:latin typeface="Segoe UI Light" pitchFamily="34" charset="0"/>
                <a:ea typeface="+mn-ea"/>
                <a:cs typeface="+mn-cs"/>
              </a:rPr>
              <a:t>CloudShell</a:t>
            </a:r>
            <a:r>
              <a:rPr lang="en-US" sz="882" b="0" i="0" kern="1200" dirty="0">
                <a:solidFill>
                  <a:schemeClr val="tx1"/>
                </a:solidFill>
                <a:effectLst/>
                <a:latin typeface="Segoe UI Light" pitchFamily="34" charset="0"/>
                <a:ea typeface="+mn-ea"/>
                <a:cs typeface="+mn-cs"/>
              </a:rPr>
              <a:t> integration inside </a:t>
            </a:r>
            <a:r>
              <a:rPr lang="en-US" sz="882" b="0" i="0" kern="1200" dirty="0" err="1">
                <a:solidFill>
                  <a:schemeClr val="tx1"/>
                </a:solidFill>
                <a:effectLst/>
                <a:latin typeface="Segoe UI Light" pitchFamily="34" charset="0"/>
                <a:ea typeface="+mn-ea"/>
                <a:cs typeface="+mn-cs"/>
              </a:rPr>
              <a:t>VSCode</a:t>
            </a:r>
            <a:r>
              <a:rPr lang="en-US" sz="882" b="0" i="0" kern="1200" dirty="0">
                <a:solidFill>
                  <a:schemeClr val="tx1"/>
                </a:solidFill>
                <a:effectLst/>
                <a:latin typeface="Segoe UI Light" pitchFamily="34" charset="0"/>
                <a:ea typeface="+mn-ea"/>
                <a:cs typeface="+mn-cs"/>
              </a:rPr>
              <a:t>.</a:t>
            </a:r>
          </a:p>
          <a:p>
            <a:pPr marL="171450" indent="-171450">
              <a:buFontTx/>
              <a:buChar char="-"/>
            </a:pPr>
            <a:endParaRPr lang="en-US" dirty="0"/>
          </a:p>
          <a:p>
            <a:pPr marL="0" indent="0">
              <a:buFontTx/>
              <a:buNone/>
            </a:pPr>
            <a:r>
              <a:rPr lang="en-US" dirty="0"/>
              <a:t>Terraform</a:t>
            </a:r>
          </a:p>
          <a:p>
            <a:pPr marL="171450" indent="-171450">
              <a:buFontTx/>
              <a:buChar char="-"/>
            </a:pPr>
            <a:r>
              <a:rPr lang="en-US" sz="882" b="0" i="0" kern="1200" dirty="0">
                <a:solidFill>
                  <a:schemeClr val="tx1"/>
                </a:solidFill>
                <a:effectLst/>
                <a:latin typeface="Segoe UI Light" pitchFamily="34" charset="0"/>
                <a:ea typeface="+mn-ea"/>
                <a:cs typeface="+mn-cs"/>
              </a:rPr>
              <a:t>Syntax highlighting, linting, formatting, and validation</a:t>
            </a:r>
            <a:endParaRPr lang="en-US" dirty="0"/>
          </a:p>
          <a:p>
            <a:pPr marL="171450" indent="-171450">
              <a:buFontTx/>
              <a:buChar char="-"/>
            </a:pPr>
            <a:endParaRPr lang="en-US" dirty="0"/>
          </a:p>
          <a:p>
            <a:pPr marL="171450" indent="-171450">
              <a:buFontTx/>
              <a:buChar cha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8/2020 2:4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128506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inionated</a:t>
            </a:r>
          </a:p>
          <a:p>
            <a:endParaRPr lang="en-US" dirty="0"/>
          </a:p>
          <a:p>
            <a:r>
              <a:rPr lang="en-US" dirty="0" err="1"/>
              <a:t>Init</a:t>
            </a:r>
            <a:r>
              <a:rPr lang="en-US" dirty="0"/>
              <a:t> – 	installs required resources, modules and providers</a:t>
            </a:r>
          </a:p>
          <a:p>
            <a:r>
              <a:rPr lang="en-US" dirty="0"/>
              <a:t>	some validation</a:t>
            </a:r>
          </a:p>
          <a:p>
            <a:r>
              <a:rPr lang="en-US" dirty="0"/>
              <a:t>	Backend</a:t>
            </a:r>
          </a:p>
          <a:p>
            <a:r>
              <a:rPr lang="en-US" dirty="0"/>
              <a:t>	run 1 time unless upgrade</a:t>
            </a:r>
          </a:p>
          <a:p>
            <a:r>
              <a:rPr lang="en-US" dirty="0"/>
              <a:t>Plan -	Refresh state</a:t>
            </a:r>
          </a:p>
          <a:p>
            <a:r>
              <a:rPr lang="en-US" dirty="0"/>
              <a:t>	Actions needed</a:t>
            </a:r>
          </a:p>
          <a:p>
            <a:r>
              <a:rPr lang="en-US" dirty="0"/>
              <a:t>Apply - 	enacts plan</a:t>
            </a:r>
          </a:p>
          <a:p>
            <a:r>
              <a:rPr lang="en-US" dirty="0"/>
              <a:t>Destroy - 	removes resources in plan</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8/2020 2:4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525191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Stores the state as a given key in a given blob container on </a:t>
            </a:r>
            <a:r>
              <a:rPr lang="en-US" sz="882" b="0" i="0" u="none" strike="noStrike" kern="1200" dirty="0">
                <a:solidFill>
                  <a:schemeClr val="tx1"/>
                </a:solidFill>
                <a:effectLst/>
                <a:latin typeface="Segoe UI Light" pitchFamily="34" charset="0"/>
                <a:ea typeface="+mn-ea"/>
                <a:cs typeface="+mn-cs"/>
                <a:hlinkClick r:id="rId3"/>
              </a:rPr>
              <a:t>Microsoft Azure Storage</a:t>
            </a:r>
            <a:r>
              <a:rPr lang="en-US" sz="882" b="0" i="0" kern="1200" dirty="0">
                <a:solidFill>
                  <a:schemeClr val="tx1"/>
                </a:solidFill>
                <a:effectLst/>
                <a:latin typeface="Segoe UI Light" pitchFamily="34" charset="0"/>
                <a:ea typeface="+mn-ea"/>
                <a:cs typeface="+mn-cs"/>
              </a:rPr>
              <a:t>. This backend also supports state locking and consistency checking via native capabilities of Microsoft Azure Storage.</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8/2020 2:5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770731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18/2020 2:5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2423291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7.xml"/><Relationship Id="rId4" Type="http://schemas.openxmlformats.org/officeDocument/2006/relationships/image" Target="../media/image27.jp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7.xml"/><Relationship Id="rId4" Type="http://schemas.openxmlformats.org/officeDocument/2006/relationships/image" Target="../media/image27.jp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5.tif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Master" Target="../slideMasters/slideMaster8.xml"/><Relationship Id="rId4" Type="http://schemas.openxmlformats.org/officeDocument/2006/relationships/image" Target="../media/image38.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Master" Target="../slideMasters/slideMaster8.xml"/><Relationship Id="rId4" Type="http://schemas.openxmlformats.org/officeDocument/2006/relationships/image" Target="../media/image42.jp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jp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8F867-9615-4858-8910-E6135F31E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385E7B-7176-4168-89C9-1A921E628E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A72233-1A70-45E7-B953-23E68D5088BD}"/>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5" name="Footer Placeholder 4">
            <a:extLst>
              <a:ext uri="{FF2B5EF4-FFF2-40B4-BE49-F238E27FC236}">
                <a16:creationId xmlns:a16="http://schemas.microsoft.com/office/drawing/2014/main" id="{932002A0-25DD-43A1-971C-027D35D88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73270-71B2-448D-9657-43EDC20CA31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751100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B625-D4F5-42AA-B6C9-0DEBDAE2C5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BC44C8-D652-488E-B530-8ED4643BCF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402B3D-8533-4487-92B6-AB07C13F5F85}"/>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5" name="Footer Placeholder 4">
            <a:extLst>
              <a:ext uri="{FF2B5EF4-FFF2-40B4-BE49-F238E27FC236}">
                <a16:creationId xmlns:a16="http://schemas.microsoft.com/office/drawing/2014/main" id="{D5668345-37E1-485E-9CA6-74E75E851A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844B7-F7B8-4F45-8555-B51E8FA8DC81}"/>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352129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8"/>
            </a:lvl1pPr>
            <a:lvl2pPr>
              <a:defRPr sz="3528"/>
            </a:lvl2pPr>
            <a:lvl3pPr>
              <a:defRPr sz="3528"/>
            </a:lvl3pPr>
            <a:lvl4pPr>
              <a:defRPr sz="3528"/>
            </a:lvl4pPr>
            <a:lvl5pPr>
              <a:defRPr sz="3528"/>
            </a:lvl5pPr>
          </a:lstStyle>
          <a:p>
            <a:pPr lvl="0"/>
            <a:r>
              <a:rPr lang="en-US"/>
              <a:t>Click to edit Master text styles</a:t>
            </a:r>
          </a:p>
        </p:txBody>
      </p:sp>
    </p:spTree>
    <p:extLst>
      <p:ext uri="{BB962C8B-B14F-4D97-AF65-F5344CB8AC3E}">
        <p14:creationId xmlns:p14="http://schemas.microsoft.com/office/powerpoint/2010/main" val="202613727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39"/>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406348803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4">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9593938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5840" cy="737413"/>
          </a:xfrm>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36063734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224376247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271187648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3358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0"/>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1"/>
            <a:ext cx="11655840" cy="2692769"/>
          </a:xfrm>
        </p:spPr>
        <p:txBody>
          <a:bodyPr/>
          <a:lstStyle>
            <a:lvl1pPr>
              <a:defRPr sz="8626">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98235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1"/>
            <a:ext cx="11655840" cy="2692769"/>
          </a:xfrm>
        </p:spPr>
        <p:txBody>
          <a:bodyPr/>
          <a:lstStyle>
            <a:lvl1pPr>
              <a:defRPr sz="8626">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86207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3">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2973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5679C-F9BD-4F24-BAE3-8BF0A419E5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BBA528-3742-4926-971E-A258F4AEA2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41E58B-D89F-4362-BA23-F9307B4CDD77}"/>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5" name="Footer Placeholder 4">
            <a:extLst>
              <a:ext uri="{FF2B5EF4-FFF2-40B4-BE49-F238E27FC236}">
                <a16:creationId xmlns:a16="http://schemas.microsoft.com/office/drawing/2014/main" id="{66759C75-E21D-4227-B36B-0DC08BD4D0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726FF-8832-4CBE-A32E-F187F125615A}"/>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689316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6"/>
            <a:ext cx="11655840" cy="899665"/>
          </a:xfrm>
        </p:spPr>
        <p:txBody>
          <a:bodyPr/>
          <a:lstStyle>
            <a:lvl1pPr>
              <a:defRPr sz="5881"/>
            </a:lvl1pPr>
          </a:lstStyle>
          <a:p>
            <a:r>
              <a:rPr lang="en-US"/>
              <a:t>Thank you</a:t>
            </a:r>
          </a:p>
        </p:txBody>
      </p:sp>
    </p:spTree>
    <p:extLst>
      <p:ext uri="{BB962C8B-B14F-4D97-AF65-F5344CB8AC3E}">
        <p14:creationId xmlns:p14="http://schemas.microsoft.com/office/powerpoint/2010/main" val="345731033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4567215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474621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06621166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34179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2844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238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6665967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8585910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6925663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2346228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90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14006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71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16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91150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5263167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01455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9"/>
            <a:ext cx="11655079" cy="1844608"/>
          </a:xfrm>
        </p:spPr>
        <p:txBody>
          <a:bodyPr>
            <a:spAutoFit/>
          </a:bodyPr>
          <a:lstStyle>
            <a:lvl1pPr marL="0" indent="0">
              <a:buNone/>
              <a:defRPr/>
            </a:lvl1pPr>
            <a:lvl2pPr marL="224078" indent="0">
              <a:buNone/>
              <a:defRPr/>
            </a:lvl2pPr>
            <a:lvl3pPr marL="448153" indent="0">
              <a:buNone/>
              <a:defRPr/>
            </a:lvl3pPr>
            <a:lvl4pPr marL="672231" indent="0">
              <a:buNone/>
              <a:defRPr/>
            </a:lvl4pPr>
            <a:lvl5pPr marL="89630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511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72434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4196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7921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379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2041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1403020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8917464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088619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3293470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5320386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959978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9545951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585738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06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62752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7586173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49634"/>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5759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76347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172177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321821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963235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21281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69365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106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031912"/>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193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5E043F8-B93C-4F36-AEAC-186C508D6EA2}"/>
              </a:ext>
            </a:extLst>
          </p:cNvPr>
          <p:cNvSpPr/>
          <p:nvPr userDrawn="1"/>
        </p:nvSpPr>
        <p:spPr bwMode="auto">
          <a:xfrm>
            <a:off x="0" y="5018632"/>
            <a:ext cx="8356328" cy="1839370"/>
          </a:xfrm>
          <a:prstGeom prst="rect">
            <a:avLst/>
          </a:prstGeom>
          <a:solidFill>
            <a:schemeClr val="bg1">
              <a:lumMod val="95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8356330" y="0"/>
            <a:ext cx="3835672"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727537"/>
            <a:ext cx="7363200" cy="758022"/>
          </a:xfrm>
          <a:prstGeom prst="rect">
            <a:avLst/>
          </a:prstGeom>
        </p:spPr>
        <p:txBody>
          <a:bodyPr vert="horz" wrap="square" lIns="0" tIns="164592" rIns="0" bIns="0" rtlCol="0" anchor="t">
            <a:noAutofit/>
          </a:bodyPr>
          <a:lstStyle>
            <a:lvl1pPr>
              <a:defRPr sz="2745" spc="0" baseline="0">
                <a:solidFill>
                  <a:schemeClr val="tx1"/>
                </a:solidFill>
                <a:latin typeface="+mn-lt"/>
              </a:defRPr>
            </a:lvl1pPr>
          </a:lstStyle>
          <a:p>
            <a:r>
              <a:rPr lang="en-US"/>
              <a:t>Photo layout</a:t>
            </a:r>
          </a:p>
        </p:txBody>
      </p:sp>
      <p:sp>
        <p:nvSpPr>
          <p:cNvPr id="3" name="Text Placeholder 2">
            <a:extLst>
              <a:ext uri="{FF2B5EF4-FFF2-40B4-BE49-F238E27FC236}">
                <a16:creationId xmlns:a16="http://schemas.microsoft.com/office/drawing/2014/main" id="{419C29CA-FEB4-4EFA-9DCF-5E9B7997C2B7}"/>
              </a:ext>
            </a:extLst>
          </p:cNvPr>
          <p:cNvSpPr>
            <a:spLocks noGrp="1"/>
          </p:cNvSpPr>
          <p:nvPr>
            <p:ph type="body" sz="quarter" idx="12"/>
          </p:nvPr>
        </p:nvSpPr>
        <p:spPr>
          <a:xfrm>
            <a:off x="865513" y="5389457"/>
            <a:ext cx="7088594" cy="241415"/>
          </a:xfrm>
        </p:spPr>
        <p:txBody>
          <a:bodyPr lIns="0" tIns="0" rIns="0" bIns="0"/>
          <a:lstStyle>
            <a:lvl1pPr marL="0" indent="0">
              <a:lnSpc>
                <a:spcPct val="100000"/>
              </a:lnSpc>
              <a:spcBef>
                <a:spcPts val="0"/>
              </a:spcBef>
              <a:spcAft>
                <a:spcPts val="980"/>
              </a:spcAft>
              <a:buNone/>
              <a:defRPr sz="1567">
                <a:solidFill>
                  <a:srgbClr val="000000"/>
                </a:solidFill>
                <a:latin typeface="+mn-lt"/>
              </a:defRPr>
            </a:lvl1pPr>
            <a:lvl2pPr>
              <a:defRPr sz="1961"/>
            </a:lvl2pPr>
            <a:lvl3pPr>
              <a:defRPr sz="1961"/>
            </a:lvl3pPr>
            <a:lvl4pPr>
              <a:defRPr sz="1961"/>
            </a:lvl4pPr>
            <a:lvl5pPr>
              <a:defRPr sz="1961"/>
            </a:lvl5pPr>
          </a:lstStyle>
          <a:p>
            <a:pPr lvl="0"/>
            <a:r>
              <a:rPr lang="en-US"/>
              <a:t>Edit Master text styles</a:t>
            </a:r>
          </a:p>
        </p:txBody>
      </p:sp>
    </p:spTree>
    <p:extLst>
      <p:ext uri="{BB962C8B-B14F-4D97-AF65-F5344CB8AC3E}">
        <p14:creationId xmlns:p14="http://schemas.microsoft.com/office/powerpoint/2010/main" val="3372232143"/>
      </p:ext>
    </p:extLst>
  </p:cSld>
  <p:clrMapOvr>
    <a:masterClrMapping/>
  </p:clrMapOvr>
  <p:transition>
    <p:fade/>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961522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164687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10" name="Picture 9" descr="A person standing in a room&#10;&#10;Description automatically generated">
            <a:extLst>
              <a:ext uri="{FF2B5EF4-FFF2-40B4-BE49-F238E27FC236}">
                <a16:creationId xmlns:a16="http://schemas.microsoft.com/office/drawing/2014/main" id="{4DF305EE-63F9-4CA6-BD56-FE717E6B00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1" cy="6858000"/>
          </a:xfrm>
          <a:prstGeom prst="rect">
            <a:avLst/>
          </a:prstGeom>
        </p:spPr>
      </p:pic>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080613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894756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30439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0459079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613040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740322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34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6069939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98119587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9161515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882108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4107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4485255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87210618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2826325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1038500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62228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35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9746672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0590949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153346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84828450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9"/>
            <a:ext cx="11802894" cy="1569199"/>
          </a:xfrm>
        </p:spPr>
        <p:txBody>
          <a:bodyPr/>
          <a:lstStyle>
            <a:lvl1pPr marL="0" indent="0">
              <a:buNone/>
              <a:defRPr/>
            </a:lvl1pPr>
            <a:lvl2pPr marL="457025" indent="0">
              <a:buNone/>
              <a:defRPr/>
            </a:lvl2pPr>
            <a:lvl3pPr marL="914049" indent="0">
              <a:buNone/>
              <a:defRPr/>
            </a:lvl3pPr>
            <a:lvl4pPr marL="1371074" indent="0">
              <a:buNone/>
              <a:defRPr/>
            </a:lvl4pPr>
            <a:lvl5pPr marL="18280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595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176520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21189" r="15525" b="7567"/>
          <a:stretch/>
        </p:blipFill>
        <p:spPr>
          <a:xfrm>
            <a:off x="0" y="1"/>
            <a:ext cx="12192000" cy="6858973"/>
          </a:xfrm>
          <a:prstGeom prst="rect">
            <a:avLst/>
          </a:prstGeom>
        </p:spPr>
      </p:pic>
      <p:pic>
        <p:nvPicPr>
          <p:cNvPr id="10" name="MS logo gray - EMF"/>
          <p:cNvPicPr>
            <a:picLocks noChangeAspect="1"/>
          </p:cNvPicPr>
          <p:nvPr userDrawn="1"/>
        </p:nvPicPr>
        <p:blipFill>
          <a:blip r:embed="rId3"/>
          <a:stretch>
            <a:fillRect/>
          </a:stretch>
        </p:blipFill>
        <p:spPr bwMode="black">
          <a:xfrm>
            <a:off x="451633"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0078D7">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4" spc="-98" baseline="0">
                <a:gradFill>
                  <a:gsLst>
                    <a:gs pos="18471">
                      <a:schemeClr val="bg1"/>
                    </a:gs>
                    <a:gs pos="46000">
                      <a:schemeClr val="bg1"/>
                    </a:gs>
                  </a:gsLst>
                  <a:lin ang="5400000" scaled="0"/>
                </a:gradFill>
                <a:latin typeface="Segoe UI Light" panose="020B0502040204020203" pitchFamily="34" charset="0"/>
                <a:cs typeface="Segoe UI Light" panose="020B05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99978"/>
          </a:xfrm>
        </p:spPr>
        <p:txBody>
          <a:bodyPr wrap="square" lIns="164592" tIns="109728" rIns="164592" bIns="109728">
            <a:spAutoFit/>
          </a:bodyPr>
          <a:lstStyle>
            <a:lvl1pPr marL="0" indent="0">
              <a:spcBef>
                <a:spcPts val="0"/>
              </a:spcBef>
              <a:buNone/>
              <a:defRPr sz="3136">
                <a:gradFill>
                  <a:gsLst>
                    <a:gs pos="18471">
                      <a:schemeClr val="bg1"/>
                    </a:gs>
                    <a:gs pos="46000">
                      <a:schemeClr val="bg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326307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8" name="Picture Placeholder 4"/>
          <p:cNvSpPr>
            <a:spLocks noGrp="1"/>
          </p:cNvSpPr>
          <p:nvPr>
            <p:ph type="pic" sz="quarter" idx="10"/>
          </p:nvPr>
        </p:nvSpPr>
        <p:spPr>
          <a:xfrm>
            <a:off x="6019800" y="1554481"/>
            <a:ext cx="5943600" cy="3657600"/>
          </a:xfrm>
        </p:spPr>
        <p:txBody>
          <a:bodyPr/>
          <a:lstStyle>
            <a:lvl1pPr>
              <a:defRPr spc="-30" baseline="0">
                <a:solidFill>
                  <a:schemeClr val="tx2"/>
                </a:solidFill>
              </a:defRPr>
            </a:lvl1pPr>
          </a:lstStyle>
          <a:p>
            <a:endParaRPr lang="en-US"/>
          </a:p>
        </p:txBody>
      </p:sp>
      <p:sp>
        <p:nvSpPr>
          <p:cNvPr id="8" name="Text Placeholder 3"/>
          <p:cNvSpPr>
            <a:spLocks noGrp="1"/>
          </p:cNvSpPr>
          <p:nvPr>
            <p:ph type="body" sz="quarter" idx="12" hasCustomPrompt="1"/>
          </p:nvPr>
        </p:nvSpPr>
        <p:spPr>
          <a:xfrm>
            <a:off x="228599" y="3046549"/>
            <a:ext cx="5577840" cy="2194560"/>
          </a:xfrm>
        </p:spPr>
        <p:txBody>
          <a:bodyPr tIns="0"/>
          <a:lstStyle>
            <a:lvl1pPr>
              <a:spcBef>
                <a:spcPts val="500"/>
              </a:spcBef>
              <a:defRPr/>
            </a:lvl1pPr>
            <a:lvl2pPr marL="0">
              <a:spcBef>
                <a:spcPts val="500"/>
              </a:spcBef>
              <a:defRPr sz="1800">
                <a:latin typeface="Segoe UI Light" panose="020B0502040204020203" pitchFamily="34" charset="0"/>
                <a:cs typeface="Segoe UI Light" panose="020B0502040204020203" pitchFamily="34" charset="0"/>
              </a:defRPr>
            </a:lvl2pPr>
            <a:lvl3pPr marL="0">
              <a:spcBef>
                <a:spcPts val="500"/>
              </a:spcBef>
              <a:defRPr sz="1800">
                <a:latin typeface="Segoe UI Light" panose="020B0502040204020203" pitchFamily="34" charset="0"/>
                <a:cs typeface="Segoe UI Light" panose="020B0502040204020203" pitchFamily="34" charset="0"/>
              </a:defRPr>
            </a:lvl3pPr>
            <a:lvl4pPr marL="0">
              <a:spcBef>
                <a:spcPts val="500"/>
              </a:spcBef>
              <a:defRPr sz="1800">
                <a:latin typeface="Segoe UI Light" panose="020B0502040204020203" pitchFamily="34" charset="0"/>
                <a:cs typeface="Segoe UI Light" panose="020B0502040204020203" pitchFamily="34" charset="0"/>
              </a:defRPr>
            </a:lvl4pPr>
            <a:lvl5pPr marL="0">
              <a:spcBef>
                <a:spcPts val="500"/>
              </a:spcBef>
              <a:defRPr sz="1800">
                <a:latin typeface="Segoe UI Light" panose="020B0502040204020203" pitchFamily="34" charset="0"/>
                <a:cs typeface="Segoe UI Light" panose="020B0502040204020203" pitchFamily="34" charset="0"/>
              </a:defRPr>
            </a:lvl5pPr>
          </a:lstStyle>
          <a:p>
            <a:pPr lvl="0"/>
            <a:r>
              <a:rPr lang="en-US"/>
              <a:t>Presenter’s Name</a:t>
            </a:r>
          </a:p>
          <a:p>
            <a:pPr lvl="1"/>
            <a:r>
              <a:rPr lang="en-US"/>
              <a:t>Date</a:t>
            </a:r>
          </a:p>
          <a:p>
            <a:pPr lvl="2"/>
            <a:r>
              <a:rPr lang="en-US"/>
              <a:t>Third level</a:t>
            </a:r>
          </a:p>
          <a:p>
            <a:pPr lvl="3"/>
            <a:r>
              <a:rPr lang="en-US"/>
              <a:t>Fourth level</a:t>
            </a:r>
          </a:p>
          <a:p>
            <a:pPr lvl="4"/>
            <a:r>
              <a:rPr lang="en-US"/>
              <a:t>Fifth level</a:t>
            </a:r>
          </a:p>
        </p:txBody>
      </p:sp>
      <p:sp>
        <p:nvSpPr>
          <p:cNvPr id="10" name="Text Placeholder 5"/>
          <p:cNvSpPr>
            <a:spLocks noGrp="1"/>
          </p:cNvSpPr>
          <p:nvPr>
            <p:ph type="body" sz="quarter" idx="13"/>
          </p:nvPr>
        </p:nvSpPr>
        <p:spPr>
          <a:xfrm>
            <a:off x="228599" y="1554481"/>
            <a:ext cx="5577840" cy="1280160"/>
          </a:xfrm>
        </p:spPr>
        <p:txBody>
          <a:bodyPr tIns="0"/>
          <a:lstStyle>
            <a:lvl1pPr>
              <a:defRPr sz="3600">
                <a:solidFill>
                  <a:schemeClr val="accent1"/>
                </a:solidFill>
              </a:defRPr>
            </a:lvl1pPr>
            <a:lvl2pPr marL="0">
              <a:lnSpc>
                <a:spcPct val="100000"/>
              </a:lnSpc>
              <a:spcBef>
                <a:spcPts val="0"/>
              </a:spcBef>
              <a:defRPr sz="2800"/>
            </a:lvl2pPr>
          </a:lstStyle>
          <a:p>
            <a:pPr lvl="0"/>
            <a:r>
              <a:rPr lang="en-US"/>
              <a:t>Edit Master text styles</a:t>
            </a:r>
          </a:p>
          <a:p>
            <a:pPr lvl="1"/>
            <a:r>
              <a:rPr lang="en-US"/>
              <a:t>Second level</a:t>
            </a:r>
          </a:p>
        </p:txBody>
      </p:sp>
      <p:sp>
        <p:nvSpPr>
          <p:cNvPr id="5" name="Rectangle 4"/>
          <p:cNvSpPr/>
          <p:nvPr userDrawn="1"/>
        </p:nvSpPr>
        <p:spPr>
          <a:xfrm rot="5400000">
            <a:off x="-322867" y="181702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44069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2.96296E-6 L 0.01914 -2.96296E-6 " pathEditMode="relative" rAng="0" ptsTypes="AA">
                                      <p:cBhvr>
                                        <p:cTn id="6" dur="400" fill="hold"/>
                                        <p:tgtEl>
                                          <p:spTgt spid="5"/>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28599" y="3046549"/>
            <a:ext cx="5577838" cy="2194560"/>
          </a:xfrm>
        </p:spPr>
        <p:txBody>
          <a:bodyPr tIns="0"/>
          <a:lstStyle>
            <a:lvl1pPr>
              <a:defRPr spc="-30" baseline="0">
                <a:solidFill>
                  <a:schemeClr val="tx2"/>
                </a:solidFill>
              </a:defRPr>
            </a:lvl1pPr>
          </a:lstStyle>
          <a:p>
            <a:r>
              <a:rPr lang="en-US"/>
              <a:t>Use this slide whenever you need a</a:t>
            </a:r>
            <a:br>
              <a:rPr lang="en-US"/>
            </a:br>
            <a:r>
              <a:rPr lang="en-US"/>
              <a:t>section break in your presentation</a:t>
            </a:r>
          </a:p>
        </p:txBody>
      </p:sp>
      <p:sp>
        <p:nvSpPr>
          <p:cNvPr id="26" name="Picture Placeholder 4"/>
          <p:cNvSpPr>
            <a:spLocks noGrp="1"/>
          </p:cNvSpPr>
          <p:nvPr>
            <p:ph type="pic" sz="quarter" idx="10"/>
          </p:nvPr>
        </p:nvSpPr>
        <p:spPr>
          <a:xfrm>
            <a:off x="6019800" y="1554481"/>
            <a:ext cx="5943600" cy="3657600"/>
          </a:xfrm>
        </p:spPr>
        <p:txBody>
          <a:bodyPr/>
          <a:lstStyle>
            <a:lvl1pPr>
              <a:defRPr spc="-30" baseline="0">
                <a:solidFill>
                  <a:schemeClr val="tx2"/>
                </a:solidFill>
              </a:defRPr>
            </a:lvl1pPr>
          </a:lstStyle>
          <a:p>
            <a:endParaRPr lang="en-US"/>
          </a:p>
        </p:txBody>
      </p:sp>
      <p:sp>
        <p:nvSpPr>
          <p:cNvPr id="6" name="Text Placeholder 5"/>
          <p:cNvSpPr>
            <a:spLocks noGrp="1"/>
          </p:cNvSpPr>
          <p:nvPr>
            <p:ph type="body" sz="quarter" idx="13"/>
          </p:nvPr>
        </p:nvSpPr>
        <p:spPr>
          <a:xfrm>
            <a:off x="228599" y="1554481"/>
            <a:ext cx="5577840" cy="1280160"/>
          </a:xfrm>
        </p:spPr>
        <p:txBody>
          <a:bodyPr tIns="0"/>
          <a:lstStyle>
            <a:lvl1pPr>
              <a:defRPr sz="3600">
                <a:solidFill>
                  <a:schemeClr val="accent1"/>
                </a:solidFill>
              </a:defRPr>
            </a:lvl1pPr>
            <a:lvl2pPr marL="0">
              <a:lnSpc>
                <a:spcPct val="100000"/>
              </a:lnSpc>
              <a:spcBef>
                <a:spcPts val="0"/>
              </a:spcBef>
              <a:defRPr sz="2800"/>
            </a:lvl2pPr>
          </a:lstStyle>
          <a:p>
            <a:pPr lvl="0"/>
            <a:r>
              <a:rPr lang="en-US"/>
              <a:t>Edit Master text styles</a:t>
            </a:r>
          </a:p>
          <a:p>
            <a:pPr lvl="1"/>
            <a:r>
              <a:rPr lang="en-US"/>
              <a:t>Second level</a:t>
            </a:r>
          </a:p>
        </p:txBody>
      </p:sp>
      <p:sp>
        <p:nvSpPr>
          <p:cNvPr id="5" name="Rectangle 4"/>
          <p:cNvSpPr/>
          <p:nvPr userDrawn="1"/>
        </p:nvSpPr>
        <p:spPr>
          <a:xfrm rot="5400000">
            <a:off x="-322867" y="181702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112242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2.96296E-6 L 0.01914 -2.96296E-6 " pathEditMode="relative" rAng="0" ptsTypes="AA">
                                      <p:cBhvr>
                                        <p:cTn id="6" dur="400" fill="hold"/>
                                        <p:tgtEl>
                                          <p:spTgt spid="5"/>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 name="Text Placeholder 4"/>
          <p:cNvSpPr>
            <a:spLocks noGrp="1"/>
          </p:cNvSpPr>
          <p:nvPr>
            <p:ph type="body" sz="quarter" idx="11" hasCustomPrompt="1"/>
          </p:nvPr>
        </p:nvSpPr>
        <p:spPr>
          <a:xfrm>
            <a:off x="2914033" y="1554481"/>
            <a:ext cx="8732662" cy="3657600"/>
          </a:xfrm>
        </p:spPr>
        <p:txBody>
          <a:bodyPr lIns="0" tIns="137160" anchor="t" anchorCtr="0">
            <a:normAutofit/>
          </a:bodyPr>
          <a:lstStyle>
            <a:lvl1pPr marL="0" marR="0" indent="0" algn="l" defTabSz="914225" rtl="0" eaLnBrk="1" fontAlgn="auto" latinLnBrk="0" hangingPunct="1">
              <a:lnSpc>
                <a:spcPct val="100000"/>
              </a:lnSpc>
              <a:spcBef>
                <a:spcPts val="1800"/>
              </a:spcBef>
              <a:spcAft>
                <a:spcPts val="0"/>
              </a:spcAft>
              <a:buClrTx/>
              <a:buSzPct val="50000"/>
              <a:buFont typeface="Arial" panose="020B0604020202020204" pitchFamily="34" charset="0"/>
              <a:buNone/>
              <a:tabLst/>
              <a:defRPr sz="2400" spc="-30" baseline="0">
                <a:solidFill>
                  <a:schemeClr val="tx2"/>
                </a:solidFill>
              </a:defRPr>
            </a:lvl1pPr>
            <a:lvl2pPr marL="639957" indent="-182845">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1 Title</a:t>
            </a:r>
          </a:p>
          <a:p>
            <a:pPr lvl="1"/>
            <a:r>
              <a:rPr lang="en-US"/>
              <a:t>Content</a:t>
            </a:r>
          </a:p>
          <a:p>
            <a:pPr lvl="0"/>
            <a:r>
              <a:rPr lang="en-US"/>
              <a:t>Section 2 Title</a:t>
            </a:r>
          </a:p>
          <a:p>
            <a:pPr marL="342834" marR="0" lvl="0" indent="-342834" algn="l" defTabSz="914225" rtl="0" eaLnBrk="1" fontAlgn="auto" latinLnBrk="0" hangingPunct="1">
              <a:lnSpc>
                <a:spcPct val="100000"/>
              </a:lnSpc>
              <a:spcBef>
                <a:spcPts val="1800"/>
              </a:spcBef>
              <a:spcAft>
                <a:spcPts val="0"/>
              </a:spcAft>
              <a:buClrTx/>
              <a:buSzTx/>
              <a:tabLst/>
              <a:defRPr/>
            </a:pPr>
            <a:r>
              <a:rPr lang="en-US"/>
              <a:t>Section 3 Title</a:t>
            </a:r>
          </a:p>
          <a:p>
            <a:pPr marL="342834" marR="0" lvl="0" indent="-342834" algn="l" defTabSz="914225" rtl="0" eaLnBrk="1" fontAlgn="auto" latinLnBrk="0" hangingPunct="1">
              <a:lnSpc>
                <a:spcPct val="100000"/>
              </a:lnSpc>
              <a:spcBef>
                <a:spcPts val="1800"/>
              </a:spcBef>
              <a:spcAft>
                <a:spcPts val="0"/>
              </a:spcAft>
              <a:buClrTx/>
              <a:buSzTx/>
              <a:tabLst/>
              <a:defRPr/>
            </a:pPr>
            <a:r>
              <a:rPr lang="en-US"/>
              <a:t>Section 4 Title</a:t>
            </a:r>
          </a:p>
          <a:p>
            <a:pPr marL="342834" marR="0" lvl="0" indent="-342834" algn="l" defTabSz="914225" rtl="0" eaLnBrk="1" fontAlgn="auto" latinLnBrk="0" hangingPunct="1">
              <a:lnSpc>
                <a:spcPct val="100000"/>
              </a:lnSpc>
              <a:spcBef>
                <a:spcPts val="1800"/>
              </a:spcBef>
              <a:spcAft>
                <a:spcPts val="0"/>
              </a:spcAft>
              <a:buClrTx/>
              <a:buSzTx/>
              <a:tabLst/>
              <a:defRPr/>
            </a:pPr>
            <a:r>
              <a:rPr lang="en-US"/>
              <a:t>Section 5 Title</a:t>
            </a:r>
          </a:p>
          <a:p>
            <a:pPr lvl="0"/>
            <a:endParaRPr lang="en-US"/>
          </a:p>
        </p:txBody>
      </p:sp>
      <p:sp>
        <p:nvSpPr>
          <p:cNvPr id="6" name="Text Placeholder 5"/>
          <p:cNvSpPr>
            <a:spLocks noGrp="1"/>
          </p:cNvSpPr>
          <p:nvPr>
            <p:ph type="body" sz="quarter" idx="13" hasCustomPrompt="1"/>
          </p:nvPr>
        </p:nvSpPr>
        <p:spPr>
          <a:xfrm>
            <a:off x="228599" y="1554481"/>
            <a:ext cx="2514601" cy="1280160"/>
          </a:xfrm>
        </p:spPr>
        <p:txBody>
          <a:bodyPr tIns="0"/>
          <a:lstStyle>
            <a:lvl1pPr>
              <a:defRPr sz="3600">
                <a:solidFill>
                  <a:schemeClr val="accent1"/>
                </a:solidFill>
              </a:defRPr>
            </a:lvl1pPr>
            <a:lvl2pPr marL="0">
              <a:lnSpc>
                <a:spcPct val="100000"/>
              </a:lnSpc>
              <a:spcBef>
                <a:spcPts val="0"/>
              </a:spcBef>
              <a:defRPr sz="2800"/>
            </a:lvl2pPr>
          </a:lstStyle>
          <a:p>
            <a:pPr lvl="0"/>
            <a:r>
              <a:rPr lang="en-US"/>
              <a:t>Agenda</a:t>
            </a:r>
          </a:p>
        </p:txBody>
      </p:sp>
      <p:sp>
        <p:nvSpPr>
          <p:cNvPr id="7" name="Rectangle 6"/>
          <p:cNvSpPr/>
          <p:nvPr userDrawn="1"/>
        </p:nvSpPr>
        <p:spPr>
          <a:xfrm rot="5400000">
            <a:off x="-322867" y="181702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49779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2.96296E-6 L 0.01914 -2.96296E-6 " pathEditMode="relative" rAng="0" ptsTypes="AA">
                                      <p:cBhvr>
                                        <p:cTn id="6" dur="400" fill="hold"/>
                                        <p:tgtEl>
                                          <p:spTgt spid="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114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 name="Text Placeholder 4"/>
          <p:cNvSpPr>
            <a:spLocks noGrp="1"/>
          </p:cNvSpPr>
          <p:nvPr>
            <p:ph type="body" sz="quarter" idx="11" hasCustomPrompt="1"/>
          </p:nvPr>
        </p:nvSpPr>
        <p:spPr>
          <a:xfrm>
            <a:off x="228600" y="1554481"/>
            <a:ext cx="3714206" cy="4699016"/>
          </a:xfrm>
        </p:spPr>
        <p:txBody>
          <a:bodyPr tIns="0" anchor="t" anchorCtr="0">
            <a:normAutofit/>
          </a:bodyPr>
          <a:lstStyle>
            <a:lvl1pPr marL="0" marR="0" indent="0" algn="l" defTabSz="914225" rtl="0" eaLnBrk="1" fontAlgn="auto" latinLnBrk="0" hangingPunct="1">
              <a:lnSpc>
                <a:spcPct val="100000"/>
              </a:lnSpc>
              <a:spcBef>
                <a:spcPts val="1800"/>
              </a:spcBef>
              <a:spcAft>
                <a:spcPts val="0"/>
              </a:spcAft>
              <a:buClrTx/>
              <a:buSzTx/>
              <a:buFont typeface="Arial" panose="020B0604020202020204" pitchFamily="34" charset="0"/>
              <a:buNone/>
              <a:tabLst/>
              <a:defRPr sz="2400" spc="-30" baseline="0">
                <a:solidFill>
                  <a:schemeClr val="tx2"/>
                </a:solidFill>
              </a:defRPr>
            </a:lvl1pPr>
            <a:lvl2pPr marL="639957" indent="-182845">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1 Title</a:t>
            </a:r>
          </a:p>
          <a:p>
            <a:pPr lvl="1"/>
            <a:r>
              <a:rPr lang="en-US"/>
              <a:t>Content</a:t>
            </a:r>
          </a:p>
          <a:p>
            <a:pPr lvl="0"/>
            <a:r>
              <a:rPr lang="en-US"/>
              <a:t>Section 2 Title</a:t>
            </a:r>
          </a:p>
          <a:p>
            <a:pPr lvl="1"/>
            <a:r>
              <a:rPr lang="en-US"/>
              <a:t>Content</a:t>
            </a:r>
          </a:p>
          <a:p>
            <a:pPr lvl="0"/>
            <a:r>
              <a:rPr lang="en-US"/>
              <a:t>Section 3 Title</a:t>
            </a:r>
          </a:p>
          <a:p>
            <a:pPr lvl="1"/>
            <a:r>
              <a:rPr lang="en-US"/>
              <a:t>Content</a:t>
            </a:r>
          </a:p>
          <a:p>
            <a:pPr lvl="0"/>
            <a:r>
              <a:rPr lang="en-US"/>
              <a:t>Section 4 Title</a:t>
            </a:r>
          </a:p>
          <a:p>
            <a:pPr lvl="1"/>
            <a:r>
              <a:rPr lang="en-US"/>
              <a:t>Content</a:t>
            </a:r>
          </a:p>
          <a:p>
            <a:pPr lvl="0"/>
            <a:endParaRPr lang="en-US"/>
          </a:p>
        </p:txBody>
      </p:sp>
      <p:sp>
        <p:nvSpPr>
          <p:cNvPr id="7" name="Title 1"/>
          <p:cNvSpPr>
            <a:spLocks noGrp="1"/>
          </p:cNvSpPr>
          <p:nvPr>
            <p:ph type="title" hasCustomPrompt="1"/>
          </p:nvPr>
        </p:nvSpPr>
        <p:spPr>
          <a:xfrm>
            <a:off x="228601" y="228601"/>
            <a:ext cx="11734801" cy="1280160"/>
          </a:xfrm>
        </p:spPr>
        <p:txBody>
          <a:bodyPr tIns="45720" anchor="t" anchorCtr="0"/>
          <a:lstStyle>
            <a:lvl1pPr>
              <a:defRPr spc="-10" baseline="0">
                <a:solidFill>
                  <a:schemeClr val="accent1"/>
                </a:solidFill>
              </a:defRPr>
            </a:lvl1pPr>
          </a:lstStyle>
          <a:p>
            <a:r>
              <a:rPr lang="en-US"/>
              <a:t>Agenda</a:t>
            </a:r>
          </a:p>
        </p:txBody>
      </p:sp>
      <p:sp>
        <p:nvSpPr>
          <p:cNvPr id="10" name="Text Placeholder 4"/>
          <p:cNvSpPr>
            <a:spLocks noGrp="1"/>
          </p:cNvSpPr>
          <p:nvPr>
            <p:ph type="body" sz="quarter" idx="13" hasCustomPrompt="1"/>
          </p:nvPr>
        </p:nvSpPr>
        <p:spPr>
          <a:xfrm>
            <a:off x="4238897" y="1554481"/>
            <a:ext cx="3714206" cy="4699016"/>
          </a:xfrm>
        </p:spPr>
        <p:txBody>
          <a:bodyPr tIns="0" anchor="t" anchorCtr="0">
            <a:normAutofit/>
          </a:bodyPr>
          <a:lstStyle>
            <a:lvl1pPr marL="0" marR="0" indent="0" algn="l" defTabSz="914225" rtl="0" eaLnBrk="1" fontAlgn="auto" latinLnBrk="0" hangingPunct="1">
              <a:lnSpc>
                <a:spcPct val="100000"/>
              </a:lnSpc>
              <a:spcBef>
                <a:spcPts val="1800"/>
              </a:spcBef>
              <a:spcAft>
                <a:spcPts val="0"/>
              </a:spcAft>
              <a:buClrTx/>
              <a:buSzTx/>
              <a:buFont typeface="Arial" panose="020B0604020202020204" pitchFamily="34" charset="0"/>
              <a:buNone/>
              <a:tabLst/>
              <a:defRPr sz="2400" spc="-30" baseline="0">
                <a:solidFill>
                  <a:schemeClr val="tx2"/>
                </a:solidFill>
              </a:defRPr>
            </a:lvl1pPr>
            <a:lvl2pPr marL="639957" indent="-182845">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5 Title</a:t>
            </a:r>
          </a:p>
          <a:p>
            <a:pPr lvl="1"/>
            <a:r>
              <a:rPr lang="en-US"/>
              <a:t>Content</a:t>
            </a:r>
          </a:p>
          <a:p>
            <a:pPr lvl="0"/>
            <a:r>
              <a:rPr lang="en-US"/>
              <a:t>Section 6 Title</a:t>
            </a:r>
          </a:p>
          <a:p>
            <a:pPr lvl="1"/>
            <a:r>
              <a:rPr lang="en-US"/>
              <a:t>Content</a:t>
            </a:r>
          </a:p>
          <a:p>
            <a:pPr lvl="0"/>
            <a:r>
              <a:rPr lang="en-US"/>
              <a:t>Section 7 Title</a:t>
            </a:r>
          </a:p>
          <a:p>
            <a:pPr lvl="1"/>
            <a:r>
              <a:rPr lang="en-US"/>
              <a:t>Content</a:t>
            </a:r>
          </a:p>
          <a:p>
            <a:pPr lvl="0"/>
            <a:r>
              <a:rPr lang="en-US"/>
              <a:t>Section 8 Title</a:t>
            </a:r>
          </a:p>
          <a:p>
            <a:pPr lvl="1"/>
            <a:r>
              <a:rPr lang="en-US"/>
              <a:t>Content</a:t>
            </a:r>
          </a:p>
          <a:p>
            <a:pPr lvl="0"/>
            <a:endParaRPr lang="en-US"/>
          </a:p>
        </p:txBody>
      </p:sp>
      <p:sp>
        <p:nvSpPr>
          <p:cNvPr id="11" name="Text Placeholder 4"/>
          <p:cNvSpPr>
            <a:spLocks noGrp="1"/>
          </p:cNvSpPr>
          <p:nvPr>
            <p:ph type="body" sz="quarter" idx="14" hasCustomPrompt="1"/>
          </p:nvPr>
        </p:nvSpPr>
        <p:spPr>
          <a:xfrm>
            <a:off x="8249194" y="1554481"/>
            <a:ext cx="3714206" cy="4699016"/>
          </a:xfrm>
        </p:spPr>
        <p:txBody>
          <a:bodyPr tIns="0" anchor="t" anchorCtr="0">
            <a:normAutofit/>
          </a:bodyPr>
          <a:lstStyle>
            <a:lvl1pPr marL="0" marR="0" indent="0" algn="l" defTabSz="914225" rtl="0" eaLnBrk="1" fontAlgn="auto" latinLnBrk="0" hangingPunct="1">
              <a:lnSpc>
                <a:spcPct val="100000"/>
              </a:lnSpc>
              <a:spcBef>
                <a:spcPts val="1800"/>
              </a:spcBef>
              <a:spcAft>
                <a:spcPts val="0"/>
              </a:spcAft>
              <a:buClrTx/>
              <a:buSzTx/>
              <a:buFont typeface="Arial" panose="020B0604020202020204" pitchFamily="34" charset="0"/>
              <a:buNone/>
              <a:tabLst/>
              <a:defRPr sz="2400" spc="-30" baseline="0">
                <a:solidFill>
                  <a:schemeClr val="tx2"/>
                </a:solidFill>
              </a:defRPr>
            </a:lvl1pPr>
            <a:lvl2pPr marL="639957" indent="-182845">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Section 9 Title</a:t>
            </a:r>
          </a:p>
          <a:p>
            <a:pPr lvl="1"/>
            <a:r>
              <a:rPr lang="en-US"/>
              <a:t>Content</a:t>
            </a:r>
          </a:p>
          <a:p>
            <a:pPr lvl="0"/>
            <a:r>
              <a:rPr lang="en-US"/>
              <a:t>Section 10 Title</a:t>
            </a:r>
          </a:p>
          <a:p>
            <a:pPr lvl="1"/>
            <a:r>
              <a:rPr lang="en-US"/>
              <a:t>Content</a:t>
            </a:r>
          </a:p>
          <a:p>
            <a:pPr lvl="0"/>
            <a:r>
              <a:rPr lang="en-US"/>
              <a:t>Section 11 Title</a:t>
            </a:r>
          </a:p>
          <a:p>
            <a:pPr lvl="1"/>
            <a:r>
              <a:rPr lang="en-US"/>
              <a:t>Content</a:t>
            </a:r>
          </a:p>
          <a:p>
            <a:pPr lvl="0"/>
            <a:r>
              <a:rPr lang="en-US"/>
              <a:t>Section 12 Title</a:t>
            </a:r>
          </a:p>
          <a:p>
            <a:pPr lvl="1"/>
            <a:r>
              <a:rPr lang="en-US"/>
              <a:t>Content</a:t>
            </a:r>
          </a:p>
          <a:p>
            <a:pPr lvl="0"/>
            <a:endParaRPr lang="en-US"/>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405946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1" cy="502920"/>
          </a:xfrm>
        </p:spPr>
        <p:txBody>
          <a:bodyPr tIns="45720"/>
          <a:lstStyle>
            <a:lvl1pPr>
              <a:defRPr baseline="0">
                <a:solidFill>
                  <a:schemeClr val="accent1"/>
                </a:solidFill>
              </a:defRPr>
            </a:lvl1pPr>
          </a:lstStyle>
          <a:p>
            <a:r>
              <a:rPr lang="en-US"/>
              <a:t>Title of slide (Content slide)</a:t>
            </a:r>
          </a:p>
        </p:txBody>
      </p:sp>
      <p:sp>
        <p:nvSpPr>
          <p:cNvPr id="16"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7" name="Text Placeholder 6"/>
          <p:cNvSpPr>
            <a:spLocks noGrp="1"/>
          </p:cNvSpPr>
          <p:nvPr>
            <p:ph type="body" sz="quarter" idx="11" hasCustomPrompt="1"/>
          </p:nvPr>
        </p:nvSpPr>
        <p:spPr>
          <a:xfrm>
            <a:off x="228600" y="1554481"/>
            <a:ext cx="11734801" cy="4427872"/>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22"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7" name="Rectangle 6"/>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129746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amp; 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Content Slide)</a:t>
            </a:r>
          </a:p>
        </p:txBody>
      </p:sp>
      <p:sp>
        <p:nvSpPr>
          <p:cNvPr id="17" name="Text Placeholder 6"/>
          <p:cNvSpPr>
            <a:spLocks noGrp="1"/>
          </p:cNvSpPr>
          <p:nvPr>
            <p:ph type="body" sz="quarter" idx="11" hasCustomPrompt="1"/>
          </p:nvPr>
        </p:nvSpPr>
        <p:spPr>
          <a:xfrm>
            <a:off x="6172201" y="1554481"/>
            <a:ext cx="5791199" cy="4427872"/>
          </a:xfrm>
          <a:solidFill>
            <a:schemeClr val="bg2"/>
          </a:solidFill>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7"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6"/>
          <p:cNvSpPr>
            <a:spLocks noGrp="1"/>
          </p:cNvSpPr>
          <p:nvPr>
            <p:ph type="body" sz="quarter" idx="37" hasCustomPrompt="1"/>
          </p:nvPr>
        </p:nvSpPr>
        <p:spPr>
          <a:xfrm>
            <a:off x="228600" y="1554481"/>
            <a:ext cx="5726778" cy="4427872"/>
          </a:xfrm>
          <a:solidFill>
            <a:schemeClr val="bg2"/>
          </a:solidFill>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1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06862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amp;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image slide)</a:t>
            </a:r>
          </a:p>
        </p:txBody>
      </p:sp>
      <p:sp>
        <p:nvSpPr>
          <p:cNvPr id="14" name="Picture Placeholder 8"/>
          <p:cNvSpPr>
            <a:spLocks noGrp="1"/>
          </p:cNvSpPr>
          <p:nvPr>
            <p:ph type="pic" sz="quarter" idx="12"/>
          </p:nvPr>
        </p:nvSpPr>
        <p:spPr>
          <a:xfrm>
            <a:off x="228601" y="1554481"/>
            <a:ext cx="5726777" cy="4427872"/>
          </a:xfrm>
        </p:spPr>
        <p:txBody>
          <a:bodyPr tIns="137160"/>
          <a:lstStyle>
            <a:lvl1pPr>
              <a:defRPr>
                <a:solidFill>
                  <a:schemeClr val="tx2"/>
                </a:solidFill>
              </a:defRPr>
            </a:lvl1pPr>
          </a:lstStyle>
          <a:p>
            <a:endParaRPr lang="en-US"/>
          </a:p>
        </p:txBody>
      </p:sp>
      <p:sp>
        <p:nvSpPr>
          <p:cNvPr id="17" name="Text Placeholder 6"/>
          <p:cNvSpPr>
            <a:spLocks noGrp="1"/>
          </p:cNvSpPr>
          <p:nvPr>
            <p:ph type="body" sz="quarter" idx="11" hasCustomPrompt="1"/>
          </p:nvPr>
        </p:nvSpPr>
        <p:spPr>
          <a:xfrm>
            <a:off x="6172201" y="1554481"/>
            <a:ext cx="5791199" cy="4427872"/>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7"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64787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9" name="Picture Placeholder 8"/>
          <p:cNvSpPr>
            <a:spLocks noGrp="1"/>
          </p:cNvSpPr>
          <p:nvPr>
            <p:ph type="pic" sz="quarter" idx="12"/>
          </p:nvPr>
        </p:nvSpPr>
        <p:spPr>
          <a:xfrm>
            <a:off x="228600" y="1554481"/>
            <a:ext cx="11734800" cy="4427874"/>
          </a:xfrm>
        </p:spPr>
        <p:txBody>
          <a:bodyPr tIns="137160"/>
          <a:lstStyle>
            <a:lvl1pPr algn="l">
              <a:defRPr>
                <a:solidFill>
                  <a:schemeClr val="tx2"/>
                </a:solidFill>
              </a:defRPr>
            </a:lvl1pPr>
          </a:lstStyle>
          <a:p>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Image slide)</a:t>
            </a:r>
          </a:p>
        </p:txBody>
      </p:sp>
      <p:sp>
        <p:nvSpPr>
          <p:cNvPr id="6"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7"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03981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hoto 1">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228600" y="228601"/>
            <a:ext cx="5715000" cy="502920"/>
          </a:xfrm>
        </p:spPr>
        <p:txBody>
          <a:bodyPr/>
          <a:lstStyle>
            <a:lvl1pPr>
              <a:defRPr baseline="0">
                <a:solidFill>
                  <a:schemeClr val="accent1"/>
                </a:solidFill>
              </a:defRPr>
            </a:lvl1pPr>
          </a:lstStyle>
          <a:p>
            <a:r>
              <a:rPr lang="en-US"/>
              <a:t>Title of slide (Photo)</a:t>
            </a:r>
          </a:p>
        </p:txBody>
      </p:sp>
      <p:sp>
        <p:nvSpPr>
          <p:cNvPr id="7" name="Picture Placeholder 8"/>
          <p:cNvSpPr>
            <a:spLocks noGrp="1"/>
          </p:cNvSpPr>
          <p:nvPr>
            <p:ph type="pic" sz="quarter" idx="12"/>
          </p:nvPr>
        </p:nvSpPr>
        <p:spPr>
          <a:xfrm>
            <a:off x="6172201" y="0"/>
            <a:ext cx="6019799" cy="6858000"/>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9E01B21-706C-4CF8-9DD5-E21775540E89}" type="slidenum">
              <a:rPr lang="en-US" smtClean="0"/>
              <a:pPr/>
              <a:t>‹#›</a:t>
            </a:fld>
            <a:endParaRPr lang="en-US"/>
          </a:p>
        </p:txBody>
      </p:sp>
      <p:sp>
        <p:nvSpPr>
          <p:cNvPr id="9" name="Text Placeholder 6"/>
          <p:cNvSpPr>
            <a:spLocks noGrp="1"/>
          </p:cNvSpPr>
          <p:nvPr>
            <p:ph type="body" sz="quarter" idx="14" hasCustomPrompt="1"/>
          </p:nvPr>
        </p:nvSpPr>
        <p:spPr>
          <a:xfrm>
            <a:off x="228600" y="1554481"/>
            <a:ext cx="5715000" cy="4427872"/>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11" name="Text Placeholder 3"/>
          <p:cNvSpPr>
            <a:spLocks noGrp="1"/>
          </p:cNvSpPr>
          <p:nvPr>
            <p:ph type="body" sz="quarter" idx="37" hasCustomPrompt="1"/>
          </p:nvPr>
        </p:nvSpPr>
        <p:spPr>
          <a:xfrm>
            <a:off x="228600" y="731520"/>
            <a:ext cx="5715000" cy="457200"/>
          </a:xfrm>
        </p:spPr>
        <p:txBody>
          <a:bodyPr lIns="146304" tIns="0" bIns="0" anchor="t" anchorCtr="0"/>
          <a:lstStyle>
            <a:lvl1pPr>
              <a:defRPr baseline="0"/>
            </a:lvl1pPr>
          </a:lstStyle>
          <a:p>
            <a:pPr lvl="0"/>
            <a:r>
              <a:rPr lang="en-US"/>
              <a:t>Title of sub header</a:t>
            </a:r>
          </a:p>
        </p:txBody>
      </p:sp>
      <p:sp>
        <p:nvSpPr>
          <p:cNvPr id="14"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98084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2">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6248399" y="228601"/>
            <a:ext cx="5715002" cy="502920"/>
          </a:xfrm>
        </p:spPr>
        <p:txBody>
          <a:bodyPr/>
          <a:lstStyle>
            <a:lvl1pPr>
              <a:defRPr baseline="0">
                <a:solidFill>
                  <a:schemeClr val="accent1"/>
                </a:solidFill>
              </a:defRPr>
            </a:lvl1pPr>
          </a:lstStyle>
          <a:p>
            <a:r>
              <a:rPr lang="en-US"/>
              <a:t>Title of slide (Photo)</a:t>
            </a:r>
          </a:p>
        </p:txBody>
      </p:sp>
      <p:sp>
        <p:nvSpPr>
          <p:cNvPr id="7" name="Picture Placeholder 8"/>
          <p:cNvSpPr>
            <a:spLocks noGrp="1"/>
          </p:cNvSpPr>
          <p:nvPr>
            <p:ph type="pic" sz="quarter" idx="12"/>
          </p:nvPr>
        </p:nvSpPr>
        <p:spPr>
          <a:xfrm>
            <a:off x="1" y="0"/>
            <a:ext cx="6019799" cy="6858000"/>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tx2"/>
                </a:solidFill>
              </a:defRPr>
            </a:lvl1pPr>
          </a:lstStyle>
          <a:p>
            <a:fld id="{39E01B21-706C-4CF8-9DD5-E21775540E89}" type="slidenum">
              <a:rPr lang="en-US" smtClean="0"/>
              <a:pPr/>
              <a:t>‹#›</a:t>
            </a:fld>
            <a:endParaRPr lang="en-US"/>
          </a:p>
        </p:txBody>
      </p:sp>
      <p:sp>
        <p:nvSpPr>
          <p:cNvPr id="10" name="Text Placeholder 6"/>
          <p:cNvSpPr>
            <a:spLocks noGrp="1"/>
          </p:cNvSpPr>
          <p:nvPr>
            <p:ph type="body" sz="quarter" idx="14" hasCustomPrompt="1"/>
          </p:nvPr>
        </p:nvSpPr>
        <p:spPr>
          <a:xfrm>
            <a:off x="6248399" y="1554481"/>
            <a:ext cx="5715002" cy="4427872"/>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6248399" y="731520"/>
            <a:ext cx="57150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228600"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5916960" y="-322674"/>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55638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26667" decel="66667" fill="hold" grpId="0" nodeType="afterEffect">
                                  <p:stCondLst>
                                    <p:cond delay="0"/>
                                  </p:stCondLst>
                                  <p:childTnLst>
                                    <p:animMotion origin="layout" path="M -4.79167E-6 2.59259E-6 L -4.79167E-6 0.12268 " pathEditMode="relative" rAng="0" ptsTypes="AA">
                                      <p:cBhvr>
                                        <p:cTn id="6" dur="400" fill="hold"/>
                                        <p:tgtEl>
                                          <p:spTgt spid="11"/>
                                        </p:tgtEl>
                                        <p:attrNameLst>
                                          <p:attrName>ppt_x</p:attrName>
                                          <p:attrName>ppt_y</p:attrName>
                                        </p:attrNameLst>
                                      </p:cBhvr>
                                      <p:rCtr x="0" y="613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3">
    <p:spTree>
      <p:nvGrpSpPr>
        <p:cNvPr id="1" name=""/>
        <p:cNvGrpSpPr/>
        <p:nvPr/>
      </p:nvGrpSpPr>
      <p:grpSpPr>
        <a:xfrm>
          <a:off x="0" y="0"/>
          <a:ext cx="0" cy="0"/>
          <a:chOff x="0" y="0"/>
          <a:chExt cx="0" cy="0"/>
        </a:xfrm>
      </p:grpSpPr>
      <p:sp>
        <p:nvSpPr>
          <p:cNvPr id="17" name="Text Placeholder 6"/>
          <p:cNvSpPr>
            <a:spLocks noGrp="1"/>
          </p:cNvSpPr>
          <p:nvPr>
            <p:ph type="body" sz="quarter" idx="11" hasCustomPrompt="1"/>
          </p:nvPr>
        </p:nvSpPr>
        <p:spPr>
          <a:xfrm>
            <a:off x="228600" y="1825624"/>
            <a:ext cx="5715000" cy="3206752"/>
          </a:xfrm>
        </p:spPr>
        <p:txBody>
          <a:bodyPr bIns="137160" anchor="ctr" anchorCtr="0"/>
          <a:lstStyle>
            <a:lvl1pPr algn="ctr">
              <a:lnSpc>
                <a:spcPct val="100000"/>
              </a:lnSpc>
              <a:spcBef>
                <a:spcPts val="0"/>
              </a:spcBef>
              <a:spcAft>
                <a:spcPts val="1000"/>
              </a:spcAft>
              <a:defRPr spc="-30" baseline="0">
                <a:solidFill>
                  <a:schemeClr val="tx2"/>
                </a:solidFill>
              </a:defRPr>
            </a:lvl1pPr>
            <a:lvl2pPr marL="0" algn="ctr">
              <a:defRPr sz="1800"/>
            </a:lvl2pPr>
          </a:lstStyle>
          <a:p>
            <a:pPr lvl="0"/>
            <a:r>
              <a:rPr lang="en-US"/>
              <a:t>“Add a pull quote here. Try to use a short, clear, and impactful statement.” </a:t>
            </a:r>
          </a:p>
          <a:p>
            <a:pPr lvl="1"/>
            <a:r>
              <a:rPr lang="en-US"/>
              <a:t>Add the person’s name, title, and organization here</a:t>
            </a:r>
          </a:p>
        </p:txBody>
      </p:sp>
      <p:sp>
        <p:nvSpPr>
          <p:cNvPr id="7" name="Picture Placeholder 8"/>
          <p:cNvSpPr>
            <a:spLocks noGrp="1"/>
          </p:cNvSpPr>
          <p:nvPr>
            <p:ph type="pic" sz="quarter" idx="12"/>
          </p:nvPr>
        </p:nvSpPr>
        <p:spPr>
          <a:xfrm>
            <a:off x="6172201" y="0"/>
            <a:ext cx="6019799" cy="6858000"/>
          </a:xfrm>
        </p:spPr>
        <p:txBody>
          <a:bodyPr lIns="365760" tIns="640080" rIns="274320"/>
          <a:lstStyle>
            <a:lvl1pPr>
              <a:defRPr>
                <a:solidFill>
                  <a:schemeClr val="tx2"/>
                </a:solidFill>
              </a:defRPr>
            </a:lvl1pPr>
          </a:lstStyle>
          <a:p>
            <a:endParaRPr lang="en-US"/>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9E01B21-706C-4CF8-9DD5-E21775540E89}" type="slidenum">
              <a:rPr lang="en-US" smtClean="0"/>
              <a:pPr/>
              <a:t>‹#›</a:t>
            </a:fld>
            <a:endParaRPr lang="en-US"/>
          </a:p>
        </p:txBody>
      </p:sp>
      <p:sp>
        <p:nvSpPr>
          <p:cNvPr id="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6" name="Rectangle 5"/>
          <p:cNvSpPr/>
          <p:nvPr userDrawn="1"/>
        </p:nvSpPr>
        <p:spPr>
          <a:xfrm>
            <a:off x="2537460" y="-64008"/>
            <a:ext cx="1097280"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2537460" y="6858000"/>
            <a:ext cx="1097280"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15962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withEffect">
                                  <p:stCondLst>
                                    <p:cond delay="0"/>
                                  </p:stCondLst>
                                  <p:childTnLst>
                                    <p:animMotion origin="layout" path="M 5E-6 -0.00463 L -0.00026 0.13634 " pathEditMode="relative" rAng="0" ptsTypes="AA">
                                      <p:cBhvr>
                                        <p:cTn id="6" dur="750" fill="hold"/>
                                        <p:tgtEl>
                                          <p:spTgt spid="6"/>
                                        </p:tgtEl>
                                        <p:attrNameLst>
                                          <p:attrName>ppt_x</p:attrName>
                                          <p:attrName>ppt_y</p:attrName>
                                        </p:attrNameLst>
                                      </p:cBhvr>
                                      <p:rCtr x="-13" y="7037"/>
                                    </p:animMotion>
                                  </p:childTnLst>
                                </p:cTn>
                              </p:par>
                              <p:par>
                                <p:cTn id="7" presetID="64" presetClass="path" presetSubtype="0" accel="50000" decel="50000" fill="hold" grpId="0" nodeType="withEffect">
                                  <p:stCondLst>
                                    <p:cond delay="0"/>
                                  </p:stCondLst>
                                  <p:childTnLst>
                                    <p:animMotion origin="layout" path="M 5E-6 3.7037E-7 L -0.00026 -0.13634 " pathEditMode="relative" rAng="0" ptsTypes="AA">
                                      <p:cBhvr>
                                        <p:cTn id="8" dur="750" fill="hold"/>
                                        <p:tgtEl>
                                          <p:spTgt spid="8"/>
                                        </p:tgtEl>
                                        <p:attrNameLst>
                                          <p:attrName>ppt_x</p:attrName>
                                          <p:attrName>ppt_y</p:attrName>
                                        </p:attrNameLst>
                                      </p:cBhvr>
                                      <p:rCtr x="-13" y="-68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amp; Char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chart slide)</a:t>
            </a:r>
          </a:p>
        </p:txBody>
      </p:sp>
      <p:sp>
        <p:nvSpPr>
          <p:cNvPr id="13" name="Chart Placeholder 10"/>
          <p:cNvSpPr>
            <a:spLocks noGrp="1"/>
          </p:cNvSpPr>
          <p:nvPr>
            <p:ph type="chart" sz="quarter" idx="13" hasCustomPrompt="1"/>
          </p:nvPr>
        </p:nvSpPr>
        <p:spPr>
          <a:xfrm>
            <a:off x="6128658" y="1554481"/>
            <a:ext cx="5834742" cy="3742072"/>
          </a:xfrm>
        </p:spPr>
        <p:txBody>
          <a:bodyPr/>
          <a:lstStyle>
            <a:lvl1pPr>
              <a:defRPr>
                <a:solidFill>
                  <a:schemeClr val="tx2"/>
                </a:solidFill>
              </a:defRPr>
            </a:lvl1pPr>
          </a:lstStyle>
          <a:p>
            <a:r>
              <a:rPr lang="en-US"/>
              <a:t>Chart</a:t>
            </a:r>
          </a:p>
        </p:txBody>
      </p:sp>
      <p:sp>
        <p:nvSpPr>
          <p:cNvPr id="4" name="Text Placeholder 3"/>
          <p:cNvSpPr>
            <a:spLocks noGrp="1"/>
          </p:cNvSpPr>
          <p:nvPr>
            <p:ph type="body" sz="quarter" idx="15" hasCustomPrompt="1"/>
          </p:nvPr>
        </p:nvSpPr>
        <p:spPr>
          <a:xfrm>
            <a:off x="6128657" y="5525152"/>
            <a:ext cx="5834740"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22"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40" name="Text Placeholder 6"/>
          <p:cNvSpPr>
            <a:spLocks noGrp="1"/>
          </p:cNvSpPr>
          <p:nvPr>
            <p:ph type="body" sz="quarter" idx="17" hasCustomPrompt="1"/>
          </p:nvPr>
        </p:nvSpPr>
        <p:spPr>
          <a:xfrm>
            <a:off x="228601" y="1554481"/>
            <a:ext cx="5669278" cy="4427872"/>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80651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1" cy="502920"/>
          </a:xfrm>
        </p:spPr>
        <p:txBody>
          <a:bodyPr/>
          <a:lstStyle>
            <a:lvl1pPr>
              <a:defRPr baseline="0">
                <a:solidFill>
                  <a:schemeClr val="accent1"/>
                </a:solidFill>
              </a:defRPr>
            </a:lvl1pPr>
          </a:lstStyle>
          <a:p>
            <a:r>
              <a:rPr lang="en-US"/>
              <a:t>Title of slide (Chart slide)</a:t>
            </a:r>
          </a:p>
        </p:txBody>
      </p:sp>
      <p:sp>
        <p:nvSpPr>
          <p:cNvPr id="6" name="Text Placeholder 3"/>
          <p:cNvSpPr>
            <a:spLocks noGrp="1"/>
          </p:cNvSpPr>
          <p:nvPr>
            <p:ph type="body" sz="quarter" idx="15" hasCustomPrompt="1"/>
          </p:nvPr>
        </p:nvSpPr>
        <p:spPr>
          <a:xfrm>
            <a:off x="228600" y="5584984"/>
            <a:ext cx="11734801"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8" name="Text Placeholder 3"/>
          <p:cNvSpPr>
            <a:spLocks noGrp="1"/>
          </p:cNvSpPr>
          <p:nvPr>
            <p:ph type="body" sz="quarter" idx="36"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Chart Placeholder 3"/>
          <p:cNvSpPr>
            <a:spLocks noGrp="1"/>
          </p:cNvSpPr>
          <p:nvPr>
            <p:ph type="chart" sz="quarter" idx="40"/>
          </p:nvPr>
        </p:nvSpPr>
        <p:spPr>
          <a:xfrm>
            <a:off x="228600" y="1554481"/>
            <a:ext cx="11734800" cy="3742074"/>
          </a:xfrm>
        </p:spPr>
        <p:txBody>
          <a:bodyPr/>
          <a:lstStyle>
            <a:lvl1pPr>
              <a:defRPr>
                <a:solidFill>
                  <a:schemeClr val="tx2"/>
                </a:solidFill>
                <a:latin typeface="Segoe UI Light" panose="020B0502040204020203" pitchFamily="34" charset="0"/>
                <a:cs typeface="Segoe UI Light" panose="020B0502040204020203" pitchFamily="34" charset="0"/>
              </a:defRPr>
            </a:lvl1pPr>
          </a:lstStyle>
          <a:p>
            <a:endParaRPr lang="en-US"/>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4091404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156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amp; 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1" cy="502920"/>
          </a:xfrm>
        </p:spPr>
        <p:txBody>
          <a:bodyPr/>
          <a:lstStyle>
            <a:lvl1pPr>
              <a:defRPr baseline="0">
                <a:solidFill>
                  <a:schemeClr val="accent1"/>
                </a:solidFill>
              </a:defRPr>
            </a:lvl1pPr>
          </a:lstStyle>
          <a:p>
            <a:r>
              <a:rPr lang="en-US"/>
              <a:t>Title of slide (Content &amp; table slide)</a:t>
            </a:r>
          </a:p>
        </p:txBody>
      </p:sp>
      <p:sp>
        <p:nvSpPr>
          <p:cNvPr id="8" name="Table Placeholder 3"/>
          <p:cNvSpPr>
            <a:spLocks noGrp="1"/>
          </p:cNvSpPr>
          <p:nvPr>
            <p:ph type="tbl" sz="quarter" idx="14"/>
          </p:nvPr>
        </p:nvSpPr>
        <p:spPr>
          <a:xfrm>
            <a:off x="6128657" y="1554481"/>
            <a:ext cx="5834743" cy="3742072"/>
          </a:xfrm>
        </p:spPr>
        <p:txBody>
          <a:bodyPr tIns="137160"/>
          <a:lstStyle>
            <a:lvl1pPr>
              <a:defRPr>
                <a:solidFill>
                  <a:schemeClr val="tx2"/>
                </a:solidFill>
              </a:defRPr>
            </a:lvl1pPr>
          </a:lstStyle>
          <a:p>
            <a:endParaRPr lang="en-US"/>
          </a:p>
        </p:txBody>
      </p:sp>
      <p:sp>
        <p:nvSpPr>
          <p:cNvPr id="9" name="Text Placeholder 3"/>
          <p:cNvSpPr>
            <a:spLocks noGrp="1"/>
          </p:cNvSpPr>
          <p:nvPr>
            <p:ph type="body" sz="quarter" idx="16" hasCustomPrompt="1"/>
          </p:nvPr>
        </p:nvSpPr>
        <p:spPr>
          <a:xfrm>
            <a:off x="6128657" y="5525152"/>
            <a:ext cx="5834743"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10" name="Text Placeholder 6"/>
          <p:cNvSpPr>
            <a:spLocks noGrp="1"/>
          </p:cNvSpPr>
          <p:nvPr>
            <p:ph type="body" sz="quarter" idx="17" hasCustomPrompt="1"/>
          </p:nvPr>
        </p:nvSpPr>
        <p:spPr>
          <a:xfrm>
            <a:off x="228599" y="1554481"/>
            <a:ext cx="5669280" cy="4427872"/>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11"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4" name="Rectangle 13"/>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58056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4"/>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Table slide)</a:t>
            </a:r>
          </a:p>
        </p:txBody>
      </p:sp>
      <p:sp>
        <p:nvSpPr>
          <p:cNvPr id="8" name="Table Placeholder 3"/>
          <p:cNvSpPr>
            <a:spLocks noGrp="1"/>
          </p:cNvSpPr>
          <p:nvPr>
            <p:ph type="tbl" sz="quarter" idx="14"/>
          </p:nvPr>
        </p:nvSpPr>
        <p:spPr>
          <a:xfrm>
            <a:off x="228600" y="1554481"/>
            <a:ext cx="11734800" cy="3742074"/>
          </a:xfrm>
        </p:spPr>
        <p:txBody>
          <a:bodyPr tIns="137160"/>
          <a:lstStyle>
            <a:lvl1pPr>
              <a:defRPr>
                <a:solidFill>
                  <a:schemeClr val="tx2"/>
                </a:solidFill>
              </a:defRPr>
            </a:lvl1pPr>
          </a:lstStyle>
          <a:p>
            <a:endParaRPr lang="en-US"/>
          </a:p>
        </p:txBody>
      </p:sp>
      <p:sp>
        <p:nvSpPr>
          <p:cNvPr id="6" name="Text Placeholder 3"/>
          <p:cNvSpPr>
            <a:spLocks noGrp="1"/>
          </p:cNvSpPr>
          <p:nvPr>
            <p:ph type="body" sz="quarter" idx="16" hasCustomPrompt="1"/>
          </p:nvPr>
        </p:nvSpPr>
        <p:spPr>
          <a:xfrm>
            <a:off x="228600" y="5538251"/>
            <a:ext cx="11734800"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7"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96776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amp; Quote">
    <p:spTree>
      <p:nvGrpSpPr>
        <p:cNvPr id="1" name=""/>
        <p:cNvGrpSpPr/>
        <p:nvPr/>
      </p:nvGrpSpPr>
      <p:grpSpPr>
        <a:xfrm>
          <a:off x="0" y="0"/>
          <a:ext cx="0" cy="0"/>
          <a:chOff x="0" y="0"/>
          <a:chExt cx="0" cy="0"/>
        </a:xfrm>
      </p:grpSpPr>
      <p:sp>
        <p:nvSpPr>
          <p:cNvPr id="11" name="Text Placeholder 6"/>
          <p:cNvSpPr>
            <a:spLocks noGrp="1"/>
          </p:cNvSpPr>
          <p:nvPr>
            <p:ph type="body" sz="quarter" idx="38" hasCustomPrompt="1"/>
          </p:nvPr>
        </p:nvSpPr>
        <p:spPr>
          <a:xfrm>
            <a:off x="0" y="4023360"/>
            <a:ext cx="12192000" cy="2052971"/>
          </a:xfrm>
          <a:solidFill>
            <a:schemeClr val="accent1"/>
          </a:solidFill>
        </p:spPr>
        <p:txBody>
          <a:bodyPr lIns="914400" tIns="0" rIns="914400" anchor="ctr" anchorCtr="0"/>
          <a:lstStyle>
            <a:lvl1pPr algn="ctr">
              <a:defRPr sz="2800" baseline="0">
                <a:solidFill>
                  <a:schemeClr val="bg1"/>
                </a:solidFill>
              </a:defRPr>
            </a:lvl1pPr>
            <a:lvl2pPr marL="0" indent="0" algn="ctr">
              <a:buClr>
                <a:schemeClr val="tx2"/>
              </a:buClr>
              <a:buSzPct val="75000"/>
              <a:buFont typeface="Wingdings" panose="05000000000000000000" pitchFamily="2" charset="2"/>
              <a:buNone/>
              <a:defRPr sz="1800" baseline="0">
                <a:solidFill>
                  <a:schemeClr val="bg1"/>
                </a:solidFill>
                <a:latin typeface="Segoe UI" panose="020B0502040204020203" pitchFamily="34" charset="0"/>
                <a:cs typeface="Segoe UI" panose="020B0502040204020203" pitchFamily="34" charset="0"/>
              </a:defRPr>
            </a:lvl2pPr>
          </a:lstStyle>
          <a:p>
            <a:pPr lvl="0"/>
            <a:r>
              <a:rPr lang="en-US"/>
              <a:t>“Add a pull quote here. Try to use a short, clear, and impactful statement.”</a:t>
            </a:r>
          </a:p>
          <a:p>
            <a:pPr lvl="1"/>
            <a:r>
              <a:rPr lang="en-US">
                <a:latin typeface="Segoe UI" panose="020B0502040204020203" pitchFamily="34" charset="0"/>
                <a:cs typeface="Segoe UI" panose="020B0502040204020203" pitchFamily="34" charset="0"/>
              </a:rPr>
              <a:t>Add the person’s name, title and organization here</a:t>
            </a:r>
            <a:endParaRPr lang="en-US"/>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0" cy="502920"/>
          </a:xfrm>
        </p:spPr>
        <p:txBody>
          <a:bodyPr/>
          <a:lstStyle>
            <a:lvl1pPr>
              <a:defRPr baseline="0">
                <a:solidFill>
                  <a:schemeClr val="accent1"/>
                </a:solidFill>
              </a:defRPr>
            </a:lvl1pPr>
          </a:lstStyle>
          <a:p>
            <a:r>
              <a:rPr lang="en-US"/>
              <a:t>Title of slide (Content &amp; quote slide)</a:t>
            </a:r>
          </a:p>
        </p:txBody>
      </p:sp>
      <p:sp>
        <p:nvSpPr>
          <p:cNvPr id="10" name="Text Placeholder 6"/>
          <p:cNvSpPr>
            <a:spLocks noGrp="1"/>
          </p:cNvSpPr>
          <p:nvPr>
            <p:ph type="body" sz="quarter" idx="11" hasCustomPrompt="1"/>
          </p:nvPr>
        </p:nvSpPr>
        <p:spPr>
          <a:xfrm>
            <a:off x="228600" y="1554480"/>
            <a:ext cx="11734800" cy="2286000"/>
          </a:xfrm>
        </p:spPr>
        <p:txBody>
          <a:bodyPr tIns="137160"/>
          <a:lstStyle>
            <a:lvl1pPr>
              <a:defRPr>
                <a:solidFill>
                  <a:schemeClr val="tx2"/>
                </a:solidFill>
              </a:defRPr>
            </a:lvl1pPr>
            <a:lvl2pPr marL="639957" indent="-274267">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stStyle>
          <a:p>
            <a:pPr lvl="0"/>
            <a:r>
              <a:rPr lang="en-US"/>
              <a:t>Add content here</a:t>
            </a:r>
          </a:p>
          <a:p>
            <a:pPr lvl="1"/>
            <a:r>
              <a:rPr lang="en-US">
                <a:latin typeface="Segoe UI" panose="020B0502040204020203" pitchFamily="34" charset="0"/>
                <a:cs typeface="Segoe UI" panose="020B0502040204020203" pitchFamily="34" charset="0"/>
              </a:rPr>
              <a:t>Sub content</a:t>
            </a:r>
            <a:endParaRPr lang="en-US"/>
          </a:p>
          <a:p>
            <a:pPr lvl="0"/>
            <a:r>
              <a:rPr lang="en-US"/>
              <a:t>Try to use short phrases and keywords</a:t>
            </a:r>
          </a:p>
          <a:p>
            <a:pPr lvl="0"/>
            <a:r>
              <a:rPr lang="en-US"/>
              <a:t>Use speaker notes for longer explanations</a:t>
            </a:r>
          </a:p>
        </p:txBody>
      </p:sp>
      <p:sp>
        <p:nvSpPr>
          <p:cNvPr id="7"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9"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8" name="Rectangle 7"/>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85025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8"/>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4" name="Text Placeholder 3"/>
          <p:cNvSpPr>
            <a:spLocks noGrp="1"/>
          </p:cNvSpPr>
          <p:nvPr>
            <p:ph type="body" sz="quarter" idx="13" hasCustomPrompt="1"/>
          </p:nvPr>
        </p:nvSpPr>
        <p:spPr>
          <a:xfrm>
            <a:off x="2524126" y="0"/>
            <a:ext cx="7143750" cy="6858000"/>
          </a:xfrm>
        </p:spPr>
        <p:txBody>
          <a:bodyPr anchor="ctr" anchorCtr="0"/>
          <a:lstStyle>
            <a:lvl1pPr algn="ctr">
              <a:defRPr sz="2800"/>
            </a:lvl1pPr>
            <a:lvl2pPr marL="0" algn="ctr">
              <a:spcBef>
                <a:spcPts val="1200"/>
              </a:spcBef>
              <a:defRPr sz="1800"/>
            </a:lvl2pPr>
          </a:lstStyle>
          <a:p>
            <a:pPr lvl="0"/>
            <a:r>
              <a:rPr lang="en-US"/>
              <a:t>“Add a pull quote here. Try to use a short, clear, and impactful statement.” </a:t>
            </a:r>
          </a:p>
          <a:p>
            <a:pPr lvl="1"/>
            <a:r>
              <a:rPr lang="en-US"/>
              <a:t>Add the person’s name, title, and organization here</a:t>
            </a:r>
          </a:p>
        </p:txBody>
      </p:sp>
    </p:spTree>
    <p:extLst>
      <p:ext uri="{BB962C8B-B14F-4D97-AF65-F5344CB8AC3E}">
        <p14:creationId xmlns:p14="http://schemas.microsoft.com/office/powerpoint/2010/main" val="33785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ix Quot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ext Placeholder 11"/>
          <p:cNvSpPr>
            <a:spLocks noGrp="1"/>
          </p:cNvSpPr>
          <p:nvPr>
            <p:ph type="body" sz="quarter" idx="11" hasCustomPrompt="1"/>
          </p:nvPr>
        </p:nvSpPr>
        <p:spPr>
          <a:xfrm>
            <a:off x="1092468" y="1006245"/>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15" name="Text Placeholder 11"/>
          <p:cNvSpPr>
            <a:spLocks noGrp="1"/>
          </p:cNvSpPr>
          <p:nvPr>
            <p:ph type="body" sz="quarter" idx="12"/>
          </p:nvPr>
        </p:nvSpPr>
        <p:spPr>
          <a:xfrm>
            <a:off x="1092468" y="2515653"/>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16" name="Text Placeholder 11"/>
          <p:cNvSpPr>
            <a:spLocks noGrp="1"/>
          </p:cNvSpPr>
          <p:nvPr>
            <p:ph type="body" sz="quarter" idx="13" hasCustomPrompt="1"/>
          </p:nvPr>
        </p:nvSpPr>
        <p:spPr>
          <a:xfrm>
            <a:off x="1092468" y="3554513"/>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17" name="Text Placeholder 11"/>
          <p:cNvSpPr>
            <a:spLocks noGrp="1"/>
          </p:cNvSpPr>
          <p:nvPr>
            <p:ph type="body" sz="quarter" idx="14"/>
          </p:nvPr>
        </p:nvSpPr>
        <p:spPr>
          <a:xfrm>
            <a:off x="1092468" y="5063921"/>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18" name="Text Placeholder 11"/>
          <p:cNvSpPr>
            <a:spLocks noGrp="1"/>
          </p:cNvSpPr>
          <p:nvPr>
            <p:ph type="body" sz="quarter" idx="15" hasCustomPrompt="1"/>
          </p:nvPr>
        </p:nvSpPr>
        <p:spPr>
          <a:xfrm>
            <a:off x="4695683" y="1006245"/>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19" name="Text Placeholder 11"/>
          <p:cNvSpPr>
            <a:spLocks noGrp="1"/>
          </p:cNvSpPr>
          <p:nvPr>
            <p:ph type="body" sz="quarter" idx="16"/>
          </p:nvPr>
        </p:nvSpPr>
        <p:spPr>
          <a:xfrm>
            <a:off x="4695683" y="2515653"/>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20" name="Text Placeholder 11"/>
          <p:cNvSpPr>
            <a:spLocks noGrp="1"/>
          </p:cNvSpPr>
          <p:nvPr>
            <p:ph type="body" sz="quarter" idx="17" hasCustomPrompt="1"/>
          </p:nvPr>
        </p:nvSpPr>
        <p:spPr>
          <a:xfrm>
            <a:off x="4695683" y="3554513"/>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21" name="Text Placeholder 11"/>
          <p:cNvSpPr>
            <a:spLocks noGrp="1"/>
          </p:cNvSpPr>
          <p:nvPr>
            <p:ph type="body" sz="quarter" idx="18"/>
          </p:nvPr>
        </p:nvSpPr>
        <p:spPr>
          <a:xfrm>
            <a:off x="4695683" y="5063921"/>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22" name="Text Placeholder 11"/>
          <p:cNvSpPr>
            <a:spLocks noGrp="1"/>
          </p:cNvSpPr>
          <p:nvPr>
            <p:ph type="body" sz="quarter" idx="19" hasCustomPrompt="1"/>
          </p:nvPr>
        </p:nvSpPr>
        <p:spPr>
          <a:xfrm>
            <a:off x="8298899" y="1006245"/>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23" name="Text Placeholder 11"/>
          <p:cNvSpPr>
            <a:spLocks noGrp="1"/>
          </p:cNvSpPr>
          <p:nvPr>
            <p:ph type="body" sz="quarter" idx="20"/>
          </p:nvPr>
        </p:nvSpPr>
        <p:spPr>
          <a:xfrm>
            <a:off x="8298899" y="2515653"/>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
        <p:nvSpPr>
          <p:cNvPr id="24" name="Text Placeholder 11"/>
          <p:cNvSpPr>
            <a:spLocks noGrp="1"/>
          </p:cNvSpPr>
          <p:nvPr>
            <p:ph type="body" sz="quarter" idx="21" hasCustomPrompt="1"/>
          </p:nvPr>
        </p:nvSpPr>
        <p:spPr>
          <a:xfrm>
            <a:off x="8298899" y="3554513"/>
            <a:ext cx="2800634" cy="1509408"/>
          </a:xfrm>
        </p:spPr>
        <p:txBody>
          <a:bodyPr tIns="137160" anchor="t" anchorCtr="0"/>
          <a:lstStyle>
            <a:lvl1pPr algn="l">
              <a:defRPr sz="2000">
                <a:latin typeface="Segoe UI Light" panose="020B0502040204020203" pitchFamily="34" charset="0"/>
                <a:cs typeface="Segoe UI Light" panose="020B0502040204020203" pitchFamily="34" charset="0"/>
              </a:defRPr>
            </a:lvl1pPr>
            <a:lvl2pPr>
              <a:defRPr sz="2400"/>
            </a:lvl2pPr>
            <a:lvl3pPr>
              <a:defRPr sz="2000"/>
            </a:lvl3pPr>
            <a:lvl4pPr>
              <a:defRPr sz="1800"/>
            </a:lvl4pPr>
            <a:lvl5pPr>
              <a:defRPr sz="1800"/>
            </a:lvl5pPr>
          </a:lstStyle>
          <a:p>
            <a:pPr lvl="0"/>
            <a:r>
              <a:rPr lang="en-US"/>
              <a:t>“Add a pull quote here. Try to use a short, clear, and impactful statement.” </a:t>
            </a:r>
          </a:p>
        </p:txBody>
      </p:sp>
      <p:sp>
        <p:nvSpPr>
          <p:cNvPr id="25" name="Text Placeholder 11"/>
          <p:cNvSpPr>
            <a:spLocks noGrp="1"/>
          </p:cNvSpPr>
          <p:nvPr>
            <p:ph type="body" sz="quarter" idx="22"/>
          </p:nvPr>
        </p:nvSpPr>
        <p:spPr>
          <a:xfrm>
            <a:off x="8298899" y="5063921"/>
            <a:ext cx="2800634" cy="711634"/>
          </a:xfrm>
        </p:spPr>
        <p:txBody>
          <a:bodyPr tIns="91440" anchor="t" anchorCtr="0"/>
          <a:lstStyle>
            <a:lvl1pPr algn="l">
              <a:defRPr sz="1600">
                <a:latin typeface="Segoe UI" panose="020B0502040204020203" pitchFamily="34" charset="0"/>
                <a:cs typeface="Segoe UI" panose="020B0502040204020203" pitchFamily="34" charset="0"/>
              </a:defRPr>
            </a:lvl1pPr>
            <a:lvl2pPr>
              <a:defRPr sz="2400"/>
            </a:lvl2pPr>
            <a:lvl3pPr>
              <a:defRPr sz="2000"/>
            </a:lvl3pPr>
            <a:lvl4pPr>
              <a:defRPr sz="1800"/>
            </a:lvl4pPr>
            <a:lvl5pPr>
              <a:defRPr sz="1800"/>
            </a:lvl5pPr>
          </a:lstStyle>
          <a:p>
            <a:pPr lvl="0"/>
            <a:r>
              <a:rPr lang="en-US"/>
              <a:t>Edit Master text styles</a:t>
            </a:r>
          </a:p>
        </p:txBody>
      </p:sp>
    </p:spTree>
    <p:extLst>
      <p:ext uri="{BB962C8B-B14F-4D97-AF65-F5344CB8AC3E}">
        <p14:creationId xmlns:p14="http://schemas.microsoft.com/office/powerpoint/2010/main" val="31886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 Ro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1" cy="502920"/>
          </a:xfrm>
        </p:spPr>
        <p:txBody>
          <a:bodyPr/>
          <a:lstStyle>
            <a:lvl1pPr>
              <a:defRPr baseline="0"/>
            </a:lvl1pPr>
          </a:lstStyle>
          <a:p>
            <a:r>
              <a:rPr lang="en-US"/>
              <a:t>Title of slide (3 Row slide)</a:t>
            </a:r>
          </a:p>
        </p:txBody>
      </p:sp>
      <p:sp>
        <p:nvSpPr>
          <p:cNvPr id="26" name="Text Placeholder 22"/>
          <p:cNvSpPr>
            <a:spLocks noGrp="1"/>
          </p:cNvSpPr>
          <p:nvPr>
            <p:ph type="body" sz="quarter" idx="12" hasCustomPrompt="1"/>
          </p:nvPr>
        </p:nvSpPr>
        <p:spPr>
          <a:xfrm>
            <a:off x="2979057" y="1554480"/>
            <a:ext cx="8847184" cy="1463040"/>
          </a:xfrm>
          <a:solidFill>
            <a:schemeClr val="bg2"/>
          </a:solidFill>
        </p:spPr>
        <p:txBody>
          <a:bodyPr lIns="274320" anchor="ctr" anchorCtr="0">
            <a:normAutofit/>
          </a:bodyPr>
          <a:lstStyle>
            <a:lvl1pPr marL="0" indent="0">
              <a:lnSpc>
                <a:spcPct val="100000"/>
              </a:lnSpc>
              <a:spcBef>
                <a:spcPts val="600"/>
              </a:spcBef>
              <a:buClr>
                <a:schemeClr val="tx2"/>
              </a:buClr>
              <a:buSzPct val="75000"/>
              <a:buFont typeface="Arial" panose="020B0604020202020204" pitchFamily="34" charset="0"/>
              <a:buNone/>
              <a:defRPr sz="1800" spc="0" baseline="0">
                <a:latin typeface="Segoe UI" panose="020B0502040204020203" pitchFamily="34" charset="0"/>
                <a:cs typeface="Segoe UI" panose="020B0502040204020203" pitchFamily="34" charset="0"/>
              </a:defRPr>
            </a:lvl1pPr>
            <a:lvl2pPr marL="457112" indent="-182845">
              <a:spcBef>
                <a:spcPts val="600"/>
              </a:spcBef>
              <a:buClr>
                <a:schemeClr val="tx2"/>
              </a:buClr>
              <a:buSzPct val="75000"/>
              <a:buFont typeface="Wingdings" panose="05000000000000000000" pitchFamily="2" charset="2"/>
              <a:buChar char="§"/>
              <a:defRPr sz="1400" baseline="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latin typeface="Segoe UI" panose="020B0502040204020203" pitchFamily="34" charset="0"/>
                <a:cs typeface="Segoe UI" panose="020B0502040204020203" pitchFamily="34" charset="0"/>
              </a:rPr>
              <a:t>Sub core reason</a:t>
            </a:r>
            <a:endParaRPr lang="en-US"/>
          </a:p>
          <a:p>
            <a:pPr lvl="0"/>
            <a:r>
              <a:rPr lang="en-US"/>
              <a:t>Try and use short phrases and keywords</a:t>
            </a:r>
          </a:p>
        </p:txBody>
      </p:sp>
      <p:sp>
        <p:nvSpPr>
          <p:cNvPr id="11" name="Text Placeholder 22"/>
          <p:cNvSpPr>
            <a:spLocks noGrp="1"/>
          </p:cNvSpPr>
          <p:nvPr>
            <p:ph type="body" sz="quarter" idx="18" hasCustomPrompt="1"/>
          </p:nvPr>
        </p:nvSpPr>
        <p:spPr>
          <a:xfrm>
            <a:off x="2979057" y="3083885"/>
            <a:ext cx="8847184" cy="1463040"/>
          </a:xfrm>
          <a:solidFill>
            <a:schemeClr val="bg2"/>
          </a:solidFill>
        </p:spPr>
        <p:txBody>
          <a:bodyPr lIns="274320" anchor="ctr" anchorCtr="0">
            <a:normAutofit/>
          </a:bodyPr>
          <a:lstStyle>
            <a:lvl1pPr marL="0" indent="0">
              <a:lnSpc>
                <a:spcPct val="100000"/>
              </a:lnSpc>
              <a:spcBef>
                <a:spcPts val="600"/>
              </a:spcBef>
              <a:buClr>
                <a:schemeClr val="tx2"/>
              </a:buClr>
              <a:buSzPct val="75000"/>
              <a:buFont typeface="Arial" panose="020B0604020202020204" pitchFamily="34" charset="0"/>
              <a:buNone/>
              <a:defRPr sz="1800" spc="0" baseline="0">
                <a:latin typeface="Segoe UI" panose="020B0502040204020203" pitchFamily="34" charset="0"/>
                <a:cs typeface="Segoe UI" panose="020B0502040204020203" pitchFamily="34" charset="0"/>
              </a:defRPr>
            </a:lvl1pPr>
            <a:lvl2pPr marL="457112" indent="-182845">
              <a:spcBef>
                <a:spcPts val="600"/>
              </a:spcBef>
              <a:buClr>
                <a:schemeClr val="tx2"/>
              </a:buClr>
              <a:buSzPct val="75000"/>
              <a:buFont typeface="Wingdings" panose="05000000000000000000" pitchFamily="2" charset="2"/>
              <a:buChar char="§"/>
              <a:defRPr sz="1400"/>
            </a:lvl2pPr>
          </a:lstStyle>
          <a:p>
            <a:pPr lvl="0"/>
            <a:r>
              <a:rPr lang="en-US"/>
              <a:t>Second core reason</a:t>
            </a:r>
          </a:p>
          <a:p>
            <a:pPr lvl="1"/>
            <a:r>
              <a:rPr lang="en-US">
                <a:latin typeface="Segoe UI" panose="020B0502040204020203" pitchFamily="34" charset="0"/>
                <a:cs typeface="Segoe UI" panose="020B0502040204020203" pitchFamily="34" charset="0"/>
              </a:rPr>
              <a:t>Sub core reason</a:t>
            </a:r>
          </a:p>
        </p:txBody>
      </p:sp>
      <p:sp>
        <p:nvSpPr>
          <p:cNvPr id="14" name="Text Placeholder 22"/>
          <p:cNvSpPr>
            <a:spLocks noGrp="1"/>
          </p:cNvSpPr>
          <p:nvPr>
            <p:ph type="body" sz="quarter" idx="20" hasCustomPrompt="1"/>
          </p:nvPr>
        </p:nvSpPr>
        <p:spPr>
          <a:xfrm>
            <a:off x="2979057" y="4613292"/>
            <a:ext cx="8847184" cy="1463040"/>
          </a:xfrm>
          <a:solidFill>
            <a:schemeClr val="bg2"/>
          </a:solidFill>
        </p:spPr>
        <p:txBody>
          <a:bodyPr lIns="274320" anchor="ctr" anchorCtr="0">
            <a:normAutofit/>
          </a:bodyPr>
          <a:lstStyle>
            <a:lvl1pPr marL="0" indent="0">
              <a:lnSpc>
                <a:spcPct val="100000"/>
              </a:lnSpc>
              <a:spcBef>
                <a:spcPts val="600"/>
              </a:spcBef>
              <a:buClr>
                <a:schemeClr val="tx2"/>
              </a:buClr>
              <a:buSzPct val="75000"/>
              <a:buFont typeface="Arial" panose="020B0604020202020204" pitchFamily="34" charset="0"/>
              <a:buNone/>
              <a:defRPr sz="1800" spc="0" baseline="0">
                <a:latin typeface="Segoe UI" panose="020B0502040204020203" pitchFamily="34" charset="0"/>
                <a:cs typeface="Segoe UI" panose="020B0502040204020203" pitchFamily="34" charset="0"/>
              </a:defRPr>
            </a:lvl1pPr>
            <a:lvl2pPr marL="457112" indent="-182845">
              <a:spcBef>
                <a:spcPts val="600"/>
              </a:spcBef>
              <a:buClr>
                <a:schemeClr val="tx2"/>
              </a:buClr>
              <a:buSzPct val="75000"/>
              <a:buFont typeface="Wingdings" panose="05000000000000000000" pitchFamily="2" charset="2"/>
              <a:buChar char="§"/>
              <a:defRPr sz="1400"/>
            </a:lvl2pPr>
          </a:lstStyle>
          <a:p>
            <a:pPr lvl="0"/>
            <a:r>
              <a:rPr lang="en-US"/>
              <a:t>Thir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17" name="Content Placeholder 3"/>
          <p:cNvSpPr>
            <a:spLocks noGrp="1"/>
          </p:cNvSpPr>
          <p:nvPr>
            <p:ph sz="quarter" idx="21" hasCustomPrompt="1"/>
          </p:nvPr>
        </p:nvSpPr>
        <p:spPr>
          <a:xfrm>
            <a:off x="365760" y="1554480"/>
            <a:ext cx="2613296" cy="1463040"/>
          </a:xfrm>
          <a:solidFill>
            <a:schemeClr val="accent1"/>
          </a:solidFill>
        </p:spPr>
        <p:txBody>
          <a:bodyPr anchor="ctr" anchorCtr="0"/>
          <a:lstStyle>
            <a:lvl1pPr>
              <a:defRPr>
                <a:solidFill>
                  <a:schemeClr val="bg1"/>
                </a:solidFill>
              </a:defRPr>
            </a:lvl1pPr>
          </a:lstStyle>
          <a:p>
            <a:pPr lvl="0"/>
            <a:r>
              <a:rPr lang="en-US"/>
              <a:t>Value Prop 1</a:t>
            </a:r>
          </a:p>
        </p:txBody>
      </p:sp>
      <p:sp>
        <p:nvSpPr>
          <p:cNvPr id="18" name="Content Placeholder 3"/>
          <p:cNvSpPr>
            <a:spLocks noGrp="1"/>
          </p:cNvSpPr>
          <p:nvPr>
            <p:ph sz="quarter" idx="22" hasCustomPrompt="1"/>
          </p:nvPr>
        </p:nvSpPr>
        <p:spPr>
          <a:xfrm>
            <a:off x="365760" y="3083885"/>
            <a:ext cx="2613296" cy="1463040"/>
          </a:xfrm>
          <a:solidFill>
            <a:schemeClr val="accent1"/>
          </a:solidFill>
        </p:spPr>
        <p:txBody>
          <a:bodyPr anchor="ctr" anchorCtr="0"/>
          <a:lstStyle>
            <a:lvl1pPr>
              <a:defRPr>
                <a:solidFill>
                  <a:schemeClr val="bg1"/>
                </a:solidFill>
              </a:defRPr>
            </a:lvl1pPr>
          </a:lstStyle>
          <a:p>
            <a:pPr lvl="0"/>
            <a:r>
              <a:rPr lang="en-US"/>
              <a:t>Value Prop 2</a:t>
            </a:r>
          </a:p>
        </p:txBody>
      </p:sp>
      <p:sp>
        <p:nvSpPr>
          <p:cNvPr id="19" name="Content Placeholder 3"/>
          <p:cNvSpPr>
            <a:spLocks noGrp="1"/>
          </p:cNvSpPr>
          <p:nvPr>
            <p:ph sz="quarter" idx="23" hasCustomPrompt="1"/>
          </p:nvPr>
        </p:nvSpPr>
        <p:spPr>
          <a:xfrm>
            <a:off x="365760" y="4613292"/>
            <a:ext cx="2613296" cy="1463040"/>
          </a:xfrm>
          <a:solidFill>
            <a:schemeClr val="accent1"/>
          </a:solidFill>
        </p:spPr>
        <p:txBody>
          <a:bodyPr anchor="ctr" anchorCtr="0"/>
          <a:lstStyle>
            <a:lvl1pPr>
              <a:defRPr>
                <a:solidFill>
                  <a:schemeClr val="bg1"/>
                </a:solidFill>
              </a:defRPr>
            </a:lvl1pPr>
          </a:lstStyle>
          <a:p>
            <a:pPr lvl="0"/>
            <a:r>
              <a:rPr lang="en-US"/>
              <a:t>Value Prop 3z</a:t>
            </a:r>
          </a:p>
        </p:txBody>
      </p:sp>
      <p:sp>
        <p:nvSpPr>
          <p:cNvPr id="13"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6" name="Rectangle 15"/>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48551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6"/>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 Row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1" cy="502920"/>
          </a:xfrm>
        </p:spPr>
        <p:txBody>
          <a:bodyPr/>
          <a:lstStyle>
            <a:lvl1pPr>
              <a:defRPr baseline="0"/>
            </a:lvl1pPr>
          </a:lstStyle>
          <a:p>
            <a:r>
              <a:rPr lang="en-US"/>
              <a:t>Title of slide (4 Row slide)</a:t>
            </a:r>
          </a:p>
        </p:txBody>
      </p:sp>
      <p:sp>
        <p:nvSpPr>
          <p:cNvPr id="26" name="Text Placeholder 22"/>
          <p:cNvSpPr>
            <a:spLocks noGrp="1"/>
          </p:cNvSpPr>
          <p:nvPr>
            <p:ph type="body" sz="quarter" idx="12" hasCustomPrompt="1"/>
          </p:nvPr>
        </p:nvSpPr>
        <p:spPr>
          <a:xfrm>
            <a:off x="3116216" y="1554479"/>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112" indent="-182845">
              <a:spcBef>
                <a:spcPts val="300"/>
              </a:spcBef>
              <a:buClr>
                <a:schemeClr val="tx2"/>
              </a:buClr>
              <a:buSzPct val="75000"/>
              <a:buFont typeface="Wingdings" panose="05000000000000000000" pitchFamily="2" charset="2"/>
              <a:buChar char="§"/>
              <a:defRPr sz="120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t>Sub core reason</a:t>
            </a:r>
          </a:p>
          <a:p>
            <a:pPr lvl="0"/>
            <a:r>
              <a:rPr lang="en-US"/>
              <a:t>Try and use short phrases and keywords</a:t>
            </a:r>
          </a:p>
        </p:txBody>
      </p:sp>
      <p:sp>
        <p:nvSpPr>
          <p:cNvPr id="11" name="Text Placeholder 22"/>
          <p:cNvSpPr>
            <a:spLocks noGrp="1"/>
          </p:cNvSpPr>
          <p:nvPr>
            <p:ph type="body" sz="quarter" idx="18" hasCustomPrompt="1"/>
          </p:nvPr>
        </p:nvSpPr>
        <p:spPr>
          <a:xfrm>
            <a:off x="3116216" y="2696003"/>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112" indent="-182845">
              <a:spcBef>
                <a:spcPts val="300"/>
              </a:spcBef>
              <a:buClr>
                <a:schemeClr val="tx2"/>
              </a:buClr>
              <a:buSzPct val="75000"/>
              <a:buFont typeface="Wingdings" panose="05000000000000000000" pitchFamily="2" charset="2"/>
              <a:buChar char="§"/>
              <a:defRPr sz="1200" baseline="0">
                <a:latin typeface="Segoe UI" panose="020B0502040204020203" pitchFamily="34" charset="0"/>
                <a:cs typeface="Segoe UI" panose="020B0502040204020203" pitchFamily="34" charset="0"/>
              </a:defRPr>
            </a:lvl2pPr>
          </a:lstStyle>
          <a:p>
            <a:pPr lvl="0"/>
            <a:r>
              <a:rPr lang="en-US"/>
              <a:t>Second core reason</a:t>
            </a:r>
          </a:p>
          <a:p>
            <a:pPr lvl="1"/>
            <a:r>
              <a:rPr lang="en-US"/>
              <a:t>Sub core reason</a:t>
            </a:r>
          </a:p>
        </p:txBody>
      </p:sp>
      <p:sp>
        <p:nvSpPr>
          <p:cNvPr id="14" name="Text Placeholder 22"/>
          <p:cNvSpPr>
            <a:spLocks noGrp="1"/>
          </p:cNvSpPr>
          <p:nvPr>
            <p:ph type="body" sz="quarter" idx="20" hasCustomPrompt="1"/>
          </p:nvPr>
        </p:nvSpPr>
        <p:spPr>
          <a:xfrm>
            <a:off x="3116216" y="3837527"/>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112" indent="-182845">
              <a:spcBef>
                <a:spcPts val="300"/>
              </a:spcBef>
              <a:buClr>
                <a:schemeClr val="tx2"/>
              </a:buClr>
              <a:buSzPct val="75000"/>
              <a:buFont typeface="Wingdings" panose="05000000000000000000" pitchFamily="2" charset="2"/>
              <a:buChar char="§"/>
              <a:defRPr sz="1200">
                <a:latin typeface="Segoe UI" panose="020B0502040204020203" pitchFamily="34" charset="0"/>
                <a:cs typeface="Segoe UI" panose="020B0502040204020203" pitchFamily="34" charset="0"/>
              </a:defRPr>
            </a:lvl2pPr>
          </a:lstStyle>
          <a:p>
            <a:pPr lvl="0"/>
            <a:r>
              <a:rPr lang="en-US"/>
              <a:t>Third core reason</a:t>
            </a:r>
          </a:p>
          <a:p>
            <a:pPr lvl="1"/>
            <a:r>
              <a:rPr lang="en-US"/>
              <a:t>Sub core reason</a:t>
            </a:r>
          </a:p>
        </p:txBody>
      </p:sp>
      <p:sp>
        <p:nvSpPr>
          <p:cNvPr id="16" name="Text Placeholder 22"/>
          <p:cNvSpPr>
            <a:spLocks noGrp="1"/>
          </p:cNvSpPr>
          <p:nvPr>
            <p:ph type="body" sz="quarter" idx="22" hasCustomPrompt="1"/>
          </p:nvPr>
        </p:nvSpPr>
        <p:spPr>
          <a:xfrm>
            <a:off x="3116216" y="4979051"/>
            <a:ext cx="8710024" cy="1097280"/>
          </a:xfrm>
          <a:solidFill>
            <a:schemeClr val="bg2"/>
          </a:solidFill>
        </p:spPr>
        <p:txBody>
          <a:bodyPr lIns="274320" anchor="ctr" anchorCtr="0">
            <a:normAutofit/>
          </a:bodyPr>
          <a:lstStyle>
            <a:lvl1pPr>
              <a:lnSpc>
                <a:spcPct val="100000"/>
              </a:lnSpc>
              <a:spcBef>
                <a:spcPts val="300"/>
              </a:spcBef>
              <a:defRPr sz="1600" spc="0" baseline="0">
                <a:latin typeface="Segoe UI" panose="020B0502040204020203" pitchFamily="34" charset="0"/>
                <a:cs typeface="Segoe UI" panose="020B0502040204020203" pitchFamily="34" charset="0"/>
              </a:defRPr>
            </a:lvl1pPr>
            <a:lvl2pPr marL="457112" indent="-182845">
              <a:spcBef>
                <a:spcPts val="300"/>
              </a:spcBef>
              <a:buClr>
                <a:schemeClr val="tx2"/>
              </a:buClr>
              <a:buSzPct val="75000"/>
              <a:buFont typeface="Wingdings" panose="05000000000000000000" pitchFamily="2" charset="2"/>
              <a:buChar char="§"/>
              <a:defRPr sz="1200"/>
            </a:lvl2pPr>
          </a:lstStyle>
          <a:p>
            <a:pPr lvl="0"/>
            <a:r>
              <a:rPr lang="en-US"/>
              <a:t>Third core reason</a:t>
            </a:r>
          </a:p>
          <a:p>
            <a:pPr lvl="1"/>
            <a:r>
              <a:rPr lang="en-US"/>
              <a:t>Sub core reason</a:t>
            </a:r>
          </a:p>
        </p:txBody>
      </p:sp>
      <p:sp>
        <p:nvSpPr>
          <p:cNvPr id="21" name="Content Placeholder 3"/>
          <p:cNvSpPr>
            <a:spLocks noGrp="1"/>
          </p:cNvSpPr>
          <p:nvPr>
            <p:ph sz="quarter" idx="23" hasCustomPrompt="1"/>
          </p:nvPr>
        </p:nvSpPr>
        <p:spPr>
          <a:xfrm>
            <a:off x="365760" y="1554479"/>
            <a:ext cx="2750456" cy="1097280"/>
          </a:xfrm>
          <a:solidFill>
            <a:schemeClr val="accent1"/>
          </a:solidFill>
        </p:spPr>
        <p:txBody>
          <a:bodyPr anchor="ctr" anchorCtr="0"/>
          <a:lstStyle>
            <a:lvl1pPr>
              <a:defRPr>
                <a:solidFill>
                  <a:schemeClr val="bg1"/>
                </a:solidFill>
              </a:defRPr>
            </a:lvl1pPr>
          </a:lstStyle>
          <a:p>
            <a:pPr lvl="0"/>
            <a:r>
              <a:rPr lang="en-US"/>
              <a:t>Value Prop 1</a:t>
            </a:r>
          </a:p>
        </p:txBody>
      </p:sp>
      <p:sp>
        <p:nvSpPr>
          <p:cNvPr id="22" name="Content Placeholder 3"/>
          <p:cNvSpPr>
            <a:spLocks noGrp="1"/>
          </p:cNvSpPr>
          <p:nvPr>
            <p:ph sz="quarter" idx="24" hasCustomPrompt="1"/>
          </p:nvPr>
        </p:nvSpPr>
        <p:spPr>
          <a:xfrm>
            <a:off x="365760" y="2696003"/>
            <a:ext cx="2750456" cy="1097280"/>
          </a:xfrm>
          <a:solidFill>
            <a:schemeClr val="accent1"/>
          </a:solidFill>
        </p:spPr>
        <p:txBody>
          <a:bodyPr anchor="ctr" anchorCtr="0"/>
          <a:lstStyle>
            <a:lvl1pPr>
              <a:defRPr>
                <a:solidFill>
                  <a:schemeClr val="bg1"/>
                </a:solidFill>
              </a:defRPr>
            </a:lvl1pPr>
          </a:lstStyle>
          <a:p>
            <a:pPr lvl="0"/>
            <a:r>
              <a:rPr lang="en-US"/>
              <a:t>Value Prop 2</a:t>
            </a:r>
          </a:p>
        </p:txBody>
      </p:sp>
      <p:sp>
        <p:nvSpPr>
          <p:cNvPr id="23" name="Content Placeholder 3"/>
          <p:cNvSpPr>
            <a:spLocks noGrp="1"/>
          </p:cNvSpPr>
          <p:nvPr>
            <p:ph sz="quarter" idx="25" hasCustomPrompt="1"/>
          </p:nvPr>
        </p:nvSpPr>
        <p:spPr>
          <a:xfrm>
            <a:off x="365760" y="3837527"/>
            <a:ext cx="2750456" cy="1097280"/>
          </a:xfrm>
          <a:solidFill>
            <a:schemeClr val="accent1"/>
          </a:solidFill>
        </p:spPr>
        <p:txBody>
          <a:bodyPr anchor="ctr" anchorCtr="0"/>
          <a:lstStyle>
            <a:lvl1pPr>
              <a:defRPr>
                <a:solidFill>
                  <a:schemeClr val="bg1"/>
                </a:solidFill>
              </a:defRPr>
            </a:lvl1pPr>
          </a:lstStyle>
          <a:p>
            <a:pPr lvl="0"/>
            <a:r>
              <a:rPr lang="en-US"/>
              <a:t>Value Prop 3</a:t>
            </a:r>
          </a:p>
        </p:txBody>
      </p:sp>
      <p:sp>
        <p:nvSpPr>
          <p:cNvPr id="25" name="Content Placeholder 3"/>
          <p:cNvSpPr>
            <a:spLocks noGrp="1"/>
          </p:cNvSpPr>
          <p:nvPr>
            <p:ph sz="quarter" idx="26" hasCustomPrompt="1"/>
          </p:nvPr>
        </p:nvSpPr>
        <p:spPr>
          <a:xfrm>
            <a:off x="365760" y="4979051"/>
            <a:ext cx="2750456" cy="1097280"/>
          </a:xfrm>
          <a:solidFill>
            <a:schemeClr val="accent1"/>
          </a:solidFill>
        </p:spPr>
        <p:txBody>
          <a:bodyPr anchor="ctr" anchorCtr="0"/>
          <a:lstStyle>
            <a:lvl1pPr>
              <a:defRPr>
                <a:solidFill>
                  <a:schemeClr val="bg1"/>
                </a:solidFill>
              </a:defRPr>
            </a:lvl1pPr>
          </a:lstStyle>
          <a:p>
            <a:pPr lvl="0"/>
            <a:r>
              <a:rPr lang="en-US"/>
              <a:t>Value Prop 4</a:t>
            </a:r>
          </a:p>
        </p:txBody>
      </p:sp>
      <p:sp>
        <p:nvSpPr>
          <p:cNvPr id="13"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7" name="Rectangle 16"/>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68214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 Pill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1"/>
            <a:ext cx="11734801" cy="502919"/>
          </a:xfrm>
        </p:spPr>
        <p:txBody>
          <a:bodyPr/>
          <a:lstStyle>
            <a:lvl1pPr>
              <a:defRPr baseline="0"/>
            </a:lvl1pPr>
          </a:lstStyle>
          <a:p>
            <a:r>
              <a:rPr lang="en-US"/>
              <a:t>Title of slide (3 Pillar slide)</a:t>
            </a:r>
          </a:p>
        </p:txBody>
      </p:sp>
      <p:sp>
        <p:nvSpPr>
          <p:cNvPr id="26" name="Text Placeholder 22"/>
          <p:cNvSpPr>
            <a:spLocks noGrp="1"/>
          </p:cNvSpPr>
          <p:nvPr>
            <p:ph type="body" sz="quarter" idx="12" hasCustomPrompt="1"/>
          </p:nvPr>
        </p:nvSpPr>
        <p:spPr>
          <a:xfrm>
            <a:off x="365761" y="2926077"/>
            <a:ext cx="3697765" cy="3150253"/>
          </a:xfrm>
          <a:solidFill>
            <a:schemeClr val="bg2"/>
          </a:solidFill>
        </p:spPr>
        <p:txBody>
          <a:bodyPr anchor="t" anchorCtr="0">
            <a:normAutofit/>
          </a:bodyPr>
          <a:lstStyle>
            <a:lvl1pPr>
              <a:lnSpc>
                <a:spcPct val="100000"/>
              </a:lnSpc>
              <a:spcBef>
                <a:spcPts val="1200"/>
              </a:spcBef>
              <a:defRPr sz="1800" spc="0" baseline="0">
                <a:latin typeface="Segoe UI" panose="020B0502040204020203" pitchFamily="34" charset="0"/>
                <a:cs typeface="Segoe UI" panose="020B0502040204020203" pitchFamily="34" charset="0"/>
              </a:defRPr>
            </a:lvl1pPr>
            <a:lvl2pPr marL="457112" indent="-182845">
              <a:spcBef>
                <a:spcPts val="1200"/>
              </a:spcBef>
              <a:buClr>
                <a:schemeClr val="tx2"/>
              </a:buClr>
              <a:buSzPct val="75000"/>
              <a:buFont typeface="Wingdings" panose="05000000000000000000" pitchFamily="2" charset="2"/>
              <a:buChar char="§"/>
              <a:defRPr sz="1600" baseline="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t>Sub core reason</a:t>
            </a:r>
          </a:p>
          <a:p>
            <a:pPr lvl="0"/>
            <a:r>
              <a:rPr lang="en-US"/>
              <a:t>Try and use short phrases and keywords</a:t>
            </a:r>
          </a:p>
          <a:p>
            <a:pPr lvl="0"/>
            <a:endParaRPr lang="en-US"/>
          </a:p>
        </p:txBody>
      </p:sp>
      <p:sp>
        <p:nvSpPr>
          <p:cNvPr id="28" name="Text Placeholder 22"/>
          <p:cNvSpPr>
            <a:spLocks noGrp="1"/>
          </p:cNvSpPr>
          <p:nvPr>
            <p:ph type="body" sz="quarter" idx="14" hasCustomPrompt="1"/>
          </p:nvPr>
        </p:nvSpPr>
        <p:spPr>
          <a:xfrm>
            <a:off x="4247117" y="2926077"/>
            <a:ext cx="3697765" cy="3150253"/>
          </a:xfrm>
          <a:solidFill>
            <a:schemeClr val="bg2"/>
          </a:solidFill>
        </p:spPr>
        <p:txBody>
          <a:bodyPr anchor="t" anchorCtr="0">
            <a:normAutofit/>
          </a:bodyPr>
          <a:lstStyle>
            <a:lvl1pPr>
              <a:lnSpc>
                <a:spcPct val="100000"/>
              </a:lnSpc>
              <a:spcBef>
                <a:spcPts val="1200"/>
              </a:spcBef>
              <a:defRPr sz="1800" spc="0" baseline="0">
                <a:latin typeface="Segoe UI" panose="020B0502040204020203" pitchFamily="34" charset="0"/>
                <a:cs typeface="Segoe UI" panose="020B0502040204020203" pitchFamily="34" charset="0"/>
              </a:defRPr>
            </a:lvl1pPr>
            <a:lvl2pPr marL="457112" indent="-182845">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Secon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30" name="Text Placeholder 22"/>
          <p:cNvSpPr>
            <a:spLocks noGrp="1"/>
          </p:cNvSpPr>
          <p:nvPr>
            <p:ph type="body" sz="quarter" idx="16" hasCustomPrompt="1"/>
          </p:nvPr>
        </p:nvSpPr>
        <p:spPr>
          <a:xfrm>
            <a:off x="8128476" y="2926077"/>
            <a:ext cx="3697765" cy="3150253"/>
          </a:xfrm>
          <a:solidFill>
            <a:schemeClr val="bg2"/>
          </a:solidFill>
        </p:spPr>
        <p:txBody>
          <a:bodyPr anchor="t" anchorCtr="0">
            <a:normAutofit/>
          </a:bodyPr>
          <a:lstStyle>
            <a:lvl1pPr>
              <a:lnSpc>
                <a:spcPct val="100000"/>
              </a:lnSpc>
              <a:spcBef>
                <a:spcPts val="1200"/>
              </a:spcBef>
              <a:defRPr sz="1800" spc="0" baseline="0">
                <a:latin typeface="Segoe UI" panose="020B0502040204020203" pitchFamily="34" charset="0"/>
                <a:cs typeface="Segoe UI" panose="020B0502040204020203" pitchFamily="34" charset="0"/>
              </a:defRPr>
            </a:lvl1pPr>
            <a:lvl2pPr marL="457112" indent="-182845">
              <a:buClr>
                <a:schemeClr val="tx2"/>
              </a:buClr>
              <a:buSzPct val="75000"/>
              <a:buFont typeface="Wingdings" panose="05000000000000000000" pitchFamily="2" charset="2"/>
              <a:buChar char="§"/>
              <a:defRPr sz="1600" baseline="0">
                <a:latin typeface="Segoe UI" panose="020B0502040204020203" pitchFamily="34" charset="0"/>
                <a:cs typeface="Segoe UI" panose="020B0502040204020203" pitchFamily="34" charset="0"/>
              </a:defRPr>
            </a:lvl2pPr>
          </a:lstStyle>
          <a:p>
            <a:pPr lvl="0"/>
            <a:r>
              <a:rPr lang="en-US"/>
              <a:t>Thir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14" name="Content Placeholder 3"/>
          <p:cNvSpPr>
            <a:spLocks noGrp="1"/>
          </p:cNvSpPr>
          <p:nvPr>
            <p:ph sz="quarter" idx="23" hasCustomPrompt="1"/>
          </p:nvPr>
        </p:nvSpPr>
        <p:spPr>
          <a:xfrm>
            <a:off x="365761" y="1554479"/>
            <a:ext cx="3697765" cy="1371599"/>
          </a:xfrm>
          <a:solidFill>
            <a:schemeClr val="accent1"/>
          </a:solidFill>
        </p:spPr>
        <p:txBody>
          <a:bodyPr anchor="ctr" anchorCtr="0"/>
          <a:lstStyle>
            <a:lvl1pPr>
              <a:defRPr>
                <a:solidFill>
                  <a:schemeClr val="bg1"/>
                </a:solidFill>
              </a:defRPr>
            </a:lvl1pPr>
          </a:lstStyle>
          <a:p>
            <a:pPr lvl="0"/>
            <a:r>
              <a:rPr lang="en-US"/>
              <a:t>Value Prop 1</a:t>
            </a:r>
          </a:p>
        </p:txBody>
      </p:sp>
      <p:sp>
        <p:nvSpPr>
          <p:cNvPr id="15" name="Content Placeholder 3"/>
          <p:cNvSpPr>
            <a:spLocks noGrp="1"/>
          </p:cNvSpPr>
          <p:nvPr>
            <p:ph sz="quarter" idx="24" hasCustomPrompt="1"/>
          </p:nvPr>
        </p:nvSpPr>
        <p:spPr>
          <a:xfrm>
            <a:off x="4247117" y="1554479"/>
            <a:ext cx="3697765" cy="1371599"/>
          </a:xfrm>
          <a:solidFill>
            <a:schemeClr val="accent1"/>
          </a:solidFill>
        </p:spPr>
        <p:txBody>
          <a:bodyPr anchor="ctr" anchorCtr="0"/>
          <a:lstStyle>
            <a:lvl1pPr>
              <a:defRPr>
                <a:solidFill>
                  <a:schemeClr val="bg1"/>
                </a:solidFill>
              </a:defRPr>
            </a:lvl1pPr>
          </a:lstStyle>
          <a:p>
            <a:pPr lvl="0"/>
            <a:r>
              <a:rPr lang="en-US"/>
              <a:t>Value Prop 2</a:t>
            </a:r>
          </a:p>
        </p:txBody>
      </p:sp>
      <p:sp>
        <p:nvSpPr>
          <p:cNvPr id="16" name="Content Placeholder 3"/>
          <p:cNvSpPr>
            <a:spLocks noGrp="1"/>
          </p:cNvSpPr>
          <p:nvPr>
            <p:ph sz="quarter" idx="25" hasCustomPrompt="1"/>
          </p:nvPr>
        </p:nvSpPr>
        <p:spPr>
          <a:xfrm>
            <a:off x="8128476" y="1554479"/>
            <a:ext cx="3697765" cy="1371599"/>
          </a:xfrm>
          <a:solidFill>
            <a:schemeClr val="accent1"/>
          </a:solidFill>
        </p:spPr>
        <p:txBody>
          <a:bodyPr anchor="ctr" anchorCtr="0"/>
          <a:lstStyle>
            <a:lvl1pPr>
              <a:defRPr>
                <a:solidFill>
                  <a:schemeClr val="bg1"/>
                </a:solidFill>
              </a:defRPr>
            </a:lvl1pPr>
          </a:lstStyle>
          <a:p>
            <a:pPr lvl="0"/>
            <a:r>
              <a:rPr lang="en-US"/>
              <a:t>Value Prop 3</a:t>
            </a:r>
          </a:p>
        </p:txBody>
      </p:sp>
      <p:sp>
        <p:nvSpPr>
          <p:cNvPr id="11"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7" name="Rectangle 16"/>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51532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7"/>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 Pillar">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228600" y="228601"/>
            <a:ext cx="11734801" cy="502919"/>
          </a:xfrm>
        </p:spPr>
        <p:txBody>
          <a:bodyPr/>
          <a:lstStyle>
            <a:lvl1pPr>
              <a:defRPr baseline="0"/>
            </a:lvl1pPr>
          </a:lstStyle>
          <a:p>
            <a:r>
              <a:rPr lang="en-US"/>
              <a:t>Title of slide (4 Pillar slide)</a:t>
            </a:r>
          </a:p>
        </p:txBody>
      </p:sp>
      <p:sp>
        <p:nvSpPr>
          <p:cNvPr id="26" name="Text Placeholder 22"/>
          <p:cNvSpPr>
            <a:spLocks noGrp="1"/>
          </p:cNvSpPr>
          <p:nvPr>
            <p:ph type="body" sz="quarter" idx="12" hasCustomPrompt="1"/>
          </p:nvPr>
        </p:nvSpPr>
        <p:spPr>
          <a:xfrm>
            <a:off x="365761"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112" indent="-182845">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First core reason why customers need your solution</a:t>
            </a:r>
          </a:p>
          <a:p>
            <a:pPr lvl="1"/>
            <a:r>
              <a:rPr lang="en-US"/>
              <a:t>Sub core reason</a:t>
            </a:r>
          </a:p>
          <a:p>
            <a:pPr lvl="0"/>
            <a:r>
              <a:rPr lang="en-US"/>
              <a:t>Try and use short phrases and keywords</a:t>
            </a:r>
          </a:p>
          <a:p>
            <a:pPr lvl="0"/>
            <a:endParaRPr lang="en-US"/>
          </a:p>
        </p:txBody>
      </p:sp>
      <p:sp>
        <p:nvSpPr>
          <p:cNvPr id="28" name="Text Placeholder 22"/>
          <p:cNvSpPr>
            <a:spLocks noGrp="1"/>
          </p:cNvSpPr>
          <p:nvPr>
            <p:ph type="body" sz="quarter" idx="14" hasCustomPrompt="1"/>
          </p:nvPr>
        </p:nvSpPr>
        <p:spPr>
          <a:xfrm>
            <a:off x="3266475"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112" indent="-182845">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Secon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30" name="Text Placeholder 22"/>
          <p:cNvSpPr>
            <a:spLocks noGrp="1"/>
          </p:cNvSpPr>
          <p:nvPr>
            <p:ph type="body" sz="quarter" idx="16" hasCustomPrompt="1"/>
          </p:nvPr>
        </p:nvSpPr>
        <p:spPr>
          <a:xfrm>
            <a:off x="6167189"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112" indent="-182845">
              <a:buClr>
                <a:schemeClr val="tx2"/>
              </a:buClr>
              <a:buSzPct val="75000"/>
              <a:buFont typeface="Wingdings" panose="05000000000000000000" pitchFamily="2" charset="2"/>
              <a:buChar char="§"/>
              <a:defRPr sz="1600" baseline="0">
                <a:latin typeface="Segoe UI" panose="020B0502040204020203" pitchFamily="34" charset="0"/>
                <a:cs typeface="Segoe UI" panose="020B0502040204020203" pitchFamily="34" charset="0"/>
              </a:defRPr>
            </a:lvl2pPr>
          </a:lstStyle>
          <a:p>
            <a:pPr lvl="0"/>
            <a:r>
              <a:rPr lang="en-US"/>
              <a:t>Third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17" name="Content Placeholder 3"/>
          <p:cNvSpPr>
            <a:spLocks noGrp="1"/>
          </p:cNvSpPr>
          <p:nvPr>
            <p:ph sz="quarter" idx="23" hasCustomPrompt="1"/>
          </p:nvPr>
        </p:nvSpPr>
        <p:spPr>
          <a:xfrm>
            <a:off x="365761" y="1554479"/>
            <a:ext cx="2758337" cy="1642741"/>
          </a:xfrm>
          <a:solidFill>
            <a:schemeClr val="accent1"/>
          </a:solidFill>
        </p:spPr>
        <p:txBody>
          <a:bodyPr anchor="ctr" anchorCtr="0"/>
          <a:lstStyle>
            <a:lvl1pPr>
              <a:defRPr>
                <a:solidFill>
                  <a:schemeClr val="bg1"/>
                </a:solidFill>
              </a:defRPr>
            </a:lvl1pPr>
          </a:lstStyle>
          <a:p>
            <a:pPr lvl="0"/>
            <a:r>
              <a:rPr lang="en-US"/>
              <a:t>Value Prop 1</a:t>
            </a:r>
          </a:p>
        </p:txBody>
      </p:sp>
      <p:sp>
        <p:nvSpPr>
          <p:cNvPr id="18" name="Content Placeholder 3"/>
          <p:cNvSpPr>
            <a:spLocks noGrp="1"/>
          </p:cNvSpPr>
          <p:nvPr>
            <p:ph sz="quarter" idx="24" hasCustomPrompt="1"/>
          </p:nvPr>
        </p:nvSpPr>
        <p:spPr>
          <a:xfrm>
            <a:off x="3266475" y="1554479"/>
            <a:ext cx="2758337" cy="1642741"/>
          </a:xfrm>
          <a:solidFill>
            <a:schemeClr val="accent1"/>
          </a:solidFill>
        </p:spPr>
        <p:txBody>
          <a:bodyPr anchor="ctr" anchorCtr="0"/>
          <a:lstStyle>
            <a:lvl1pPr>
              <a:defRPr>
                <a:solidFill>
                  <a:schemeClr val="bg1"/>
                </a:solidFill>
              </a:defRPr>
            </a:lvl1pPr>
          </a:lstStyle>
          <a:p>
            <a:pPr lvl="0"/>
            <a:r>
              <a:rPr lang="en-US"/>
              <a:t>Value Prop 2</a:t>
            </a:r>
          </a:p>
        </p:txBody>
      </p:sp>
      <p:sp>
        <p:nvSpPr>
          <p:cNvPr id="19" name="Content Placeholder 3"/>
          <p:cNvSpPr>
            <a:spLocks noGrp="1"/>
          </p:cNvSpPr>
          <p:nvPr>
            <p:ph sz="quarter" idx="25" hasCustomPrompt="1"/>
          </p:nvPr>
        </p:nvSpPr>
        <p:spPr>
          <a:xfrm>
            <a:off x="6167189" y="1554479"/>
            <a:ext cx="2758337" cy="1642741"/>
          </a:xfrm>
          <a:solidFill>
            <a:schemeClr val="accent1"/>
          </a:solidFill>
        </p:spPr>
        <p:txBody>
          <a:bodyPr anchor="ctr" anchorCtr="0"/>
          <a:lstStyle>
            <a:lvl1pPr>
              <a:defRPr>
                <a:solidFill>
                  <a:schemeClr val="bg1"/>
                </a:solidFill>
              </a:defRPr>
            </a:lvl1pPr>
          </a:lstStyle>
          <a:p>
            <a:pPr lvl="0"/>
            <a:r>
              <a:rPr lang="en-US"/>
              <a:t>Value Prop 3</a:t>
            </a:r>
          </a:p>
        </p:txBody>
      </p:sp>
      <p:sp>
        <p:nvSpPr>
          <p:cNvPr id="20" name="Content Placeholder 3"/>
          <p:cNvSpPr>
            <a:spLocks noGrp="1"/>
          </p:cNvSpPr>
          <p:nvPr>
            <p:ph sz="quarter" idx="26" hasCustomPrompt="1"/>
          </p:nvPr>
        </p:nvSpPr>
        <p:spPr>
          <a:xfrm>
            <a:off x="9067904" y="1554479"/>
            <a:ext cx="2758337" cy="1642741"/>
          </a:xfrm>
          <a:solidFill>
            <a:schemeClr val="accent1"/>
          </a:solidFill>
        </p:spPr>
        <p:txBody>
          <a:bodyPr anchor="ctr" anchorCtr="0"/>
          <a:lstStyle>
            <a:lvl1pPr>
              <a:defRPr>
                <a:solidFill>
                  <a:schemeClr val="bg1"/>
                </a:solidFill>
              </a:defRPr>
            </a:lvl1pPr>
          </a:lstStyle>
          <a:p>
            <a:pPr lvl="0"/>
            <a:r>
              <a:rPr lang="en-US"/>
              <a:t>Value Prop 4</a:t>
            </a:r>
          </a:p>
        </p:txBody>
      </p:sp>
      <p:sp>
        <p:nvSpPr>
          <p:cNvPr id="11" name="Text Placeholder 22"/>
          <p:cNvSpPr>
            <a:spLocks noGrp="1"/>
          </p:cNvSpPr>
          <p:nvPr>
            <p:ph type="body" sz="quarter" idx="18" hasCustomPrompt="1"/>
          </p:nvPr>
        </p:nvSpPr>
        <p:spPr>
          <a:xfrm>
            <a:off x="9067904" y="3197219"/>
            <a:ext cx="2758337" cy="2879112"/>
          </a:xfrm>
          <a:solidFill>
            <a:schemeClr val="bg2"/>
          </a:solidFill>
        </p:spPr>
        <p:txBody>
          <a:bodyPr anchor="t" anchorCtr="0">
            <a:normAutofit/>
          </a:bodyPr>
          <a:lstStyle>
            <a:lvl1pPr>
              <a:lnSpc>
                <a:spcPct val="100000"/>
              </a:lnSpc>
              <a:spcBef>
                <a:spcPts val="1200"/>
              </a:spcBef>
              <a:defRPr sz="1800" baseline="0">
                <a:latin typeface="Segoe UI" panose="020B0502040204020203" pitchFamily="34" charset="0"/>
                <a:cs typeface="Segoe UI" panose="020B0502040204020203" pitchFamily="34" charset="0"/>
              </a:defRPr>
            </a:lvl1pPr>
            <a:lvl2pPr marL="457112" indent="-182845">
              <a:buClr>
                <a:schemeClr val="tx2"/>
              </a:buClr>
              <a:buSzPct val="75000"/>
              <a:buFont typeface="Wingdings" panose="05000000000000000000" pitchFamily="2" charset="2"/>
              <a:buChar char="§"/>
              <a:defRPr sz="1600">
                <a:latin typeface="Segoe UI" panose="020B0502040204020203" pitchFamily="34" charset="0"/>
                <a:cs typeface="Segoe UI" panose="020B0502040204020203" pitchFamily="34" charset="0"/>
              </a:defRPr>
            </a:lvl2pPr>
          </a:lstStyle>
          <a:p>
            <a:pPr lvl="0"/>
            <a:r>
              <a:rPr lang="en-US"/>
              <a:t>Fourth core reason</a:t>
            </a:r>
          </a:p>
          <a:p>
            <a:pPr lvl="1"/>
            <a:r>
              <a:rPr lang="en-US">
                <a:latin typeface="Segoe UI" panose="020B0502040204020203" pitchFamily="34" charset="0"/>
                <a:cs typeface="Segoe UI" panose="020B0502040204020203" pitchFamily="34" charset="0"/>
              </a:rPr>
              <a:t>Sub core reason</a:t>
            </a:r>
            <a:endParaRPr lang="en-US"/>
          </a:p>
        </p:txBody>
      </p:sp>
      <p:sp>
        <p:nvSpPr>
          <p:cNvPr id="35"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14"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5"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6" name="Rectangle 15"/>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07154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6"/>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801" cy="502920"/>
          </a:xfrm>
        </p:spPr>
        <p:txBody>
          <a:bodyPr/>
          <a:lstStyle>
            <a:lvl1pPr>
              <a:defRPr baseline="0"/>
            </a:lvl1pPr>
          </a:lstStyle>
          <a:p>
            <a:r>
              <a:rPr lang="en-US"/>
              <a:t>Title of slide (Case Study 1)</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0" name="Picture Placeholder 9"/>
          <p:cNvSpPr>
            <a:spLocks noGrp="1"/>
          </p:cNvSpPr>
          <p:nvPr>
            <p:ph type="pic" sz="quarter" idx="19"/>
          </p:nvPr>
        </p:nvSpPr>
        <p:spPr>
          <a:xfrm>
            <a:off x="365761" y="1554480"/>
            <a:ext cx="5267959" cy="2286000"/>
          </a:xfrm>
        </p:spPr>
        <p:txBody>
          <a:bodyPr tIns="137160">
            <a:normAutofit/>
          </a:bodyPr>
          <a:lstStyle>
            <a:lvl1pPr>
              <a:defRPr sz="2400"/>
            </a:lvl1pPr>
          </a:lstStyle>
          <a:p>
            <a:endParaRPr lang="en-US"/>
          </a:p>
        </p:txBody>
      </p:sp>
      <p:sp>
        <p:nvSpPr>
          <p:cNvPr id="15" name="Text Placeholder 14"/>
          <p:cNvSpPr>
            <a:spLocks noGrp="1"/>
          </p:cNvSpPr>
          <p:nvPr>
            <p:ph type="body" sz="quarter" idx="20" hasCustomPrompt="1"/>
          </p:nvPr>
        </p:nvSpPr>
        <p:spPr>
          <a:xfrm>
            <a:off x="5836920" y="1554480"/>
            <a:ext cx="6126480" cy="2286000"/>
          </a:xfrm>
        </p:spPr>
        <p:txBody>
          <a:bodyPr tIns="137160">
            <a:normAutofit/>
          </a:bodyPr>
          <a:lstStyle>
            <a:lvl1pPr>
              <a:spcBef>
                <a:spcPts val="600"/>
              </a:spcBef>
              <a:defRPr sz="1800" spc="0" baseline="0">
                <a:latin typeface="Segoe UI" panose="020B0502040204020203" pitchFamily="34" charset="0"/>
                <a:cs typeface="Segoe UI" panose="020B0502040204020203" pitchFamily="34" charset="0"/>
              </a:defRPr>
            </a:lvl1pPr>
            <a:lvl2pPr marL="731379" indent="-274267">
              <a:spcBef>
                <a:spcPts val="600"/>
              </a:spcBef>
              <a:buClr>
                <a:schemeClr val="tx2"/>
              </a:buClr>
              <a:buSzPct val="75000"/>
              <a:buFont typeface="Wingdings" panose="05000000000000000000" pitchFamily="2" charset="2"/>
              <a:buChar char="§"/>
              <a:defRPr sz="1800" baseline="0">
                <a:latin typeface="Segoe UI" panose="020B0502040204020203" pitchFamily="34" charset="0"/>
                <a:cs typeface="Segoe UI" panose="020B0502040204020203" pitchFamily="34" charset="0"/>
              </a:defRPr>
            </a:lvl2pPr>
            <a:lvl3pPr>
              <a:spcBef>
                <a:spcPts val="600"/>
              </a:spcBef>
              <a:defRPr/>
            </a:lvl3pPr>
            <a:lvl4pPr>
              <a:spcBef>
                <a:spcPts val="600"/>
              </a:spcBef>
              <a:defRPr/>
            </a:lvl4pPr>
            <a:lvl5pPr>
              <a:spcBef>
                <a:spcPts val="600"/>
              </a:spcBef>
              <a:defRPr/>
            </a:lvl5pPr>
          </a:lstStyle>
          <a:p>
            <a:pPr lvl="0"/>
            <a:r>
              <a:rPr lang="en-US"/>
              <a:t>First core reason for the case study</a:t>
            </a:r>
          </a:p>
          <a:p>
            <a:pPr lvl="1"/>
            <a:r>
              <a:rPr lang="en-US">
                <a:latin typeface="Segoe UI" panose="020B0502040204020203" pitchFamily="34" charset="0"/>
                <a:cs typeface="Segoe UI" panose="020B0502040204020203" pitchFamily="34" charset="0"/>
              </a:rPr>
              <a:t>Sub content</a:t>
            </a:r>
            <a:endParaRPr lang="en-US"/>
          </a:p>
          <a:p>
            <a:pPr lvl="0"/>
            <a:r>
              <a:rPr lang="en-US"/>
              <a:t>Try and use short phrases and keywords</a:t>
            </a:r>
          </a:p>
        </p:txBody>
      </p:sp>
      <p:sp>
        <p:nvSpPr>
          <p:cNvPr id="19" name="Text Placeholder 16"/>
          <p:cNvSpPr>
            <a:spLocks noGrp="1"/>
          </p:cNvSpPr>
          <p:nvPr>
            <p:ph type="body" sz="quarter" idx="21" hasCustomPrompt="1"/>
          </p:nvPr>
        </p:nvSpPr>
        <p:spPr>
          <a:xfrm>
            <a:off x="0" y="4023360"/>
            <a:ext cx="12192000" cy="1910895"/>
          </a:xfrm>
          <a:solidFill>
            <a:schemeClr val="accent1"/>
          </a:solidFill>
        </p:spPr>
        <p:txBody>
          <a:bodyPr anchor="ctr" anchorCtr="0"/>
          <a:lstStyle>
            <a:lvl1pPr algn="ctr">
              <a:defRPr sz="2400" spc="-20" baseline="0">
                <a:solidFill>
                  <a:schemeClr val="bg1"/>
                </a:solidFill>
              </a:defRPr>
            </a:lvl1pPr>
          </a:lstStyle>
          <a:p>
            <a:pPr lvl="0"/>
            <a:r>
              <a:rPr lang="en-US"/>
              <a:t>“Add a pull quote here. Try to use a short, clear, and impactful statement.” </a:t>
            </a:r>
          </a:p>
          <a:p>
            <a:r>
              <a:rPr lang="en-US" sz="2400"/>
              <a:t>Add the person’s name, title, and organization here</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73082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CD7B-C584-48F3-A1AA-7B088B81F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C5864D-013D-4835-B49D-8676C57EF6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DCB3C-CE06-422B-B2BD-0DB944FBB135}"/>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5" name="Footer Placeholder 4">
            <a:extLst>
              <a:ext uri="{FF2B5EF4-FFF2-40B4-BE49-F238E27FC236}">
                <a16:creationId xmlns:a16="http://schemas.microsoft.com/office/drawing/2014/main" id="{7EFDC2D9-1737-4FDB-8E9C-2D749F5EBF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728C0-A5A1-4B16-B2FF-E0B592FE8CF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652518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764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1" y="228601"/>
            <a:ext cx="11734799" cy="502920"/>
          </a:xfrm>
        </p:spPr>
        <p:txBody>
          <a:bodyPr/>
          <a:lstStyle>
            <a:lvl1pPr>
              <a:defRPr baseline="0"/>
            </a:lvl1pPr>
          </a:lstStyle>
          <a:p>
            <a:r>
              <a:rPr lang="en-US"/>
              <a:t>Title of slide (Case Study 2)</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0" name="Picture Placeholder 9"/>
          <p:cNvSpPr>
            <a:spLocks noGrp="1"/>
          </p:cNvSpPr>
          <p:nvPr>
            <p:ph type="pic" sz="quarter" idx="19"/>
          </p:nvPr>
        </p:nvSpPr>
        <p:spPr>
          <a:xfrm>
            <a:off x="365760" y="1674610"/>
            <a:ext cx="4498502" cy="4259646"/>
          </a:xfrm>
        </p:spPr>
        <p:txBody>
          <a:bodyPr tIns="137160">
            <a:normAutofit/>
          </a:bodyPr>
          <a:lstStyle>
            <a:lvl1pPr>
              <a:defRPr sz="2400"/>
            </a:lvl1pPr>
          </a:lstStyle>
          <a:p>
            <a:endParaRPr lang="en-US"/>
          </a:p>
        </p:txBody>
      </p:sp>
      <p:sp>
        <p:nvSpPr>
          <p:cNvPr id="15" name="Text Placeholder 14"/>
          <p:cNvSpPr>
            <a:spLocks noGrp="1"/>
          </p:cNvSpPr>
          <p:nvPr>
            <p:ph type="body" sz="quarter" idx="20" hasCustomPrompt="1"/>
          </p:nvPr>
        </p:nvSpPr>
        <p:spPr>
          <a:xfrm>
            <a:off x="5037883" y="1674609"/>
            <a:ext cx="6925519" cy="1920240"/>
          </a:xfrm>
        </p:spPr>
        <p:txBody>
          <a:bodyPr tIns="137160">
            <a:noAutofit/>
          </a:bodyPr>
          <a:lstStyle>
            <a:lvl1pPr>
              <a:spcBef>
                <a:spcPts val="600"/>
              </a:spcBef>
              <a:defRPr sz="1800" spc="0" baseline="0">
                <a:latin typeface="Segoe UI" panose="020B0502040204020203" pitchFamily="34" charset="0"/>
                <a:cs typeface="Segoe UI" panose="020B0502040204020203" pitchFamily="34" charset="0"/>
              </a:defRPr>
            </a:lvl1pPr>
            <a:lvl2pPr marL="731379" indent="-274267">
              <a:spcBef>
                <a:spcPts val="600"/>
              </a:spcBef>
              <a:buClr>
                <a:schemeClr val="tx2"/>
              </a:buClr>
              <a:buSzPct val="75000"/>
              <a:buFont typeface="Wingdings" panose="05000000000000000000" pitchFamily="2" charset="2"/>
              <a:buChar char="§"/>
              <a:defRPr sz="1800">
                <a:latin typeface="Segoe UI" panose="020B0502040204020203" pitchFamily="34" charset="0"/>
                <a:cs typeface="Segoe UI" panose="020B0502040204020203" pitchFamily="34" charset="0"/>
              </a:defRPr>
            </a:lvl2pPr>
            <a:lvl3pPr>
              <a:spcBef>
                <a:spcPts val="600"/>
              </a:spcBef>
              <a:defRPr/>
            </a:lvl3pPr>
            <a:lvl4pPr>
              <a:spcBef>
                <a:spcPts val="600"/>
              </a:spcBef>
              <a:defRPr/>
            </a:lvl4pPr>
            <a:lvl5pPr>
              <a:spcBef>
                <a:spcPts val="600"/>
              </a:spcBef>
              <a:defRPr/>
            </a:lvl5pPr>
          </a:lstStyle>
          <a:p>
            <a:pPr lvl="0"/>
            <a:r>
              <a:rPr lang="en-US"/>
              <a:t>First core reason for the case study</a:t>
            </a:r>
          </a:p>
          <a:p>
            <a:pPr lvl="1"/>
            <a:r>
              <a:rPr lang="en-US">
                <a:latin typeface="Segoe UI" panose="020B0502040204020203" pitchFamily="34" charset="0"/>
                <a:cs typeface="Segoe UI" panose="020B0502040204020203" pitchFamily="34" charset="0"/>
              </a:rPr>
              <a:t>Sub content</a:t>
            </a:r>
            <a:endParaRPr lang="en-US"/>
          </a:p>
          <a:p>
            <a:pPr lvl="0"/>
            <a:r>
              <a:rPr lang="en-US"/>
              <a:t>Try and use short phrases and keywords</a:t>
            </a:r>
          </a:p>
        </p:txBody>
      </p:sp>
      <p:sp>
        <p:nvSpPr>
          <p:cNvPr id="19" name="Text Placeholder 16"/>
          <p:cNvSpPr>
            <a:spLocks noGrp="1"/>
          </p:cNvSpPr>
          <p:nvPr>
            <p:ph type="body" sz="quarter" idx="21" hasCustomPrompt="1"/>
          </p:nvPr>
        </p:nvSpPr>
        <p:spPr>
          <a:xfrm>
            <a:off x="5037883" y="3779879"/>
            <a:ext cx="6925517" cy="2154377"/>
          </a:xfrm>
          <a:solidFill>
            <a:schemeClr val="accent1"/>
          </a:solidFill>
        </p:spPr>
        <p:txBody>
          <a:bodyPr lIns="274320" tIns="0" rIns="274320" bIns="91440" anchor="ctr" anchorCtr="0"/>
          <a:lstStyle>
            <a:lvl1pPr algn="l">
              <a:defRPr sz="2400">
                <a:solidFill>
                  <a:schemeClr val="bg1"/>
                </a:solidFill>
              </a:defRPr>
            </a:lvl1pPr>
          </a:lstStyle>
          <a:p>
            <a:pPr lvl="0"/>
            <a:r>
              <a:rPr lang="en-US"/>
              <a:t>“Add a pull quote here. Try to use a short, clear, and impactful statement.” </a:t>
            </a:r>
          </a:p>
          <a:p>
            <a:r>
              <a:rPr lang="en-US" sz="2400"/>
              <a:t>Add the person’s name, title, and organization here</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152591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lobal Footpri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0"/>
            <a:ext cx="11734801" cy="499969"/>
          </a:xfrm>
        </p:spPr>
        <p:txBody>
          <a:bodyPr/>
          <a:lstStyle>
            <a:lvl1pPr>
              <a:defRPr baseline="0"/>
            </a:lvl1pPr>
          </a:lstStyle>
          <a:p>
            <a:r>
              <a:rPr lang="en-US"/>
              <a:t>Title of slide (Global footprint)</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grpSp>
        <p:nvGrpSpPr>
          <p:cNvPr id="206" name="Group 203"/>
          <p:cNvGrpSpPr>
            <a:grpSpLocks noChangeAspect="1"/>
          </p:cNvGrpSpPr>
          <p:nvPr userDrawn="1"/>
        </p:nvGrpSpPr>
        <p:grpSpPr bwMode="auto">
          <a:xfrm>
            <a:off x="1466849" y="1817390"/>
            <a:ext cx="8877294" cy="4145893"/>
            <a:chOff x="740" y="1162"/>
            <a:chExt cx="6019" cy="2811"/>
          </a:xfrm>
          <a:solidFill>
            <a:schemeClr val="bg2"/>
          </a:solidFill>
        </p:grpSpPr>
        <p:sp>
          <p:nvSpPr>
            <p:cNvPr id="208" name="Freeform 204"/>
            <p:cNvSpPr>
              <a:spLocks/>
            </p:cNvSpPr>
            <p:nvPr userDrawn="1"/>
          </p:nvSpPr>
          <p:spPr bwMode="auto">
            <a:xfrm>
              <a:off x="4117" y="3139"/>
              <a:ext cx="144" cy="142"/>
            </a:xfrm>
            <a:custGeom>
              <a:avLst/>
              <a:gdLst>
                <a:gd name="T0" fmla="*/ 142 w 144"/>
                <a:gd name="T1" fmla="*/ 45 h 142"/>
                <a:gd name="T2" fmla="*/ 142 w 144"/>
                <a:gd name="T3" fmla="*/ 28 h 142"/>
                <a:gd name="T4" fmla="*/ 144 w 144"/>
                <a:gd name="T5" fmla="*/ 21 h 142"/>
                <a:gd name="T6" fmla="*/ 139 w 144"/>
                <a:gd name="T7" fmla="*/ 21 h 142"/>
                <a:gd name="T8" fmla="*/ 130 w 144"/>
                <a:gd name="T9" fmla="*/ 16 h 142"/>
                <a:gd name="T10" fmla="*/ 116 w 144"/>
                <a:gd name="T11" fmla="*/ 9 h 142"/>
                <a:gd name="T12" fmla="*/ 106 w 144"/>
                <a:gd name="T13" fmla="*/ 7 h 142"/>
                <a:gd name="T14" fmla="*/ 97 w 144"/>
                <a:gd name="T15" fmla="*/ 7 h 142"/>
                <a:gd name="T16" fmla="*/ 94 w 144"/>
                <a:gd name="T17" fmla="*/ 0 h 142"/>
                <a:gd name="T18" fmla="*/ 80 w 144"/>
                <a:gd name="T19" fmla="*/ 0 h 142"/>
                <a:gd name="T20" fmla="*/ 71 w 144"/>
                <a:gd name="T21" fmla="*/ 4 h 142"/>
                <a:gd name="T22" fmla="*/ 69 w 144"/>
                <a:gd name="T23" fmla="*/ 9 h 142"/>
                <a:gd name="T24" fmla="*/ 66 w 144"/>
                <a:gd name="T25" fmla="*/ 19 h 142"/>
                <a:gd name="T26" fmla="*/ 54 w 144"/>
                <a:gd name="T27" fmla="*/ 23 h 142"/>
                <a:gd name="T28" fmla="*/ 45 w 144"/>
                <a:gd name="T29" fmla="*/ 33 h 142"/>
                <a:gd name="T30" fmla="*/ 33 w 144"/>
                <a:gd name="T31" fmla="*/ 47 h 142"/>
                <a:gd name="T32" fmla="*/ 21 w 144"/>
                <a:gd name="T33" fmla="*/ 47 h 142"/>
                <a:gd name="T34" fmla="*/ 12 w 144"/>
                <a:gd name="T35" fmla="*/ 47 h 142"/>
                <a:gd name="T36" fmla="*/ 7 w 144"/>
                <a:gd name="T37" fmla="*/ 45 h 142"/>
                <a:gd name="T38" fmla="*/ 0 w 144"/>
                <a:gd name="T39" fmla="*/ 45 h 142"/>
                <a:gd name="T40" fmla="*/ 3 w 144"/>
                <a:gd name="T41" fmla="*/ 49 h 142"/>
                <a:gd name="T42" fmla="*/ 5 w 144"/>
                <a:gd name="T43" fmla="*/ 54 h 142"/>
                <a:gd name="T44" fmla="*/ 10 w 144"/>
                <a:gd name="T45" fmla="*/ 64 h 142"/>
                <a:gd name="T46" fmla="*/ 14 w 144"/>
                <a:gd name="T47" fmla="*/ 68 h 142"/>
                <a:gd name="T48" fmla="*/ 17 w 144"/>
                <a:gd name="T49" fmla="*/ 78 h 142"/>
                <a:gd name="T50" fmla="*/ 24 w 144"/>
                <a:gd name="T51" fmla="*/ 85 h 142"/>
                <a:gd name="T52" fmla="*/ 33 w 144"/>
                <a:gd name="T53" fmla="*/ 92 h 142"/>
                <a:gd name="T54" fmla="*/ 38 w 144"/>
                <a:gd name="T55" fmla="*/ 97 h 142"/>
                <a:gd name="T56" fmla="*/ 40 w 144"/>
                <a:gd name="T57" fmla="*/ 101 h 142"/>
                <a:gd name="T58" fmla="*/ 45 w 144"/>
                <a:gd name="T59" fmla="*/ 101 h 142"/>
                <a:gd name="T60" fmla="*/ 45 w 144"/>
                <a:gd name="T61" fmla="*/ 106 h 142"/>
                <a:gd name="T62" fmla="*/ 45 w 144"/>
                <a:gd name="T63" fmla="*/ 113 h 142"/>
                <a:gd name="T64" fmla="*/ 47 w 144"/>
                <a:gd name="T65" fmla="*/ 120 h 142"/>
                <a:gd name="T66" fmla="*/ 50 w 144"/>
                <a:gd name="T67" fmla="*/ 125 h 142"/>
                <a:gd name="T68" fmla="*/ 64 w 144"/>
                <a:gd name="T69" fmla="*/ 127 h 142"/>
                <a:gd name="T70" fmla="*/ 69 w 144"/>
                <a:gd name="T71" fmla="*/ 130 h 142"/>
                <a:gd name="T72" fmla="*/ 69 w 144"/>
                <a:gd name="T73" fmla="*/ 132 h 142"/>
                <a:gd name="T74" fmla="*/ 71 w 144"/>
                <a:gd name="T75" fmla="*/ 134 h 142"/>
                <a:gd name="T76" fmla="*/ 73 w 144"/>
                <a:gd name="T77" fmla="*/ 137 h 142"/>
                <a:gd name="T78" fmla="*/ 85 w 144"/>
                <a:gd name="T79" fmla="*/ 137 h 142"/>
                <a:gd name="T80" fmla="*/ 99 w 144"/>
                <a:gd name="T81" fmla="*/ 139 h 142"/>
                <a:gd name="T82" fmla="*/ 109 w 144"/>
                <a:gd name="T83" fmla="*/ 142 h 142"/>
                <a:gd name="T84" fmla="*/ 116 w 144"/>
                <a:gd name="T85" fmla="*/ 137 h 142"/>
                <a:gd name="T86" fmla="*/ 123 w 144"/>
                <a:gd name="T87" fmla="*/ 127 h 142"/>
                <a:gd name="T88" fmla="*/ 130 w 144"/>
                <a:gd name="T89" fmla="*/ 118 h 142"/>
                <a:gd name="T90" fmla="*/ 132 w 144"/>
                <a:gd name="T91" fmla="*/ 111 h 142"/>
                <a:gd name="T92" fmla="*/ 132 w 144"/>
                <a:gd name="T93" fmla="*/ 104 h 142"/>
                <a:gd name="T94" fmla="*/ 137 w 144"/>
                <a:gd name="T95" fmla="*/ 99 h 142"/>
                <a:gd name="T96" fmla="*/ 142 w 144"/>
                <a:gd name="T97" fmla="*/ 90 h 142"/>
                <a:gd name="T98" fmla="*/ 139 w 144"/>
                <a:gd name="T99" fmla="*/ 85 h 142"/>
                <a:gd name="T100" fmla="*/ 139 w 144"/>
                <a:gd name="T101" fmla="*/ 75 h 142"/>
                <a:gd name="T102" fmla="*/ 139 w 144"/>
                <a:gd name="T103" fmla="*/ 71 h 142"/>
                <a:gd name="T104" fmla="*/ 137 w 144"/>
                <a:gd name="T105" fmla="*/ 68 h 142"/>
                <a:gd name="T106" fmla="*/ 139 w 144"/>
                <a:gd name="T107" fmla="*/ 66 h 142"/>
                <a:gd name="T108" fmla="*/ 142 w 144"/>
                <a:gd name="T109" fmla="*/ 61 h 142"/>
                <a:gd name="T110" fmla="*/ 144 w 144"/>
                <a:gd name="T111" fmla="*/ 5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42">
                  <a:moveTo>
                    <a:pt x="142" y="52"/>
                  </a:moveTo>
                  <a:lnTo>
                    <a:pt x="142" y="49"/>
                  </a:lnTo>
                  <a:lnTo>
                    <a:pt x="142" y="45"/>
                  </a:lnTo>
                  <a:lnTo>
                    <a:pt x="144" y="38"/>
                  </a:lnTo>
                  <a:lnTo>
                    <a:pt x="144" y="33"/>
                  </a:lnTo>
                  <a:lnTo>
                    <a:pt x="142" y="28"/>
                  </a:lnTo>
                  <a:lnTo>
                    <a:pt x="142" y="26"/>
                  </a:lnTo>
                  <a:lnTo>
                    <a:pt x="144" y="23"/>
                  </a:lnTo>
                  <a:lnTo>
                    <a:pt x="144" y="21"/>
                  </a:lnTo>
                  <a:lnTo>
                    <a:pt x="142" y="21"/>
                  </a:lnTo>
                  <a:lnTo>
                    <a:pt x="142" y="21"/>
                  </a:lnTo>
                  <a:lnTo>
                    <a:pt x="139" y="21"/>
                  </a:lnTo>
                  <a:lnTo>
                    <a:pt x="137" y="19"/>
                  </a:lnTo>
                  <a:lnTo>
                    <a:pt x="135" y="16"/>
                  </a:lnTo>
                  <a:lnTo>
                    <a:pt x="130" y="16"/>
                  </a:lnTo>
                  <a:lnTo>
                    <a:pt x="125" y="16"/>
                  </a:lnTo>
                  <a:lnTo>
                    <a:pt x="120" y="12"/>
                  </a:lnTo>
                  <a:lnTo>
                    <a:pt x="116" y="9"/>
                  </a:lnTo>
                  <a:lnTo>
                    <a:pt x="116" y="9"/>
                  </a:lnTo>
                  <a:lnTo>
                    <a:pt x="113" y="7"/>
                  </a:lnTo>
                  <a:lnTo>
                    <a:pt x="106" y="7"/>
                  </a:lnTo>
                  <a:lnTo>
                    <a:pt x="102" y="7"/>
                  </a:lnTo>
                  <a:lnTo>
                    <a:pt x="97" y="7"/>
                  </a:lnTo>
                  <a:lnTo>
                    <a:pt x="97" y="7"/>
                  </a:lnTo>
                  <a:lnTo>
                    <a:pt x="97" y="2"/>
                  </a:lnTo>
                  <a:lnTo>
                    <a:pt x="97" y="0"/>
                  </a:lnTo>
                  <a:lnTo>
                    <a:pt x="94" y="0"/>
                  </a:lnTo>
                  <a:lnTo>
                    <a:pt x="90" y="0"/>
                  </a:lnTo>
                  <a:lnTo>
                    <a:pt x="85" y="0"/>
                  </a:lnTo>
                  <a:lnTo>
                    <a:pt x="80" y="0"/>
                  </a:lnTo>
                  <a:lnTo>
                    <a:pt x="76" y="2"/>
                  </a:lnTo>
                  <a:lnTo>
                    <a:pt x="73" y="4"/>
                  </a:lnTo>
                  <a:lnTo>
                    <a:pt x="71" y="4"/>
                  </a:lnTo>
                  <a:lnTo>
                    <a:pt x="69" y="7"/>
                  </a:lnTo>
                  <a:lnTo>
                    <a:pt x="69" y="7"/>
                  </a:lnTo>
                  <a:lnTo>
                    <a:pt x="69" y="9"/>
                  </a:lnTo>
                  <a:lnTo>
                    <a:pt x="69" y="14"/>
                  </a:lnTo>
                  <a:lnTo>
                    <a:pt x="69" y="16"/>
                  </a:lnTo>
                  <a:lnTo>
                    <a:pt x="66" y="19"/>
                  </a:lnTo>
                  <a:lnTo>
                    <a:pt x="66" y="19"/>
                  </a:lnTo>
                  <a:lnTo>
                    <a:pt x="59" y="21"/>
                  </a:lnTo>
                  <a:lnTo>
                    <a:pt x="54" y="23"/>
                  </a:lnTo>
                  <a:lnTo>
                    <a:pt x="52" y="26"/>
                  </a:lnTo>
                  <a:lnTo>
                    <a:pt x="47" y="28"/>
                  </a:lnTo>
                  <a:lnTo>
                    <a:pt x="45" y="33"/>
                  </a:lnTo>
                  <a:lnTo>
                    <a:pt x="43" y="38"/>
                  </a:lnTo>
                  <a:lnTo>
                    <a:pt x="38" y="42"/>
                  </a:lnTo>
                  <a:lnTo>
                    <a:pt x="33" y="47"/>
                  </a:lnTo>
                  <a:lnTo>
                    <a:pt x="28" y="49"/>
                  </a:lnTo>
                  <a:lnTo>
                    <a:pt x="26" y="49"/>
                  </a:lnTo>
                  <a:lnTo>
                    <a:pt x="21" y="47"/>
                  </a:lnTo>
                  <a:lnTo>
                    <a:pt x="17" y="47"/>
                  </a:lnTo>
                  <a:lnTo>
                    <a:pt x="14" y="47"/>
                  </a:lnTo>
                  <a:lnTo>
                    <a:pt x="12" y="47"/>
                  </a:lnTo>
                  <a:lnTo>
                    <a:pt x="10" y="45"/>
                  </a:lnTo>
                  <a:lnTo>
                    <a:pt x="10" y="45"/>
                  </a:lnTo>
                  <a:lnTo>
                    <a:pt x="7" y="45"/>
                  </a:lnTo>
                  <a:lnTo>
                    <a:pt x="5" y="45"/>
                  </a:lnTo>
                  <a:lnTo>
                    <a:pt x="3" y="45"/>
                  </a:lnTo>
                  <a:lnTo>
                    <a:pt x="0" y="45"/>
                  </a:lnTo>
                  <a:lnTo>
                    <a:pt x="0" y="47"/>
                  </a:lnTo>
                  <a:lnTo>
                    <a:pt x="0" y="47"/>
                  </a:lnTo>
                  <a:lnTo>
                    <a:pt x="3" y="49"/>
                  </a:lnTo>
                  <a:lnTo>
                    <a:pt x="3" y="52"/>
                  </a:lnTo>
                  <a:lnTo>
                    <a:pt x="5" y="52"/>
                  </a:lnTo>
                  <a:lnTo>
                    <a:pt x="5" y="54"/>
                  </a:lnTo>
                  <a:lnTo>
                    <a:pt x="5" y="56"/>
                  </a:lnTo>
                  <a:lnTo>
                    <a:pt x="7" y="59"/>
                  </a:lnTo>
                  <a:lnTo>
                    <a:pt x="10" y="64"/>
                  </a:lnTo>
                  <a:lnTo>
                    <a:pt x="12" y="64"/>
                  </a:lnTo>
                  <a:lnTo>
                    <a:pt x="12" y="66"/>
                  </a:lnTo>
                  <a:lnTo>
                    <a:pt x="14" y="68"/>
                  </a:lnTo>
                  <a:lnTo>
                    <a:pt x="14" y="71"/>
                  </a:lnTo>
                  <a:lnTo>
                    <a:pt x="14" y="71"/>
                  </a:lnTo>
                  <a:lnTo>
                    <a:pt x="17" y="78"/>
                  </a:lnTo>
                  <a:lnTo>
                    <a:pt x="17" y="80"/>
                  </a:lnTo>
                  <a:lnTo>
                    <a:pt x="19" y="82"/>
                  </a:lnTo>
                  <a:lnTo>
                    <a:pt x="24" y="85"/>
                  </a:lnTo>
                  <a:lnTo>
                    <a:pt x="26" y="90"/>
                  </a:lnTo>
                  <a:lnTo>
                    <a:pt x="31" y="92"/>
                  </a:lnTo>
                  <a:lnTo>
                    <a:pt x="33" y="92"/>
                  </a:lnTo>
                  <a:lnTo>
                    <a:pt x="36" y="92"/>
                  </a:lnTo>
                  <a:lnTo>
                    <a:pt x="36" y="94"/>
                  </a:lnTo>
                  <a:lnTo>
                    <a:pt x="38" y="97"/>
                  </a:lnTo>
                  <a:lnTo>
                    <a:pt x="38" y="99"/>
                  </a:lnTo>
                  <a:lnTo>
                    <a:pt x="38" y="101"/>
                  </a:lnTo>
                  <a:lnTo>
                    <a:pt x="40" y="101"/>
                  </a:lnTo>
                  <a:lnTo>
                    <a:pt x="43" y="101"/>
                  </a:lnTo>
                  <a:lnTo>
                    <a:pt x="45" y="101"/>
                  </a:lnTo>
                  <a:lnTo>
                    <a:pt x="45" y="101"/>
                  </a:lnTo>
                  <a:lnTo>
                    <a:pt x="45" y="104"/>
                  </a:lnTo>
                  <a:lnTo>
                    <a:pt x="45" y="106"/>
                  </a:lnTo>
                  <a:lnTo>
                    <a:pt x="45" y="106"/>
                  </a:lnTo>
                  <a:lnTo>
                    <a:pt x="45" y="108"/>
                  </a:lnTo>
                  <a:lnTo>
                    <a:pt x="45" y="111"/>
                  </a:lnTo>
                  <a:lnTo>
                    <a:pt x="45" y="113"/>
                  </a:lnTo>
                  <a:lnTo>
                    <a:pt x="45" y="116"/>
                  </a:lnTo>
                  <a:lnTo>
                    <a:pt x="47" y="118"/>
                  </a:lnTo>
                  <a:lnTo>
                    <a:pt x="47" y="120"/>
                  </a:lnTo>
                  <a:lnTo>
                    <a:pt x="50" y="123"/>
                  </a:lnTo>
                  <a:lnTo>
                    <a:pt x="50" y="123"/>
                  </a:lnTo>
                  <a:lnTo>
                    <a:pt x="50" y="125"/>
                  </a:lnTo>
                  <a:lnTo>
                    <a:pt x="52" y="125"/>
                  </a:lnTo>
                  <a:lnTo>
                    <a:pt x="59" y="125"/>
                  </a:lnTo>
                  <a:lnTo>
                    <a:pt x="64" y="127"/>
                  </a:lnTo>
                  <a:lnTo>
                    <a:pt x="66" y="127"/>
                  </a:lnTo>
                  <a:lnTo>
                    <a:pt x="69" y="127"/>
                  </a:lnTo>
                  <a:lnTo>
                    <a:pt x="69" y="130"/>
                  </a:lnTo>
                  <a:lnTo>
                    <a:pt x="69" y="130"/>
                  </a:lnTo>
                  <a:lnTo>
                    <a:pt x="69" y="132"/>
                  </a:lnTo>
                  <a:lnTo>
                    <a:pt x="69" y="132"/>
                  </a:lnTo>
                  <a:lnTo>
                    <a:pt x="69" y="134"/>
                  </a:lnTo>
                  <a:lnTo>
                    <a:pt x="69" y="134"/>
                  </a:lnTo>
                  <a:lnTo>
                    <a:pt x="71" y="134"/>
                  </a:lnTo>
                  <a:lnTo>
                    <a:pt x="73" y="134"/>
                  </a:lnTo>
                  <a:lnTo>
                    <a:pt x="73" y="137"/>
                  </a:lnTo>
                  <a:lnTo>
                    <a:pt x="73" y="137"/>
                  </a:lnTo>
                  <a:lnTo>
                    <a:pt x="76" y="137"/>
                  </a:lnTo>
                  <a:lnTo>
                    <a:pt x="80" y="137"/>
                  </a:lnTo>
                  <a:lnTo>
                    <a:pt x="85" y="137"/>
                  </a:lnTo>
                  <a:lnTo>
                    <a:pt x="90" y="139"/>
                  </a:lnTo>
                  <a:lnTo>
                    <a:pt x="94" y="139"/>
                  </a:lnTo>
                  <a:lnTo>
                    <a:pt x="99" y="139"/>
                  </a:lnTo>
                  <a:lnTo>
                    <a:pt x="102" y="139"/>
                  </a:lnTo>
                  <a:lnTo>
                    <a:pt x="106" y="139"/>
                  </a:lnTo>
                  <a:lnTo>
                    <a:pt x="109" y="142"/>
                  </a:lnTo>
                  <a:lnTo>
                    <a:pt x="109" y="142"/>
                  </a:lnTo>
                  <a:lnTo>
                    <a:pt x="111" y="139"/>
                  </a:lnTo>
                  <a:lnTo>
                    <a:pt x="116" y="137"/>
                  </a:lnTo>
                  <a:lnTo>
                    <a:pt x="118" y="132"/>
                  </a:lnTo>
                  <a:lnTo>
                    <a:pt x="120" y="130"/>
                  </a:lnTo>
                  <a:lnTo>
                    <a:pt x="123" y="127"/>
                  </a:lnTo>
                  <a:lnTo>
                    <a:pt x="127" y="123"/>
                  </a:lnTo>
                  <a:lnTo>
                    <a:pt x="130" y="120"/>
                  </a:lnTo>
                  <a:lnTo>
                    <a:pt x="130" y="118"/>
                  </a:lnTo>
                  <a:lnTo>
                    <a:pt x="130" y="118"/>
                  </a:lnTo>
                  <a:lnTo>
                    <a:pt x="130" y="116"/>
                  </a:lnTo>
                  <a:lnTo>
                    <a:pt x="132" y="111"/>
                  </a:lnTo>
                  <a:lnTo>
                    <a:pt x="132" y="108"/>
                  </a:lnTo>
                  <a:lnTo>
                    <a:pt x="132" y="106"/>
                  </a:lnTo>
                  <a:lnTo>
                    <a:pt x="132" y="104"/>
                  </a:lnTo>
                  <a:lnTo>
                    <a:pt x="132" y="104"/>
                  </a:lnTo>
                  <a:lnTo>
                    <a:pt x="137" y="101"/>
                  </a:lnTo>
                  <a:lnTo>
                    <a:pt x="137" y="99"/>
                  </a:lnTo>
                  <a:lnTo>
                    <a:pt x="139" y="97"/>
                  </a:lnTo>
                  <a:lnTo>
                    <a:pt x="142" y="90"/>
                  </a:lnTo>
                  <a:lnTo>
                    <a:pt x="142" y="90"/>
                  </a:lnTo>
                  <a:lnTo>
                    <a:pt x="142" y="87"/>
                  </a:lnTo>
                  <a:lnTo>
                    <a:pt x="142" y="87"/>
                  </a:lnTo>
                  <a:lnTo>
                    <a:pt x="139" y="85"/>
                  </a:lnTo>
                  <a:lnTo>
                    <a:pt x="139" y="82"/>
                  </a:lnTo>
                  <a:lnTo>
                    <a:pt x="139" y="78"/>
                  </a:lnTo>
                  <a:lnTo>
                    <a:pt x="139" y="75"/>
                  </a:lnTo>
                  <a:lnTo>
                    <a:pt x="139" y="73"/>
                  </a:lnTo>
                  <a:lnTo>
                    <a:pt x="139" y="73"/>
                  </a:lnTo>
                  <a:lnTo>
                    <a:pt x="139" y="71"/>
                  </a:lnTo>
                  <a:lnTo>
                    <a:pt x="139" y="71"/>
                  </a:lnTo>
                  <a:lnTo>
                    <a:pt x="137" y="71"/>
                  </a:lnTo>
                  <a:lnTo>
                    <a:pt x="137" y="68"/>
                  </a:lnTo>
                  <a:lnTo>
                    <a:pt x="137" y="66"/>
                  </a:lnTo>
                  <a:lnTo>
                    <a:pt x="137" y="66"/>
                  </a:lnTo>
                  <a:lnTo>
                    <a:pt x="139" y="66"/>
                  </a:lnTo>
                  <a:lnTo>
                    <a:pt x="142" y="64"/>
                  </a:lnTo>
                  <a:lnTo>
                    <a:pt x="142" y="64"/>
                  </a:lnTo>
                  <a:lnTo>
                    <a:pt x="142" y="61"/>
                  </a:lnTo>
                  <a:lnTo>
                    <a:pt x="142" y="59"/>
                  </a:lnTo>
                  <a:lnTo>
                    <a:pt x="144" y="56"/>
                  </a:lnTo>
                  <a:lnTo>
                    <a:pt x="144" y="56"/>
                  </a:lnTo>
                  <a:lnTo>
                    <a:pt x="144" y="54"/>
                  </a:lnTo>
                  <a:lnTo>
                    <a:pt x="142" y="5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9" name="Freeform 205"/>
            <p:cNvSpPr>
              <a:spLocks/>
            </p:cNvSpPr>
            <p:nvPr userDrawn="1"/>
          </p:nvSpPr>
          <p:spPr bwMode="auto">
            <a:xfrm>
              <a:off x="4058" y="2980"/>
              <a:ext cx="219" cy="208"/>
            </a:xfrm>
            <a:custGeom>
              <a:avLst/>
              <a:gdLst>
                <a:gd name="T0" fmla="*/ 217 w 219"/>
                <a:gd name="T1" fmla="*/ 50 h 208"/>
                <a:gd name="T2" fmla="*/ 212 w 219"/>
                <a:gd name="T3" fmla="*/ 40 h 208"/>
                <a:gd name="T4" fmla="*/ 210 w 219"/>
                <a:gd name="T5" fmla="*/ 31 h 208"/>
                <a:gd name="T6" fmla="*/ 205 w 219"/>
                <a:gd name="T7" fmla="*/ 31 h 208"/>
                <a:gd name="T8" fmla="*/ 203 w 219"/>
                <a:gd name="T9" fmla="*/ 24 h 208"/>
                <a:gd name="T10" fmla="*/ 191 w 219"/>
                <a:gd name="T11" fmla="*/ 19 h 208"/>
                <a:gd name="T12" fmla="*/ 184 w 219"/>
                <a:gd name="T13" fmla="*/ 17 h 208"/>
                <a:gd name="T14" fmla="*/ 179 w 219"/>
                <a:gd name="T15" fmla="*/ 12 h 208"/>
                <a:gd name="T16" fmla="*/ 168 w 219"/>
                <a:gd name="T17" fmla="*/ 7 h 208"/>
                <a:gd name="T18" fmla="*/ 153 w 219"/>
                <a:gd name="T19" fmla="*/ 3 h 208"/>
                <a:gd name="T20" fmla="*/ 132 w 219"/>
                <a:gd name="T21" fmla="*/ 10 h 208"/>
                <a:gd name="T22" fmla="*/ 125 w 219"/>
                <a:gd name="T23" fmla="*/ 19 h 208"/>
                <a:gd name="T24" fmla="*/ 125 w 219"/>
                <a:gd name="T25" fmla="*/ 36 h 208"/>
                <a:gd name="T26" fmla="*/ 125 w 219"/>
                <a:gd name="T27" fmla="*/ 52 h 208"/>
                <a:gd name="T28" fmla="*/ 120 w 219"/>
                <a:gd name="T29" fmla="*/ 71 h 208"/>
                <a:gd name="T30" fmla="*/ 128 w 219"/>
                <a:gd name="T31" fmla="*/ 83 h 208"/>
                <a:gd name="T32" fmla="*/ 139 w 219"/>
                <a:gd name="T33" fmla="*/ 90 h 208"/>
                <a:gd name="T34" fmla="*/ 142 w 219"/>
                <a:gd name="T35" fmla="*/ 85 h 208"/>
                <a:gd name="T36" fmla="*/ 146 w 219"/>
                <a:gd name="T37" fmla="*/ 95 h 208"/>
                <a:gd name="T38" fmla="*/ 146 w 219"/>
                <a:gd name="T39" fmla="*/ 111 h 208"/>
                <a:gd name="T40" fmla="*/ 142 w 219"/>
                <a:gd name="T41" fmla="*/ 107 h 208"/>
                <a:gd name="T42" fmla="*/ 132 w 219"/>
                <a:gd name="T43" fmla="*/ 109 h 208"/>
                <a:gd name="T44" fmla="*/ 125 w 219"/>
                <a:gd name="T45" fmla="*/ 100 h 208"/>
                <a:gd name="T46" fmla="*/ 120 w 219"/>
                <a:gd name="T47" fmla="*/ 92 h 208"/>
                <a:gd name="T48" fmla="*/ 106 w 219"/>
                <a:gd name="T49" fmla="*/ 88 h 208"/>
                <a:gd name="T50" fmla="*/ 99 w 219"/>
                <a:gd name="T51" fmla="*/ 74 h 208"/>
                <a:gd name="T52" fmla="*/ 95 w 219"/>
                <a:gd name="T53" fmla="*/ 78 h 208"/>
                <a:gd name="T54" fmla="*/ 85 w 219"/>
                <a:gd name="T55" fmla="*/ 81 h 208"/>
                <a:gd name="T56" fmla="*/ 69 w 219"/>
                <a:gd name="T57" fmla="*/ 76 h 208"/>
                <a:gd name="T58" fmla="*/ 64 w 219"/>
                <a:gd name="T59" fmla="*/ 69 h 208"/>
                <a:gd name="T60" fmla="*/ 59 w 219"/>
                <a:gd name="T61" fmla="*/ 66 h 208"/>
                <a:gd name="T62" fmla="*/ 47 w 219"/>
                <a:gd name="T63" fmla="*/ 69 h 208"/>
                <a:gd name="T64" fmla="*/ 45 w 219"/>
                <a:gd name="T65" fmla="*/ 62 h 208"/>
                <a:gd name="T66" fmla="*/ 38 w 219"/>
                <a:gd name="T67" fmla="*/ 57 h 208"/>
                <a:gd name="T68" fmla="*/ 40 w 219"/>
                <a:gd name="T69" fmla="*/ 69 h 208"/>
                <a:gd name="T70" fmla="*/ 38 w 219"/>
                <a:gd name="T71" fmla="*/ 81 h 208"/>
                <a:gd name="T72" fmla="*/ 38 w 219"/>
                <a:gd name="T73" fmla="*/ 97 h 208"/>
                <a:gd name="T74" fmla="*/ 3 w 219"/>
                <a:gd name="T75" fmla="*/ 102 h 208"/>
                <a:gd name="T76" fmla="*/ 0 w 219"/>
                <a:gd name="T77" fmla="*/ 140 h 208"/>
                <a:gd name="T78" fmla="*/ 5 w 219"/>
                <a:gd name="T79" fmla="*/ 178 h 208"/>
                <a:gd name="T80" fmla="*/ 19 w 219"/>
                <a:gd name="T81" fmla="*/ 192 h 208"/>
                <a:gd name="T82" fmla="*/ 43 w 219"/>
                <a:gd name="T83" fmla="*/ 197 h 208"/>
                <a:gd name="T84" fmla="*/ 62 w 219"/>
                <a:gd name="T85" fmla="*/ 204 h 208"/>
                <a:gd name="T86" fmla="*/ 73 w 219"/>
                <a:gd name="T87" fmla="*/ 206 h 208"/>
                <a:gd name="T88" fmla="*/ 97 w 219"/>
                <a:gd name="T89" fmla="*/ 201 h 208"/>
                <a:gd name="T90" fmla="*/ 118 w 219"/>
                <a:gd name="T91" fmla="*/ 180 h 208"/>
                <a:gd name="T92" fmla="*/ 128 w 219"/>
                <a:gd name="T93" fmla="*/ 166 h 208"/>
                <a:gd name="T94" fmla="*/ 144 w 219"/>
                <a:gd name="T95" fmla="*/ 159 h 208"/>
                <a:gd name="T96" fmla="*/ 153 w 219"/>
                <a:gd name="T97" fmla="*/ 152 h 208"/>
                <a:gd name="T98" fmla="*/ 158 w 219"/>
                <a:gd name="T99" fmla="*/ 142 h 208"/>
                <a:gd name="T100" fmla="*/ 179 w 219"/>
                <a:gd name="T101" fmla="*/ 135 h 208"/>
                <a:gd name="T102" fmla="*/ 196 w 219"/>
                <a:gd name="T103" fmla="*/ 128 h 208"/>
                <a:gd name="T104" fmla="*/ 205 w 219"/>
                <a:gd name="T105" fmla="*/ 123 h 208"/>
                <a:gd name="T106" fmla="*/ 203 w 219"/>
                <a:gd name="T107" fmla="*/ 119 h 208"/>
                <a:gd name="T108" fmla="*/ 201 w 219"/>
                <a:gd name="T109" fmla="*/ 116 h 208"/>
                <a:gd name="T110" fmla="*/ 203 w 219"/>
                <a:gd name="T111" fmla="*/ 109 h 208"/>
                <a:gd name="T112" fmla="*/ 205 w 219"/>
                <a:gd name="T113" fmla="*/ 100 h 208"/>
                <a:gd name="T114" fmla="*/ 212 w 219"/>
                <a:gd name="T115" fmla="*/ 92 h 208"/>
                <a:gd name="T116" fmla="*/ 212 w 219"/>
                <a:gd name="T117" fmla="*/ 88 h 208"/>
                <a:gd name="T118" fmla="*/ 210 w 219"/>
                <a:gd name="T119" fmla="*/ 71 h 208"/>
                <a:gd name="T120" fmla="*/ 212 w 219"/>
                <a:gd name="T121" fmla="*/ 6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208">
                  <a:moveTo>
                    <a:pt x="212" y="57"/>
                  </a:moveTo>
                  <a:lnTo>
                    <a:pt x="215" y="55"/>
                  </a:lnTo>
                  <a:lnTo>
                    <a:pt x="215" y="55"/>
                  </a:lnTo>
                  <a:lnTo>
                    <a:pt x="219" y="52"/>
                  </a:lnTo>
                  <a:lnTo>
                    <a:pt x="219" y="50"/>
                  </a:lnTo>
                  <a:lnTo>
                    <a:pt x="217" y="50"/>
                  </a:lnTo>
                  <a:lnTo>
                    <a:pt x="217" y="48"/>
                  </a:lnTo>
                  <a:lnTo>
                    <a:pt x="217" y="45"/>
                  </a:lnTo>
                  <a:lnTo>
                    <a:pt x="217" y="43"/>
                  </a:lnTo>
                  <a:lnTo>
                    <a:pt x="215" y="43"/>
                  </a:lnTo>
                  <a:lnTo>
                    <a:pt x="215" y="40"/>
                  </a:lnTo>
                  <a:lnTo>
                    <a:pt x="212" y="40"/>
                  </a:lnTo>
                  <a:lnTo>
                    <a:pt x="212" y="38"/>
                  </a:lnTo>
                  <a:lnTo>
                    <a:pt x="212" y="36"/>
                  </a:lnTo>
                  <a:lnTo>
                    <a:pt x="212" y="36"/>
                  </a:lnTo>
                  <a:lnTo>
                    <a:pt x="210" y="33"/>
                  </a:lnTo>
                  <a:lnTo>
                    <a:pt x="210" y="31"/>
                  </a:lnTo>
                  <a:lnTo>
                    <a:pt x="210" y="31"/>
                  </a:lnTo>
                  <a:lnTo>
                    <a:pt x="210" y="31"/>
                  </a:lnTo>
                  <a:lnTo>
                    <a:pt x="208" y="31"/>
                  </a:lnTo>
                  <a:lnTo>
                    <a:pt x="208" y="31"/>
                  </a:lnTo>
                  <a:lnTo>
                    <a:pt x="208" y="31"/>
                  </a:lnTo>
                  <a:lnTo>
                    <a:pt x="205" y="31"/>
                  </a:lnTo>
                  <a:lnTo>
                    <a:pt x="205" y="31"/>
                  </a:lnTo>
                  <a:lnTo>
                    <a:pt x="205" y="29"/>
                  </a:lnTo>
                  <a:lnTo>
                    <a:pt x="205" y="29"/>
                  </a:lnTo>
                  <a:lnTo>
                    <a:pt x="205" y="26"/>
                  </a:lnTo>
                  <a:lnTo>
                    <a:pt x="205" y="26"/>
                  </a:lnTo>
                  <a:lnTo>
                    <a:pt x="203" y="26"/>
                  </a:lnTo>
                  <a:lnTo>
                    <a:pt x="203" y="24"/>
                  </a:lnTo>
                  <a:lnTo>
                    <a:pt x="201" y="24"/>
                  </a:lnTo>
                  <a:lnTo>
                    <a:pt x="198" y="22"/>
                  </a:lnTo>
                  <a:lnTo>
                    <a:pt x="196" y="22"/>
                  </a:lnTo>
                  <a:lnTo>
                    <a:pt x="194" y="22"/>
                  </a:lnTo>
                  <a:lnTo>
                    <a:pt x="191" y="22"/>
                  </a:lnTo>
                  <a:lnTo>
                    <a:pt x="191" y="19"/>
                  </a:lnTo>
                  <a:lnTo>
                    <a:pt x="189" y="19"/>
                  </a:lnTo>
                  <a:lnTo>
                    <a:pt x="186" y="19"/>
                  </a:lnTo>
                  <a:lnTo>
                    <a:pt x="186" y="19"/>
                  </a:lnTo>
                  <a:lnTo>
                    <a:pt x="186" y="17"/>
                  </a:lnTo>
                  <a:lnTo>
                    <a:pt x="186" y="17"/>
                  </a:lnTo>
                  <a:lnTo>
                    <a:pt x="184" y="17"/>
                  </a:lnTo>
                  <a:lnTo>
                    <a:pt x="184" y="17"/>
                  </a:lnTo>
                  <a:lnTo>
                    <a:pt x="182" y="17"/>
                  </a:lnTo>
                  <a:lnTo>
                    <a:pt x="182" y="17"/>
                  </a:lnTo>
                  <a:lnTo>
                    <a:pt x="182" y="14"/>
                  </a:lnTo>
                  <a:lnTo>
                    <a:pt x="179" y="14"/>
                  </a:lnTo>
                  <a:lnTo>
                    <a:pt x="179" y="12"/>
                  </a:lnTo>
                  <a:lnTo>
                    <a:pt x="177" y="10"/>
                  </a:lnTo>
                  <a:lnTo>
                    <a:pt x="177" y="10"/>
                  </a:lnTo>
                  <a:lnTo>
                    <a:pt x="172" y="10"/>
                  </a:lnTo>
                  <a:lnTo>
                    <a:pt x="170" y="10"/>
                  </a:lnTo>
                  <a:lnTo>
                    <a:pt x="170" y="7"/>
                  </a:lnTo>
                  <a:lnTo>
                    <a:pt x="168" y="7"/>
                  </a:lnTo>
                  <a:lnTo>
                    <a:pt x="168" y="5"/>
                  </a:lnTo>
                  <a:lnTo>
                    <a:pt x="165" y="3"/>
                  </a:lnTo>
                  <a:lnTo>
                    <a:pt x="165" y="0"/>
                  </a:lnTo>
                  <a:lnTo>
                    <a:pt x="163" y="0"/>
                  </a:lnTo>
                  <a:lnTo>
                    <a:pt x="158" y="3"/>
                  </a:lnTo>
                  <a:lnTo>
                    <a:pt x="153" y="3"/>
                  </a:lnTo>
                  <a:lnTo>
                    <a:pt x="146" y="5"/>
                  </a:lnTo>
                  <a:lnTo>
                    <a:pt x="142" y="5"/>
                  </a:lnTo>
                  <a:lnTo>
                    <a:pt x="137" y="5"/>
                  </a:lnTo>
                  <a:lnTo>
                    <a:pt x="132" y="7"/>
                  </a:lnTo>
                  <a:lnTo>
                    <a:pt x="130" y="7"/>
                  </a:lnTo>
                  <a:lnTo>
                    <a:pt x="132" y="10"/>
                  </a:lnTo>
                  <a:lnTo>
                    <a:pt x="132" y="12"/>
                  </a:lnTo>
                  <a:lnTo>
                    <a:pt x="130" y="12"/>
                  </a:lnTo>
                  <a:lnTo>
                    <a:pt x="130" y="14"/>
                  </a:lnTo>
                  <a:lnTo>
                    <a:pt x="128" y="17"/>
                  </a:lnTo>
                  <a:lnTo>
                    <a:pt x="128" y="19"/>
                  </a:lnTo>
                  <a:lnTo>
                    <a:pt x="125" y="19"/>
                  </a:lnTo>
                  <a:lnTo>
                    <a:pt x="123" y="22"/>
                  </a:lnTo>
                  <a:lnTo>
                    <a:pt x="120" y="22"/>
                  </a:lnTo>
                  <a:lnTo>
                    <a:pt x="120" y="24"/>
                  </a:lnTo>
                  <a:lnTo>
                    <a:pt x="125" y="29"/>
                  </a:lnTo>
                  <a:lnTo>
                    <a:pt x="125" y="31"/>
                  </a:lnTo>
                  <a:lnTo>
                    <a:pt x="125" y="36"/>
                  </a:lnTo>
                  <a:lnTo>
                    <a:pt x="125" y="38"/>
                  </a:lnTo>
                  <a:lnTo>
                    <a:pt x="125" y="40"/>
                  </a:lnTo>
                  <a:lnTo>
                    <a:pt x="125" y="45"/>
                  </a:lnTo>
                  <a:lnTo>
                    <a:pt x="125" y="48"/>
                  </a:lnTo>
                  <a:lnTo>
                    <a:pt x="125" y="50"/>
                  </a:lnTo>
                  <a:lnTo>
                    <a:pt x="125" y="52"/>
                  </a:lnTo>
                  <a:lnTo>
                    <a:pt x="123" y="55"/>
                  </a:lnTo>
                  <a:lnTo>
                    <a:pt x="123" y="59"/>
                  </a:lnTo>
                  <a:lnTo>
                    <a:pt x="123" y="62"/>
                  </a:lnTo>
                  <a:lnTo>
                    <a:pt x="120" y="66"/>
                  </a:lnTo>
                  <a:lnTo>
                    <a:pt x="120" y="71"/>
                  </a:lnTo>
                  <a:lnTo>
                    <a:pt x="120" y="71"/>
                  </a:lnTo>
                  <a:lnTo>
                    <a:pt x="120" y="74"/>
                  </a:lnTo>
                  <a:lnTo>
                    <a:pt x="120" y="74"/>
                  </a:lnTo>
                  <a:lnTo>
                    <a:pt x="123" y="76"/>
                  </a:lnTo>
                  <a:lnTo>
                    <a:pt x="123" y="78"/>
                  </a:lnTo>
                  <a:lnTo>
                    <a:pt x="123" y="78"/>
                  </a:lnTo>
                  <a:lnTo>
                    <a:pt x="128" y="83"/>
                  </a:lnTo>
                  <a:lnTo>
                    <a:pt x="130" y="83"/>
                  </a:lnTo>
                  <a:lnTo>
                    <a:pt x="132" y="85"/>
                  </a:lnTo>
                  <a:lnTo>
                    <a:pt x="132" y="88"/>
                  </a:lnTo>
                  <a:lnTo>
                    <a:pt x="135" y="88"/>
                  </a:lnTo>
                  <a:lnTo>
                    <a:pt x="137" y="90"/>
                  </a:lnTo>
                  <a:lnTo>
                    <a:pt x="139" y="90"/>
                  </a:lnTo>
                  <a:lnTo>
                    <a:pt x="142" y="90"/>
                  </a:lnTo>
                  <a:lnTo>
                    <a:pt x="142" y="90"/>
                  </a:lnTo>
                  <a:lnTo>
                    <a:pt x="142" y="88"/>
                  </a:lnTo>
                  <a:lnTo>
                    <a:pt x="142" y="88"/>
                  </a:lnTo>
                  <a:lnTo>
                    <a:pt x="142" y="85"/>
                  </a:lnTo>
                  <a:lnTo>
                    <a:pt x="142" y="85"/>
                  </a:lnTo>
                  <a:lnTo>
                    <a:pt x="144" y="85"/>
                  </a:lnTo>
                  <a:lnTo>
                    <a:pt x="146" y="85"/>
                  </a:lnTo>
                  <a:lnTo>
                    <a:pt x="146" y="85"/>
                  </a:lnTo>
                  <a:lnTo>
                    <a:pt x="146" y="88"/>
                  </a:lnTo>
                  <a:lnTo>
                    <a:pt x="146" y="90"/>
                  </a:lnTo>
                  <a:lnTo>
                    <a:pt x="146" y="95"/>
                  </a:lnTo>
                  <a:lnTo>
                    <a:pt x="146" y="100"/>
                  </a:lnTo>
                  <a:lnTo>
                    <a:pt x="146" y="102"/>
                  </a:lnTo>
                  <a:lnTo>
                    <a:pt x="146" y="107"/>
                  </a:lnTo>
                  <a:lnTo>
                    <a:pt x="146" y="109"/>
                  </a:lnTo>
                  <a:lnTo>
                    <a:pt x="146" y="111"/>
                  </a:lnTo>
                  <a:lnTo>
                    <a:pt x="146" y="111"/>
                  </a:lnTo>
                  <a:lnTo>
                    <a:pt x="144" y="111"/>
                  </a:lnTo>
                  <a:lnTo>
                    <a:pt x="144" y="111"/>
                  </a:lnTo>
                  <a:lnTo>
                    <a:pt x="144" y="109"/>
                  </a:lnTo>
                  <a:lnTo>
                    <a:pt x="144" y="109"/>
                  </a:lnTo>
                  <a:lnTo>
                    <a:pt x="142" y="107"/>
                  </a:lnTo>
                  <a:lnTo>
                    <a:pt x="142" y="107"/>
                  </a:lnTo>
                  <a:lnTo>
                    <a:pt x="139" y="107"/>
                  </a:lnTo>
                  <a:lnTo>
                    <a:pt x="139" y="109"/>
                  </a:lnTo>
                  <a:lnTo>
                    <a:pt x="137" y="109"/>
                  </a:lnTo>
                  <a:lnTo>
                    <a:pt x="135" y="111"/>
                  </a:lnTo>
                  <a:lnTo>
                    <a:pt x="132" y="111"/>
                  </a:lnTo>
                  <a:lnTo>
                    <a:pt x="132" y="109"/>
                  </a:lnTo>
                  <a:lnTo>
                    <a:pt x="130" y="109"/>
                  </a:lnTo>
                  <a:lnTo>
                    <a:pt x="130" y="107"/>
                  </a:lnTo>
                  <a:lnTo>
                    <a:pt x="130" y="104"/>
                  </a:lnTo>
                  <a:lnTo>
                    <a:pt x="128" y="102"/>
                  </a:lnTo>
                  <a:lnTo>
                    <a:pt x="128" y="100"/>
                  </a:lnTo>
                  <a:lnTo>
                    <a:pt x="125" y="100"/>
                  </a:lnTo>
                  <a:lnTo>
                    <a:pt x="125" y="100"/>
                  </a:lnTo>
                  <a:lnTo>
                    <a:pt x="123" y="100"/>
                  </a:lnTo>
                  <a:lnTo>
                    <a:pt x="123" y="97"/>
                  </a:lnTo>
                  <a:lnTo>
                    <a:pt x="123" y="95"/>
                  </a:lnTo>
                  <a:lnTo>
                    <a:pt x="120" y="92"/>
                  </a:lnTo>
                  <a:lnTo>
                    <a:pt x="120" y="92"/>
                  </a:lnTo>
                  <a:lnTo>
                    <a:pt x="120" y="90"/>
                  </a:lnTo>
                  <a:lnTo>
                    <a:pt x="118" y="90"/>
                  </a:lnTo>
                  <a:lnTo>
                    <a:pt x="113" y="88"/>
                  </a:lnTo>
                  <a:lnTo>
                    <a:pt x="111" y="88"/>
                  </a:lnTo>
                  <a:lnTo>
                    <a:pt x="109" y="88"/>
                  </a:lnTo>
                  <a:lnTo>
                    <a:pt x="106" y="88"/>
                  </a:lnTo>
                  <a:lnTo>
                    <a:pt x="106" y="85"/>
                  </a:lnTo>
                  <a:lnTo>
                    <a:pt x="104" y="85"/>
                  </a:lnTo>
                  <a:lnTo>
                    <a:pt x="104" y="83"/>
                  </a:lnTo>
                  <a:lnTo>
                    <a:pt x="102" y="81"/>
                  </a:lnTo>
                  <a:lnTo>
                    <a:pt x="99" y="76"/>
                  </a:lnTo>
                  <a:lnTo>
                    <a:pt x="99" y="74"/>
                  </a:lnTo>
                  <a:lnTo>
                    <a:pt x="97" y="71"/>
                  </a:lnTo>
                  <a:lnTo>
                    <a:pt x="97" y="74"/>
                  </a:lnTo>
                  <a:lnTo>
                    <a:pt x="97" y="74"/>
                  </a:lnTo>
                  <a:lnTo>
                    <a:pt x="95" y="74"/>
                  </a:lnTo>
                  <a:lnTo>
                    <a:pt x="95" y="78"/>
                  </a:lnTo>
                  <a:lnTo>
                    <a:pt x="95" y="78"/>
                  </a:lnTo>
                  <a:lnTo>
                    <a:pt x="95" y="78"/>
                  </a:lnTo>
                  <a:lnTo>
                    <a:pt x="92" y="81"/>
                  </a:lnTo>
                  <a:lnTo>
                    <a:pt x="92" y="81"/>
                  </a:lnTo>
                  <a:lnTo>
                    <a:pt x="90" y="81"/>
                  </a:lnTo>
                  <a:lnTo>
                    <a:pt x="87" y="81"/>
                  </a:lnTo>
                  <a:lnTo>
                    <a:pt x="85" y="81"/>
                  </a:lnTo>
                  <a:lnTo>
                    <a:pt x="83" y="81"/>
                  </a:lnTo>
                  <a:lnTo>
                    <a:pt x="78" y="78"/>
                  </a:lnTo>
                  <a:lnTo>
                    <a:pt x="78" y="78"/>
                  </a:lnTo>
                  <a:lnTo>
                    <a:pt x="76" y="78"/>
                  </a:lnTo>
                  <a:lnTo>
                    <a:pt x="73" y="78"/>
                  </a:lnTo>
                  <a:lnTo>
                    <a:pt x="69" y="76"/>
                  </a:lnTo>
                  <a:lnTo>
                    <a:pt x="66" y="76"/>
                  </a:lnTo>
                  <a:lnTo>
                    <a:pt x="66" y="74"/>
                  </a:lnTo>
                  <a:lnTo>
                    <a:pt x="66" y="74"/>
                  </a:lnTo>
                  <a:lnTo>
                    <a:pt x="64" y="74"/>
                  </a:lnTo>
                  <a:lnTo>
                    <a:pt x="64" y="71"/>
                  </a:lnTo>
                  <a:lnTo>
                    <a:pt x="64" y="69"/>
                  </a:lnTo>
                  <a:lnTo>
                    <a:pt x="64" y="66"/>
                  </a:lnTo>
                  <a:lnTo>
                    <a:pt x="64" y="64"/>
                  </a:lnTo>
                  <a:lnTo>
                    <a:pt x="64" y="64"/>
                  </a:lnTo>
                  <a:lnTo>
                    <a:pt x="62" y="64"/>
                  </a:lnTo>
                  <a:lnTo>
                    <a:pt x="62" y="64"/>
                  </a:lnTo>
                  <a:lnTo>
                    <a:pt x="59" y="66"/>
                  </a:lnTo>
                  <a:lnTo>
                    <a:pt x="57" y="66"/>
                  </a:lnTo>
                  <a:lnTo>
                    <a:pt x="55" y="66"/>
                  </a:lnTo>
                  <a:lnTo>
                    <a:pt x="52" y="66"/>
                  </a:lnTo>
                  <a:lnTo>
                    <a:pt x="52" y="66"/>
                  </a:lnTo>
                  <a:lnTo>
                    <a:pt x="50" y="69"/>
                  </a:lnTo>
                  <a:lnTo>
                    <a:pt x="47" y="69"/>
                  </a:lnTo>
                  <a:lnTo>
                    <a:pt x="47" y="69"/>
                  </a:lnTo>
                  <a:lnTo>
                    <a:pt x="45" y="69"/>
                  </a:lnTo>
                  <a:lnTo>
                    <a:pt x="47" y="66"/>
                  </a:lnTo>
                  <a:lnTo>
                    <a:pt x="47" y="66"/>
                  </a:lnTo>
                  <a:lnTo>
                    <a:pt x="47" y="62"/>
                  </a:lnTo>
                  <a:lnTo>
                    <a:pt x="45" y="62"/>
                  </a:lnTo>
                  <a:lnTo>
                    <a:pt x="43" y="62"/>
                  </a:lnTo>
                  <a:lnTo>
                    <a:pt x="43" y="59"/>
                  </a:lnTo>
                  <a:lnTo>
                    <a:pt x="43" y="59"/>
                  </a:lnTo>
                  <a:lnTo>
                    <a:pt x="40" y="57"/>
                  </a:lnTo>
                  <a:lnTo>
                    <a:pt x="40" y="57"/>
                  </a:lnTo>
                  <a:lnTo>
                    <a:pt x="38" y="57"/>
                  </a:lnTo>
                  <a:lnTo>
                    <a:pt x="40" y="59"/>
                  </a:lnTo>
                  <a:lnTo>
                    <a:pt x="40" y="64"/>
                  </a:lnTo>
                  <a:lnTo>
                    <a:pt x="40" y="66"/>
                  </a:lnTo>
                  <a:lnTo>
                    <a:pt x="40" y="69"/>
                  </a:lnTo>
                  <a:lnTo>
                    <a:pt x="40" y="69"/>
                  </a:lnTo>
                  <a:lnTo>
                    <a:pt x="40" y="69"/>
                  </a:lnTo>
                  <a:lnTo>
                    <a:pt x="40" y="71"/>
                  </a:lnTo>
                  <a:lnTo>
                    <a:pt x="40" y="71"/>
                  </a:lnTo>
                  <a:lnTo>
                    <a:pt x="38" y="74"/>
                  </a:lnTo>
                  <a:lnTo>
                    <a:pt x="40" y="76"/>
                  </a:lnTo>
                  <a:lnTo>
                    <a:pt x="38" y="78"/>
                  </a:lnTo>
                  <a:lnTo>
                    <a:pt x="38" y="81"/>
                  </a:lnTo>
                  <a:lnTo>
                    <a:pt x="38" y="83"/>
                  </a:lnTo>
                  <a:lnTo>
                    <a:pt x="40" y="88"/>
                  </a:lnTo>
                  <a:lnTo>
                    <a:pt x="38" y="90"/>
                  </a:lnTo>
                  <a:lnTo>
                    <a:pt x="38" y="92"/>
                  </a:lnTo>
                  <a:lnTo>
                    <a:pt x="38" y="95"/>
                  </a:lnTo>
                  <a:lnTo>
                    <a:pt x="38" y="97"/>
                  </a:lnTo>
                  <a:lnTo>
                    <a:pt x="38" y="97"/>
                  </a:lnTo>
                  <a:lnTo>
                    <a:pt x="38" y="102"/>
                  </a:lnTo>
                  <a:lnTo>
                    <a:pt x="38" y="102"/>
                  </a:lnTo>
                  <a:lnTo>
                    <a:pt x="38" y="102"/>
                  </a:lnTo>
                  <a:lnTo>
                    <a:pt x="36" y="102"/>
                  </a:lnTo>
                  <a:lnTo>
                    <a:pt x="3" y="102"/>
                  </a:lnTo>
                  <a:lnTo>
                    <a:pt x="3" y="104"/>
                  </a:lnTo>
                  <a:lnTo>
                    <a:pt x="3" y="111"/>
                  </a:lnTo>
                  <a:lnTo>
                    <a:pt x="3" y="119"/>
                  </a:lnTo>
                  <a:lnTo>
                    <a:pt x="3" y="126"/>
                  </a:lnTo>
                  <a:lnTo>
                    <a:pt x="3" y="133"/>
                  </a:lnTo>
                  <a:lnTo>
                    <a:pt x="0" y="140"/>
                  </a:lnTo>
                  <a:lnTo>
                    <a:pt x="0" y="147"/>
                  </a:lnTo>
                  <a:lnTo>
                    <a:pt x="0" y="154"/>
                  </a:lnTo>
                  <a:lnTo>
                    <a:pt x="0" y="159"/>
                  </a:lnTo>
                  <a:lnTo>
                    <a:pt x="0" y="163"/>
                  </a:lnTo>
                  <a:lnTo>
                    <a:pt x="3" y="171"/>
                  </a:lnTo>
                  <a:lnTo>
                    <a:pt x="5" y="178"/>
                  </a:lnTo>
                  <a:lnTo>
                    <a:pt x="5" y="178"/>
                  </a:lnTo>
                  <a:lnTo>
                    <a:pt x="7" y="180"/>
                  </a:lnTo>
                  <a:lnTo>
                    <a:pt x="10" y="182"/>
                  </a:lnTo>
                  <a:lnTo>
                    <a:pt x="12" y="185"/>
                  </a:lnTo>
                  <a:lnTo>
                    <a:pt x="14" y="187"/>
                  </a:lnTo>
                  <a:lnTo>
                    <a:pt x="19" y="192"/>
                  </a:lnTo>
                  <a:lnTo>
                    <a:pt x="24" y="197"/>
                  </a:lnTo>
                  <a:lnTo>
                    <a:pt x="26" y="201"/>
                  </a:lnTo>
                  <a:lnTo>
                    <a:pt x="31" y="199"/>
                  </a:lnTo>
                  <a:lnTo>
                    <a:pt x="33" y="199"/>
                  </a:lnTo>
                  <a:lnTo>
                    <a:pt x="38" y="197"/>
                  </a:lnTo>
                  <a:lnTo>
                    <a:pt x="43" y="197"/>
                  </a:lnTo>
                  <a:lnTo>
                    <a:pt x="43" y="197"/>
                  </a:lnTo>
                  <a:lnTo>
                    <a:pt x="52" y="197"/>
                  </a:lnTo>
                  <a:lnTo>
                    <a:pt x="55" y="199"/>
                  </a:lnTo>
                  <a:lnTo>
                    <a:pt x="57" y="199"/>
                  </a:lnTo>
                  <a:lnTo>
                    <a:pt x="57" y="199"/>
                  </a:lnTo>
                  <a:lnTo>
                    <a:pt x="62" y="204"/>
                  </a:lnTo>
                  <a:lnTo>
                    <a:pt x="64" y="204"/>
                  </a:lnTo>
                  <a:lnTo>
                    <a:pt x="66" y="204"/>
                  </a:lnTo>
                  <a:lnTo>
                    <a:pt x="69" y="204"/>
                  </a:lnTo>
                  <a:lnTo>
                    <a:pt x="69" y="204"/>
                  </a:lnTo>
                  <a:lnTo>
                    <a:pt x="71" y="206"/>
                  </a:lnTo>
                  <a:lnTo>
                    <a:pt x="73" y="206"/>
                  </a:lnTo>
                  <a:lnTo>
                    <a:pt x="76" y="206"/>
                  </a:lnTo>
                  <a:lnTo>
                    <a:pt x="80" y="206"/>
                  </a:lnTo>
                  <a:lnTo>
                    <a:pt x="85" y="208"/>
                  </a:lnTo>
                  <a:lnTo>
                    <a:pt x="87" y="208"/>
                  </a:lnTo>
                  <a:lnTo>
                    <a:pt x="92" y="206"/>
                  </a:lnTo>
                  <a:lnTo>
                    <a:pt x="97" y="201"/>
                  </a:lnTo>
                  <a:lnTo>
                    <a:pt x="102" y="197"/>
                  </a:lnTo>
                  <a:lnTo>
                    <a:pt x="104" y="192"/>
                  </a:lnTo>
                  <a:lnTo>
                    <a:pt x="106" y="187"/>
                  </a:lnTo>
                  <a:lnTo>
                    <a:pt x="111" y="185"/>
                  </a:lnTo>
                  <a:lnTo>
                    <a:pt x="113" y="182"/>
                  </a:lnTo>
                  <a:lnTo>
                    <a:pt x="118" y="180"/>
                  </a:lnTo>
                  <a:lnTo>
                    <a:pt x="125" y="178"/>
                  </a:lnTo>
                  <a:lnTo>
                    <a:pt x="125" y="178"/>
                  </a:lnTo>
                  <a:lnTo>
                    <a:pt x="128" y="175"/>
                  </a:lnTo>
                  <a:lnTo>
                    <a:pt x="128" y="173"/>
                  </a:lnTo>
                  <a:lnTo>
                    <a:pt x="128" y="168"/>
                  </a:lnTo>
                  <a:lnTo>
                    <a:pt x="128" y="166"/>
                  </a:lnTo>
                  <a:lnTo>
                    <a:pt x="128" y="166"/>
                  </a:lnTo>
                  <a:lnTo>
                    <a:pt x="130" y="163"/>
                  </a:lnTo>
                  <a:lnTo>
                    <a:pt x="132" y="163"/>
                  </a:lnTo>
                  <a:lnTo>
                    <a:pt x="135" y="161"/>
                  </a:lnTo>
                  <a:lnTo>
                    <a:pt x="139" y="159"/>
                  </a:lnTo>
                  <a:lnTo>
                    <a:pt x="144" y="159"/>
                  </a:lnTo>
                  <a:lnTo>
                    <a:pt x="149" y="159"/>
                  </a:lnTo>
                  <a:lnTo>
                    <a:pt x="153" y="159"/>
                  </a:lnTo>
                  <a:lnTo>
                    <a:pt x="156" y="159"/>
                  </a:lnTo>
                  <a:lnTo>
                    <a:pt x="156" y="154"/>
                  </a:lnTo>
                  <a:lnTo>
                    <a:pt x="156" y="152"/>
                  </a:lnTo>
                  <a:lnTo>
                    <a:pt x="153" y="152"/>
                  </a:lnTo>
                  <a:lnTo>
                    <a:pt x="153" y="149"/>
                  </a:lnTo>
                  <a:lnTo>
                    <a:pt x="153" y="147"/>
                  </a:lnTo>
                  <a:lnTo>
                    <a:pt x="153" y="145"/>
                  </a:lnTo>
                  <a:lnTo>
                    <a:pt x="153" y="145"/>
                  </a:lnTo>
                  <a:lnTo>
                    <a:pt x="158" y="142"/>
                  </a:lnTo>
                  <a:lnTo>
                    <a:pt x="158" y="142"/>
                  </a:lnTo>
                  <a:lnTo>
                    <a:pt x="161" y="140"/>
                  </a:lnTo>
                  <a:lnTo>
                    <a:pt x="165" y="140"/>
                  </a:lnTo>
                  <a:lnTo>
                    <a:pt x="170" y="137"/>
                  </a:lnTo>
                  <a:lnTo>
                    <a:pt x="175" y="137"/>
                  </a:lnTo>
                  <a:lnTo>
                    <a:pt x="177" y="135"/>
                  </a:lnTo>
                  <a:lnTo>
                    <a:pt x="179" y="135"/>
                  </a:lnTo>
                  <a:lnTo>
                    <a:pt x="182" y="133"/>
                  </a:lnTo>
                  <a:lnTo>
                    <a:pt x="186" y="133"/>
                  </a:lnTo>
                  <a:lnTo>
                    <a:pt x="186" y="130"/>
                  </a:lnTo>
                  <a:lnTo>
                    <a:pt x="189" y="130"/>
                  </a:lnTo>
                  <a:lnTo>
                    <a:pt x="191" y="130"/>
                  </a:lnTo>
                  <a:lnTo>
                    <a:pt x="196" y="128"/>
                  </a:lnTo>
                  <a:lnTo>
                    <a:pt x="203" y="126"/>
                  </a:lnTo>
                  <a:lnTo>
                    <a:pt x="205" y="126"/>
                  </a:lnTo>
                  <a:lnTo>
                    <a:pt x="208" y="123"/>
                  </a:lnTo>
                  <a:lnTo>
                    <a:pt x="208" y="121"/>
                  </a:lnTo>
                  <a:lnTo>
                    <a:pt x="208" y="123"/>
                  </a:lnTo>
                  <a:lnTo>
                    <a:pt x="205" y="123"/>
                  </a:lnTo>
                  <a:lnTo>
                    <a:pt x="205" y="123"/>
                  </a:lnTo>
                  <a:lnTo>
                    <a:pt x="205" y="123"/>
                  </a:lnTo>
                  <a:lnTo>
                    <a:pt x="205" y="123"/>
                  </a:lnTo>
                  <a:lnTo>
                    <a:pt x="205" y="123"/>
                  </a:lnTo>
                  <a:lnTo>
                    <a:pt x="203" y="121"/>
                  </a:lnTo>
                  <a:lnTo>
                    <a:pt x="203" y="119"/>
                  </a:lnTo>
                  <a:lnTo>
                    <a:pt x="201" y="119"/>
                  </a:lnTo>
                  <a:lnTo>
                    <a:pt x="201" y="119"/>
                  </a:lnTo>
                  <a:lnTo>
                    <a:pt x="201" y="119"/>
                  </a:lnTo>
                  <a:lnTo>
                    <a:pt x="201" y="116"/>
                  </a:lnTo>
                  <a:lnTo>
                    <a:pt x="201" y="116"/>
                  </a:lnTo>
                  <a:lnTo>
                    <a:pt x="201" y="116"/>
                  </a:lnTo>
                  <a:lnTo>
                    <a:pt x="198" y="116"/>
                  </a:lnTo>
                  <a:lnTo>
                    <a:pt x="198" y="114"/>
                  </a:lnTo>
                  <a:lnTo>
                    <a:pt x="201" y="114"/>
                  </a:lnTo>
                  <a:lnTo>
                    <a:pt x="201" y="114"/>
                  </a:lnTo>
                  <a:lnTo>
                    <a:pt x="203" y="111"/>
                  </a:lnTo>
                  <a:lnTo>
                    <a:pt x="203" y="109"/>
                  </a:lnTo>
                  <a:lnTo>
                    <a:pt x="203" y="107"/>
                  </a:lnTo>
                  <a:lnTo>
                    <a:pt x="205" y="107"/>
                  </a:lnTo>
                  <a:lnTo>
                    <a:pt x="205" y="107"/>
                  </a:lnTo>
                  <a:lnTo>
                    <a:pt x="205" y="104"/>
                  </a:lnTo>
                  <a:lnTo>
                    <a:pt x="205" y="102"/>
                  </a:lnTo>
                  <a:lnTo>
                    <a:pt x="205" y="100"/>
                  </a:lnTo>
                  <a:lnTo>
                    <a:pt x="205" y="100"/>
                  </a:lnTo>
                  <a:lnTo>
                    <a:pt x="205" y="97"/>
                  </a:lnTo>
                  <a:lnTo>
                    <a:pt x="205" y="95"/>
                  </a:lnTo>
                  <a:lnTo>
                    <a:pt x="205" y="95"/>
                  </a:lnTo>
                  <a:lnTo>
                    <a:pt x="210" y="92"/>
                  </a:lnTo>
                  <a:lnTo>
                    <a:pt x="212" y="92"/>
                  </a:lnTo>
                  <a:lnTo>
                    <a:pt x="212" y="90"/>
                  </a:lnTo>
                  <a:lnTo>
                    <a:pt x="215" y="90"/>
                  </a:lnTo>
                  <a:lnTo>
                    <a:pt x="215" y="88"/>
                  </a:lnTo>
                  <a:lnTo>
                    <a:pt x="215" y="88"/>
                  </a:lnTo>
                  <a:lnTo>
                    <a:pt x="212" y="88"/>
                  </a:lnTo>
                  <a:lnTo>
                    <a:pt x="212" y="88"/>
                  </a:lnTo>
                  <a:lnTo>
                    <a:pt x="210" y="83"/>
                  </a:lnTo>
                  <a:lnTo>
                    <a:pt x="212" y="78"/>
                  </a:lnTo>
                  <a:lnTo>
                    <a:pt x="212" y="76"/>
                  </a:lnTo>
                  <a:lnTo>
                    <a:pt x="212" y="74"/>
                  </a:lnTo>
                  <a:lnTo>
                    <a:pt x="210" y="74"/>
                  </a:lnTo>
                  <a:lnTo>
                    <a:pt x="210" y="71"/>
                  </a:lnTo>
                  <a:lnTo>
                    <a:pt x="210" y="71"/>
                  </a:lnTo>
                  <a:lnTo>
                    <a:pt x="210" y="69"/>
                  </a:lnTo>
                  <a:lnTo>
                    <a:pt x="210" y="69"/>
                  </a:lnTo>
                  <a:lnTo>
                    <a:pt x="212" y="64"/>
                  </a:lnTo>
                  <a:lnTo>
                    <a:pt x="212" y="64"/>
                  </a:lnTo>
                  <a:lnTo>
                    <a:pt x="212" y="62"/>
                  </a:lnTo>
                  <a:lnTo>
                    <a:pt x="212" y="59"/>
                  </a:lnTo>
                  <a:lnTo>
                    <a:pt x="210" y="57"/>
                  </a:lnTo>
                  <a:lnTo>
                    <a:pt x="210" y="57"/>
                  </a:lnTo>
                  <a:lnTo>
                    <a:pt x="212" y="57"/>
                  </a:lnTo>
                  <a:lnTo>
                    <a:pt x="212" y="5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0" name="Freeform 206"/>
            <p:cNvSpPr>
              <a:spLocks noEditPoints="1"/>
            </p:cNvSpPr>
            <p:nvPr userDrawn="1"/>
          </p:nvSpPr>
          <p:spPr bwMode="auto">
            <a:xfrm>
              <a:off x="4440" y="2406"/>
              <a:ext cx="222" cy="142"/>
            </a:xfrm>
            <a:custGeom>
              <a:avLst/>
              <a:gdLst>
                <a:gd name="T0" fmla="*/ 207 w 222"/>
                <a:gd name="T1" fmla="*/ 134 h 142"/>
                <a:gd name="T2" fmla="*/ 200 w 222"/>
                <a:gd name="T3" fmla="*/ 134 h 142"/>
                <a:gd name="T4" fmla="*/ 203 w 222"/>
                <a:gd name="T5" fmla="*/ 142 h 142"/>
                <a:gd name="T6" fmla="*/ 219 w 222"/>
                <a:gd name="T7" fmla="*/ 139 h 142"/>
                <a:gd name="T8" fmla="*/ 189 w 222"/>
                <a:gd name="T9" fmla="*/ 45 h 142"/>
                <a:gd name="T10" fmla="*/ 184 w 222"/>
                <a:gd name="T11" fmla="*/ 38 h 142"/>
                <a:gd name="T12" fmla="*/ 179 w 222"/>
                <a:gd name="T13" fmla="*/ 28 h 142"/>
                <a:gd name="T14" fmla="*/ 175 w 222"/>
                <a:gd name="T15" fmla="*/ 19 h 142"/>
                <a:gd name="T16" fmla="*/ 172 w 222"/>
                <a:gd name="T17" fmla="*/ 12 h 142"/>
                <a:gd name="T18" fmla="*/ 167 w 222"/>
                <a:gd name="T19" fmla="*/ 2 h 142"/>
                <a:gd name="T20" fmla="*/ 153 w 222"/>
                <a:gd name="T21" fmla="*/ 2 h 142"/>
                <a:gd name="T22" fmla="*/ 132 w 222"/>
                <a:gd name="T23" fmla="*/ 7 h 142"/>
                <a:gd name="T24" fmla="*/ 113 w 222"/>
                <a:gd name="T25" fmla="*/ 9 h 142"/>
                <a:gd name="T26" fmla="*/ 99 w 222"/>
                <a:gd name="T27" fmla="*/ 19 h 142"/>
                <a:gd name="T28" fmla="*/ 90 w 222"/>
                <a:gd name="T29" fmla="*/ 30 h 142"/>
                <a:gd name="T30" fmla="*/ 85 w 222"/>
                <a:gd name="T31" fmla="*/ 42 h 142"/>
                <a:gd name="T32" fmla="*/ 76 w 222"/>
                <a:gd name="T33" fmla="*/ 42 h 142"/>
                <a:gd name="T34" fmla="*/ 68 w 222"/>
                <a:gd name="T35" fmla="*/ 38 h 142"/>
                <a:gd name="T36" fmla="*/ 52 w 222"/>
                <a:gd name="T37" fmla="*/ 38 h 142"/>
                <a:gd name="T38" fmla="*/ 43 w 222"/>
                <a:gd name="T39" fmla="*/ 33 h 142"/>
                <a:gd name="T40" fmla="*/ 28 w 222"/>
                <a:gd name="T41" fmla="*/ 35 h 142"/>
                <a:gd name="T42" fmla="*/ 21 w 222"/>
                <a:gd name="T43" fmla="*/ 35 h 142"/>
                <a:gd name="T44" fmla="*/ 17 w 222"/>
                <a:gd name="T45" fmla="*/ 35 h 142"/>
                <a:gd name="T46" fmla="*/ 12 w 222"/>
                <a:gd name="T47" fmla="*/ 33 h 142"/>
                <a:gd name="T48" fmla="*/ 7 w 222"/>
                <a:gd name="T49" fmla="*/ 35 h 142"/>
                <a:gd name="T50" fmla="*/ 7 w 222"/>
                <a:gd name="T51" fmla="*/ 38 h 142"/>
                <a:gd name="T52" fmla="*/ 7 w 222"/>
                <a:gd name="T53" fmla="*/ 47 h 142"/>
                <a:gd name="T54" fmla="*/ 7 w 222"/>
                <a:gd name="T55" fmla="*/ 49 h 142"/>
                <a:gd name="T56" fmla="*/ 2 w 222"/>
                <a:gd name="T57" fmla="*/ 56 h 142"/>
                <a:gd name="T58" fmla="*/ 2 w 222"/>
                <a:gd name="T59" fmla="*/ 78 h 142"/>
                <a:gd name="T60" fmla="*/ 0 w 222"/>
                <a:gd name="T61" fmla="*/ 80 h 142"/>
                <a:gd name="T62" fmla="*/ 5 w 222"/>
                <a:gd name="T63" fmla="*/ 87 h 142"/>
                <a:gd name="T64" fmla="*/ 7 w 222"/>
                <a:gd name="T65" fmla="*/ 94 h 142"/>
                <a:gd name="T66" fmla="*/ 10 w 222"/>
                <a:gd name="T67" fmla="*/ 101 h 142"/>
                <a:gd name="T68" fmla="*/ 12 w 222"/>
                <a:gd name="T69" fmla="*/ 113 h 142"/>
                <a:gd name="T70" fmla="*/ 19 w 222"/>
                <a:gd name="T71" fmla="*/ 132 h 142"/>
                <a:gd name="T72" fmla="*/ 28 w 222"/>
                <a:gd name="T73" fmla="*/ 134 h 142"/>
                <a:gd name="T74" fmla="*/ 40 w 222"/>
                <a:gd name="T75" fmla="*/ 132 h 142"/>
                <a:gd name="T76" fmla="*/ 47 w 222"/>
                <a:gd name="T77" fmla="*/ 127 h 142"/>
                <a:gd name="T78" fmla="*/ 61 w 222"/>
                <a:gd name="T79" fmla="*/ 118 h 142"/>
                <a:gd name="T80" fmla="*/ 78 w 222"/>
                <a:gd name="T81" fmla="*/ 118 h 142"/>
                <a:gd name="T82" fmla="*/ 92 w 222"/>
                <a:gd name="T83" fmla="*/ 108 h 142"/>
                <a:gd name="T84" fmla="*/ 104 w 222"/>
                <a:gd name="T85" fmla="*/ 106 h 142"/>
                <a:gd name="T86" fmla="*/ 113 w 222"/>
                <a:gd name="T87" fmla="*/ 104 h 142"/>
                <a:gd name="T88" fmla="*/ 120 w 222"/>
                <a:gd name="T89" fmla="*/ 97 h 142"/>
                <a:gd name="T90" fmla="*/ 139 w 222"/>
                <a:gd name="T91" fmla="*/ 87 h 142"/>
                <a:gd name="T92" fmla="*/ 160 w 222"/>
                <a:gd name="T93" fmla="*/ 80 h 142"/>
                <a:gd name="T94" fmla="*/ 167 w 222"/>
                <a:gd name="T95" fmla="*/ 75 h 142"/>
                <a:gd name="T96" fmla="*/ 175 w 222"/>
                <a:gd name="T97" fmla="*/ 68 h 142"/>
                <a:gd name="T98" fmla="*/ 179 w 222"/>
                <a:gd name="T99" fmla="*/ 56 h 142"/>
                <a:gd name="T100" fmla="*/ 189 w 222"/>
                <a:gd name="T101" fmla="*/ 4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2" h="142">
                  <a:moveTo>
                    <a:pt x="215" y="134"/>
                  </a:moveTo>
                  <a:lnTo>
                    <a:pt x="210" y="134"/>
                  </a:lnTo>
                  <a:lnTo>
                    <a:pt x="207" y="134"/>
                  </a:lnTo>
                  <a:lnTo>
                    <a:pt x="207" y="134"/>
                  </a:lnTo>
                  <a:lnTo>
                    <a:pt x="205" y="134"/>
                  </a:lnTo>
                  <a:lnTo>
                    <a:pt x="203" y="134"/>
                  </a:lnTo>
                  <a:lnTo>
                    <a:pt x="200" y="134"/>
                  </a:lnTo>
                  <a:lnTo>
                    <a:pt x="200" y="134"/>
                  </a:lnTo>
                  <a:lnTo>
                    <a:pt x="200" y="137"/>
                  </a:lnTo>
                  <a:lnTo>
                    <a:pt x="198" y="137"/>
                  </a:lnTo>
                  <a:lnTo>
                    <a:pt x="203" y="139"/>
                  </a:lnTo>
                  <a:lnTo>
                    <a:pt x="203" y="142"/>
                  </a:lnTo>
                  <a:lnTo>
                    <a:pt x="205" y="142"/>
                  </a:lnTo>
                  <a:lnTo>
                    <a:pt x="215" y="142"/>
                  </a:lnTo>
                  <a:lnTo>
                    <a:pt x="217" y="139"/>
                  </a:lnTo>
                  <a:lnTo>
                    <a:pt x="219" y="139"/>
                  </a:lnTo>
                  <a:lnTo>
                    <a:pt x="219" y="137"/>
                  </a:lnTo>
                  <a:lnTo>
                    <a:pt x="222" y="137"/>
                  </a:lnTo>
                  <a:lnTo>
                    <a:pt x="215" y="134"/>
                  </a:lnTo>
                  <a:close/>
                  <a:moveTo>
                    <a:pt x="189" y="45"/>
                  </a:moveTo>
                  <a:lnTo>
                    <a:pt x="186" y="42"/>
                  </a:lnTo>
                  <a:lnTo>
                    <a:pt x="184" y="40"/>
                  </a:lnTo>
                  <a:lnTo>
                    <a:pt x="184" y="38"/>
                  </a:lnTo>
                  <a:lnTo>
                    <a:pt x="184" y="38"/>
                  </a:lnTo>
                  <a:lnTo>
                    <a:pt x="182" y="35"/>
                  </a:lnTo>
                  <a:lnTo>
                    <a:pt x="182" y="33"/>
                  </a:lnTo>
                  <a:lnTo>
                    <a:pt x="179" y="30"/>
                  </a:lnTo>
                  <a:lnTo>
                    <a:pt x="179" y="28"/>
                  </a:lnTo>
                  <a:lnTo>
                    <a:pt x="179" y="26"/>
                  </a:lnTo>
                  <a:lnTo>
                    <a:pt x="177" y="23"/>
                  </a:lnTo>
                  <a:lnTo>
                    <a:pt x="177" y="21"/>
                  </a:lnTo>
                  <a:lnTo>
                    <a:pt x="175" y="19"/>
                  </a:lnTo>
                  <a:lnTo>
                    <a:pt x="175" y="19"/>
                  </a:lnTo>
                  <a:lnTo>
                    <a:pt x="175" y="16"/>
                  </a:lnTo>
                  <a:lnTo>
                    <a:pt x="172" y="14"/>
                  </a:lnTo>
                  <a:lnTo>
                    <a:pt x="172" y="12"/>
                  </a:lnTo>
                  <a:lnTo>
                    <a:pt x="170" y="9"/>
                  </a:lnTo>
                  <a:lnTo>
                    <a:pt x="170" y="7"/>
                  </a:lnTo>
                  <a:lnTo>
                    <a:pt x="170" y="4"/>
                  </a:lnTo>
                  <a:lnTo>
                    <a:pt x="167" y="2"/>
                  </a:lnTo>
                  <a:lnTo>
                    <a:pt x="167" y="0"/>
                  </a:lnTo>
                  <a:lnTo>
                    <a:pt x="163" y="2"/>
                  </a:lnTo>
                  <a:lnTo>
                    <a:pt x="158" y="2"/>
                  </a:lnTo>
                  <a:lnTo>
                    <a:pt x="153" y="2"/>
                  </a:lnTo>
                  <a:lnTo>
                    <a:pt x="149" y="4"/>
                  </a:lnTo>
                  <a:lnTo>
                    <a:pt x="144" y="4"/>
                  </a:lnTo>
                  <a:lnTo>
                    <a:pt x="137" y="4"/>
                  </a:lnTo>
                  <a:lnTo>
                    <a:pt x="132" y="7"/>
                  </a:lnTo>
                  <a:lnTo>
                    <a:pt x="127" y="7"/>
                  </a:lnTo>
                  <a:lnTo>
                    <a:pt x="120" y="7"/>
                  </a:lnTo>
                  <a:lnTo>
                    <a:pt x="116" y="9"/>
                  </a:lnTo>
                  <a:lnTo>
                    <a:pt x="113" y="9"/>
                  </a:lnTo>
                  <a:lnTo>
                    <a:pt x="111" y="12"/>
                  </a:lnTo>
                  <a:lnTo>
                    <a:pt x="106" y="14"/>
                  </a:lnTo>
                  <a:lnTo>
                    <a:pt x="101" y="16"/>
                  </a:lnTo>
                  <a:lnTo>
                    <a:pt x="99" y="19"/>
                  </a:lnTo>
                  <a:lnTo>
                    <a:pt x="97" y="23"/>
                  </a:lnTo>
                  <a:lnTo>
                    <a:pt x="94" y="23"/>
                  </a:lnTo>
                  <a:lnTo>
                    <a:pt x="92" y="28"/>
                  </a:lnTo>
                  <a:lnTo>
                    <a:pt x="90" y="30"/>
                  </a:lnTo>
                  <a:lnTo>
                    <a:pt x="87" y="33"/>
                  </a:lnTo>
                  <a:lnTo>
                    <a:pt x="87" y="35"/>
                  </a:lnTo>
                  <a:lnTo>
                    <a:pt x="85" y="40"/>
                  </a:lnTo>
                  <a:lnTo>
                    <a:pt x="85" y="42"/>
                  </a:lnTo>
                  <a:lnTo>
                    <a:pt x="83" y="42"/>
                  </a:lnTo>
                  <a:lnTo>
                    <a:pt x="80" y="45"/>
                  </a:lnTo>
                  <a:lnTo>
                    <a:pt x="78" y="45"/>
                  </a:lnTo>
                  <a:lnTo>
                    <a:pt x="76" y="42"/>
                  </a:lnTo>
                  <a:lnTo>
                    <a:pt x="73" y="38"/>
                  </a:lnTo>
                  <a:lnTo>
                    <a:pt x="73" y="38"/>
                  </a:lnTo>
                  <a:lnTo>
                    <a:pt x="71" y="38"/>
                  </a:lnTo>
                  <a:lnTo>
                    <a:pt x="68" y="38"/>
                  </a:lnTo>
                  <a:lnTo>
                    <a:pt x="66" y="38"/>
                  </a:lnTo>
                  <a:lnTo>
                    <a:pt x="61" y="38"/>
                  </a:lnTo>
                  <a:lnTo>
                    <a:pt x="57" y="38"/>
                  </a:lnTo>
                  <a:lnTo>
                    <a:pt x="52" y="38"/>
                  </a:lnTo>
                  <a:lnTo>
                    <a:pt x="50" y="35"/>
                  </a:lnTo>
                  <a:lnTo>
                    <a:pt x="45" y="35"/>
                  </a:lnTo>
                  <a:lnTo>
                    <a:pt x="45" y="33"/>
                  </a:lnTo>
                  <a:lnTo>
                    <a:pt x="43" y="33"/>
                  </a:lnTo>
                  <a:lnTo>
                    <a:pt x="40" y="33"/>
                  </a:lnTo>
                  <a:lnTo>
                    <a:pt x="35" y="33"/>
                  </a:lnTo>
                  <a:lnTo>
                    <a:pt x="33" y="35"/>
                  </a:lnTo>
                  <a:lnTo>
                    <a:pt x="28" y="35"/>
                  </a:lnTo>
                  <a:lnTo>
                    <a:pt x="26" y="35"/>
                  </a:lnTo>
                  <a:lnTo>
                    <a:pt x="24" y="35"/>
                  </a:lnTo>
                  <a:lnTo>
                    <a:pt x="24" y="35"/>
                  </a:lnTo>
                  <a:lnTo>
                    <a:pt x="21" y="35"/>
                  </a:lnTo>
                  <a:lnTo>
                    <a:pt x="21" y="35"/>
                  </a:lnTo>
                  <a:lnTo>
                    <a:pt x="21" y="35"/>
                  </a:lnTo>
                  <a:lnTo>
                    <a:pt x="19" y="35"/>
                  </a:lnTo>
                  <a:lnTo>
                    <a:pt x="17" y="35"/>
                  </a:lnTo>
                  <a:lnTo>
                    <a:pt x="17" y="33"/>
                  </a:lnTo>
                  <a:lnTo>
                    <a:pt x="14" y="33"/>
                  </a:lnTo>
                  <a:lnTo>
                    <a:pt x="14" y="33"/>
                  </a:lnTo>
                  <a:lnTo>
                    <a:pt x="12" y="33"/>
                  </a:lnTo>
                  <a:lnTo>
                    <a:pt x="12" y="33"/>
                  </a:lnTo>
                  <a:lnTo>
                    <a:pt x="10" y="33"/>
                  </a:lnTo>
                  <a:lnTo>
                    <a:pt x="10" y="33"/>
                  </a:lnTo>
                  <a:lnTo>
                    <a:pt x="7" y="35"/>
                  </a:lnTo>
                  <a:lnTo>
                    <a:pt x="7" y="35"/>
                  </a:lnTo>
                  <a:lnTo>
                    <a:pt x="10" y="38"/>
                  </a:lnTo>
                  <a:lnTo>
                    <a:pt x="10" y="38"/>
                  </a:lnTo>
                  <a:lnTo>
                    <a:pt x="7" y="38"/>
                  </a:lnTo>
                  <a:lnTo>
                    <a:pt x="7" y="40"/>
                  </a:lnTo>
                  <a:lnTo>
                    <a:pt x="7" y="42"/>
                  </a:lnTo>
                  <a:lnTo>
                    <a:pt x="7" y="45"/>
                  </a:lnTo>
                  <a:lnTo>
                    <a:pt x="7" y="47"/>
                  </a:lnTo>
                  <a:lnTo>
                    <a:pt x="7" y="47"/>
                  </a:lnTo>
                  <a:lnTo>
                    <a:pt x="7" y="47"/>
                  </a:lnTo>
                  <a:lnTo>
                    <a:pt x="7" y="49"/>
                  </a:lnTo>
                  <a:lnTo>
                    <a:pt x="7" y="49"/>
                  </a:lnTo>
                  <a:lnTo>
                    <a:pt x="7" y="52"/>
                  </a:lnTo>
                  <a:lnTo>
                    <a:pt x="5" y="52"/>
                  </a:lnTo>
                  <a:lnTo>
                    <a:pt x="5" y="54"/>
                  </a:lnTo>
                  <a:lnTo>
                    <a:pt x="2" y="56"/>
                  </a:lnTo>
                  <a:lnTo>
                    <a:pt x="2" y="64"/>
                  </a:lnTo>
                  <a:lnTo>
                    <a:pt x="0" y="71"/>
                  </a:lnTo>
                  <a:lnTo>
                    <a:pt x="2" y="78"/>
                  </a:lnTo>
                  <a:lnTo>
                    <a:pt x="2" y="78"/>
                  </a:lnTo>
                  <a:lnTo>
                    <a:pt x="2" y="80"/>
                  </a:lnTo>
                  <a:lnTo>
                    <a:pt x="0" y="78"/>
                  </a:lnTo>
                  <a:lnTo>
                    <a:pt x="0" y="78"/>
                  </a:lnTo>
                  <a:lnTo>
                    <a:pt x="0" y="80"/>
                  </a:lnTo>
                  <a:lnTo>
                    <a:pt x="2" y="82"/>
                  </a:lnTo>
                  <a:lnTo>
                    <a:pt x="5" y="85"/>
                  </a:lnTo>
                  <a:lnTo>
                    <a:pt x="5" y="87"/>
                  </a:lnTo>
                  <a:lnTo>
                    <a:pt x="5" y="87"/>
                  </a:lnTo>
                  <a:lnTo>
                    <a:pt x="5" y="87"/>
                  </a:lnTo>
                  <a:lnTo>
                    <a:pt x="5" y="90"/>
                  </a:lnTo>
                  <a:lnTo>
                    <a:pt x="5" y="90"/>
                  </a:lnTo>
                  <a:lnTo>
                    <a:pt x="7" y="94"/>
                  </a:lnTo>
                  <a:lnTo>
                    <a:pt x="7" y="94"/>
                  </a:lnTo>
                  <a:lnTo>
                    <a:pt x="7" y="97"/>
                  </a:lnTo>
                  <a:lnTo>
                    <a:pt x="7" y="99"/>
                  </a:lnTo>
                  <a:lnTo>
                    <a:pt x="10" y="101"/>
                  </a:lnTo>
                  <a:lnTo>
                    <a:pt x="10" y="106"/>
                  </a:lnTo>
                  <a:lnTo>
                    <a:pt x="12" y="108"/>
                  </a:lnTo>
                  <a:lnTo>
                    <a:pt x="12" y="113"/>
                  </a:lnTo>
                  <a:lnTo>
                    <a:pt x="12" y="113"/>
                  </a:lnTo>
                  <a:lnTo>
                    <a:pt x="12" y="123"/>
                  </a:lnTo>
                  <a:lnTo>
                    <a:pt x="17" y="130"/>
                  </a:lnTo>
                  <a:lnTo>
                    <a:pt x="17" y="134"/>
                  </a:lnTo>
                  <a:lnTo>
                    <a:pt x="19" y="132"/>
                  </a:lnTo>
                  <a:lnTo>
                    <a:pt x="24" y="134"/>
                  </a:lnTo>
                  <a:lnTo>
                    <a:pt x="26" y="134"/>
                  </a:lnTo>
                  <a:lnTo>
                    <a:pt x="26" y="134"/>
                  </a:lnTo>
                  <a:lnTo>
                    <a:pt x="28" y="134"/>
                  </a:lnTo>
                  <a:lnTo>
                    <a:pt x="31" y="134"/>
                  </a:lnTo>
                  <a:lnTo>
                    <a:pt x="33" y="134"/>
                  </a:lnTo>
                  <a:lnTo>
                    <a:pt x="38" y="132"/>
                  </a:lnTo>
                  <a:lnTo>
                    <a:pt x="40" y="132"/>
                  </a:lnTo>
                  <a:lnTo>
                    <a:pt x="43" y="132"/>
                  </a:lnTo>
                  <a:lnTo>
                    <a:pt x="45" y="132"/>
                  </a:lnTo>
                  <a:lnTo>
                    <a:pt x="47" y="130"/>
                  </a:lnTo>
                  <a:lnTo>
                    <a:pt x="47" y="127"/>
                  </a:lnTo>
                  <a:lnTo>
                    <a:pt x="52" y="125"/>
                  </a:lnTo>
                  <a:lnTo>
                    <a:pt x="54" y="123"/>
                  </a:lnTo>
                  <a:lnTo>
                    <a:pt x="57" y="120"/>
                  </a:lnTo>
                  <a:lnTo>
                    <a:pt x="61" y="118"/>
                  </a:lnTo>
                  <a:lnTo>
                    <a:pt x="66" y="118"/>
                  </a:lnTo>
                  <a:lnTo>
                    <a:pt x="73" y="118"/>
                  </a:lnTo>
                  <a:lnTo>
                    <a:pt x="76" y="118"/>
                  </a:lnTo>
                  <a:lnTo>
                    <a:pt x="78" y="118"/>
                  </a:lnTo>
                  <a:lnTo>
                    <a:pt x="80" y="116"/>
                  </a:lnTo>
                  <a:lnTo>
                    <a:pt x="85" y="116"/>
                  </a:lnTo>
                  <a:lnTo>
                    <a:pt x="90" y="113"/>
                  </a:lnTo>
                  <a:lnTo>
                    <a:pt x="92" y="108"/>
                  </a:lnTo>
                  <a:lnTo>
                    <a:pt x="97" y="106"/>
                  </a:lnTo>
                  <a:lnTo>
                    <a:pt x="97" y="106"/>
                  </a:lnTo>
                  <a:lnTo>
                    <a:pt x="99" y="106"/>
                  </a:lnTo>
                  <a:lnTo>
                    <a:pt x="104" y="106"/>
                  </a:lnTo>
                  <a:lnTo>
                    <a:pt x="109" y="106"/>
                  </a:lnTo>
                  <a:lnTo>
                    <a:pt x="111" y="106"/>
                  </a:lnTo>
                  <a:lnTo>
                    <a:pt x="111" y="106"/>
                  </a:lnTo>
                  <a:lnTo>
                    <a:pt x="113" y="104"/>
                  </a:lnTo>
                  <a:lnTo>
                    <a:pt x="116" y="101"/>
                  </a:lnTo>
                  <a:lnTo>
                    <a:pt x="118" y="99"/>
                  </a:lnTo>
                  <a:lnTo>
                    <a:pt x="118" y="97"/>
                  </a:lnTo>
                  <a:lnTo>
                    <a:pt x="120" y="97"/>
                  </a:lnTo>
                  <a:lnTo>
                    <a:pt x="123" y="92"/>
                  </a:lnTo>
                  <a:lnTo>
                    <a:pt x="127" y="92"/>
                  </a:lnTo>
                  <a:lnTo>
                    <a:pt x="134" y="90"/>
                  </a:lnTo>
                  <a:lnTo>
                    <a:pt x="139" y="87"/>
                  </a:lnTo>
                  <a:lnTo>
                    <a:pt x="142" y="87"/>
                  </a:lnTo>
                  <a:lnTo>
                    <a:pt x="144" y="85"/>
                  </a:lnTo>
                  <a:lnTo>
                    <a:pt x="153" y="82"/>
                  </a:lnTo>
                  <a:lnTo>
                    <a:pt x="160" y="80"/>
                  </a:lnTo>
                  <a:lnTo>
                    <a:pt x="165" y="78"/>
                  </a:lnTo>
                  <a:lnTo>
                    <a:pt x="165" y="78"/>
                  </a:lnTo>
                  <a:lnTo>
                    <a:pt x="167" y="75"/>
                  </a:lnTo>
                  <a:lnTo>
                    <a:pt x="167" y="75"/>
                  </a:lnTo>
                  <a:lnTo>
                    <a:pt x="170" y="73"/>
                  </a:lnTo>
                  <a:lnTo>
                    <a:pt x="172" y="73"/>
                  </a:lnTo>
                  <a:lnTo>
                    <a:pt x="175" y="71"/>
                  </a:lnTo>
                  <a:lnTo>
                    <a:pt x="175" y="68"/>
                  </a:lnTo>
                  <a:lnTo>
                    <a:pt x="175" y="66"/>
                  </a:lnTo>
                  <a:lnTo>
                    <a:pt x="175" y="61"/>
                  </a:lnTo>
                  <a:lnTo>
                    <a:pt x="177" y="59"/>
                  </a:lnTo>
                  <a:lnTo>
                    <a:pt x="179" y="56"/>
                  </a:lnTo>
                  <a:lnTo>
                    <a:pt x="182" y="54"/>
                  </a:lnTo>
                  <a:lnTo>
                    <a:pt x="191" y="49"/>
                  </a:lnTo>
                  <a:lnTo>
                    <a:pt x="189" y="47"/>
                  </a:lnTo>
                  <a:lnTo>
                    <a:pt x="189" y="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1" name="Freeform 207"/>
            <p:cNvSpPr>
              <a:spLocks/>
            </p:cNvSpPr>
            <p:nvPr userDrawn="1"/>
          </p:nvSpPr>
          <p:spPr bwMode="auto">
            <a:xfrm>
              <a:off x="3344" y="2224"/>
              <a:ext cx="160" cy="144"/>
            </a:xfrm>
            <a:custGeom>
              <a:avLst/>
              <a:gdLst>
                <a:gd name="T0" fmla="*/ 158 w 160"/>
                <a:gd name="T1" fmla="*/ 2 h 144"/>
                <a:gd name="T2" fmla="*/ 158 w 160"/>
                <a:gd name="T3" fmla="*/ 7 h 144"/>
                <a:gd name="T4" fmla="*/ 158 w 160"/>
                <a:gd name="T5" fmla="*/ 11 h 144"/>
                <a:gd name="T6" fmla="*/ 149 w 160"/>
                <a:gd name="T7" fmla="*/ 11 h 144"/>
                <a:gd name="T8" fmla="*/ 144 w 160"/>
                <a:gd name="T9" fmla="*/ 11 h 144"/>
                <a:gd name="T10" fmla="*/ 139 w 160"/>
                <a:gd name="T11" fmla="*/ 16 h 144"/>
                <a:gd name="T12" fmla="*/ 135 w 160"/>
                <a:gd name="T13" fmla="*/ 16 h 144"/>
                <a:gd name="T14" fmla="*/ 130 w 160"/>
                <a:gd name="T15" fmla="*/ 16 h 144"/>
                <a:gd name="T16" fmla="*/ 123 w 160"/>
                <a:gd name="T17" fmla="*/ 14 h 144"/>
                <a:gd name="T18" fmla="*/ 113 w 160"/>
                <a:gd name="T19" fmla="*/ 14 h 144"/>
                <a:gd name="T20" fmla="*/ 111 w 160"/>
                <a:gd name="T21" fmla="*/ 19 h 144"/>
                <a:gd name="T22" fmla="*/ 109 w 160"/>
                <a:gd name="T23" fmla="*/ 23 h 144"/>
                <a:gd name="T24" fmla="*/ 104 w 160"/>
                <a:gd name="T25" fmla="*/ 28 h 144"/>
                <a:gd name="T26" fmla="*/ 102 w 160"/>
                <a:gd name="T27" fmla="*/ 33 h 144"/>
                <a:gd name="T28" fmla="*/ 97 w 160"/>
                <a:gd name="T29" fmla="*/ 35 h 144"/>
                <a:gd name="T30" fmla="*/ 97 w 160"/>
                <a:gd name="T31" fmla="*/ 37 h 144"/>
                <a:gd name="T32" fmla="*/ 94 w 160"/>
                <a:gd name="T33" fmla="*/ 47 h 144"/>
                <a:gd name="T34" fmla="*/ 90 w 160"/>
                <a:gd name="T35" fmla="*/ 59 h 144"/>
                <a:gd name="T36" fmla="*/ 85 w 160"/>
                <a:gd name="T37" fmla="*/ 63 h 144"/>
                <a:gd name="T38" fmla="*/ 80 w 160"/>
                <a:gd name="T39" fmla="*/ 66 h 144"/>
                <a:gd name="T40" fmla="*/ 76 w 160"/>
                <a:gd name="T41" fmla="*/ 73 h 144"/>
                <a:gd name="T42" fmla="*/ 71 w 160"/>
                <a:gd name="T43" fmla="*/ 78 h 144"/>
                <a:gd name="T44" fmla="*/ 64 w 160"/>
                <a:gd name="T45" fmla="*/ 82 h 144"/>
                <a:gd name="T46" fmla="*/ 59 w 160"/>
                <a:gd name="T47" fmla="*/ 87 h 144"/>
                <a:gd name="T48" fmla="*/ 57 w 160"/>
                <a:gd name="T49" fmla="*/ 99 h 144"/>
                <a:gd name="T50" fmla="*/ 54 w 160"/>
                <a:gd name="T51" fmla="*/ 111 h 144"/>
                <a:gd name="T52" fmla="*/ 52 w 160"/>
                <a:gd name="T53" fmla="*/ 116 h 144"/>
                <a:gd name="T54" fmla="*/ 50 w 160"/>
                <a:gd name="T55" fmla="*/ 120 h 144"/>
                <a:gd name="T56" fmla="*/ 47 w 160"/>
                <a:gd name="T57" fmla="*/ 125 h 144"/>
                <a:gd name="T58" fmla="*/ 43 w 160"/>
                <a:gd name="T59" fmla="*/ 132 h 144"/>
                <a:gd name="T60" fmla="*/ 31 w 160"/>
                <a:gd name="T61" fmla="*/ 132 h 144"/>
                <a:gd name="T62" fmla="*/ 21 w 160"/>
                <a:gd name="T63" fmla="*/ 130 h 144"/>
                <a:gd name="T64" fmla="*/ 5 w 160"/>
                <a:gd name="T65" fmla="*/ 132 h 144"/>
                <a:gd name="T66" fmla="*/ 0 w 160"/>
                <a:gd name="T67" fmla="*/ 144 h 144"/>
                <a:gd name="T68" fmla="*/ 3 w 160"/>
                <a:gd name="T69" fmla="*/ 137 h 144"/>
                <a:gd name="T70" fmla="*/ 14 w 160"/>
                <a:gd name="T71" fmla="*/ 134 h 144"/>
                <a:gd name="T72" fmla="*/ 31 w 160"/>
                <a:gd name="T73" fmla="*/ 134 h 144"/>
                <a:gd name="T74" fmla="*/ 47 w 160"/>
                <a:gd name="T75" fmla="*/ 134 h 144"/>
                <a:gd name="T76" fmla="*/ 64 w 160"/>
                <a:gd name="T77" fmla="*/ 134 h 144"/>
                <a:gd name="T78" fmla="*/ 76 w 160"/>
                <a:gd name="T79" fmla="*/ 130 h 144"/>
                <a:gd name="T80" fmla="*/ 76 w 160"/>
                <a:gd name="T81" fmla="*/ 120 h 144"/>
                <a:gd name="T82" fmla="*/ 76 w 160"/>
                <a:gd name="T83" fmla="*/ 108 h 144"/>
                <a:gd name="T84" fmla="*/ 73 w 160"/>
                <a:gd name="T85" fmla="*/ 101 h 144"/>
                <a:gd name="T86" fmla="*/ 83 w 160"/>
                <a:gd name="T87" fmla="*/ 94 h 144"/>
                <a:gd name="T88" fmla="*/ 92 w 160"/>
                <a:gd name="T89" fmla="*/ 89 h 144"/>
                <a:gd name="T90" fmla="*/ 97 w 160"/>
                <a:gd name="T91" fmla="*/ 82 h 144"/>
                <a:gd name="T92" fmla="*/ 97 w 160"/>
                <a:gd name="T93" fmla="*/ 73 h 144"/>
                <a:gd name="T94" fmla="*/ 97 w 160"/>
                <a:gd name="T95" fmla="*/ 61 h 144"/>
                <a:gd name="T96" fmla="*/ 97 w 160"/>
                <a:gd name="T97" fmla="*/ 49 h 144"/>
                <a:gd name="T98" fmla="*/ 97 w 160"/>
                <a:gd name="T99" fmla="*/ 37 h 144"/>
                <a:gd name="T100" fmla="*/ 137 w 160"/>
                <a:gd name="T101" fmla="*/ 35 h 144"/>
                <a:gd name="T102" fmla="*/ 158 w 160"/>
                <a:gd name="T103" fmla="*/ 28 h 144"/>
                <a:gd name="T104" fmla="*/ 158 w 160"/>
                <a:gd name="T105" fmla="*/ 11 h 144"/>
                <a:gd name="T106" fmla="*/ 158 w 160"/>
                <a:gd name="T10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144">
                  <a:moveTo>
                    <a:pt x="158" y="0"/>
                  </a:moveTo>
                  <a:lnTo>
                    <a:pt x="158" y="0"/>
                  </a:lnTo>
                  <a:lnTo>
                    <a:pt x="158" y="0"/>
                  </a:lnTo>
                  <a:lnTo>
                    <a:pt x="158" y="2"/>
                  </a:lnTo>
                  <a:lnTo>
                    <a:pt x="158" y="4"/>
                  </a:lnTo>
                  <a:lnTo>
                    <a:pt x="158" y="4"/>
                  </a:lnTo>
                  <a:lnTo>
                    <a:pt x="158" y="7"/>
                  </a:lnTo>
                  <a:lnTo>
                    <a:pt x="158" y="7"/>
                  </a:lnTo>
                  <a:lnTo>
                    <a:pt x="158" y="9"/>
                  </a:lnTo>
                  <a:lnTo>
                    <a:pt x="158" y="9"/>
                  </a:lnTo>
                  <a:lnTo>
                    <a:pt x="158" y="11"/>
                  </a:lnTo>
                  <a:lnTo>
                    <a:pt x="158" y="11"/>
                  </a:lnTo>
                  <a:lnTo>
                    <a:pt x="156" y="11"/>
                  </a:lnTo>
                  <a:lnTo>
                    <a:pt x="153" y="11"/>
                  </a:lnTo>
                  <a:lnTo>
                    <a:pt x="151" y="11"/>
                  </a:lnTo>
                  <a:lnTo>
                    <a:pt x="149" y="11"/>
                  </a:lnTo>
                  <a:lnTo>
                    <a:pt x="149" y="11"/>
                  </a:lnTo>
                  <a:lnTo>
                    <a:pt x="146" y="11"/>
                  </a:lnTo>
                  <a:lnTo>
                    <a:pt x="146" y="11"/>
                  </a:lnTo>
                  <a:lnTo>
                    <a:pt x="144" y="11"/>
                  </a:lnTo>
                  <a:lnTo>
                    <a:pt x="144" y="14"/>
                  </a:lnTo>
                  <a:lnTo>
                    <a:pt x="142" y="16"/>
                  </a:lnTo>
                  <a:lnTo>
                    <a:pt x="139" y="16"/>
                  </a:lnTo>
                  <a:lnTo>
                    <a:pt x="139" y="16"/>
                  </a:lnTo>
                  <a:lnTo>
                    <a:pt x="137" y="16"/>
                  </a:lnTo>
                  <a:lnTo>
                    <a:pt x="135" y="16"/>
                  </a:lnTo>
                  <a:lnTo>
                    <a:pt x="135" y="16"/>
                  </a:lnTo>
                  <a:lnTo>
                    <a:pt x="135" y="16"/>
                  </a:lnTo>
                  <a:lnTo>
                    <a:pt x="132" y="16"/>
                  </a:lnTo>
                  <a:lnTo>
                    <a:pt x="132" y="16"/>
                  </a:lnTo>
                  <a:lnTo>
                    <a:pt x="130" y="16"/>
                  </a:lnTo>
                  <a:lnTo>
                    <a:pt x="130" y="16"/>
                  </a:lnTo>
                  <a:lnTo>
                    <a:pt x="127" y="14"/>
                  </a:lnTo>
                  <a:lnTo>
                    <a:pt x="125" y="14"/>
                  </a:lnTo>
                  <a:lnTo>
                    <a:pt x="123" y="14"/>
                  </a:lnTo>
                  <a:lnTo>
                    <a:pt x="123" y="14"/>
                  </a:lnTo>
                  <a:lnTo>
                    <a:pt x="120" y="14"/>
                  </a:lnTo>
                  <a:lnTo>
                    <a:pt x="118" y="14"/>
                  </a:lnTo>
                  <a:lnTo>
                    <a:pt x="116" y="14"/>
                  </a:lnTo>
                  <a:lnTo>
                    <a:pt x="113" y="14"/>
                  </a:lnTo>
                  <a:lnTo>
                    <a:pt x="113" y="16"/>
                  </a:lnTo>
                  <a:lnTo>
                    <a:pt x="111" y="16"/>
                  </a:lnTo>
                  <a:lnTo>
                    <a:pt x="111" y="19"/>
                  </a:lnTo>
                  <a:lnTo>
                    <a:pt x="111" y="19"/>
                  </a:lnTo>
                  <a:lnTo>
                    <a:pt x="111" y="21"/>
                  </a:lnTo>
                  <a:lnTo>
                    <a:pt x="111" y="21"/>
                  </a:lnTo>
                  <a:lnTo>
                    <a:pt x="109" y="23"/>
                  </a:lnTo>
                  <a:lnTo>
                    <a:pt x="109" y="23"/>
                  </a:lnTo>
                  <a:lnTo>
                    <a:pt x="109" y="26"/>
                  </a:lnTo>
                  <a:lnTo>
                    <a:pt x="106" y="26"/>
                  </a:lnTo>
                  <a:lnTo>
                    <a:pt x="106" y="28"/>
                  </a:lnTo>
                  <a:lnTo>
                    <a:pt x="104" y="28"/>
                  </a:lnTo>
                  <a:lnTo>
                    <a:pt x="104" y="30"/>
                  </a:lnTo>
                  <a:lnTo>
                    <a:pt x="104" y="30"/>
                  </a:lnTo>
                  <a:lnTo>
                    <a:pt x="104" y="33"/>
                  </a:lnTo>
                  <a:lnTo>
                    <a:pt x="102" y="33"/>
                  </a:lnTo>
                  <a:lnTo>
                    <a:pt x="102" y="33"/>
                  </a:lnTo>
                  <a:lnTo>
                    <a:pt x="99" y="33"/>
                  </a:lnTo>
                  <a:lnTo>
                    <a:pt x="97" y="35"/>
                  </a:lnTo>
                  <a:lnTo>
                    <a:pt x="97" y="35"/>
                  </a:lnTo>
                  <a:lnTo>
                    <a:pt x="97" y="35"/>
                  </a:lnTo>
                  <a:lnTo>
                    <a:pt x="97" y="37"/>
                  </a:lnTo>
                  <a:lnTo>
                    <a:pt x="97" y="37"/>
                  </a:lnTo>
                  <a:lnTo>
                    <a:pt x="97" y="37"/>
                  </a:lnTo>
                  <a:lnTo>
                    <a:pt x="94" y="40"/>
                  </a:lnTo>
                  <a:lnTo>
                    <a:pt x="94" y="42"/>
                  </a:lnTo>
                  <a:lnTo>
                    <a:pt x="94" y="45"/>
                  </a:lnTo>
                  <a:lnTo>
                    <a:pt x="94" y="47"/>
                  </a:lnTo>
                  <a:lnTo>
                    <a:pt x="92" y="49"/>
                  </a:lnTo>
                  <a:lnTo>
                    <a:pt x="92" y="54"/>
                  </a:lnTo>
                  <a:lnTo>
                    <a:pt x="90" y="56"/>
                  </a:lnTo>
                  <a:lnTo>
                    <a:pt x="90" y="59"/>
                  </a:lnTo>
                  <a:lnTo>
                    <a:pt x="90" y="59"/>
                  </a:lnTo>
                  <a:lnTo>
                    <a:pt x="87" y="61"/>
                  </a:lnTo>
                  <a:lnTo>
                    <a:pt x="87" y="61"/>
                  </a:lnTo>
                  <a:lnTo>
                    <a:pt x="85" y="63"/>
                  </a:lnTo>
                  <a:lnTo>
                    <a:pt x="85" y="63"/>
                  </a:lnTo>
                  <a:lnTo>
                    <a:pt x="83" y="66"/>
                  </a:lnTo>
                  <a:lnTo>
                    <a:pt x="80" y="66"/>
                  </a:lnTo>
                  <a:lnTo>
                    <a:pt x="80" y="66"/>
                  </a:lnTo>
                  <a:lnTo>
                    <a:pt x="78" y="68"/>
                  </a:lnTo>
                  <a:lnTo>
                    <a:pt x="78" y="68"/>
                  </a:lnTo>
                  <a:lnTo>
                    <a:pt x="76" y="71"/>
                  </a:lnTo>
                  <a:lnTo>
                    <a:pt x="76" y="73"/>
                  </a:lnTo>
                  <a:lnTo>
                    <a:pt x="73" y="75"/>
                  </a:lnTo>
                  <a:lnTo>
                    <a:pt x="73" y="78"/>
                  </a:lnTo>
                  <a:lnTo>
                    <a:pt x="73" y="78"/>
                  </a:lnTo>
                  <a:lnTo>
                    <a:pt x="71" y="78"/>
                  </a:lnTo>
                  <a:lnTo>
                    <a:pt x="69" y="80"/>
                  </a:lnTo>
                  <a:lnTo>
                    <a:pt x="69" y="80"/>
                  </a:lnTo>
                  <a:lnTo>
                    <a:pt x="66" y="80"/>
                  </a:lnTo>
                  <a:lnTo>
                    <a:pt x="64" y="82"/>
                  </a:lnTo>
                  <a:lnTo>
                    <a:pt x="64" y="82"/>
                  </a:lnTo>
                  <a:lnTo>
                    <a:pt x="61" y="85"/>
                  </a:lnTo>
                  <a:lnTo>
                    <a:pt x="61" y="85"/>
                  </a:lnTo>
                  <a:lnTo>
                    <a:pt x="59" y="87"/>
                  </a:lnTo>
                  <a:lnTo>
                    <a:pt x="59" y="89"/>
                  </a:lnTo>
                  <a:lnTo>
                    <a:pt x="59" y="92"/>
                  </a:lnTo>
                  <a:lnTo>
                    <a:pt x="57" y="97"/>
                  </a:lnTo>
                  <a:lnTo>
                    <a:pt x="57" y="99"/>
                  </a:lnTo>
                  <a:lnTo>
                    <a:pt x="57" y="101"/>
                  </a:lnTo>
                  <a:lnTo>
                    <a:pt x="57" y="104"/>
                  </a:lnTo>
                  <a:lnTo>
                    <a:pt x="54" y="106"/>
                  </a:lnTo>
                  <a:lnTo>
                    <a:pt x="54" y="111"/>
                  </a:lnTo>
                  <a:lnTo>
                    <a:pt x="54" y="111"/>
                  </a:lnTo>
                  <a:lnTo>
                    <a:pt x="54" y="113"/>
                  </a:lnTo>
                  <a:lnTo>
                    <a:pt x="54" y="113"/>
                  </a:lnTo>
                  <a:lnTo>
                    <a:pt x="52" y="116"/>
                  </a:lnTo>
                  <a:lnTo>
                    <a:pt x="52" y="118"/>
                  </a:lnTo>
                  <a:lnTo>
                    <a:pt x="50" y="118"/>
                  </a:lnTo>
                  <a:lnTo>
                    <a:pt x="50" y="118"/>
                  </a:lnTo>
                  <a:lnTo>
                    <a:pt x="50" y="120"/>
                  </a:lnTo>
                  <a:lnTo>
                    <a:pt x="47" y="120"/>
                  </a:lnTo>
                  <a:lnTo>
                    <a:pt x="47" y="123"/>
                  </a:lnTo>
                  <a:lnTo>
                    <a:pt x="47" y="123"/>
                  </a:lnTo>
                  <a:lnTo>
                    <a:pt x="47" y="125"/>
                  </a:lnTo>
                  <a:lnTo>
                    <a:pt x="47" y="125"/>
                  </a:lnTo>
                  <a:lnTo>
                    <a:pt x="45" y="127"/>
                  </a:lnTo>
                  <a:lnTo>
                    <a:pt x="45" y="130"/>
                  </a:lnTo>
                  <a:lnTo>
                    <a:pt x="43" y="132"/>
                  </a:lnTo>
                  <a:lnTo>
                    <a:pt x="40" y="132"/>
                  </a:lnTo>
                  <a:lnTo>
                    <a:pt x="38" y="132"/>
                  </a:lnTo>
                  <a:lnTo>
                    <a:pt x="36" y="132"/>
                  </a:lnTo>
                  <a:lnTo>
                    <a:pt x="31" y="132"/>
                  </a:lnTo>
                  <a:lnTo>
                    <a:pt x="28" y="130"/>
                  </a:lnTo>
                  <a:lnTo>
                    <a:pt x="26" y="130"/>
                  </a:lnTo>
                  <a:lnTo>
                    <a:pt x="24" y="130"/>
                  </a:lnTo>
                  <a:lnTo>
                    <a:pt x="21" y="130"/>
                  </a:lnTo>
                  <a:lnTo>
                    <a:pt x="19" y="130"/>
                  </a:lnTo>
                  <a:lnTo>
                    <a:pt x="12" y="130"/>
                  </a:lnTo>
                  <a:lnTo>
                    <a:pt x="7" y="130"/>
                  </a:lnTo>
                  <a:lnTo>
                    <a:pt x="5" y="132"/>
                  </a:lnTo>
                  <a:lnTo>
                    <a:pt x="3" y="132"/>
                  </a:lnTo>
                  <a:lnTo>
                    <a:pt x="3" y="132"/>
                  </a:lnTo>
                  <a:lnTo>
                    <a:pt x="3" y="132"/>
                  </a:lnTo>
                  <a:lnTo>
                    <a:pt x="0" y="144"/>
                  </a:lnTo>
                  <a:lnTo>
                    <a:pt x="3" y="144"/>
                  </a:lnTo>
                  <a:lnTo>
                    <a:pt x="3" y="142"/>
                  </a:lnTo>
                  <a:lnTo>
                    <a:pt x="3" y="139"/>
                  </a:lnTo>
                  <a:lnTo>
                    <a:pt x="3" y="137"/>
                  </a:lnTo>
                  <a:lnTo>
                    <a:pt x="5" y="134"/>
                  </a:lnTo>
                  <a:lnTo>
                    <a:pt x="7" y="134"/>
                  </a:lnTo>
                  <a:lnTo>
                    <a:pt x="10" y="134"/>
                  </a:lnTo>
                  <a:lnTo>
                    <a:pt x="14" y="134"/>
                  </a:lnTo>
                  <a:lnTo>
                    <a:pt x="19" y="134"/>
                  </a:lnTo>
                  <a:lnTo>
                    <a:pt x="24" y="134"/>
                  </a:lnTo>
                  <a:lnTo>
                    <a:pt x="26" y="134"/>
                  </a:lnTo>
                  <a:lnTo>
                    <a:pt x="31" y="134"/>
                  </a:lnTo>
                  <a:lnTo>
                    <a:pt x="36" y="134"/>
                  </a:lnTo>
                  <a:lnTo>
                    <a:pt x="40" y="134"/>
                  </a:lnTo>
                  <a:lnTo>
                    <a:pt x="43" y="134"/>
                  </a:lnTo>
                  <a:lnTo>
                    <a:pt x="47" y="134"/>
                  </a:lnTo>
                  <a:lnTo>
                    <a:pt x="52" y="134"/>
                  </a:lnTo>
                  <a:lnTo>
                    <a:pt x="57" y="134"/>
                  </a:lnTo>
                  <a:lnTo>
                    <a:pt x="61" y="134"/>
                  </a:lnTo>
                  <a:lnTo>
                    <a:pt x="64" y="134"/>
                  </a:lnTo>
                  <a:lnTo>
                    <a:pt x="69" y="134"/>
                  </a:lnTo>
                  <a:lnTo>
                    <a:pt x="73" y="134"/>
                  </a:lnTo>
                  <a:lnTo>
                    <a:pt x="76" y="134"/>
                  </a:lnTo>
                  <a:lnTo>
                    <a:pt x="76" y="130"/>
                  </a:lnTo>
                  <a:lnTo>
                    <a:pt x="76" y="127"/>
                  </a:lnTo>
                  <a:lnTo>
                    <a:pt x="76" y="125"/>
                  </a:lnTo>
                  <a:lnTo>
                    <a:pt x="76" y="123"/>
                  </a:lnTo>
                  <a:lnTo>
                    <a:pt x="76" y="120"/>
                  </a:lnTo>
                  <a:lnTo>
                    <a:pt x="76" y="116"/>
                  </a:lnTo>
                  <a:lnTo>
                    <a:pt x="76" y="113"/>
                  </a:lnTo>
                  <a:lnTo>
                    <a:pt x="76" y="111"/>
                  </a:lnTo>
                  <a:lnTo>
                    <a:pt x="76" y="108"/>
                  </a:lnTo>
                  <a:lnTo>
                    <a:pt x="76" y="108"/>
                  </a:lnTo>
                  <a:lnTo>
                    <a:pt x="73" y="104"/>
                  </a:lnTo>
                  <a:lnTo>
                    <a:pt x="73" y="104"/>
                  </a:lnTo>
                  <a:lnTo>
                    <a:pt x="73" y="101"/>
                  </a:lnTo>
                  <a:lnTo>
                    <a:pt x="76" y="101"/>
                  </a:lnTo>
                  <a:lnTo>
                    <a:pt x="76" y="99"/>
                  </a:lnTo>
                  <a:lnTo>
                    <a:pt x="80" y="97"/>
                  </a:lnTo>
                  <a:lnTo>
                    <a:pt x="83" y="94"/>
                  </a:lnTo>
                  <a:lnTo>
                    <a:pt x="85" y="92"/>
                  </a:lnTo>
                  <a:lnTo>
                    <a:pt x="85" y="92"/>
                  </a:lnTo>
                  <a:lnTo>
                    <a:pt x="90" y="92"/>
                  </a:lnTo>
                  <a:lnTo>
                    <a:pt x="92" y="89"/>
                  </a:lnTo>
                  <a:lnTo>
                    <a:pt x="94" y="89"/>
                  </a:lnTo>
                  <a:lnTo>
                    <a:pt x="94" y="89"/>
                  </a:lnTo>
                  <a:lnTo>
                    <a:pt x="97" y="87"/>
                  </a:lnTo>
                  <a:lnTo>
                    <a:pt x="97" y="82"/>
                  </a:lnTo>
                  <a:lnTo>
                    <a:pt x="97" y="80"/>
                  </a:lnTo>
                  <a:lnTo>
                    <a:pt x="97" y="78"/>
                  </a:lnTo>
                  <a:lnTo>
                    <a:pt x="97" y="75"/>
                  </a:lnTo>
                  <a:lnTo>
                    <a:pt x="97" y="73"/>
                  </a:lnTo>
                  <a:lnTo>
                    <a:pt x="97" y="68"/>
                  </a:lnTo>
                  <a:lnTo>
                    <a:pt x="97" y="66"/>
                  </a:lnTo>
                  <a:lnTo>
                    <a:pt x="97" y="63"/>
                  </a:lnTo>
                  <a:lnTo>
                    <a:pt x="97" y="61"/>
                  </a:lnTo>
                  <a:lnTo>
                    <a:pt x="97" y="59"/>
                  </a:lnTo>
                  <a:lnTo>
                    <a:pt x="97" y="54"/>
                  </a:lnTo>
                  <a:lnTo>
                    <a:pt x="97" y="52"/>
                  </a:lnTo>
                  <a:lnTo>
                    <a:pt x="97" y="49"/>
                  </a:lnTo>
                  <a:lnTo>
                    <a:pt x="97" y="47"/>
                  </a:lnTo>
                  <a:lnTo>
                    <a:pt x="97" y="42"/>
                  </a:lnTo>
                  <a:lnTo>
                    <a:pt x="97" y="40"/>
                  </a:lnTo>
                  <a:lnTo>
                    <a:pt x="97" y="37"/>
                  </a:lnTo>
                  <a:lnTo>
                    <a:pt x="97" y="35"/>
                  </a:lnTo>
                  <a:lnTo>
                    <a:pt x="111" y="35"/>
                  </a:lnTo>
                  <a:lnTo>
                    <a:pt x="113" y="35"/>
                  </a:lnTo>
                  <a:lnTo>
                    <a:pt x="137" y="35"/>
                  </a:lnTo>
                  <a:lnTo>
                    <a:pt x="142" y="35"/>
                  </a:lnTo>
                  <a:lnTo>
                    <a:pt x="158" y="35"/>
                  </a:lnTo>
                  <a:lnTo>
                    <a:pt x="158" y="33"/>
                  </a:lnTo>
                  <a:lnTo>
                    <a:pt x="158" y="28"/>
                  </a:lnTo>
                  <a:lnTo>
                    <a:pt x="158" y="23"/>
                  </a:lnTo>
                  <a:lnTo>
                    <a:pt x="158" y="19"/>
                  </a:lnTo>
                  <a:lnTo>
                    <a:pt x="158" y="16"/>
                  </a:lnTo>
                  <a:lnTo>
                    <a:pt x="158" y="11"/>
                  </a:lnTo>
                  <a:lnTo>
                    <a:pt x="158" y="7"/>
                  </a:lnTo>
                  <a:lnTo>
                    <a:pt x="160" y="4"/>
                  </a:lnTo>
                  <a:lnTo>
                    <a:pt x="160" y="0"/>
                  </a:lnTo>
                  <a:lnTo>
                    <a:pt x="158"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2" name="Freeform 208"/>
            <p:cNvSpPr>
              <a:spLocks noEditPoints="1"/>
            </p:cNvSpPr>
            <p:nvPr userDrawn="1"/>
          </p:nvSpPr>
          <p:spPr bwMode="auto">
            <a:xfrm>
              <a:off x="5515" y="2316"/>
              <a:ext cx="160" cy="310"/>
            </a:xfrm>
            <a:custGeom>
              <a:avLst/>
              <a:gdLst>
                <a:gd name="T0" fmla="*/ 63 w 160"/>
                <a:gd name="T1" fmla="*/ 279 h 310"/>
                <a:gd name="T2" fmla="*/ 122 w 160"/>
                <a:gd name="T3" fmla="*/ 272 h 310"/>
                <a:gd name="T4" fmla="*/ 155 w 160"/>
                <a:gd name="T5" fmla="*/ 213 h 310"/>
                <a:gd name="T6" fmla="*/ 153 w 160"/>
                <a:gd name="T7" fmla="*/ 194 h 310"/>
                <a:gd name="T8" fmla="*/ 141 w 160"/>
                <a:gd name="T9" fmla="*/ 165 h 310"/>
                <a:gd name="T10" fmla="*/ 129 w 160"/>
                <a:gd name="T11" fmla="*/ 151 h 310"/>
                <a:gd name="T12" fmla="*/ 120 w 160"/>
                <a:gd name="T13" fmla="*/ 144 h 310"/>
                <a:gd name="T14" fmla="*/ 94 w 160"/>
                <a:gd name="T15" fmla="*/ 118 h 310"/>
                <a:gd name="T16" fmla="*/ 82 w 160"/>
                <a:gd name="T17" fmla="*/ 104 h 310"/>
                <a:gd name="T18" fmla="*/ 75 w 160"/>
                <a:gd name="T19" fmla="*/ 85 h 310"/>
                <a:gd name="T20" fmla="*/ 87 w 160"/>
                <a:gd name="T21" fmla="*/ 61 h 310"/>
                <a:gd name="T22" fmla="*/ 89 w 160"/>
                <a:gd name="T23" fmla="*/ 50 h 310"/>
                <a:gd name="T24" fmla="*/ 99 w 160"/>
                <a:gd name="T25" fmla="*/ 45 h 310"/>
                <a:gd name="T26" fmla="*/ 106 w 160"/>
                <a:gd name="T27" fmla="*/ 35 h 310"/>
                <a:gd name="T28" fmla="*/ 89 w 160"/>
                <a:gd name="T29" fmla="*/ 31 h 310"/>
                <a:gd name="T30" fmla="*/ 82 w 160"/>
                <a:gd name="T31" fmla="*/ 26 h 310"/>
                <a:gd name="T32" fmla="*/ 80 w 160"/>
                <a:gd name="T33" fmla="*/ 14 h 310"/>
                <a:gd name="T34" fmla="*/ 73 w 160"/>
                <a:gd name="T35" fmla="*/ 9 h 310"/>
                <a:gd name="T36" fmla="*/ 61 w 160"/>
                <a:gd name="T37" fmla="*/ 5 h 310"/>
                <a:gd name="T38" fmla="*/ 49 w 160"/>
                <a:gd name="T39" fmla="*/ 2 h 310"/>
                <a:gd name="T40" fmla="*/ 42 w 160"/>
                <a:gd name="T41" fmla="*/ 9 h 310"/>
                <a:gd name="T42" fmla="*/ 33 w 160"/>
                <a:gd name="T43" fmla="*/ 14 h 310"/>
                <a:gd name="T44" fmla="*/ 23 w 160"/>
                <a:gd name="T45" fmla="*/ 14 h 310"/>
                <a:gd name="T46" fmla="*/ 16 w 160"/>
                <a:gd name="T47" fmla="*/ 19 h 310"/>
                <a:gd name="T48" fmla="*/ 5 w 160"/>
                <a:gd name="T49" fmla="*/ 12 h 310"/>
                <a:gd name="T50" fmla="*/ 7 w 160"/>
                <a:gd name="T51" fmla="*/ 26 h 310"/>
                <a:gd name="T52" fmla="*/ 14 w 160"/>
                <a:gd name="T53" fmla="*/ 33 h 310"/>
                <a:gd name="T54" fmla="*/ 16 w 160"/>
                <a:gd name="T55" fmla="*/ 38 h 310"/>
                <a:gd name="T56" fmla="*/ 33 w 160"/>
                <a:gd name="T57" fmla="*/ 54 h 310"/>
                <a:gd name="T58" fmla="*/ 49 w 160"/>
                <a:gd name="T59" fmla="*/ 54 h 310"/>
                <a:gd name="T60" fmla="*/ 52 w 160"/>
                <a:gd name="T61" fmla="*/ 61 h 310"/>
                <a:gd name="T62" fmla="*/ 56 w 160"/>
                <a:gd name="T63" fmla="*/ 68 h 310"/>
                <a:gd name="T64" fmla="*/ 42 w 160"/>
                <a:gd name="T65" fmla="*/ 76 h 310"/>
                <a:gd name="T66" fmla="*/ 42 w 160"/>
                <a:gd name="T67" fmla="*/ 85 h 310"/>
                <a:gd name="T68" fmla="*/ 66 w 160"/>
                <a:gd name="T69" fmla="*/ 99 h 310"/>
                <a:gd name="T70" fmla="*/ 71 w 160"/>
                <a:gd name="T71" fmla="*/ 109 h 310"/>
                <a:gd name="T72" fmla="*/ 85 w 160"/>
                <a:gd name="T73" fmla="*/ 123 h 310"/>
                <a:gd name="T74" fmla="*/ 96 w 160"/>
                <a:gd name="T75" fmla="*/ 139 h 310"/>
                <a:gd name="T76" fmla="*/ 104 w 160"/>
                <a:gd name="T77" fmla="*/ 146 h 310"/>
                <a:gd name="T78" fmla="*/ 115 w 160"/>
                <a:gd name="T79" fmla="*/ 156 h 310"/>
                <a:gd name="T80" fmla="*/ 118 w 160"/>
                <a:gd name="T81" fmla="*/ 168 h 310"/>
                <a:gd name="T82" fmla="*/ 120 w 160"/>
                <a:gd name="T83" fmla="*/ 177 h 310"/>
                <a:gd name="T84" fmla="*/ 118 w 160"/>
                <a:gd name="T85" fmla="*/ 194 h 310"/>
                <a:gd name="T86" fmla="*/ 122 w 160"/>
                <a:gd name="T87" fmla="*/ 220 h 310"/>
                <a:gd name="T88" fmla="*/ 120 w 160"/>
                <a:gd name="T89" fmla="*/ 232 h 310"/>
                <a:gd name="T90" fmla="*/ 106 w 160"/>
                <a:gd name="T91" fmla="*/ 239 h 310"/>
                <a:gd name="T92" fmla="*/ 96 w 160"/>
                <a:gd name="T93" fmla="*/ 246 h 310"/>
                <a:gd name="T94" fmla="*/ 96 w 160"/>
                <a:gd name="T95" fmla="*/ 255 h 310"/>
                <a:gd name="T96" fmla="*/ 96 w 160"/>
                <a:gd name="T97" fmla="*/ 262 h 310"/>
                <a:gd name="T98" fmla="*/ 87 w 160"/>
                <a:gd name="T99" fmla="*/ 262 h 310"/>
                <a:gd name="T100" fmla="*/ 80 w 160"/>
                <a:gd name="T101" fmla="*/ 267 h 310"/>
                <a:gd name="T102" fmla="*/ 75 w 160"/>
                <a:gd name="T103" fmla="*/ 274 h 310"/>
                <a:gd name="T104" fmla="*/ 85 w 160"/>
                <a:gd name="T105" fmla="*/ 281 h 310"/>
                <a:gd name="T106" fmla="*/ 82 w 160"/>
                <a:gd name="T107" fmla="*/ 310 h 310"/>
                <a:gd name="T108" fmla="*/ 104 w 160"/>
                <a:gd name="T109" fmla="*/ 288 h 310"/>
                <a:gd name="T110" fmla="*/ 111 w 160"/>
                <a:gd name="T111" fmla="*/ 286 h 310"/>
                <a:gd name="T112" fmla="*/ 113 w 160"/>
                <a:gd name="T113" fmla="*/ 281 h 310"/>
                <a:gd name="T114" fmla="*/ 113 w 160"/>
                <a:gd name="T115" fmla="*/ 274 h 310"/>
                <a:gd name="T116" fmla="*/ 118 w 160"/>
                <a:gd name="T117" fmla="*/ 272 h 310"/>
                <a:gd name="T118" fmla="*/ 122 w 160"/>
                <a:gd name="T119" fmla="*/ 272 h 310"/>
                <a:gd name="T120" fmla="*/ 141 w 160"/>
                <a:gd name="T121" fmla="*/ 260 h 310"/>
                <a:gd name="T122" fmla="*/ 155 w 160"/>
                <a:gd name="T123" fmla="*/ 246 h 310"/>
                <a:gd name="T124" fmla="*/ 158 w 160"/>
                <a:gd name="T125" fmla="*/ 24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310">
                  <a:moveTo>
                    <a:pt x="63" y="274"/>
                  </a:moveTo>
                  <a:lnTo>
                    <a:pt x="63" y="272"/>
                  </a:lnTo>
                  <a:lnTo>
                    <a:pt x="63" y="272"/>
                  </a:lnTo>
                  <a:lnTo>
                    <a:pt x="63" y="272"/>
                  </a:lnTo>
                  <a:lnTo>
                    <a:pt x="61" y="272"/>
                  </a:lnTo>
                  <a:lnTo>
                    <a:pt x="61" y="272"/>
                  </a:lnTo>
                  <a:lnTo>
                    <a:pt x="61" y="274"/>
                  </a:lnTo>
                  <a:lnTo>
                    <a:pt x="61" y="277"/>
                  </a:lnTo>
                  <a:lnTo>
                    <a:pt x="63" y="279"/>
                  </a:lnTo>
                  <a:lnTo>
                    <a:pt x="63" y="279"/>
                  </a:lnTo>
                  <a:lnTo>
                    <a:pt x="63" y="279"/>
                  </a:lnTo>
                  <a:lnTo>
                    <a:pt x="63" y="277"/>
                  </a:lnTo>
                  <a:lnTo>
                    <a:pt x="63" y="274"/>
                  </a:lnTo>
                  <a:close/>
                  <a:moveTo>
                    <a:pt x="120" y="272"/>
                  </a:moveTo>
                  <a:lnTo>
                    <a:pt x="120" y="272"/>
                  </a:lnTo>
                  <a:lnTo>
                    <a:pt x="120" y="274"/>
                  </a:lnTo>
                  <a:lnTo>
                    <a:pt x="122" y="272"/>
                  </a:lnTo>
                  <a:lnTo>
                    <a:pt x="122" y="272"/>
                  </a:lnTo>
                  <a:lnTo>
                    <a:pt x="122" y="272"/>
                  </a:lnTo>
                  <a:lnTo>
                    <a:pt x="120" y="272"/>
                  </a:lnTo>
                  <a:close/>
                  <a:moveTo>
                    <a:pt x="158" y="222"/>
                  </a:moveTo>
                  <a:lnTo>
                    <a:pt x="158" y="224"/>
                  </a:lnTo>
                  <a:lnTo>
                    <a:pt x="160" y="227"/>
                  </a:lnTo>
                  <a:lnTo>
                    <a:pt x="160" y="222"/>
                  </a:lnTo>
                  <a:lnTo>
                    <a:pt x="158" y="217"/>
                  </a:lnTo>
                  <a:lnTo>
                    <a:pt x="158" y="217"/>
                  </a:lnTo>
                  <a:lnTo>
                    <a:pt x="155" y="213"/>
                  </a:lnTo>
                  <a:lnTo>
                    <a:pt x="155" y="210"/>
                  </a:lnTo>
                  <a:lnTo>
                    <a:pt x="155" y="208"/>
                  </a:lnTo>
                  <a:lnTo>
                    <a:pt x="153" y="206"/>
                  </a:lnTo>
                  <a:lnTo>
                    <a:pt x="153" y="198"/>
                  </a:lnTo>
                  <a:lnTo>
                    <a:pt x="155" y="201"/>
                  </a:lnTo>
                  <a:lnTo>
                    <a:pt x="155" y="198"/>
                  </a:lnTo>
                  <a:lnTo>
                    <a:pt x="153" y="196"/>
                  </a:lnTo>
                  <a:lnTo>
                    <a:pt x="153" y="194"/>
                  </a:lnTo>
                  <a:lnTo>
                    <a:pt x="153" y="194"/>
                  </a:lnTo>
                  <a:lnTo>
                    <a:pt x="151" y="191"/>
                  </a:lnTo>
                  <a:lnTo>
                    <a:pt x="151" y="189"/>
                  </a:lnTo>
                  <a:lnTo>
                    <a:pt x="148" y="184"/>
                  </a:lnTo>
                  <a:lnTo>
                    <a:pt x="148" y="182"/>
                  </a:lnTo>
                  <a:lnTo>
                    <a:pt x="146" y="180"/>
                  </a:lnTo>
                  <a:lnTo>
                    <a:pt x="146" y="175"/>
                  </a:lnTo>
                  <a:lnTo>
                    <a:pt x="144" y="170"/>
                  </a:lnTo>
                  <a:lnTo>
                    <a:pt x="141" y="168"/>
                  </a:lnTo>
                  <a:lnTo>
                    <a:pt x="141" y="165"/>
                  </a:lnTo>
                  <a:lnTo>
                    <a:pt x="139" y="165"/>
                  </a:lnTo>
                  <a:lnTo>
                    <a:pt x="137" y="163"/>
                  </a:lnTo>
                  <a:lnTo>
                    <a:pt x="134" y="158"/>
                  </a:lnTo>
                  <a:lnTo>
                    <a:pt x="132" y="156"/>
                  </a:lnTo>
                  <a:lnTo>
                    <a:pt x="129" y="154"/>
                  </a:lnTo>
                  <a:lnTo>
                    <a:pt x="129" y="154"/>
                  </a:lnTo>
                  <a:lnTo>
                    <a:pt x="129" y="151"/>
                  </a:lnTo>
                  <a:lnTo>
                    <a:pt x="129" y="151"/>
                  </a:lnTo>
                  <a:lnTo>
                    <a:pt x="129" y="151"/>
                  </a:lnTo>
                  <a:lnTo>
                    <a:pt x="127" y="151"/>
                  </a:lnTo>
                  <a:lnTo>
                    <a:pt x="127" y="149"/>
                  </a:lnTo>
                  <a:lnTo>
                    <a:pt x="125" y="146"/>
                  </a:lnTo>
                  <a:lnTo>
                    <a:pt x="125" y="146"/>
                  </a:lnTo>
                  <a:lnTo>
                    <a:pt x="122" y="146"/>
                  </a:lnTo>
                  <a:lnTo>
                    <a:pt x="122" y="146"/>
                  </a:lnTo>
                  <a:lnTo>
                    <a:pt x="122" y="146"/>
                  </a:lnTo>
                  <a:lnTo>
                    <a:pt x="120" y="146"/>
                  </a:lnTo>
                  <a:lnTo>
                    <a:pt x="120" y="144"/>
                  </a:lnTo>
                  <a:lnTo>
                    <a:pt x="115" y="142"/>
                  </a:lnTo>
                  <a:lnTo>
                    <a:pt x="115" y="142"/>
                  </a:lnTo>
                  <a:lnTo>
                    <a:pt x="115" y="139"/>
                  </a:lnTo>
                  <a:lnTo>
                    <a:pt x="111" y="137"/>
                  </a:lnTo>
                  <a:lnTo>
                    <a:pt x="108" y="135"/>
                  </a:lnTo>
                  <a:lnTo>
                    <a:pt x="106" y="132"/>
                  </a:lnTo>
                  <a:lnTo>
                    <a:pt x="101" y="128"/>
                  </a:lnTo>
                  <a:lnTo>
                    <a:pt x="99" y="125"/>
                  </a:lnTo>
                  <a:lnTo>
                    <a:pt x="94" y="118"/>
                  </a:lnTo>
                  <a:lnTo>
                    <a:pt x="89" y="118"/>
                  </a:lnTo>
                  <a:lnTo>
                    <a:pt x="89" y="116"/>
                  </a:lnTo>
                  <a:lnTo>
                    <a:pt x="92" y="118"/>
                  </a:lnTo>
                  <a:lnTo>
                    <a:pt x="92" y="113"/>
                  </a:lnTo>
                  <a:lnTo>
                    <a:pt x="92" y="113"/>
                  </a:lnTo>
                  <a:lnTo>
                    <a:pt x="89" y="111"/>
                  </a:lnTo>
                  <a:lnTo>
                    <a:pt x="87" y="106"/>
                  </a:lnTo>
                  <a:lnTo>
                    <a:pt x="85" y="106"/>
                  </a:lnTo>
                  <a:lnTo>
                    <a:pt x="82" y="104"/>
                  </a:lnTo>
                  <a:lnTo>
                    <a:pt x="80" y="102"/>
                  </a:lnTo>
                  <a:lnTo>
                    <a:pt x="78" y="99"/>
                  </a:lnTo>
                  <a:lnTo>
                    <a:pt x="78" y="99"/>
                  </a:lnTo>
                  <a:lnTo>
                    <a:pt x="75" y="97"/>
                  </a:lnTo>
                  <a:lnTo>
                    <a:pt x="75" y="94"/>
                  </a:lnTo>
                  <a:lnTo>
                    <a:pt x="73" y="92"/>
                  </a:lnTo>
                  <a:lnTo>
                    <a:pt x="73" y="90"/>
                  </a:lnTo>
                  <a:lnTo>
                    <a:pt x="75" y="87"/>
                  </a:lnTo>
                  <a:lnTo>
                    <a:pt x="75" y="85"/>
                  </a:lnTo>
                  <a:lnTo>
                    <a:pt x="75" y="83"/>
                  </a:lnTo>
                  <a:lnTo>
                    <a:pt x="75" y="80"/>
                  </a:lnTo>
                  <a:lnTo>
                    <a:pt x="75" y="78"/>
                  </a:lnTo>
                  <a:lnTo>
                    <a:pt x="78" y="71"/>
                  </a:lnTo>
                  <a:lnTo>
                    <a:pt x="78" y="71"/>
                  </a:lnTo>
                  <a:lnTo>
                    <a:pt x="80" y="71"/>
                  </a:lnTo>
                  <a:lnTo>
                    <a:pt x="85" y="66"/>
                  </a:lnTo>
                  <a:lnTo>
                    <a:pt x="85" y="64"/>
                  </a:lnTo>
                  <a:lnTo>
                    <a:pt x="87" y="61"/>
                  </a:lnTo>
                  <a:lnTo>
                    <a:pt x="85" y="59"/>
                  </a:lnTo>
                  <a:lnTo>
                    <a:pt x="89" y="54"/>
                  </a:lnTo>
                  <a:lnTo>
                    <a:pt x="89" y="52"/>
                  </a:lnTo>
                  <a:lnTo>
                    <a:pt x="87" y="50"/>
                  </a:lnTo>
                  <a:lnTo>
                    <a:pt x="87" y="50"/>
                  </a:lnTo>
                  <a:lnTo>
                    <a:pt x="87" y="50"/>
                  </a:lnTo>
                  <a:lnTo>
                    <a:pt x="87" y="50"/>
                  </a:lnTo>
                  <a:lnTo>
                    <a:pt x="89" y="50"/>
                  </a:lnTo>
                  <a:lnTo>
                    <a:pt x="89" y="50"/>
                  </a:lnTo>
                  <a:lnTo>
                    <a:pt x="92" y="50"/>
                  </a:lnTo>
                  <a:lnTo>
                    <a:pt x="92" y="50"/>
                  </a:lnTo>
                  <a:lnTo>
                    <a:pt x="92" y="50"/>
                  </a:lnTo>
                  <a:lnTo>
                    <a:pt x="94" y="50"/>
                  </a:lnTo>
                  <a:lnTo>
                    <a:pt x="94" y="50"/>
                  </a:lnTo>
                  <a:lnTo>
                    <a:pt x="96" y="50"/>
                  </a:lnTo>
                  <a:lnTo>
                    <a:pt x="99" y="47"/>
                  </a:lnTo>
                  <a:lnTo>
                    <a:pt x="99" y="45"/>
                  </a:lnTo>
                  <a:lnTo>
                    <a:pt x="99" y="45"/>
                  </a:lnTo>
                  <a:lnTo>
                    <a:pt x="99" y="42"/>
                  </a:lnTo>
                  <a:lnTo>
                    <a:pt x="101" y="42"/>
                  </a:lnTo>
                  <a:lnTo>
                    <a:pt x="104" y="40"/>
                  </a:lnTo>
                  <a:lnTo>
                    <a:pt x="104" y="40"/>
                  </a:lnTo>
                  <a:lnTo>
                    <a:pt x="106" y="38"/>
                  </a:lnTo>
                  <a:lnTo>
                    <a:pt x="108" y="38"/>
                  </a:lnTo>
                  <a:lnTo>
                    <a:pt x="108" y="38"/>
                  </a:lnTo>
                  <a:lnTo>
                    <a:pt x="108" y="38"/>
                  </a:lnTo>
                  <a:lnTo>
                    <a:pt x="106" y="35"/>
                  </a:lnTo>
                  <a:lnTo>
                    <a:pt x="104" y="35"/>
                  </a:lnTo>
                  <a:lnTo>
                    <a:pt x="101" y="35"/>
                  </a:lnTo>
                  <a:lnTo>
                    <a:pt x="99" y="35"/>
                  </a:lnTo>
                  <a:lnTo>
                    <a:pt x="99" y="35"/>
                  </a:lnTo>
                  <a:lnTo>
                    <a:pt x="96" y="35"/>
                  </a:lnTo>
                  <a:lnTo>
                    <a:pt x="94" y="33"/>
                  </a:lnTo>
                  <a:lnTo>
                    <a:pt x="94" y="33"/>
                  </a:lnTo>
                  <a:lnTo>
                    <a:pt x="92" y="31"/>
                  </a:lnTo>
                  <a:lnTo>
                    <a:pt x="89" y="31"/>
                  </a:lnTo>
                  <a:lnTo>
                    <a:pt x="89" y="31"/>
                  </a:lnTo>
                  <a:lnTo>
                    <a:pt x="89" y="28"/>
                  </a:lnTo>
                  <a:lnTo>
                    <a:pt x="89" y="28"/>
                  </a:lnTo>
                  <a:lnTo>
                    <a:pt x="87" y="28"/>
                  </a:lnTo>
                  <a:lnTo>
                    <a:pt x="85" y="28"/>
                  </a:lnTo>
                  <a:lnTo>
                    <a:pt x="85" y="28"/>
                  </a:lnTo>
                  <a:lnTo>
                    <a:pt x="85" y="28"/>
                  </a:lnTo>
                  <a:lnTo>
                    <a:pt x="82" y="28"/>
                  </a:lnTo>
                  <a:lnTo>
                    <a:pt x="82" y="26"/>
                  </a:lnTo>
                  <a:lnTo>
                    <a:pt x="82" y="24"/>
                  </a:lnTo>
                  <a:lnTo>
                    <a:pt x="82" y="21"/>
                  </a:lnTo>
                  <a:lnTo>
                    <a:pt x="82" y="21"/>
                  </a:lnTo>
                  <a:lnTo>
                    <a:pt x="80" y="21"/>
                  </a:lnTo>
                  <a:lnTo>
                    <a:pt x="80" y="21"/>
                  </a:lnTo>
                  <a:lnTo>
                    <a:pt x="80" y="19"/>
                  </a:lnTo>
                  <a:lnTo>
                    <a:pt x="80" y="16"/>
                  </a:lnTo>
                  <a:lnTo>
                    <a:pt x="80" y="14"/>
                  </a:lnTo>
                  <a:lnTo>
                    <a:pt x="80" y="14"/>
                  </a:lnTo>
                  <a:lnTo>
                    <a:pt x="82" y="14"/>
                  </a:lnTo>
                  <a:lnTo>
                    <a:pt x="82" y="12"/>
                  </a:lnTo>
                  <a:lnTo>
                    <a:pt x="82" y="12"/>
                  </a:lnTo>
                  <a:lnTo>
                    <a:pt x="80" y="9"/>
                  </a:lnTo>
                  <a:lnTo>
                    <a:pt x="78" y="9"/>
                  </a:lnTo>
                  <a:lnTo>
                    <a:pt x="78" y="9"/>
                  </a:lnTo>
                  <a:lnTo>
                    <a:pt x="75" y="9"/>
                  </a:lnTo>
                  <a:lnTo>
                    <a:pt x="73" y="9"/>
                  </a:lnTo>
                  <a:lnTo>
                    <a:pt x="73" y="9"/>
                  </a:lnTo>
                  <a:lnTo>
                    <a:pt x="71" y="7"/>
                  </a:lnTo>
                  <a:lnTo>
                    <a:pt x="71" y="7"/>
                  </a:lnTo>
                  <a:lnTo>
                    <a:pt x="68" y="7"/>
                  </a:lnTo>
                  <a:lnTo>
                    <a:pt x="68" y="7"/>
                  </a:lnTo>
                  <a:lnTo>
                    <a:pt x="68" y="7"/>
                  </a:lnTo>
                  <a:lnTo>
                    <a:pt x="66" y="7"/>
                  </a:lnTo>
                  <a:lnTo>
                    <a:pt x="66" y="7"/>
                  </a:lnTo>
                  <a:lnTo>
                    <a:pt x="63" y="7"/>
                  </a:lnTo>
                  <a:lnTo>
                    <a:pt x="61" y="5"/>
                  </a:lnTo>
                  <a:lnTo>
                    <a:pt x="59" y="5"/>
                  </a:lnTo>
                  <a:lnTo>
                    <a:pt x="59" y="5"/>
                  </a:lnTo>
                  <a:lnTo>
                    <a:pt x="59" y="2"/>
                  </a:lnTo>
                  <a:lnTo>
                    <a:pt x="56" y="2"/>
                  </a:lnTo>
                  <a:lnTo>
                    <a:pt x="54" y="0"/>
                  </a:lnTo>
                  <a:lnTo>
                    <a:pt x="54" y="0"/>
                  </a:lnTo>
                  <a:lnTo>
                    <a:pt x="54" y="0"/>
                  </a:lnTo>
                  <a:lnTo>
                    <a:pt x="52" y="0"/>
                  </a:lnTo>
                  <a:lnTo>
                    <a:pt x="49" y="2"/>
                  </a:lnTo>
                  <a:lnTo>
                    <a:pt x="47" y="2"/>
                  </a:lnTo>
                  <a:lnTo>
                    <a:pt x="47" y="2"/>
                  </a:lnTo>
                  <a:lnTo>
                    <a:pt x="47" y="5"/>
                  </a:lnTo>
                  <a:lnTo>
                    <a:pt x="47" y="7"/>
                  </a:lnTo>
                  <a:lnTo>
                    <a:pt x="47" y="7"/>
                  </a:lnTo>
                  <a:lnTo>
                    <a:pt x="45" y="9"/>
                  </a:lnTo>
                  <a:lnTo>
                    <a:pt x="45" y="9"/>
                  </a:lnTo>
                  <a:lnTo>
                    <a:pt x="45" y="9"/>
                  </a:lnTo>
                  <a:lnTo>
                    <a:pt x="42" y="9"/>
                  </a:lnTo>
                  <a:lnTo>
                    <a:pt x="42" y="9"/>
                  </a:lnTo>
                  <a:lnTo>
                    <a:pt x="40" y="12"/>
                  </a:lnTo>
                  <a:lnTo>
                    <a:pt x="38" y="12"/>
                  </a:lnTo>
                  <a:lnTo>
                    <a:pt x="38" y="12"/>
                  </a:lnTo>
                  <a:lnTo>
                    <a:pt x="35" y="9"/>
                  </a:lnTo>
                  <a:lnTo>
                    <a:pt x="35" y="9"/>
                  </a:lnTo>
                  <a:lnTo>
                    <a:pt x="33" y="12"/>
                  </a:lnTo>
                  <a:lnTo>
                    <a:pt x="33" y="14"/>
                  </a:lnTo>
                  <a:lnTo>
                    <a:pt x="33" y="14"/>
                  </a:lnTo>
                  <a:lnTo>
                    <a:pt x="33" y="16"/>
                  </a:lnTo>
                  <a:lnTo>
                    <a:pt x="33" y="16"/>
                  </a:lnTo>
                  <a:lnTo>
                    <a:pt x="30" y="16"/>
                  </a:lnTo>
                  <a:lnTo>
                    <a:pt x="26" y="12"/>
                  </a:lnTo>
                  <a:lnTo>
                    <a:pt x="26" y="12"/>
                  </a:lnTo>
                  <a:lnTo>
                    <a:pt x="26" y="12"/>
                  </a:lnTo>
                  <a:lnTo>
                    <a:pt x="23" y="14"/>
                  </a:lnTo>
                  <a:lnTo>
                    <a:pt x="23" y="14"/>
                  </a:lnTo>
                  <a:lnTo>
                    <a:pt x="23" y="14"/>
                  </a:lnTo>
                  <a:lnTo>
                    <a:pt x="21" y="12"/>
                  </a:lnTo>
                  <a:lnTo>
                    <a:pt x="21" y="12"/>
                  </a:lnTo>
                  <a:lnTo>
                    <a:pt x="19" y="12"/>
                  </a:lnTo>
                  <a:lnTo>
                    <a:pt x="19" y="12"/>
                  </a:lnTo>
                  <a:lnTo>
                    <a:pt x="19" y="14"/>
                  </a:lnTo>
                  <a:lnTo>
                    <a:pt x="16" y="14"/>
                  </a:lnTo>
                  <a:lnTo>
                    <a:pt x="16" y="16"/>
                  </a:lnTo>
                  <a:lnTo>
                    <a:pt x="16" y="16"/>
                  </a:lnTo>
                  <a:lnTo>
                    <a:pt x="16" y="19"/>
                  </a:lnTo>
                  <a:lnTo>
                    <a:pt x="14" y="19"/>
                  </a:lnTo>
                  <a:lnTo>
                    <a:pt x="14" y="16"/>
                  </a:lnTo>
                  <a:lnTo>
                    <a:pt x="12" y="16"/>
                  </a:lnTo>
                  <a:lnTo>
                    <a:pt x="12" y="14"/>
                  </a:lnTo>
                  <a:lnTo>
                    <a:pt x="9" y="14"/>
                  </a:lnTo>
                  <a:lnTo>
                    <a:pt x="7" y="12"/>
                  </a:lnTo>
                  <a:lnTo>
                    <a:pt x="5" y="12"/>
                  </a:lnTo>
                  <a:lnTo>
                    <a:pt x="5" y="12"/>
                  </a:lnTo>
                  <a:lnTo>
                    <a:pt x="5" y="12"/>
                  </a:lnTo>
                  <a:lnTo>
                    <a:pt x="5" y="12"/>
                  </a:lnTo>
                  <a:lnTo>
                    <a:pt x="2" y="14"/>
                  </a:lnTo>
                  <a:lnTo>
                    <a:pt x="2" y="16"/>
                  </a:lnTo>
                  <a:lnTo>
                    <a:pt x="2" y="16"/>
                  </a:lnTo>
                  <a:lnTo>
                    <a:pt x="0" y="19"/>
                  </a:lnTo>
                  <a:lnTo>
                    <a:pt x="0" y="19"/>
                  </a:lnTo>
                  <a:lnTo>
                    <a:pt x="0" y="21"/>
                  </a:lnTo>
                  <a:lnTo>
                    <a:pt x="2" y="24"/>
                  </a:lnTo>
                  <a:lnTo>
                    <a:pt x="7" y="26"/>
                  </a:lnTo>
                  <a:lnTo>
                    <a:pt x="7" y="28"/>
                  </a:lnTo>
                  <a:lnTo>
                    <a:pt x="9" y="28"/>
                  </a:lnTo>
                  <a:lnTo>
                    <a:pt x="9" y="31"/>
                  </a:lnTo>
                  <a:lnTo>
                    <a:pt x="12" y="33"/>
                  </a:lnTo>
                  <a:lnTo>
                    <a:pt x="12" y="33"/>
                  </a:lnTo>
                  <a:lnTo>
                    <a:pt x="12" y="35"/>
                  </a:lnTo>
                  <a:lnTo>
                    <a:pt x="12" y="35"/>
                  </a:lnTo>
                  <a:lnTo>
                    <a:pt x="12" y="33"/>
                  </a:lnTo>
                  <a:lnTo>
                    <a:pt x="14" y="33"/>
                  </a:lnTo>
                  <a:lnTo>
                    <a:pt x="14" y="31"/>
                  </a:lnTo>
                  <a:lnTo>
                    <a:pt x="14" y="31"/>
                  </a:lnTo>
                  <a:lnTo>
                    <a:pt x="14" y="33"/>
                  </a:lnTo>
                  <a:lnTo>
                    <a:pt x="16" y="33"/>
                  </a:lnTo>
                  <a:lnTo>
                    <a:pt x="16" y="33"/>
                  </a:lnTo>
                  <a:lnTo>
                    <a:pt x="16" y="33"/>
                  </a:lnTo>
                  <a:lnTo>
                    <a:pt x="16" y="35"/>
                  </a:lnTo>
                  <a:lnTo>
                    <a:pt x="16" y="35"/>
                  </a:lnTo>
                  <a:lnTo>
                    <a:pt x="16" y="38"/>
                  </a:lnTo>
                  <a:lnTo>
                    <a:pt x="16" y="40"/>
                  </a:lnTo>
                  <a:lnTo>
                    <a:pt x="16" y="42"/>
                  </a:lnTo>
                  <a:lnTo>
                    <a:pt x="16" y="42"/>
                  </a:lnTo>
                  <a:lnTo>
                    <a:pt x="16" y="45"/>
                  </a:lnTo>
                  <a:lnTo>
                    <a:pt x="21" y="52"/>
                  </a:lnTo>
                  <a:lnTo>
                    <a:pt x="23" y="52"/>
                  </a:lnTo>
                  <a:lnTo>
                    <a:pt x="28" y="54"/>
                  </a:lnTo>
                  <a:lnTo>
                    <a:pt x="30" y="54"/>
                  </a:lnTo>
                  <a:lnTo>
                    <a:pt x="33" y="54"/>
                  </a:lnTo>
                  <a:lnTo>
                    <a:pt x="33" y="54"/>
                  </a:lnTo>
                  <a:lnTo>
                    <a:pt x="35" y="52"/>
                  </a:lnTo>
                  <a:lnTo>
                    <a:pt x="35" y="52"/>
                  </a:lnTo>
                  <a:lnTo>
                    <a:pt x="40" y="50"/>
                  </a:lnTo>
                  <a:lnTo>
                    <a:pt x="40" y="50"/>
                  </a:lnTo>
                  <a:lnTo>
                    <a:pt x="42" y="50"/>
                  </a:lnTo>
                  <a:lnTo>
                    <a:pt x="45" y="52"/>
                  </a:lnTo>
                  <a:lnTo>
                    <a:pt x="47" y="54"/>
                  </a:lnTo>
                  <a:lnTo>
                    <a:pt x="49" y="54"/>
                  </a:lnTo>
                  <a:lnTo>
                    <a:pt x="49" y="57"/>
                  </a:lnTo>
                  <a:lnTo>
                    <a:pt x="49" y="57"/>
                  </a:lnTo>
                  <a:lnTo>
                    <a:pt x="49" y="59"/>
                  </a:lnTo>
                  <a:lnTo>
                    <a:pt x="47" y="59"/>
                  </a:lnTo>
                  <a:lnTo>
                    <a:pt x="47" y="59"/>
                  </a:lnTo>
                  <a:lnTo>
                    <a:pt x="47" y="61"/>
                  </a:lnTo>
                  <a:lnTo>
                    <a:pt x="47" y="61"/>
                  </a:lnTo>
                  <a:lnTo>
                    <a:pt x="49" y="61"/>
                  </a:lnTo>
                  <a:lnTo>
                    <a:pt x="52" y="61"/>
                  </a:lnTo>
                  <a:lnTo>
                    <a:pt x="52" y="64"/>
                  </a:lnTo>
                  <a:lnTo>
                    <a:pt x="52" y="64"/>
                  </a:lnTo>
                  <a:lnTo>
                    <a:pt x="52" y="64"/>
                  </a:lnTo>
                  <a:lnTo>
                    <a:pt x="52" y="66"/>
                  </a:lnTo>
                  <a:lnTo>
                    <a:pt x="54" y="66"/>
                  </a:lnTo>
                  <a:lnTo>
                    <a:pt x="56" y="66"/>
                  </a:lnTo>
                  <a:lnTo>
                    <a:pt x="56" y="66"/>
                  </a:lnTo>
                  <a:lnTo>
                    <a:pt x="56" y="68"/>
                  </a:lnTo>
                  <a:lnTo>
                    <a:pt x="56" y="68"/>
                  </a:lnTo>
                  <a:lnTo>
                    <a:pt x="56" y="71"/>
                  </a:lnTo>
                  <a:lnTo>
                    <a:pt x="56" y="71"/>
                  </a:lnTo>
                  <a:lnTo>
                    <a:pt x="56" y="73"/>
                  </a:lnTo>
                  <a:lnTo>
                    <a:pt x="54" y="76"/>
                  </a:lnTo>
                  <a:lnTo>
                    <a:pt x="52" y="78"/>
                  </a:lnTo>
                  <a:lnTo>
                    <a:pt x="52" y="78"/>
                  </a:lnTo>
                  <a:lnTo>
                    <a:pt x="47" y="76"/>
                  </a:lnTo>
                  <a:lnTo>
                    <a:pt x="45" y="76"/>
                  </a:lnTo>
                  <a:lnTo>
                    <a:pt x="42" y="76"/>
                  </a:lnTo>
                  <a:lnTo>
                    <a:pt x="42" y="76"/>
                  </a:lnTo>
                  <a:lnTo>
                    <a:pt x="42" y="78"/>
                  </a:lnTo>
                  <a:lnTo>
                    <a:pt x="42" y="78"/>
                  </a:lnTo>
                  <a:lnTo>
                    <a:pt x="42" y="80"/>
                  </a:lnTo>
                  <a:lnTo>
                    <a:pt x="42" y="83"/>
                  </a:lnTo>
                  <a:lnTo>
                    <a:pt x="42" y="83"/>
                  </a:lnTo>
                  <a:lnTo>
                    <a:pt x="40" y="83"/>
                  </a:lnTo>
                  <a:lnTo>
                    <a:pt x="40" y="85"/>
                  </a:lnTo>
                  <a:lnTo>
                    <a:pt x="42" y="85"/>
                  </a:lnTo>
                  <a:lnTo>
                    <a:pt x="42" y="85"/>
                  </a:lnTo>
                  <a:lnTo>
                    <a:pt x="45" y="87"/>
                  </a:lnTo>
                  <a:lnTo>
                    <a:pt x="52" y="92"/>
                  </a:lnTo>
                  <a:lnTo>
                    <a:pt x="54" y="92"/>
                  </a:lnTo>
                  <a:lnTo>
                    <a:pt x="54" y="94"/>
                  </a:lnTo>
                  <a:lnTo>
                    <a:pt x="56" y="94"/>
                  </a:lnTo>
                  <a:lnTo>
                    <a:pt x="63" y="97"/>
                  </a:lnTo>
                  <a:lnTo>
                    <a:pt x="66" y="97"/>
                  </a:lnTo>
                  <a:lnTo>
                    <a:pt x="66" y="99"/>
                  </a:lnTo>
                  <a:lnTo>
                    <a:pt x="66" y="99"/>
                  </a:lnTo>
                  <a:lnTo>
                    <a:pt x="66" y="99"/>
                  </a:lnTo>
                  <a:lnTo>
                    <a:pt x="66" y="102"/>
                  </a:lnTo>
                  <a:lnTo>
                    <a:pt x="66" y="102"/>
                  </a:lnTo>
                  <a:lnTo>
                    <a:pt x="66" y="104"/>
                  </a:lnTo>
                  <a:lnTo>
                    <a:pt x="66" y="104"/>
                  </a:lnTo>
                  <a:lnTo>
                    <a:pt x="68" y="106"/>
                  </a:lnTo>
                  <a:lnTo>
                    <a:pt x="71" y="109"/>
                  </a:lnTo>
                  <a:lnTo>
                    <a:pt x="71" y="109"/>
                  </a:lnTo>
                  <a:lnTo>
                    <a:pt x="73" y="109"/>
                  </a:lnTo>
                  <a:lnTo>
                    <a:pt x="73" y="111"/>
                  </a:lnTo>
                  <a:lnTo>
                    <a:pt x="75" y="111"/>
                  </a:lnTo>
                  <a:lnTo>
                    <a:pt x="75" y="113"/>
                  </a:lnTo>
                  <a:lnTo>
                    <a:pt x="78" y="116"/>
                  </a:lnTo>
                  <a:lnTo>
                    <a:pt x="78" y="118"/>
                  </a:lnTo>
                  <a:lnTo>
                    <a:pt x="80" y="118"/>
                  </a:lnTo>
                  <a:lnTo>
                    <a:pt x="82" y="123"/>
                  </a:lnTo>
                  <a:lnTo>
                    <a:pt x="85" y="123"/>
                  </a:lnTo>
                  <a:lnTo>
                    <a:pt x="85" y="125"/>
                  </a:lnTo>
                  <a:lnTo>
                    <a:pt x="89" y="128"/>
                  </a:lnTo>
                  <a:lnTo>
                    <a:pt x="92" y="130"/>
                  </a:lnTo>
                  <a:lnTo>
                    <a:pt x="94" y="132"/>
                  </a:lnTo>
                  <a:lnTo>
                    <a:pt x="94" y="132"/>
                  </a:lnTo>
                  <a:lnTo>
                    <a:pt x="94" y="135"/>
                  </a:lnTo>
                  <a:lnTo>
                    <a:pt x="96" y="135"/>
                  </a:lnTo>
                  <a:lnTo>
                    <a:pt x="96" y="137"/>
                  </a:lnTo>
                  <a:lnTo>
                    <a:pt x="96" y="139"/>
                  </a:lnTo>
                  <a:lnTo>
                    <a:pt x="99" y="142"/>
                  </a:lnTo>
                  <a:lnTo>
                    <a:pt x="99" y="142"/>
                  </a:lnTo>
                  <a:lnTo>
                    <a:pt x="99" y="144"/>
                  </a:lnTo>
                  <a:lnTo>
                    <a:pt x="101" y="144"/>
                  </a:lnTo>
                  <a:lnTo>
                    <a:pt x="101" y="144"/>
                  </a:lnTo>
                  <a:lnTo>
                    <a:pt x="101" y="144"/>
                  </a:lnTo>
                  <a:lnTo>
                    <a:pt x="104" y="142"/>
                  </a:lnTo>
                  <a:lnTo>
                    <a:pt x="104" y="144"/>
                  </a:lnTo>
                  <a:lnTo>
                    <a:pt x="104" y="146"/>
                  </a:lnTo>
                  <a:lnTo>
                    <a:pt x="104" y="146"/>
                  </a:lnTo>
                  <a:lnTo>
                    <a:pt x="106" y="146"/>
                  </a:lnTo>
                  <a:lnTo>
                    <a:pt x="108" y="149"/>
                  </a:lnTo>
                  <a:lnTo>
                    <a:pt x="111" y="151"/>
                  </a:lnTo>
                  <a:lnTo>
                    <a:pt x="113" y="151"/>
                  </a:lnTo>
                  <a:lnTo>
                    <a:pt x="113" y="154"/>
                  </a:lnTo>
                  <a:lnTo>
                    <a:pt x="113" y="154"/>
                  </a:lnTo>
                  <a:lnTo>
                    <a:pt x="115" y="154"/>
                  </a:lnTo>
                  <a:lnTo>
                    <a:pt x="115" y="156"/>
                  </a:lnTo>
                  <a:lnTo>
                    <a:pt x="113" y="156"/>
                  </a:lnTo>
                  <a:lnTo>
                    <a:pt x="111" y="158"/>
                  </a:lnTo>
                  <a:lnTo>
                    <a:pt x="111" y="158"/>
                  </a:lnTo>
                  <a:lnTo>
                    <a:pt x="111" y="158"/>
                  </a:lnTo>
                  <a:lnTo>
                    <a:pt x="113" y="161"/>
                  </a:lnTo>
                  <a:lnTo>
                    <a:pt x="113" y="163"/>
                  </a:lnTo>
                  <a:lnTo>
                    <a:pt x="115" y="163"/>
                  </a:lnTo>
                  <a:lnTo>
                    <a:pt x="118" y="165"/>
                  </a:lnTo>
                  <a:lnTo>
                    <a:pt x="118" y="168"/>
                  </a:lnTo>
                  <a:lnTo>
                    <a:pt x="120" y="168"/>
                  </a:lnTo>
                  <a:lnTo>
                    <a:pt x="120" y="170"/>
                  </a:lnTo>
                  <a:lnTo>
                    <a:pt x="120" y="170"/>
                  </a:lnTo>
                  <a:lnTo>
                    <a:pt x="120" y="172"/>
                  </a:lnTo>
                  <a:lnTo>
                    <a:pt x="120" y="175"/>
                  </a:lnTo>
                  <a:lnTo>
                    <a:pt x="118" y="175"/>
                  </a:lnTo>
                  <a:lnTo>
                    <a:pt x="118" y="175"/>
                  </a:lnTo>
                  <a:lnTo>
                    <a:pt x="120" y="177"/>
                  </a:lnTo>
                  <a:lnTo>
                    <a:pt x="120" y="177"/>
                  </a:lnTo>
                  <a:lnTo>
                    <a:pt x="120" y="180"/>
                  </a:lnTo>
                  <a:lnTo>
                    <a:pt x="120" y="182"/>
                  </a:lnTo>
                  <a:lnTo>
                    <a:pt x="120" y="182"/>
                  </a:lnTo>
                  <a:lnTo>
                    <a:pt x="120" y="184"/>
                  </a:lnTo>
                  <a:lnTo>
                    <a:pt x="120" y="187"/>
                  </a:lnTo>
                  <a:lnTo>
                    <a:pt x="118" y="189"/>
                  </a:lnTo>
                  <a:lnTo>
                    <a:pt x="118" y="189"/>
                  </a:lnTo>
                  <a:lnTo>
                    <a:pt x="118" y="194"/>
                  </a:lnTo>
                  <a:lnTo>
                    <a:pt x="118" y="194"/>
                  </a:lnTo>
                  <a:lnTo>
                    <a:pt x="118" y="196"/>
                  </a:lnTo>
                  <a:lnTo>
                    <a:pt x="120" y="196"/>
                  </a:lnTo>
                  <a:lnTo>
                    <a:pt x="120" y="201"/>
                  </a:lnTo>
                  <a:lnTo>
                    <a:pt x="122" y="203"/>
                  </a:lnTo>
                  <a:lnTo>
                    <a:pt x="125" y="206"/>
                  </a:lnTo>
                  <a:lnTo>
                    <a:pt x="125" y="208"/>
                  </a:lnTo>
                  <a:lnTo>
                    <a:pt x="122" y="213"/>
                  </a:lnTo>
                  <a:lnTo>
                    <a:pt x="122" y="217"/>
                  </a:lnTo>
                  <a:lnTo>
                    <a:pt x="122" y="220"/>
                  </a:lnTo>
                  <a:lnTo>
                    <a:pt x="125" y="220"/>
                  </a:lnTo>
                  <a:lnTo>
                    <a:pt x="125" y="224"/>
                  </a:lnTo>
                  <a:lnTo>
                    <a:pt x="125" y="227"/>
                  </a:lnTo>
                  <a:lnTo>
                    <a:pt x="125" y="229"/>
                  </a:lnTo>
                  <a:lnTo>
                    <a:pt x="125" y="232"/>
                  </a:lnTo>
                  <a:lnTo>
                    <a:pt x="122" y="232"/>
                  </a:lnTo>
                  <a:lnTo>
                    <a:pt x="122" y="234"/>
                  </a:lnTo>
                  <a:lnTo>
                    <a:pt x="122" y="232"/>
                  </a:lnTo>
                  <a:lnTo>
                    <a:pt x="120" y="232"/>
                  </a:lnTo>
                  <a:lnTo>
                    <a:pt x="120" y="232"/>
                  </a:lnTo>
                  <a:lnTo>
                    <a:pt x="118" y="232"/>
                  </a:lnTo>
                  <a:lnTo>
                    <a:pt x="115" y="234"/>
                  </a:lnTo>
                  <a:lnTo>
                    <a:pt x="115" y="236"/>
                  </a:lnTo>
                  <a:lnTo>
                    <a:pt x="111" y="236"/>
                  </a:lnTo>
                  <a:lnTo>
                    <a:pt x="111" y="239"/>
                  </a:lnTo>
                  <a:lnTo>
                    <a:pt x="108" y="239"/>
                  </a:lnTo>
                  <a:lnTo>
                    <a:pt x="106" y="239"/>
                  </a:lnTo>
                  <a:lnTo>
                    <a:pt x="106" y="239"/>
                  </a:lnTo>
                  <a:lnTo>
                    <a:pt x="106" y="241"/>
                  </a:lnTo>
                  <a:lnTo>
                    <a:pt x="106" y="243"/>
                  </a:lnTo>
                  <a:lnTo>
                    <a:pt x="106" y="246"/>
                  </a:lnTo>
                  <a:lnTo>
                    <a:pt x="106" y="246"/>
                  </a:lnTo>
                  <a:lnTo>
                    <a:pt x="104" y="246"/>
                  </a:lnTo>
                  <a:lnTo>
                    <a:pt x="101" y="243"/>
                  </a:lnTo>
                  <a:lnTo>
                    <a:pt x="99" y="243"/>
                  </a:lnTo>
                  <a:lnTo>
                    <a:pt x="99" y="243"/>
                  </a:lnTo>
                  <a:lnTo>
                    <a:pt x="96" y="246"/>
                  </a:lnTo>
                  <a:lnTo>
                    <a:pt x="96" y="246"/>
                  </a:lnTo>
                  <a:lnTo>
                    <a:pt x="96" y="246"/>
                  </a:lnTo>
                  <a:lnTo>
                    <a:pt x="94" y="246"/>
                  </a:lnTo>
                  <a:lnTo>
                    <a:pt x="94" y="246"/>
                  </a:lnTo>
                  <a:lnTo>
                    <a:pt x="94" y="248"/>
                  </a:lnTo>
                  <a:lnTo>
                    <a:pt x="96" y="248"/>
                  </a:lnTo>
                  <a:lnTo>
                    <a:pt x="96" y="250"/>
                  </a:lnTo>
                  <a:lnTo>
                    <a:pt x="96" y="253"/>
                  </a:lnTo>
                  <a:lnTo>
                    <a:pt x="96" y="255"/>
                  </a:lnTo>
                  <a:lnTo>
                    <a:pt x="101" y="258"/>
                  </a:lnTo>
                  <a:lnTo>
                    <a:pt x="101" y="258"/>
                  </a:lnTo>
                  <a:lnTo>
                    <a:pt x="101" y="260"/>
                  </a:lnTo>
                  <a:lnTo>
                    <a:pt x="101" y="262"/>
                  </a:lnTo>
                  <a:lnTo>
                    <a:pt x="101" y="265"/>
                  </a:lnTo>
                  <a:lnTo>
                    <a:pt x="101" y="265"/>
                  </a:lnTo>
                  <a:lnTo>
                    <a:pt x="99" y="262"/>
                  </a:lnTo>
                  <a:lnTo>
                    <a:pt x="99" y="262"/>
                  </a:lnTo>
                  <a:lnTo>
                    <a:pt x="96" y="262"/>
                  </a:lnTo>
                  <a:lnTo>
                    <a:pt x="96" y="262"/>
                  </a:lnTo>
                  <a:lnTo>
                    <a:pt x="96" y="260"/>
                  </a:lnTo>
                  <a:lnTo>
                    <a:pt x="94" y="260"/>
                  </a:lnTo>
                  <a:lnTo>
                    <a:pt x="94" y="260"/>
                  </a:lnTo>
                  <a:lnTo>
                    <a:pt x="92" y="260"/>
                  </a:lnTo>
                  <a:lnTo>
                    <a:pt x="89" y="260"/>
                  </a:lnTo>
                  <a:lnTo>
                    <a:pt x="87" y="260"/>
                  </a:lnTo>
                  <a:lnTo>
                    <a:pt x="87" y="260"/>
                  </a:lnTo>
                  <a:lnTo>
                    <a:pt x="87" y="262"/>
                  </a:lnTo>
                  <a:lnTo>
                    <a:pt x="87" y="262"/>
                  </a:lnTo>
                  <a:lnTo>
                    <a:pt x="85" y="262"/>
                  </a:lnTo>
                  <a:lnTo>
                    <a:pt x="82" y="262"/>
                  </a:lnTo>
                  <a:lnTo>
                    <a:pt x="80" y="262"/>
                  </a:lnTo>
                  <a:lnTo>
                    <a:pt x="82" y="265"/>
                  </a:lnTo>
                  <a:lnTo>
                    <a:pt x="82" y="265"/>
                  </a:lnTo>
                  <a:lnTo>
                    <a:pt x="82" y="265"/>
                  </a:lnTo>
                  <a:lnTo>
                    <a:pt x="80" y="267"/>
                  </a:lnTo>
                  <a:lnTo>
                    <a:pt x="80" y="267"/>
                  </a:lnTo>
                  <a:lnTo>
                    <a:pt x="78" y="269"/>
                  </a:lnTo>
                  <a:lnTo>
                    <a:pt x="78" y="269"/>
                  </a:lnTo>
                  <a:lnTo>
                    <a:pt x="75" y="269"/>
                  </a:lnTo>
                  <a:lnTo>
                    <a:pt x="73" y="269"/>
                  </a:lnTo>
                  <a:lnTo>
                    <a:pt x="73" y="272"/>
                  </a:lnTo>
                  <a:lnTo>
                    <a:pt x="71" y="272"/>
                  </a:lnTo>
                  <a:lnTo>
                    <a:pt x="71" y="272"/>
                  </a:lnTo>
                  <a:lnTo>
                    <a:pt x="73" y="274"/>
                  </a:lnTo>
                  <a:lnTo>
                    <a:pt x="75" y="274"/>
                  </a:lnTo>
                  <a:lnTo>
                    <a:pt x="75" y="277"/>
                  </a:lnTo>
                  <a:lnTo>
                    <a:pt x="75" y="277"/>
                  </a:lnTo>
                  <a:lnTo>
                    <a:pt x="78" y="277"/>
                  </a:lnTo>
                  <a:lnTo>
                    <a:pt x="78" y="277"/>
                  </a:lnTo>
                  <a:lnTo>
                    <a:pt x="80" y="279"/>
                  </a:lnTo>
                  <a:lnTo>
                    <a:pt x="82" y="279"/>
                  </a:lnTo>
                  <a:lnTo>
                    <a:pt x="82" y="279"/>
                  </a:lnTo>
                  <a:lnTo>
                    <a:pt x="85" y="281"/>
                  </a:lnTo>
                  <a:lnTo>
                    <a:pt x="85" y="281"/>
                  </a:lnTo>
                  <a:lnTo>
                    <a:pt x="85" y="284"/>
                  </a:lnTo>
                  <a:lnTo>
                    <a:pt x="82" y="284"/>
                  </a:lnTo>
                  <a:lnTo>
                    <a:pt x="80" y="284"/>
                  </a:lnTo>
                  <a:lnTo>
                    <a:pt x="80" y="288"/>
                  </a:lnTo>
                  <a:lnTo>
                    <a:pt x="80" y="298"/>
                  </a:lnTo>
                  <a:lnTo>
                    <a:pt x="80" y="305"/>
                  </a:lnTo>
                  <a:lnTo>
                    <a:pt x="82" y="307"/>
                  </a:lnTo>
                  <a:lnTo>
                    <a:pt x="80" y="310"/>
                  </a:lnTo>
                  <a:lnTo>
                    <a:pt x="82" y="310"/>
                  </a:lnTo>
                  <a:lnTo>
                    <a:pt x="87" y="310"/>
                  </a:lnTo>
                  <a:lnTo>
                    <a:pt x="87" y="307"/>
                  </a:lnTo>
                  <a:lnTo>
                    <a:pt x="89" y="305"/>
                  </a:lnTo>
                  <a:lnTo>
                    <a:pt x="92" y="303"/>
                  </a:lnTo>
                  <a:lnTo>
                    <a:pt x="92" y="300"/>
                  </a:lnTo>
                  <a:lnTo>
                    <a:pt x="104" y="293"/>
                  </a:lnTo>
                  <a:lnTo>
                    <a:pt x="106" y="293"/>
                  </a:lnTo>
                  <a:lnTo>
                    <a:pt x="106" y="291"/>
                  </a:lnTo>
                  <a:lnTo>
                    <a:pt x="104" y="288"/>
                  </a:lnTo>
                  <a:lnTo>
                    <a:pt x="104" y="288"/>
                  </a:lnTo>
                  <a:lnTo>
                    <a:pt x="96" y="281"/>
                  </a:lnTo>
                  <a:lnTo>
                    <a:pt x="99" y="281"/>
                  </a:lnTo>
                  <a:lnTo>
                    <a:pt x="106" y="288"/>
                  </a:lnTo>
                  <a:lnTo>
                    <a:pt x="108" y="291"/>
                  </a:lnTo>
                  <a:lnTo>
                    <a:pt x="111" y="291"/>
                  </a:lnTo>
                  <a:lnTo>
                    <a:pt x="111" y="288"/>
                  </a:lnTo>
                  <a:lnTo>
                    <a:pt x="111" y="288"/>
                  </a:lnTo>
                  <a:lnTo>
                    <a:pt x="111" y="286"/>
                  </a:lnTo>
                  <a:lnTo>
                    <a:pt x="111" y="284"/>
                  </a:lnTo>
                  <a:lnTo>
                    <a:pt x="104" y="277"/>
                  </a:lnTo>
                  <a:lnTo>
                    <a:pt x="104" y="277"/>
                  </a:lnTo>
                  <a:lnTo>
                    <a:pt x="108" y="281"/>
                  </a:lnTo>
                  <a:lnTo>
                    <a:pt x="111" y="284"/>
                  </a:lnTo>
                  <a:lnTo>
                    <a:pt x="111" y="284"/>
                  </a:lnTo>
                  <a:lnTo>
                    <a:pt x="113" y="284"/>
                  </a:lnTo>
                  <a:lnTo>
                    <a:pt x="113" y="281"/>
                  </a:lnTo>
                  <a:lnTo>
                    <a:pt x="113" y="281"/>
                  </a:lnTo>
                  <a:lnTo>
                    <a:pt x="113" y="279"/>
                  </a:lnTo>
                  <a:lnTo>
                    <a:pt x="115" y="279"/>
                  </a:lnTo>
                  <a:lnTo>
                    <a:pt x="115" y="277"/>
                  </a:lnTo>
                  <a:lnTo>
                    <a:pt x="113" y="277"/>
                  </a:lnTo>
                  <a:lnTo>
                    <a:pt x="111" y="277"/>
                  </a:lnTo>
                  <a:lnTo>
                    <a:pt x="108" y="274"/>
                  </a:lnTo>
                  <a:lnTo>
                    <a:pt x="108" y="274"/>
                  </a:lnTo>
                  <a:lnTo>
                    <a:pt x="113" y="274"/>
                  </a:lnTo>
                  <a:lnTo>
                    <a:pt x="113" y="274"/>
                  </a:lnTo>
                  <a:lnTo>
                    <a:pt x="115" y="274"/>
                  </a:lnTo>
                  <a:lnTo>
                    <a:pt x="115" y="272"/>
                  </a:lnTo>
                  <a:lnTo>
                    <a:pt x="113" y="272"/>
                  </a:lnTo>
                  <a:lnTo>
                    <a:pt x="113" y="272"/>
                  </a:lnTo>
                  <a:lnTo>
                    <a:pt x="111" y="272"/>
                  </a:lnTo>
                  <a:lnTo>
                    <a:pt x="111" y="272"/>
                  </a:lnTo>
                  <a:lnTo>
                    <a:pt x="113" y="269"/>
                  </a:lnTo>
                  <a:lnTo>
                    <a:pt x="115" y="272"/>
                  </a:lnTo>
                  <a:lnTo>
                    <a:pt x="118" y="272"/>
                  </a:lnTo>
                  <a:lnTo>
                    <a:pt x="118" y="272"/>
                  </a:lnTo>
                  <a:lnTo>
                    <a:pt x="118" y="272"/>
                  </a:lnTo>
                  <a:lnTo>
                    <a:pt x="118" y="267"/>
                  </a:lnTo>
                  <a:lnTo>
                    <a:pt x="118" y="267"/>
                  </a:lnTo>
                  <a:lnTo>
                    <a:pt x="118" y="267"/>
                  </a:lnTo>
                  <a:lnTo>
                    <a:pt x="118" y="269"/>
                  </a:lnTo>
                  <a:lnTo>
                    <a:pt x="120" y="269"/>
                  </a:lnTo>
                  <a:lnTo>
                    <a:pt x="122" y="272"/>
                  </a:lnTo>
                  <a:lnTo>
                    <a:pt x="122" y="272"/>
                  </a:lnTo>
                  <a:lnTo>
                    <a:pt x="122" y="272"/>
                  </a:lnTo>
                  <a:lnTo>
                    <a:pt x="125" y="272"/>
                  </a:lnTo>
                  <a:lnTo>
                    <a:pt x="127" y="269"/>
                  </a:lnTo>
                  <a:lnTo>
                    <a:pt x="129" y="269"/>
                  </a:lnTo>
                  <a:lnTo>
                    <a:pt x="134" y="265"/>
                  </a:lnTo>
                  <a:lnTo>
                    <a:pt x="137" y="265"/>
                  </a:lnTo>
                  <a:lnTo>
                    <a:pt x="139" y="262"/>
                  </a:lnTo>
                  <a:lnTo>
                    <a:pt x="139" y="262"/>
                  </a:lnTo>
                  <a:lnTo>
                    <a:pt x="141" y="260"/>
                  </a:lnTo>
                  <a:lnTo>
                    <a:pt x="144" y="258"/>
                  </a:lnTo>
                  <a:lnTo>
                    <a:pt x="146" y="255"/>
                  </a:lnTo>
                  <a:lnTo>
                    <a:pt x="148" y="255"/>
                  </a:lnTo>
                  <a:lnTo>
                    <a:pt x="151" y="253"/>
                  </a:lnTo>
                  <a:lnTo>
                    <a:pt x="153" y="253"/>
                  </a:lnTo>
                  <a:lnTo>
                    <a:pt x="153" y="250"/>
                  </a:lnTo>
                  <a:lnTo>
                    <a:pt x="153" y="248"/>
                  </a:lnTo>
                  <a:lnTo>
                    <a:pt x="155" y="246"/>
                  </a:lnTo>
                  <a:lnTo>
                    <a:pt x="155" y="246"/>
                  </a:lnTo>
                  <a:lnTo>
                    <a:pt x="158" y="243"/>
                  </a:lnTo>
                  <a:lnTo>
                    <a:pt x="158" y="243"/>
                  </a:lnTo>
                  <a:lnTo>
                    <a:pt x="155" y="241"/>
                  </a:lnTo>
                  <a:lnTo>
                    <a:pt x="155" y="241"/>
                  </a:lnTo>
                  <a:lnTo>
                    <a:pt x="155" y="239"/>
                  </a:lnTo>
                  <a:lnTo>
                    <a:pt x="155" y="239"/>
                  </a:lnTo>
                  <a:lnTo>
                    <a:pt x="158" y="239"/>
                  </a:lnTo>
                  <a:lnTo>
                    <a:pt x="158" y="239"/>
                  </a:lnTo>
                  <a:lnTo>
                    <a:pt x="158" y="241"/>
                  </a:lnTo>
                  <a:lnTo>
                    <a:pt x="158" y="239"/>
                  </a:lnTo>
                  <a:lnTo>
                    <a:pt x="158" y="239"/>
                  </a:lnTo>
                  <a:lnTo>
                    <a:pt x="155" y="236"/>
                  </a:lnTo>
                  <a:lnTo>
                    <a:pt x="155" y="229"/>
                  </a:lnTo>
                  <a:lnTo>
                    <a:pt x="158" y="229"/>
                  </a:lnTo>
                  <a:lnTo>
                    <a:pt x="155" y="224"/>
                  </a:lnTo>
                  <a:lnTo>
                    <a:pt x="155" y="224"/>
                  </a:lnTo>
                  <a:lnTo>
                    <a:pt x="158" y="22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3" name="Freeform 209"/>
            <p:cNvSpPr>
              <a:spLocks noEditPoints="1"/>
            </p:cNvSpPr>
            <p:nvPr userDrawn="1"/>
          </p:nvSpPr>
          <p:spPr bwMode="auto">
            <a:xfrm>
              <a:off x="2295" y="2550"/>
              <a:ext cx="250" cy="243"/>
            </a:xfrm>
            <a:custGeom>
              <a:avLst/>
              <a:gdLst>
                <a:gd name="T0" fmla="*/ 231 w 250"/>
                <a:gd name="T1" fmla="*/ 69 h 243"/>
                <a:gd name="T2" fmla="*/ 234 w 250"/>
                <a:gd name="T3" fmla="*/ 64 h 243"/>
                <a:gd name="T4" fmla="*/ 175 w 250"/>
                <a:gd name="T5" fmla="*/ 28 h 243"/>
                <a:gd name="T6" fmla="*/ 172 w 250"/>
                <a:gd name="T7" fmla="*/ 26 h 243"/>
                <a:gd name="T8" fmla="*/ 246 w 250"/>
                <a:gd name="T9" fmla="*/ 78 h 243"/>
                <a:gd name="T10" fmla="*/ 222 w 250"/>
                <a:gd name="T11" fmla="*/ 80 h 243"/>
                <a:gd name="T12" fmla="*/ 227 w 250"/>
                <a:gd name="T13" fmla="*/ 66 h 243"/>
                <a:gd name="T14" fmla="*/ 224 w 250"/>
                <a:gd name="T15" fmla="*/ 54 h 243"/>
                <a:gd name="T16" fmla="*/ 215 w 250"/>
                <a:gd name="T17" fmla="*/ 52 h 243"/>
                <a:gd name="T18" fmla="*/ 208 w 250"/>
                <a:gd name="T19" fmla="*/ 50 h 243"/>
                <a:gd name="T20" fmla="*/ 203 w 250"/>
                <a:gd name="T21" fmla="*/ 47 h 243"/>
                <a:gd name="T22" fmla="*/ 198 w 250"/>
                <a:gd name="T23" fmla="*/ 43 h 243"/>
                <a:gd name="T24" fmla="*/ 205 w 250"/>
                <a:gd name="T25" fmla="*/ 35 h 243"/>
                <a:gd name="T26" fmla="*/ 189 w 250"/>
                <a:gd name="T27" fmla="*/ 31 h 243"/>
                <a:gd name="T28" fmla="*/ 180 w 250"/>
                <a:gd name="T29" fmla="*/ 38 h 243"/>
                <a:gd name="T30" fmla="*/ 144 w 250"/>
                <a:gd name="T31" fmla="*/ 43 h 243"/>
                <a:gd name="T32" fmla="*/ 104 w 250"/>
                <a:gd name="T33" fmla="*/ 38 h 243"/>
                <a:gd name="T34" fmla="*/ 90 w 250"/>
                <a:gd name="T35" fmla="*/ 19 h 243"/>
                <a:gd name="T36" fmla="*/ 69 w 250"/>
                <a:gd name="T37" fmla="*/ 7 h 243"/>
                <a:gd name="T38" fmla="*/ 62 w 250"/>
                <a:gd name="T39" fmla="*/ 9 h 243"/>
                <a:gd name="T40" fmla="*/ 64 w 250"/>
                <a:gd name="T41" fmla="*/ 14 h 243"/>
                <a:gd name="T42" fmla="*/ 36 w 250"/>
                <a:gd name="T43" fmla="*/ 33 h 243"/>
                <a:gd name="T44" fmla="*/ 43 w 250"/>
                <a:gd name="T45" fmla="*/ 61 h 243"/>
                <a:gd name="T46" fmla="*/ 29 w 250"/>
                <a:gd name="T47" fmla="*/ 61 h 243"/>
                <a:gd name="T48" fmla="*/ 33 w 250"/>
                <a:gd name="T49" fmla="*/ 38 h 243"/>
                <a:gd name="T50" fmla="*/ 29 w 250"/>
                <a:gd name="T51" fmla="*/ 16 h 243"/>
                <a:gd name="T52" fmla="*/ 40 w 250"/>
                <a:gd name="T53" fmla="*/ 7 h 243"/>
                <a:gd name="T54" fmla="*/ 17 w 250"/>
                <a:gd name="T55" fmla="*/ 26 h 243"/>
                <a:gd name="T56" fmla="*/ 3 w 250"/>
                <a:gd name="T57" fmla="*/ 59 h 243"/>
                <a:gd name="T58" fmla="*/ 7 w 250"/>
                <a:gd name="T59" fmla="*/ 64 h 243"/>
                <a:gd name="T60" fmla="*/ 17 w 250"/>
                <a:gd name="T61" fmla="*/ 85 h 243"/>
                <a:gd name="T62" fmla="*/ 17 w 250"/>
                <a:gd name="T63" fmla="*/ 102 h 243"/>
                <a:gd name="T64" fmla="*/ 33 w 250"/>
                <a:gd name="T65" fmla="*/ 109 h 243"/>
                <a:gd name="T66" fmla="*/ 52 w 250"/>
                <a:gd name="T67" fmla="*/ 111 h 243"/>
                <a:gd name="T68" fmla="*/ 69 w 250"/>
                <a:gd name="T69" fmla="*/ 128 h 243"/>
                <a:gd name="T70" fmla="*/ 95 w 250"/>
                <a:gd name="T71" fmla="*/ 128 h 243"/>
                <a:gd name="T72" fmla="*/ 104 w 250"/>
                <a:gd name="T73" fmla="*/ 135 h 243"/>
                <a:gd name="T74" fmla="*/ 97 w 250"/>
                <a:gd name="T75" fmla="*/ 163 h 243"/>
                <a:gd name="T76" fmla="*/ 104 w 250"/>
                <a:gd name="T77" fmla="*/ 180 h 243"/>
                <a:gd name="T78" fmla="*/ 97 w 250"/>
                <a:gd name="T79" fmla="*/ 199 h 243"/>
                <a:gd name="T80" fmla="*/ 106 w 250"/>
                <a:gd name="T81" fmla="*/ 206 h 243"/>
                <a:gd name="T82" fmla="*/ 111 w 250"/>
                <a:gd name="T83" fmla="*/ 217 h 243"/>
                <a:gd name="T84" fmla="*/ 118 w 250"/>
                <a:gd name="T85" fmla="*/ 236 h 243"/>
                <a:gd name="T86" fmla="*/ 137 w 250"/>
                <a:gd name="T87" fmla="*/ 236 h 243"/>
                <a:gd name="T88" fmla="*/ 142 w 250"/>
                <a:gd name="T89" fmla="*/ 239 h 243"/>
                <a:gd name="T90" fmla="*/ 158 w 250"/>
                <a:gd name="T91" fmla="*/ 229 h 243"/>
                <a:gd name="T92" fmla="*/ 168 w 250"/>
                <a:gd name="T93" fmla="*/ 217 h 243"/>
                <a:gd name="T94" fmla="*/ 180 w 250"/>
                <a:gd name="T95" fmla="*/ 208 h 243"/>
                <a:gd name="T96" fmla="*/ 168 w 250"/>
                <a:gd name="T97" fmla="*/ 201 h 243"/>
                <a:gd name="T98" fmla="*/ 156 w 250"/>
                <a:gd name="T99" fmla="*/ 173 h 243"/>
                <a:gd name="T100" fmla="*/ 165 w 250"/>
                <a:gd name="T101" fmla="*/ 170 h 243"/>
                <a:gd name="T102" fmla="*/ 177 w 250"/>
                <a:gd name="T103" fmla="*/ 175 h 243"/>
                <a:gd name="T104" fmla="*/ 191 w 250"/>
                <a:gd name="T105" fmla="*/ 180 h 243"/>
                <a:gd name="T106" fmla="*/ 205 w 250"/>
                <a:gd name="T107" fmla="*/ 170 h 243"/>
                <a:gd name="T108" fmla="*/ 224 w 250"/>
                <a:gd name="T109" fmla="*/ 163 h 243"/>
                <a:gd name="T110" fmla="*/ 231 w 250"/>
                <a:gd name="T111" fmla="*/ 151 h 243"/>
                <a:gd name="T112" fmla="*/ 222 w 250"/>
                <a:gd name="T113" fmla="*/ 128 h 243"/>
                <a:gd name="T114" fmla="*/ 224 w 250"/>
                <a:gd name="T115" fmla="*/ 116 h 243"/>
                <a:gd name="T116" fmla="*/ 238 w 250"/>
                <a:gd name="T117" fmla="*/ 111 h 243"/>
                <a:gd name="T118" fmla="*/ 234 w 250"/>
                <a:gd name="T119" fmla="*/ 106 h 243"/>
                <a:gd name="T120" fmla="*/ 236 w 250"/>
                <a:gd name="T121" fmla="*/ 92 h 243"/>
                <a:gd name="T122" fmla="*/ 250 w 250"/>
                <a:gd name="T123" fmla="*/ 8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 h="243">
                  <a:moveTo>
                    <a:pt x="231" y="66"/>
                  </a:moveTo>
                  <a:lnTo>
                    <a:pt x="229" y="66"/>
                  </a:lnTo>
                  <a:lnTo>
                    <a:pt x="227" y="69"/>
                  </a:lnTo>
                  <a:lnTo>
                    <a:pt x="227" y="69"/>
                  </a:lnTo>
                  <a:lnTo>
                    <a:pt x="227" y="71"/>
                  </a:lnTo>
                  <a:lnTo>
                    <a:pt x="229" y="71"/>
                  </a:lnTo>
                  <a:lnTo>
                    <a:pt x="229" y="71"/>
                  </a:lnTo>
                  <a:lnTo>
                    <a:pt x="231" y="69"/>
                  </a:lnTo>
                  <a:lnTo>
                    <a:pt x="231" y="69"/>
                  </a:lnTo>
                  <a:lnTo>
                    <a:pt x="231" y="66"/>
                  </a:lnTo>
                  <a:lnTo>
                    <a:pt x="231" y="66"/>
                  </a:lnTo>
                  <a:lnTo>
                    <a:pt x="231" y="66"/>
                  </a:lnTo>
                  <a:close/>
                  <a:moveTo>
                    <a:pt x="231" y="64"/>
                  </a:moveTo>
                  <a:lnTo>
                    <a:pt x="231" y="64"/>
                  </a:lnTo>
                  <a:lnTo>
                    <a:pt x="229" y="64"/>
                  </a:lnTo>
                  <a:lnTo>
                    <a:pt x="229" y="66"/>
                  </a:lnTo>
                  <a:lnTo>
                    <a:pt x="231" y="64"/>
                  </a:lnTo>
                  <a:lnTo>
                    <a:pt x="234" y="64"/>
                  </a:lnTo>
                  <a:lnTo>
                    <a:pt x="234" y="64"/>
                  </a:lnTo>
                  <a:lnTo>
                    <a:pt x="234" y="64"/>
                  </a:lnTo>
                  <a:lnTo>
                    <a:pt x="234" y="64"/>
                  </a:lnTo>
                  <a:lnTo>
                    <a:pt x="231" y="64"/>
                  </a:lnTo>
                  <a:lnTo>
                    <a:pt x="231" y="64"/>
                  </a:lnTo>
                  <a:close/>
                  <a:moveTo>
                    <a:pt x="172" y="26"/>
                  </a:moveTo>
                  <a:lnTo>
                    <a:pt x="172" y="26"/>
                  </a:lnTo>
                  <a:lnTo>
                    <a:pt x="172" y="28"/>
                  </a:lnTo>
                  <a:lnTo>
                    <a:pt x="175" y="28"/>
                  </a:lnTo>
                  <a:lnTo>
                    <a:pt x="175" y="28"/>
                  </a:lnTo>
                  <a:lnTo>
                    <a:pt x="177" y="28"/>
                  </a:lnTo>
                  <a:lnTo>
                    <a:pt x="180" y="26"/>
                  </a:lnTo>
                  <a:lnTo>
                    <a:pt x="180" y="26"/>
                  </a:lnTo>
                  <a:lnTo>
                    <a:pt x="180" y="24"/>
                  </a:lnTo>
                  <a:lnTo>
                    <a:pt x="177" y="21"/>
                  </a:lnTo>
                  <a:lnTo>
                    <a:pt x="175" y="24"/>
                  </a:lnTo>
                  <a:lnTo>
                    <a:pt x="175" y="26"/>
                  </a:lnTo>
                  <a:lnTo>
                    <a:pt x="172" y="26"/>
                  </a:lnTo>
                  <a:lnTo>
                    <a:pt x="172" y="24"/>
                  </a:lnTo>
                  <a:lnTo>
                    <a:pt x="172" y="24"/>
                  </a:lnTo>
                  <a:lnTo>
                    <a:pt x="170" y="24"/>
                  </a:lnTo>
                  <a:lnTo>
                    <a:pt x="170" y="24"/>
                  </a:lnTo>
                  <a:lnTo>
                    <a:pt x="168" y="26"/>
                  </a:lnTo>
                  <a:lnTo>
                    <a:pt x="168" y="26"/>
                  </a:lnTo>
                  <a:lnTo>
                    <a:pt x="172" y="26"/>
                  </a:lnTo>
                  <a:close/>
                  <a:moveTo>
                    <a:pt x="250" y="83"/>
                  </a:moveTo>
                  <a:lnTo>
                    <a:pt x="246" y="78"/>
                  </a:lnTo>
                  <a:lnTo>
                    <a:pt x="243" y="76"/>
                  </a:lnTo>
                  <a:lnTo>
                    <a:pt x="241" y="76"/>
                  </a:lnTo>
                  <a:lnTo>
                    <a:pt x="238" y="76"/>
                  </a:lnTo>
                  <a:lnTo>
                    <a:pt x="238" y="78"/>
                  </a:lnTo>
                  <a:lnTo>
                    <a:pt x="231" y="76"/>
                  </a:lnTo>
                  <a:lnTo>
                    <a:pt x="231" y="76"/>
                  </a:lnTo>
                  <a:lnTo>
                    <a:pt x="227" y="78"/>
                  </a:lnTo>
                  <a:lnTo>
                    <a:pt x="224" y="78"/>
                  </a:lnTo>
                  <a:lnTo>
                    <a:pt x="222" y="80"/>
                  </a:lnTo>
                  <a:lnTo>
                    <a:pt x="220" y="78"/>
                  </a:lnTo>
                  <a:lnTo>
                    <a:pt x="220" y="78"/>
                  </a:lnTo>
                  <a:lnTo>
                    <a:pt x="217" y="76"/>
                  </a:lnTo>
                  <a:lnTo>
                    <a:pt x="224" y="76"/>
                  </a:lnTo>
                  <a:lnTo>
                    <a:pt x="224" y="73"/>
                  </a:lnTo>
                  <a:lnTo>
                    <a:pt x="227" y="71"/>
                  </a:lnTo>
                  <a:lnTo>
                    <a:pt x="227" y="69"/>
                  </a:lnTo>
                  <a:lnTo>
                    <a:pt x="227" y="69"/>
                  </a:lnTo>
                  <a:lnTo>
                    <a:pt x="227" y="66"/>
                  </a:lnTo>
                  <a:lnTo>
                    <a:pt x="229" y="66"/>
                  </a:lnTo>
                  <a:lnTo>
                    <a:pt x="229" y="64"/>
                  </a:lnTo>
                  <a:lnTo>
                    <a:pt x="229" y="64"/>
                  </a:lnTo>
                  <a:lnTo>
                    <a:pt x="231" y="61"/>
                  </a:lnTo>
                  <a:lnTo>
                    <a:pt x="234" y="59"/>
                  </a:lnTo>
                  <a:lnTo>
                    <a:pt x="231" y="59"/>
                  </a:lnTo>
                  <a:lnTo>
                    <a:pt x="229" y="57"/>
                  </a:lnTo>
                  <a:lnTo>
                    <a:pt x="224" y="54"/>
                  </a:lnTo>
                  <a:lnTo>
                    <a:pt x="224" y="54"/>
                  </a:lnTo>
                  <a:lnTo>
                    <a:pt x="220" y="50"/>
                  </a:lnTo>
                  <a:lnTo>
                    <a:pt x="220" y="50"/>
                  </a:lnTo>
                  <a:lnTo>
                    <a:pt x="217" y="50"/>
                  </a:lnTo>
                  <a:lnTo>
                    <a:pt x="215" y="50"/>
                  </a:lnTo>
                  <a:lnTo>
                    <a:pt x="215" y="52"/>
                  </a:lnTo>
                  <a:lnTo>
                    <a:pt x="215" y="52"/>
                  </a:lnTo>
                  <a:lnTo>
                    <a:pt x="215" y="54"/>
                  </a:lnTo>
                  <a:lnTo>
                    <a:pt x="215" y="54"/>
                  </a:lnTo>
                  <a:lnTo>
                    <a:pt x="215" y="52"/>
                  </a:lnTo>
                  <a:lnTo>
                    <a:pt x="215" y="52"/>
                  </a:lnTo>
                  <a:lnTo>
                    <a:pt x="215" y="52"/>
                  </a:lnTo>
                  <a:lnTo>
                    <a:pt x="213" y="50"/>
                  </a:lnTo>
                  <a:lnTo>
                    <a:pt x="210" y="47"/>
                  </a:lnTo>
                  <a:lnTo>
                    <a:pt x="210" y="47"/>
                  </a:lnTo>
                  <a:lnTo>
                    <a:pt x="210" y="47"/>
                  </a:lnTo>
                  <a:lnTo>
                    <a:pt x="208" y="47"/>
                  </a:lnTo>
                  <a:lnTo>
                    <a:pt x="208" y="47"/>
                  </a:lnTo>
                  <a:lnTo>
                    <a:pt x="208" y="50"/>
                  </a:lnTo>
                  <a:lnTo>
                    <a:pt x="208" y="50"/>
                  </a:lnTo>
                  <a:lnTo>
                    <a:pt x="208" y="50"/>
                  </a:lnTo>
                  <a:lnTo>
                    <a:pt x="208" y="50"/>
                  </a:lnTo>
                  <a:lnTo>
                    <a:pt x="208" y="50"/>
                  </a:lnTo>
                  <a:lnTo>
                    <a:pt x="205" y="50"/>
                  </a:lnTo>
                  <a:lnTo>
                    <a:pt x="205" y="52"/>
                  </a:lnTo>
                  <a:lnTo>
                    <a:pt x="205" y="52"/>
                  </a:lnTo>
                  <a:lnTo>
                    <a:pt x="205" y="52"/>
                  </a:lnTo>
                  <a:lnTo>
                    <a:pt x="203" y="47"/>
                  </a:lnTo>
                  <a:lnTo>
                    <a:pt x="203" y="43"/>
                  </a:lnTo>
                  <a:lnTo>
                    <a:pt x="201" y="43"/>
                  </a:lnTo>
                  <a:lnTo>
                    <a:pt x="201" y="43"/>
                  </a:lnTo>
                  <a:lnTo>
                    <a:pt x="201" y="43"/>
                  </a:lnTo>
                  <a:lnTo>
                    <a:pt x="201" y="45"/>
                  </a:lnTo>
                  <a:lnTo>
                    <a:pt x="198" y="45"/>
                  </a:lnTo>
                  <a:lnTo>
                    <a:pt x="198" y="45"/>
                  </a:lnTo>
                  <a:lnTo>
                    <a:pt x="198" y="45"/>
                  </a:lnTo>
                  <a:lnTo>
                    <a:pt x="198" y="43"/>
                  </a:lnTo>
                  <a:lnTo>
                    <a:pt x="198" y="40"/>
                  </a:lnTo>
                  <a:lnTo>
                    <a:pt x="198" y="40"/>
                  </a:lnTo>
                  <a:lnTo>
                    <a:pt x="198" y="38"/>
                  </a:lnTo>
                  <a:lnTo>
                    <a:pt x="196" y="38"/>
                  </a:lnTo>
                  <a:lnTo>
                    <a:pt x="196" y="38"/>
                  </a:lnTo>
                  <a:lnTo>
                    <a:pt x="196" y="35"/>
                  </a:lnTo>
                  <a:lnTo>
                    <a:pt x="196" y="35"/>
                  </a:lnTo>
                  <a:lnTo>
                    <a:pt x="198" y="35"/>
                  </a:lnTo>
                  <a:lnTo>
                    <a:pt x="205" y="35"/>
                  </a:lnTo>
                  <a:lnTo>
                    <a:pt x="208" y="33"/>
                  </a:lnTo>
                  <a:lnTo>
                    <a:pt x="210" y="33"/>
                  </a:lnTo>
                  <a:lnTo>
                    <a:pt x="213" y="33"/>
                  </a:lnTo>
                  <a:lnTo>
                    <a:pt x="215" y="31"/>
                  </a:lnTo>
                  <a:lnTo>
                    <a:pt x="208" y="33"/>
                  </a:lnTo>
                  <a:lnTo>
                    <a:pt x="198" y="31"/>
                  </a:lnTo>
                  <a:lnTo>
                    <a:pt x="194" y="31"/>
                  </a:lnTo>
                  <a:lnTo>
                    <a:pt x="194" y="31"/>
                  </a:lnTo>
                  <a:lnTo>
                    <a:pt x="189" y="31"/>
                  </a:lnTo>
                  <a:lnTo>
                    <a:pt x="184" y="33"/>
                  </a:lnTo>
                  <a:lnTo>
                    <a:pt x="177" y="33"/>
                  </a:lnTo>
                  <a:lnTo>
                    <a:pt x="172" y="33"/>
                  </a:lnTo>
                  <a:lnTo>
                    <a:pt x="170" y="33"/>
                  </a:lnTo>
                  <a:lnTo>
                    <a:pt x="170" y="35"/>
                  </a:lnTo>
                  <a:lnTo>
                    <a:pt x="172" y="35"/>
                  </a:lnTo>
                  <a:lnTo>
                    <a:pt x="177" y="35"/>
                  </a:lnTo>
                  <a:lnTo>
                    <a:pt x="180" y="35"/>
                  </a:lnTo>
                  <a:lnTo>
                    <a:pt x="180" y="38"/>
                  </a:lnTo>
                  <a:lnTo>
                    <a:pt x="177" y="38"/>
                  </a:lnTo>
                  <a:lnTo>
                    <a:pt x="172" y="38"/>
                  </a:lnTo>
                  <a:lnTo>
                    <a:pt x="158" y="45"/>
                  </a:lnTo>
                  <a:lnTo>
                    <a:pt x="156" y="45"/>
                  </a:lnTo>
                  <a:lnTo>
                    <a:pt x="156" y="45"/>
                  </a:lnTo>
                  <a:lnTo>
                    <a:pt x="154" y="45"/>
                  </a:lnTo>
                  <a:lnTo>
                    <a:pt x="149" y="45"/>
                  </a:lnTo>
                  <a:lnTo>
                    <a:pt x="147" y="43"/>
                  </a:lnTo>
                  <a:lnTo>
                    <a:pt x="144" y="43"/>
                  </a:lnTo>
                  <a:lnTo>
                    <a:pt x="139" y="40"/>
                  </a:lnTo>
                  <a:lnTo>
                    <a:pt x="137" y="38"/>
                  </a:lnTo>
                  <a:lnTo>
                    <a:pt x="137" y="35"/>
                  </a:lnTo>
                  <a:lnTo>
                    <a:pt x="137" y="35"/>
                  </a:lnTo>
                  <a:lnTo>
                    <a:pt x="132" y="33"/>
                  </a:lnTo>
                  <a:lnTo>
                    <a:pt x="121" y="33"/>
                  </a:lnTo>
                  <a:lnTo>
                    <a:pt x="116" y="35"/>
                  </a:lnTo>
                  <a:lnTo>
                    <a:pt x="109" y="35"/>
                  </a:lnTo>
                  <a:lnTo>
                    <a:pt x="104" y="38"/>
                  </a:lnTo>
                  <a:lnTo>
                    <a:pt x="99" y="35"/>
                  </a:lnTo>
                  <a:lnTo>
                    <a:pt x="97" y="35"/>
                  </a:lnTo>
                  <a:lnTo>
                    <a:pt x="95" y="33"/>
                  </a:lnTo>
                  <a:lnTo>
                    <a:pt x="95" y="31"/>
                  </a:lnTo>
                  <a:lnTo>
                    <a:pt x="97" y="28"/>
                  </a:lnTo>
                  <a:lnTo>
                    <a:pt x="95" y="26"/>
                  </a:lnTo>
                  <a:lnTo>
                    <a:pt x="95" y="24"/>
                  </a:lnTo>
                  <a:lnTo>
                    <a:pt x="95" y="21"/>
                  </a:lnTo>
                  <a:lnTo>
                    <a:pt x="90" y="19"/>
                  </a:lnTo>
                  <a:lnTo>
                    <a:pt x="88" y="16"/>
                  </a:lnTo>
                  <a:lnTo>
                    <a:pt x="83" y="16"/>
                  </a:lnTo>
                  <a:lnTo>
                    <a:pt x="81" y="14"/>
                  </a:lnTo>
                  <a:lnTo>
                    <a:pt x="73" y="14"/>
                  </a:lnTo>
                  <a:lnTo>
                    <a:pt x="73" y="14"/>
                  </a:lnTo>
                  <a:lnTo>
                    <a:pt x="71" y="16"/>
                  </a:lnTo>
                  <a:lnTo>
                    <a:pt x="71" y="14"/>
                  </a:lnTo>
                  <a:lnTo>
                    <a:pt x="69" y="12"/>
                  </a:lnTo>
                  <a:lnTo>
                    <a:pt x="69" y="7"/>
                  </a:lnTo>
                  <a:lnTo>
                    <a:pt x="69" y="5"/>
                  </a:lnTo>
                  <a:lnTo>
                    <a:pt x="69" y="2"/>
                  </a:lnTo>
                  <a:lnTo>
                    <a:pt x="69" y="2"/>
                  </a:lnTo>
                  <a:lnTo>
                    <a:pt x="66" y="0"/>
                  </a:lnTo>
                  <a:lnTo>
                    <a:pt x="64" y="2"/>
                  </a:lnTo>
                  <a:lnTo>
                    <a:pt x="62" y="2"/>
                  </a:lnTo>
                  <a:lnTo>
                    <a:pt x="62" y="5"/>
                  </a:lnTo>
                  <a:lnTo>
                    <a:pt x="62" y="7"/>
                  </a:lnTo>
                  <a:lnTo>
                    <a:pt x="62" y="9"/>
                  </a:lnTo>
                  <a:lnTo>
                    <a:pt x="62" y="12"/>
                  </a:lnTo>
                  <a:lnTo>
                    <a:pt x="62" y="12"/>
                  </a:lnTo>
                  <a:lnTo>
                    <a:pt x="66" y="12"/>
                  </a:lnTo>
                  <a:lnTo>
                    <a:pt x="69" y="12"/>
                  </a:lnTo>
                  <a:lnTo>
                    <a:pt x="69" y="14"/>
                  </a:lnTo>
                  <a:lnTo>
                    <a:pt x="69" y="16"/>
                  </a:lnTo>
                  <a:lnTo>
                    <a:pt x="66" y="16"/>
                  </a:lnTo>
                  <a:lnTo>
                    <a:pt x="64" y="14"/>
                  </a:lnTo>
                  <a:lnTo>
                    <a:pt x="64" y="14"/>
                  </a:lnTo>
                  <a:lnTo>
                    <a:pt x="62" y="16"/>
                  </a:lnTo>
                  <a:lnTo>
                    <a:pt x="62" y="16"/>
                  </a:lnTo>
                  <a:lnTo>
                    <a:pt x="55" y="19"/>
                  </a:lnTo>
                  <a:lnTo>
                    <a:pt x="50" y="21"/>
                  </a:lnTo>
                  <a:lnTo>
                    <a:pt x="40" y="26"/>
                  </a:lnTo>
                  <a:lnTo>
                    <a:pt x="38" y="26"/>
                  </a:lnTo>
                  <a:lnTo>
                    <a:pt x="38" y="28"/>
                  </a:lnTo>
                  <a:lnTo>
                    <a:pt x="36" y="31"/>
                  </a:lnTo>
                  <a:lnTo>
                    <a:pt x="36" y="33"/>
                  </a:lnTo>
                  <a:lnTo>
                    <a:pt x="36" y="35"/>
                  </a:lnTo>
                  <a:lnTo>
                    <a:pt x="36" y="38"/>
                  </a:lnTo>
                  <a:lnTo>
                    <a:pt x="38" y="40"/>
                  </a:lnTo>
                  <a:lnTo>
                    <a:pt x="40" y="43"/>
                  </a:lnTo>
                  <a:lnTo>
                    <a:pt x="40" y="47"/>
                  </a:lnTo>
                  <a:lnTo>
                    <a:pt x="43" y="50"/>
                  </a:lnTo>
                  <a:lnTo>
                    <a:pt x="43" y="52"/>
                  </a:lnTo>
                  <a:lnTo>
                    <a:pt x="43" y="57"/>
                  </a:lnTo>
                  <a:lnTo>
                    <a:pt x="43" y="61"/>
                  </a:lnTo>
                  <a:lnTo>
                    <a:pt x="40" y="64"/>
                  </a:lnTo>
                  <a:lnTo>
                    <a:pt x="38" y="64"/>
                  </a:lnTo>
                  <a:lnTo>
                    <a:pt x="38" y="66"/>
                  </a:lnTo>
                  <a:lnTo>
                    <a:pt x="33" y="66"/>
                  </a:lnTo>
                  <a:lnTo>
                    <a:pt x="31" y="66"/>
                  </a:lnTo>
                  <a:lnTo>
                    <a:pt x="31" y="66"/>
                  </a:lnTo>
                  <a:lnTo>
                    <a:pt x="31" y="64"/>
                  </a:lnTo>
                  <a:lnTo>
                    <a:pt x="29" y="61"/>
                  </a:lnTo>
                  <a:lnTo>
                    <a:pt x="29" y="61"/>
                  </a:lnTo>
                  <a:lnTo>
                    <a:pt x="29" y="59"/>
                  </a:lnTo>
                  <a:lnTo>
                    <a:pt x="29" y="59"/>
                  </a:lnTo>
                  <a:lnTo>
                    <a:pt x="26" y="57"/>
                  </a:lnTo>
                  <a:lnTo>
                    <a:pt x="26" y="54"/>
                  </a:lnTo>
                  <a:lnTo>
                    <a:pt x="24" y="50"/>
                  </a:lnTo>
                  <a:lnTo>
                    <a:pt x="26" y="45"/>
                  </a:lnTo>
                  <a:lnTo>
                    <a:pt x="29" y="43"/>
                  </a:lnTo>
                  <a:lnTo>
                    <a:pt x="31" y="40"/>
                  </a:lnTo>
                  <a:lnTo>
                    <a:pt x="33" y="38"/>
                  </a:lnTo>
                  <a:lnTo>
                    <a:pt x="36" y="33"/>
                  </a:lnTo>
                  <a:lnTo>
                    <a:pt x="36" y="31"/>
                  </a:lnTo>
                  <a:lnTo>
                    <a:pt x="33" y="28"/>
                  </a:lnTo>
                  <a:lnTo>
                    <a:pt x="33" y="26"/>
                  </a:lnTo>
                  <a:lnTo>
                    <a:pt x="33" y="26"/>
                  </a:lnTo>
                  <a:lnTo>
                    <a:pt x="33" y="26"/>
                  </a:lnTo>
                  <a:lnTo>
                    <a:pt x="31" y="24"/>
                  </a:lnTo>
                  <a:lnTo>
                    <a:pt x="31" y="21"/>
                  </a:lnTo>
                  <a:lnTo>
                    <a:pt x="29" y="16"/>
                  </a:lnTo>
                  <a:lnTo>
                    <a:pt x="29" y="16"/>
                  </a:lnTo>
                  <a:lnTo>
                    <a:pt x="29" y="14"/>
                  </a:lnTo>
                  <a:lnTo>
                    <a:pt x="31" y="12"/>
                  </a:lnTo>
                  <a:lnTo>
                    <a:pt x="31" y="12"/>
                  </a:lnTo>
                  <a:lnTo>
                    <a:pt x="38" y="9"/>
                  </a:lnTo>
                  <a:lnTo>
                    <a:pt x="40" y="9"/>
                  </a:lnTo>
                  <a:lnTo>
                    <a:pt x="40" y="9"/>
                  </a:lnTo>
                  <a:lnTo>
                    <a:pt x="40" y="7"/>
                  </a:lnTo>
                  <a:lnTo>
                    <a:pt x="40" y="7"/>
                  </a:lnTo>
                  <a:lnTo>
                    <a:pt x="40" y="7"/>
                  </a:lnTo>
                  <a:lnTo>
                    <a:pt x="38" y="9"/>
                  </a:lnTo>
                  <a:lnTo>
                    <a:pt x="33" y="9"/>
                  </a:lnTo>
                  <a:lnTo>
                    <a:pt x="29" y="12"/>
                  </a:lnTo>
                  <a:lnTo>
                    <a:pt x="29" y="12"/>
                  </a:lnTo>
                  <a:lnTo>
                    <a:pt x="24" y="21"/>
                  </a:lnTo>
                  <a:lnTo>
                    <a:pt x="19" y="24"/>
                  </a:lnTo>
                  <a:lnTo>
                    <a:pt x="17" y="24"/>
                  </a:lnTo>
                  <a:lnTo>
                    <a:pt x="17" y="26"/>
                  </a:lnTo>
                  <a:lnTo>
                    <a:pt x="15" y="28"/>
                  </a:lnTo>
                  <a:lnTo>
                    <a:pt x="15" y="31"/>
                  </a:lnTo>
                  <a:lnTo>
                    <a:pt x="10" y="35"/>
                  </a:lnTo>
                  <a:lnTo>
                    <a:pt x="10" y="43"/>
                  </a:lnTo>
                  <a:lnTo>
                    <a:pt x="7" y="45"/>
                  </a:lnTo>
                  <a:lnTo>
                    <a:pt x="7" y="52"/>
                  </a:lnTo>
                  <a:lnTo>
                    <a:pt x="5" y="54"/>
                  </a:lnTo>
                  <a:lnTo>
                    <a:pt x="5" y="57"/>
                  </a:lnTo>
                  <a:lnTo>
                    <a:pt x="3" y="59"/>
                  </a:lnTo>
                  <a:lnTo>
                    <a:pt x="0" y="61"/>
                  </a:lnTo>
                  <a:lnTo>
                    <a:pt x="0" y="64"/>
                  </a:lnTo>
                  <a:lnTo>
                    <a:pt x="0" y="64"/>
                  </a:lnTo>
                  <a:lnTo>
                    <a:pt x="0" y="64"/>
                  </a:lnTo>
                  <a:lnTo>
                    <a:pt x="3" y="64"/>
                  </a:lnTo>
                  <a:lnTo>
                    <a:pt x="5" y="64"/>
                  </a:lnTo>
                  <a:lnTo>
                    <a:pt x="5" y="61"/>
                  </a:lnTo>
                  <a:lnTo>
                    <a:pt x="7" y="64"/>
                  </a:lnTo>
                  <a:lnTo>
                    <a:pt x="7" y="64"/>
                  </a:lnTo>
                  <a:lnTo>
                    <a:pt x="7" y="66"/>
                  </a:lnTo>
                  <a:lnTo>
                    <a:pt x="10" y="64"/>
                  </a:lnTo>
                  <a:lnTo>
                    <a:pt x="10" y="66"/>
                  </a:lnTo>
                  <a:lnTo>
                    <a:pt x="12" y="71"/>
                  </a:lnTo>
                  <a:lnTo>
                    <a:pt x="12" y="76"/>
                  </a:lnTo>
                  <a:lnTo>
                    <a:pt x="15" y="78"/>
                  </a:lnTo>
                  <a:lnTo>
                    <a:pt x="17" y="80"/>
                  </a:lnTo>
                  <a:lnTo>
                    <a:pt x="17" y="83"/>
                  </a:lnTo>
                  <a:lnTo>
                    <a:pt x="17" y="85"/>
                  </a:lnTo>
                  <a:lnTo>
                    <a:pt x="17" y="87"/>
                  </a:lnTo>
                  <a:lnTo>
                    <a:pt x="17" y="87"/>
                  </a:lnTo>
                  <a:lnTo>
                    <a:pt x="15" y="90"/>
                  </a:lnTo>
                  <a:lnTo>
                    <a:pt x="15" y="92"/>
                  </a:lnTo>
                  <a:lnTo>
                    <a:pt x="15" y="95"/>
                  </a:lnTo>
                  <a:lnTo>
                    <a:pt x="15" y="97"/>
                  </a:lnTo>
                  <a:lnTo>
                    <a:pt x="15" y="99"/>
                  </a:lnTo>
                  <a:lnTo>
                    <a:pt x="15" y="99"/>
                  </a:lnTo>
                  <a:lnTo>
                    <a:pt x="17" y="102"/>
                  </a:lnTo>
                  <a:lnTo>
                    <a:pt x="17" y="102"/>
                  </a:lnTo>
                  <a:lnTo>
                    <a:pt x="19" y="102"/>
                  </a:lnTo>
                  <a:lnTo>
                    <a:pt x="19" y="104"/>
                  </a:lnTo>
                  <a:lnTo>
                    <a:pt x="22" y="109"/>
                  </a:lnTo>
                  <a:lnTo>
                    <a:pt x="24" y="109"/>
                  </a:lnTo>
                  <a:lnTo>
                    <a:pt x="24" y="111"/>
                  </a:lnTo>
                  <a:lnTo>
                    <a:pt x="26" y="109"/>
                  </a:lnTo>
                  <a:lnTo>
                    <a:pt x="31" y="109"/>
                  </a:lnTo>
                  <a:lnTo>
                    <a:pt x="33" y="109"/>
                  </a:lnTo>
                  <a:lnTo>
                    <a:pt x="38" y="111"/>
                  </a:lnTo>
                  <a:lnTo>
                    <a:pt x="38" y="111"/>
                  </a:lnTo>
                  <a:lnTo>
                    <a:pt x="40" y="111"/>
                  </a:lnTo>
                  <a:lnTo>
                    <a:pt x="45" y="109"/>
                  </a:lnTo>
                  <a:lnTo>
                    <a:pt x="48" y="109"/>
                  </a:lnTo>
                  <a:lnTo>
                    <a:pt x="48" y="109"/>
                  </a:lnTo>
                  <a:lnTo>
                    <a:pt x="50" y="109"/>
                  </a:lnTo>
                  <a:lnTo>
                    <a:pt x="52" y="109"/>
                  </a:lnTo>
                  <a:lnTo>
                    <a:pt x="52" y="111"/>
                  </a:lnTo>
                  <a:lnTo>
                    <a:pt x="55" y="111"/>
                  </a:lnTo>
                  <a:lnTo>
                    <a:pt x="57" y="111"/>
                  </a:lnTo>
                  <a:lnTo>
                    <a:pt x="57" y="111"/>
                  </a:lnTo>
                  <a:lnTo>
                    <a:pt x="59" y="111"/>
                  </a:lnTo>
                  <a:lnTo>
                    <a:pt x="62" y="116"/>
                  </a:lnTo>
                  <a:lnTo>
                    <a:pt x="64" y="121"/>
                  </a:lnTo>
                  <a:lnTo>
                    <a:pt x="66" y="125"/>
                  </a:lnTo>
                  <a:lnTo>
                    <a:pt x="69" y="128"/>
                  </a:lnTo>
                  <a:lnTo>
                    <a:pt x="69" y="128"/>
                  </a:lnTo>
                  <a:lnTo>
                    <a:pt x="71" y="128"/>
                  </a:lnTo>
                  <a:lnTo>
                    <a:pt x="71" y="128"/>
                  </a:lnTo>
                  <a:lnTo>
                    <a:pt x="73" y="130"/>
                  </a:lnTo>
                  <a:lnTo>
                    <a:pt x="73" y="128"/>
                  </a:lnTo>
                  <a:lnTo>
                    <a:pt x="76" y="128"/>
                  </a:lnTo>
                  <a:lnTo>
                    <a:pt x="78" y="128"/>
                  </a:lnTo>
                  <a:lnTo>
                    <a:pt x="83" y="128"/>
                  </a:lnTo>
                  <a:lnTo>
                    <a:pt x="88" y="128"/>
                  </a:lnTo>
                  <a:lnTo>
                    <a:pt x="95" y="128"/>
                  </a:lnTo>
                  <a:lnTo>
                    <a:pt x="97" y="125"/>
                  </a:lnTo>
                  <a:lnTo>
                    <a:pt x="99" y="125"/>
                  </a:lnTo>
                  <a:lnTo>
                    <a:pt x="102" y="125"/>
                  </a:lnTo>
                  <a:lnTo>
                    <a:pt x="104" y="125"/>
                  </a:lnTo>
                  <a:lnTo>
                    <a:pt x="106" y="128"/>
                  </a:lnTo>
                  <a:lnTo>
                    <a:pt x="106" y="128"/>
                  </a:lnTo>
                  <a:lnTo>
                    <a:pt x="106" y="130"/>
                  </a:lnTo>
                  <a:lnTo>
                    <a:pt x="106" y="132"/>
                  </a:lnTo>
                  <a:lnTo>
                    <a:pt x="104" y="135"/>
                  </a:lnTo>
                  <a:lnTo>
                    <a:pt x="102" y="137"/>
                  </a:lnTo>
                  <a:lnTo>
                    <a:pt x="102" y="139"/>
                  </a:lnTo>
                  <a:lnTo>
                    <a:pt x="102" y="142"/>
                  </a:lnTo>
                  <a:lnTo>
                    <a:pt x="99" y="144"/>
                  </a:lnTo>
                  <a:lnTo>
                    <a:pt x="99" y="147"/>
                  </a:lnTo>
                  <a:lnTo>
                    <a:pt x="99" y="149"/>
                  </a:lnTo>
                  <a:lnTo>
                    <a:pt x="99" y="154"/>
                  </a:lnTo>
                  <a:lnTo>
                    <a:pt x="97" y="158"/>
                  </a:lnTo>
                  <a:lnTo>
                    <a:pt x="97" y="163"/>
                  </a:lnTo>
                  <a:lnTo>
                    <a:pt x="99" y="163"/>
                  </a:lnTo>
                  <a:lnTo>
                    <a:pt x="99" y="165"/>
                  </a:lnTo>
                  <a:lnTo>
                    <a:pt x="99" y="168"/>
                  </a:lnTo>
                  <a:lnTo>
                    <a:pt x="99" y="170"/>
                  </a:lnTo>
                  <a:lnTo>
                    <a:pt x="99" y="173"/>
                  </a:lnTo>
                  <a:lnTo>
                    <a:pt x="102" y="177"/>
                  </a:lnTo>
                  <a:lnTo>
                    <a:pt x="102" y="177"/>
                  </a:lnTo>
                  <a:lnTo>
                    <a:pt x="104" y="180"/>
                  </a:lnTo>
                  <a:lnTo>
                    <a:pt x="104" y="180"/>
                  </a:lnTo>
                  <a:lnTo>
                    <a:pt x="106" y="184"/>
                  </a:lnTo>
                  <a:lnTo>
                    <a:pt x="106" y="187"/>
                  </a:lnTo>
                  <a:lnTo>
                    <a:pt x="106" y="187"/>
                  </a:lnTo>
                  <a:lnTo>
                    <a:pt x="106" y="187"/>
                  </a:lnTo>
                  <a:lnTo>
                    <a:pt x="106" y="187"/>
                  </a:lnTo>
                  <a:lnTo>
                    <a:pt x="104" y="191"/>
                  </a:lnTo>
                  <a:lnTo>
                    <a:pt x="97" y="196"/>
                  </a:lnTo>
                  <a:lnTo>
                    <a:pt x="97" y="199"/>
                  </a:lnTo>
                  <a:lnTo>
                    <a:pt x="97" y="199"/>
                  </a:lnTo>
                  <a:lnTo>
                    <a:pt x="99" y="199"/>
                  </a:lnTo>
                  <a:lnTo>
                    <a:pt x="99" y="199"/>
                  </a:lnTo>
                  <a:lnTo>
                    <a:pt x="102" y="199"/>
                  </a:lnTo>
                  <a:lnTo>
                    <a:pt x="102" y="199"/>
                  </a:lnTo>
                  <a:lnTo>
                    <a:pt x="102" y="201"/>
                  </a:lnTo>
                  <a:lnTo>
                    <a:pt x="102" y="201"/>
                  </a:lnTo>
                  <a:lnTo>
                    <a:pt x="104" y="201"/>
                  </a:lnTo>
                  <a:lnTo>
                    <a:pt x="106" y="203"/>
                  </a:lnTo>
                  <a:lnTo>
                    <a:pt x="106" y="206"/>
                  </a:lnTo>
                  <a:lnTo>
                    <a:pt x="109" y="206"/>
                  </a:lnTo>
                  <a:lnTo>
                    <a:pt x="109" y="208"/>
                  </a:lnTo>
                  <a:lnTo>
                    <a:pt x="109" y="208"/>
                  </a:lnTo>
                  <a:lnTo>
                    <a:pt x="109" y="210"/>
                  </a:lnTo>
                  <a:lnTo>
                    <a:pt x="109" y="213"/>
                  </a:lnTo>
                  <a:lnTo>
                    <a:pt x="111" y="213"/>
                  </a:lnTo>
                  <a:lnTo>
                    <a:pt x="111" y="215"/>
                  </a:lnTo>
                  <a:lnTo>
                    <a:pt x="111" y="215"/>
                  </a:lnTo>
                  <a:lnTo>
                    <a:pt x="111" y="217"/>
                  </a:lnTo>
                  <a:lnTo>
                    <a:pt x="111" y="220"/>
                  </a:lnTo>
                  <a:lnTo>
                    <a:pt x="114" y="222"/>
                  </a:lnTo>
                  <a:lnTo>
                    <a:pt x="114" y="225"/>
                  </a:lnTo>
                  <a:lnTo>
                    <a:pt x="114" y="225"/>
                  </a:lnTo>
                  <a:lnTo>
                    <a:pt x="114" y="227"/>
                  </a:lnTo>
                  <a:lnTo>
                    <a:pt x="114" y="229"/>
                  </a:lnTo>
                  <a:lnTo>
                    <a:pt x="114" y="232"/>
                  </a:lnTo>
                  <a:lnTo>
                    <a:pt x="114" y="232"/>
                  </a:lnTo>
                  <a:lnTo>
                    <a:pt x="118" y="236"/>
                  </a:lnTo>
                  <a:lnTo>
                    <a:pt x="123" y="241"/>
                  </a:lnTo>
                  <a:lnTo>
                    <a:pt x="125" y="241"/>
                  </a:lnTo>
                  <a:lnTo>
                    <a:pt x="125" y="241"/>
                  </a:lnTo>
                  <a:lnTo>
                    <a:pt x="128" y="241"/>
                  </a:lnTo>
                  <a:lnTo>
                    <a:pt x="130" y="241"/>
                  </a:lnTo>
                  <a:lnTo>
                    <a:pt x="130" y="241"/>
                  </a:lnTo>
                  <a:lnTo>
                    <a:pt x="132" y="239"/>
                  </a:lnTo>
                  <a:lnTo>
                    <a:pt x="135" y="239"/>
                  </a:lnTo>
                  <a:lnTo>
                    <a:pt x="137" y="236"/>
                  </a:lnTo>
                  <a:lnTo>
                    <a:pt x="137" y="236"/>
                  </a:lnTo>
                  <a:lnTo>
                    <a:pt x="137" y="236"/>
                  </a:lnTo>
                  <a:lnTo>
                    <a:pt x="139" y="239"/>
                  </a:lnTo>
                  <a:lnTo>
                    <a:pt x="139" y="241"/>
                  </a:lnTo>
                  <a:lnTo>
                    <a:pt x="139" y="241"/>
                  </a:lnTo>
                  <a:lnTo>
                    <a:pt x="139" y="243"/>
                  </a:lnTo>
                  <a:lnTo>
                    <a:pt x="139" y="243"/>
                  </a:lnTo>
                  <a:lnTo>
                    <a:pt x="142" y="241"/>
                  </a:lnTo>
                  <a:lnTo>
                    <a:pt x="142" y="239"/>
                  </a:lnTo>
                  <a:lnTo>
                    <a:pt x="144" y="239"/>
                  </a:lnTo>
                  <a:lnTo>
                    <a:pt x="147" y="236"/>
                  </a:lnTo>
                  <a:lnTo>
                    <a:pt x="147" y="234"/>
                  </a:lnTo>
                  <a:lnTo>
                    <a:pt x="149" y="234"/>
                  </a:lnTo>
                  <a:lnTo>
                    <a:pt x="151" y="232"/>
                  </a:lnTo>
                  <a:lnTo>
                    <a:pt x="154" y="232"/>
                  </a:lnTo>
                  <a:lnTo>
                    <a:pt x="154" y="232"/>
                  </a:lnTo>
                  <a:lnTo>
                    <a:pt x="156" y="229"/>
                  </a:lnTo>
                  <a:lnTo>
                    <a:pt x="158" y="229"/>
                  </a:lnTo>
                  <a:lnTo>
                    <a:pt x="158" y="227"/>
                  </a:lnTo>
                  <a:lnTo>
                    <a:pt x="158" y="227"/>
                  </a:lnTo>
                  <a:lnTo>
                    <a:pt x="161" y="227"/>
                  </a:lnTo>
                  <a:lnTo>
                    <a:pt x="163" y="227"/>
                  </a:lnTo>
                  <a:lnTo>
                    <a:pt x="165" y="225"/>
                  </a:lnTo>
                  <a:lnTo>
                    <a:pt x="165" y="225"/>
                  </a:lnTo>
                  <a:lnTo>
                    <a:pt x="168" y="220"/>
                  </a:lnTo>
                  <a:lnTo>
                    <a:pt x="168" y="217"/>
                  </a:lnTo>
                  <a:lnTo>
                    <a:pt x="168" y="217"/>
                  </a:lnTo>
                  <a:lnTo>
                    <a:pt x="168" y="217"/>
                  </a:lnTo>
                  <a:lnTo>
                    <a:pt x="170" y="215"/>
                  </a:lnTo>
                  <a:lnTo>
                    <a:pt x="170" y="215"/>
                  </a:lnTo>
                  <a:lnTo>
                    <a:pt x="175" y="215"/>
                  </a:lnTo>
                  <a:lnTo>
                    <a:pt x="177" y="213"/>
                  </a:lnTo>
                  <a:lnTo>
                    <a:pt x="177" y="213"/>
                  </a:lnTo>
                  <a:lnTo>
                    <a:pt x="180" y="213"/>
                  </a:lnTo>
                  <a:lnTo>
                    <a:pt x="180" y="210"/>
                  </a:lnTo>
                  <a:lnTo>
                    <a:pt x="180" y="208"/>
                  </a:lnTo>
                  <a:lnTo>
                    <a:pt x="180" y="206"/>
                  </a:lnTo>
                  <a:lnTo>
                    <a:pt x="177" y="206"/>
                  </a:lnTo>
                  <a:lnTo>
                    <a:pt x="175" y="206"/>
                  </a:lnTo>
                  <a:lnTo>
                    <a:pt x="170" y="206"/>
                  </a:lnTo>
                  <a:lnTo>
                    <a:pt x="168" y="206"/>
                  </a:lnTo>
                  <a:lnTo>
                    <a:pt x="168" y="206"/>
                  </a:lnTo>
                  <a:lnTo>
                    <a:pt x="168" y="203"/>
                  </a:lnTo>
                  <a:lnTo>
                    <a:pt x="168" y="203"/>
                  </a:lnTo>
                  <a:lnTo>
                    <a:pt x="168" y="201"/>
                  </a:lnTo>
                  <a:lnTo>
                    <a:pt x="168" y="199"/>
                  </a:lnTo>
                  <a:lnTo>
                    <a:pt x="165" y="194"/>
                  </a:lnTo>
                  <a:lnTo>
                    <a:pt x="165" y="189"/>
                  </a:lnTo>
                  <a:lnTo>
                    <a:pt x="165" y="187"/>
                  </a:lnTo>
                  <a:lnTo>
                    <a:pt x="165" y="184"/>
                  </a:lnTo>
                  <a:lnTo>
                    <a:pt x="165" y="182"/>
                  </a:lnTo>
                  <a:lnTo>
                    <a:pt x="163" y="180"/>
                  </a:lnTo>
                  <a:lnTo>
                    <a:pt x="158" y="175"/>
                  </a:lnTo>
                  <a:lnTo>
                    <a:pt x="156" y="173"/>
                  </a:lnTo>
                  <a:lnTo>
                    <a:pt x="156" y="173"/>
                  </a:lnTo>
                  <a:lnTo>
                    <a:pt x="154" y="168"/>
                  </a:lnTo>
                  <a:lnTo>
                    <a:pt x="154" y="168"/>
                  </a:lnTo>
                  <a:lnTo>
                    <a:pt x="156" y="168"/>
                  </a:lnTo>
                  <a:lnTo>
                    <a:pt x="156" y="168"/>
                  </a:lnTo>
                  <a:lnTo>
                    <a:pt x="158" y="170"/>
                  </a:lnTo>
                  <a:lnTo>
                    <a:pt x="158" y="170"/>
                  </a:lnTo>
                  <a:lnTo>
                    <a:pt x="158" y="170"/>
                  </a:lnTo>
                  <a:lnTo>
                    <a:pt x="165" y="170"/>
                  </a:lnTo>
                  <a:lnTo>
                    <a:pt x="165" y="170"/>
                  </a:lnTo>
                  <a:lnTo>
                    <a:pt x="165" y="170"/>
                  </a:lnTo>
                  <a:lnTo>
                    <a:pt x="168" y="173"/>
                  </a:lnTo>
                  <a:lnTo>
                    <a:pt x="168" y="175"/>
                  </a:lnTo>
                  <a:lnTo>
                    <a:pt x="168" y="175"/>
                  </a:lnTo>
                  <a:lnTo>
                    <a:pt x="170" y="175"/>
                  </a:lnTo>
                  <a:lnTo>
                    <a:pt x="175" y="175"/>
                  </a:lnTo>
                  <a:lnTo>
                    <a:pt x="175" y="175"/>
                  </a:lnTo>
                  <a:lnTo>
                    <a:pt x="177" y="175"/>
                  </a:lnTo>
                  <a:lnTo>
                    <a:pt x="177" y="175"/>
                  </a:lnTo>
                  <a:lnTo>
                    <a:pt x="180" y="175"/>
                  </a:lnTo>
                  <a:lnTo>
                    <a:pt x="182" y="175"/>
                  </a:lnTo>
                  <a:lnTo>
                    <a:pt x="182" y="175"/>
                  </a:lnTo>
                  <a:lnTo>
                    <a:pt x="184" y="177"/>
                  </a:lnTo>
                  <a:lnTo>
                    <a:pt x="187" y="180"/>
                  </a:lnTo>
                  <a:lnTo>
                    <a:pt x="189" y="182"/>
                  </a:lnTo>
                  <a:lnTo>
                    <a:pt x="191" y="182"/>
                  </a:lnTo>
                  <a:lnTo>
                    <a:pt x="191" y="180"/>
                  </a:lnTo>
                  <a:lnTo>
                    <a:pt x="194" y="175"/>
                  </a:lnTo>
                  <a:lnTo>
                    <a:pt x="194" y="173"/>
                  </a:lnTo>
                  <a:lnTo>
                    <a:pt x="194" y="173"/>
                  </a:lnTo>
                  <a:lnTo>
                    <a:pt x="196" y="173"/>
                  </a:lnTo>
                  <a:lnTo>
                    <a:pt x="196" y="173"/>
                  </a:lnTo>
                  <a:lnTo>
                    <a:pt x="198" y="170"/>
                  </a:lnTo>
                  <a:lnTo>
                    <a:pt x="198" y="170"/>
                  </a:lnTo>
                  <a:lnTo>
                    <a:pt x="203" y="170"/>
                  </a:lnTo>
                  <a:lnTo>
                    <a:pt x="205" y="170"/>
                  </a:lnTo>
                  <a:lnTo>
                    <a:pt x="210" y="170"/>
                  </a:lnTo>
                  <a:lnTo>
                    <a:pt x="215" y="168"/>
                  </a:lnTo>
                  <a:lnTo>
                    <a:pt x="217" y="165"/>
                  </a:lnTo>
                  <a:lnTo>
                    <a:pt x="217" y="163"/>
                  </a:lnTo>
                  <a:lnTo>
                    <a:pt x="220" y="163"/>
                  </a:lnTo>
                  <a:lnTo>
                    <a:pt x="222" y="163"/>
                  </a:lnTo>
                  <a:lnTo>
                    <a:pt x="224" y="163"/>
                  </a:lnTo>
                  <a:lnTo>
                    <a:pt x="224" y="163"/>
                  </a:lnTo>
                  <a:lnTo>
                    <a:pt x="224" y="163"/>
                  </a:lnTo>
                  <a:lnTo>
                    <a:pt x="227" y="161"/>
                  </a:lnTo>
                  <a:lnTo>
                    <a:pt x="227" y="158"/>
                  </a:lnTo>
                  <a:lnTo>
                    <a:pt x="229" y="158"/>
                  </a:lnTo>
                  <a:lnTo>
                    <a:pt x="229" y="156"/>
                  </a:lnTo>
                  <a:lnTo>
                    <a:pt x="231" y="156"/>
                  </a:lnTo>
                  <a:lnTo>
                    <a:pt x="231" y="154"/>
                  </a:lnTo>
                  <a:lnTo>
                    <a:pt x="234" y="154"/>
                  </a:lnTo>
                  <a:lnTo>
                    <a:pt x="234" y="151"/>
                  </a:lnTo>
                  <a:lnTo>
                    <a:pt x="231" y="151"/>
                  </a:lnTo>
                  <a:lnTo>
                    <a:pt x="231" y="149"/>
                  </a:lnTo>
                  <a:lnTo>
                    <a:pt x="231" y="149"/>
                  </a:lnTo>
                  <a:lnTo>
                    <a:pt x="231" y="149"/>
                  </a:lnTo>
                  <a:lnTo>
                    <a:pt x="227" y="142"/>
                  </a:lnTo>
                  <a:lnTo>
                    <a:pt x="222" y="137"/>
                  </a:lnTo>
                  <a:lnTo>
                    <a:pt x="220" y="132"/>
                  </a:lnTo>
                  <a:lnTo>
                    <a:pt x="220" y="132"/>
                  </a:lnTo>
                  <a:lnTo>
                    <a:pt x="220" y="130"/>
                  </a:lnTo>
                  <a:lnTo>
                    <a:pt x="222" y="128"/>
                  </a:lnTo>
                  <a:lnTo>
                    <a:pt x="224" y="128"/>
                  </a:lnTo>
                  <a:lnTo>
                    <a:pt x="224" y="128"/>
                  </a:lnTo>
                  <a:lnTo>
                    <a:pt x="224" y="123"/>
                  </a:lnTo>
                  <a:lnTo>
                    <a:pt x="224" y="121"/>
                  </a:lnTo>
                  <a:lnTo>
                    <a:pt x="224" y="121"/>
                  </a:lnTo>
                  <a:lnTo>
                    <a:pt x="222" y="118"/>
                  </a:lnTo>
                  <a:lnTo>
                    <a:pt x="224" y="118"/>
                  </a:lnTo>
                  <a:lnTo>
                    <a:pt x="224" y="116"/>
                  </a:lnTo>
                  <a:lnTo>
                    <a:pt x="224" y="116"/>
                  </a:lnTo>
                  <a:lnTo>
                    <a:pt x="227" y="116"/>
                  </a:lnTo>
                  <a:lnTo>
                    <a:pt x="229" y="116"/>
                  </a:lnTo>
                  <a:lnTo>
                    <a:pt x="229" y="116"/>
                  </a:lnTo>
                  <a:lnTo>
                    <a:pt x="229" y="113"/>
                  </a:lnTo>
                  <a:lnTo>
                    <a:pt x="229" y="113"/>
                  </a:lnTo>
                  <a:lnTo>
                    <a:pt x="231" y="116"/>
                  </a:lnTo>
                  <a:lnTo>
                    <a:pt x="234" y="113"/>
                  </a:lnTo>
                  <a:lnTo>
                    <a:pt x="234" y="113"/>
                  </a:lnTo>
                  <a:lnTo>
                    <a:pt x="238" y="111"/>
                  </a:lnTo>
                  <a:lnTo>
                    <a:pt x="238" y="111"/>
                  </a:lnTo>
                  <a:lnTo>
                    <a:pt x="238" y="109"/>
                  </a:lnTo>
                  <a:lnTo>
                    <a:pt x="238" y="106"/>
                  </a:lnTo>
                  <a:lnTo>
                    <a:pt x="238" y="106"/>
                  </a:lnTo>
                  <a:lnTo>
                    <a:pt x="238" y="106"/>
                  </a:lnTo>
                  <a:lnTo>
                    <a:pt x="236" y="106"/>
                  </a:lnTo>
                  <a:lnTo>
                    <a:pt x="236" y="106"/>
                  </a:lnTo>
                  <a:lnTo>
                    <a:pt x="234" y="106"/>
                  </a:lnTo>
                  <a:lnTo>
                    <a:pt x="234" y="106"/>
                  </a:lnTo>
                  <a:lnTo>
                    <a:pt x="234" y="104"/>
                  </a:lnTo>
                  <a:lnTo>
                    <a:pt x="234" y="104"/>
                  </a:lnTo>
                  <a:lnTo>
                    <a:pt x="234" y="102"/>
                  </a:lnTo>
                  <a:lnTo>
                    <a:pt x="234" y="99"/>
                  </a:lnTo>
                  <a:lnTo>
                    <a:pt x="234" y="99"/>
                  </a:lnTo>
                  <a:lnTo>
                    <a:pt x="234" y="97"/>
                  </a:lnTo>
                  <a:lnTo>
                    <a:pt x="234" y="97"/>
                  </a:lnTo>
                  <a:lnTo>
                    <a:pt x="236" y="95"/>
                  </a:lnTo>
                  <a:lnTo>
                    <a:pt x="236" y="92"/>
                  </a:lnTo>
                  <a:lnTo>
                    <a:pt x="238" y="92"/>
                  </a:lnTo>
                  <a:lnTo>
                    <a:pt x="241" y="92"/>
                  </a:lnTo>
                  <a:lnTo>
                    <a:pt x="241" y="90"/>
                  </a:lnTo>
                  <a:lnTo>
                    <a:pt x="243" y="90"/>
                  </a:lnTo>
                  <a:lnTo>
                    <a:pt x="246" y="87"/>
                  </a:lnTo>
                  <a:lnTo>
                    <a:pt x="246" y="85"/>
                  </a:lnTo>
                  <a:lnTo>
                    <a:pt x="248" y="85"/>
                  </a:lnTo>
                  <a:lnTo>
                    <a:pt x="250" y="83"/>
                  </a:lnTo>
                  <a:lnTo>
                    <a:pt x="250" y="83"/>
                  </a:lnTo>
                  <a:lnTo>
                    <a:pt x="250" y="8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4" name="Freeform 210"/>
            <p:cNvSpPr>
              <a:spLocks/>
            </p:cNvSpPr>
            <p:nvPr userDrawn="1"/>
          </p:nvSpPr>
          <p:spPr bwMode="auto">
            <a:xfrm>
              <a:off x="3882" y="192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5" name="Freeform 211"/>
            <p:cNvSpPr>
              <a:spLocks noEditPoints="1"/>
            </p:cNvSpPr>
            <p:nvPr userDrawn="1"/>
          </p:nvSpPr>
          <p:spPr bwMode="auto">
            <a:xfrm>
              <a:off x="4607" y="1848"/>
              <a:ext cx="312" cy="175"/>
            </a:xfrm>
            <a:custGeom>
              <a:avLst/>
              <a:gdLst>
                <a:gd name="T0" fmla="*/ 281 w 312"/>
                <a:gd name="T1" fmla="*/ 116 h 175"/>
                <a:gd name="T2" fmla="*/ 279 w 312"/>
                <a:gd name="T3" fmla="*/ 116 h 175"/>
                <a:gd name="T4" fmla="*/ 281 w 312"/>
                <a:gd name="T5" fmla="*/ 116 h 175"/>
                <a:gd name="T6" fmla="*/ 297 w 312"/>
                <a:gd name="T7" fmla="*/ 94 h 175"/>
                <a:gd name="T8" fmla="*/ 288 w 312"/>
                <a:gd name="T9" fmla="*/ 92 h 175"/>
                <a:gd name="T10" fmla="*/ 281 w 312"/>
                <a:gd name="T11" fmla="*/ 85 h 175"/>
                <a:gd name="T12" fmla="*/ 276 w 312"/>
                <a:gd name="T13" fmla="*/ 92 h 175"/>
                <a:gd name="T14" fmla="*/ 262 w 312"/>
                <a:gd name="T15" fmla="*/ 87 h 175"/>
                <a:gd name="T16" fmla="*/ 264 w 312"/>
                <a:gd name="T17" fmla="*/ 75 h 175"/>
                <a:gd name="T18" fmla="*/ 267 w 312"/>
                <a:gd name="T19" fmla="*/ 68 h 175"/>
                <a:gd name="T20" fmla="*/ 257 w 312"/>
                <a:gd name="T21" fmla="*/ 73 h 175"/>
                <a:gd name="T22" fmla="*/ 241 w 312"/>
                <a:gd name="T23" fmla="*/ 85 h 175"/>
                <a:gd name="T24" fmla="*/ 234 w 312"/>
                <a:gd name="T25" fmla="*/ 99 h 175"/>
                <a:gd name="T26" fmla="*/ 224 w 312"/>
                <a:gd name="T27" fmla="*/ 97 h 175"/>
                <a:gd name="T28" fmla="*/ 213 w 312"/>
                <a:gd name="T29" fmla="*/ 92 h 175"/>
                <a:gd name="T30" fmla="*/ 194 w 312"/>
                <a:gd name="T31" fmla="*/ 82 h 175"/>
                <a:gd name="T32" fmla="*/ 182 w 312"/>
                <a:gd name="T33" fmla="*/ 64 h 175"/>
                <a:gd name="T34" fmla="*/ 170 w 312"/>
                <a:gd name="T35" fmla="*/ 49 h 175"/>
                <a:gd name="T36" fmla="*/ 151 w 312"/>
                <a:gd name="T37" fmla="*/ 42 h 175"/>
                <a:gd name="T38" fmla="*/ 125 w 312"/>
                <a:gd name="T39" fmla="*/ 42 h 175"/>
                <a:gd name="T40" fmla="*/ 97 w 312"/>
                <a:gd name="T41" fmla="*/ 35 h 175"/>
                <a:gd name="T42" fmla="*/ 76 w 312"/>
                <a:gd name="T43" fmla="*/ 21 h 175"/>
                <a:gd name="T44" fmla="*/ 50 w 312"/>
                <a:gd name="T45" fmla="*/ 4 h 175"/>
                <a:gd name="T46" fmla="*/ 24 w 312"/>
                <a:gd name="T47" fmla="*/ 4 h 175"/>
                <a:gd name="T48" fmla="*/ 0 w 312"/>
                <a:gd name="T49" fmla="*/ 19 h 175"/>
                <a:gd name="T50" fmla="*/ 10 w 312"/>
                <a:gd name="T51" fmla="*/ 64 h 175"/>
                <a:gd name="T52" fmla="*/ 33 w 312"/>
                <a:gd name="T53" fmla="*/ 90 h 175"/>
                <a:gd name="T54" fmla="*/ 31 w 312"/>
                <a:gd name="T55" fmla="*/ 75 h 175"/>
                <a:gd name="T56" fmla="*/ 45 w 312"/>
                <a:gd name="T57" fmla="*/ 66 h 175"/>
                <a:gd name="T58" fmla="*/ 52 w 312"/>
                <a:gd name="T59" fmla="*/ 68 h 175"/>
                <a:gd name="T60" fmla="*/ 48 w 312"/>
                <a:gd name="T61" fmla="*/ 61 h 175"/>
                <a:gd name="T62" fmla="*/ 64 w 312"/>
                <a:gd name="T63" fmla="*/ 64 h 175"/>
                <a:gd name="T64" fmla="*/ 81 w 312"/>
                <a:gd name="T65" fmla="*/ 71 h 175"/>
                <a:gd name="T66" fmla="*/ 85 w 312"/>
                <a:gd name="T67" fmla="*/ 78 h 175"/>
                <a:gd name="T68" fmla="*/ 85 w 312"/>
                <a:gd name="T69" fmla="*/ 87 h 175"/>
                <a:gd name="T70" fmla="*/ 106 w 312"/>
                <a:gd name="T71" fmla="*/ 92 h 175"/>
                <a:gd name="T72" fmla="*/ 121 w 312"/>
                <a:gd name="T73" fmla="*/ 97 h 175"/>
                <a:gd name="T74" fmla="*/ 144 w 312"/>
                <a:gd name="T75" fmla="*/ 123 h 175"/>
                <a:gd name="T76" fmla="*/ 175 w 312"/>
                <a:gd name="T77" fmla="*/ 142 h 175"/>
                <a:gd name="T78" fmla="*/ 203 w 312"/>
                <a:gd name="T79" fmla="*/ 151 h 175"/>
                <a:gd name="T80" fmla="*/ 213 w 312"/>
                <a:gd name="T81" fmla="*/ 165 h 175"/>
                <a:gd name="T82" fmla="*/ 234 w 312"/>
                <a:gd name="T83" fmla="*/ 172 h 175"/>
                <a:gd name="T84" fmla="*/ 241 w 312"/>
                <a:gd name="T85" fmla="*/ 158 h 175"/>
                <a:gd name="T86" fmla="*/ 234 w 312"/>
                <a:gd name="T87" fmla="*/ 142 h 175"/>
                <a:gd name="T88" fmla="*/ 227 w 312"/>
                <a:gd name="T89" fmla="*/ 132 h 175"/>
                <a:gd name="T90" fmla="*/ 224 w 312"/>
                <a:gd name="T91" fmla="*/ 123 h 175"/>
                <a:gd name="T92" fmla="*/ 238 w 312"/>
                <a:gd name="T93" fmla="*/ 118 h 175"/>
                <a:gd name="T94" fmla="*/ 243 w 312"/>
                <a:gd name="T95" fmla="*/ 116 h 175"/>
                <a:gd name="T96" fmla="*/ 241 w 312"/>
                <a:gd name="T97" fmla="*/ 113 h 175"/>
                <a:gd name="T98" fmla="*/ 248 w 312"/>
                <a:gd name="T99" fmla="*/ 108 h 175"/>
                <a:gd name="T100" fmla="*/ 253 w 312"/>
                <a:gd name="T101" fmla="*/ 101 h 175"/>
                <a:gd name="T102" fmla="*/ 267 w 312"/>
                <a:gd name="T103" fmla="*/ 97 h 175"/>
                <a:gd name="T104" fmla="*/ 267 w 312"/>
                <a:gd name="T105" fmla="*/ 104 h 175"/>
                <a:gd name="T106" fmla="*/ 271 w 312"/>
                <a:gd name="T107" fmla="*/ 111 h 175"/>
                <a:gd name="T108" fmla="*/ 288 w 312"/>
                <a:gd name="T109" fmla="*/ 111 h 175"/>
                <a:gd name="T110" fmla="*/ 295 w 312"/>
                <a:gd name="T111" fmla="*/ 106 h 175"/>
                <a:gd name="T112" fmla="*/ 300 w 312"/>
                <a:gd name="T113" fmla="*/ 104 h 175"/>
                <a:gd name="T114" fmla="*/ 267 w 312"/>
                <a:gd name="T115" fmla="*/ 9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175">
                  <a:moveTo>
                    <a:pt x="293" y="113"/>
                  </a:moveTo>
                  <a:lnTo>
                    <a:pt x="290" y="113"/>
                  </a:lnTo>
                  <a:lnTo>
                    <a:pt x="290" y="116"/>
                  </a:lnTo>
                  <a:lnTo>
                    <a:pt x="290" y="116"/>
                  </a:lnTo>
                  <a:lnTo>
                    <a:pt x="290" y="116"/>
                  </a:lnTo>
                  <a:lnTo>
                    <a:pt x="293" y="116"/>
                  </a:lnTo>
                  <a:lnTo>
                    <a:pt x="293" y="116"/>
                  </a:lnTo>
                  <a:lnTo>
                    <a:pt x="293" y="113"/>
                  </a:lnTo>
                  <a:lnTo>
                    <a:pt x="293" y="113"/>
                  </a:lnTo>
                  <a:close/>
                  <a:moveTo>
                    <a:pt x="281" y="116"/>
                  </a:moveTo>
                  <a:lnTo>
                    <a:pt x="281" y="116"/>
                  </a:lnTo>
                  <a:lnTo>
                    <a:pt x="283" y="116"/>
                  </a:lnTo>
                  <a:lnTo>
                    <a:pt x="281" y="116"/>
                  </a:lnTo>
                  <a:close/>
                  <a:moveTo>
                    <a:pt x="281" y="116"/>
                  </a:moveTo>
                  <a:lnTo>
                    <a:pt x="279" y="113"/>
                  </a:lnTo>
                  <a:lnTo>
                    <a:pt x="279" y="113"/>
                  </a:lnTo>
                  <a:lnTo>
                    <a:pt x="279" y="113"/>
                  </a:lnTo>
                  <a:lnTo>
                    <a:pt x="276" y="113"/>
                  </a:lnTo>
                  <a:lnTo>
                    <a:pt x="276" y="113"/>
                  </a:lnTo>
                  <a:lnTo>
                    <a:pt x="279" y="116"/>
                  </a:lnTo>
                  <a:lnTo>
                    <a:pt x="279" y="116"/>
                  </a:lnTo>
                  <a:lnTo>
                    <a:pt x="279" y="113"/>
                  </a:lnTo>
                  <a:lnTo>
                    <a:pt x="279" y="113"/>
                  </a:lnTo>
                  <a:lnTo>
                    <a:pt x="279" y="116"/>
                  </a:lnTo>
                  <a:lnTo>
                    <a:pt x="279" y="116"/>
                  </a:lnTo>
                  <a:lnTo>
                    <a:pt x="281" y="116"/>
                  </a:lnTo>
                  <a:lnTo>
                    <a:pt x="281" y="116"/>
                  </a:lnTo>
                  <a:lnTo>
                    <a:pt x="283" y="116"/>
                  </a:lnTo>
                  <a:lnTo>
                    <a:pt x="283" y="116"/>
                  </a:lnTo>
                  <a:lnTo>
                    <a:pt x="281" y="116"/>
                  </a:lnTo>
                  <a:lnTo>
                    <a:pt x="281" y="116"/>
                  </a:lnTo>
                  <a:close/>
                  <a:moveTo>
                    <a:pt x="312" y="99"/>
                  </a:moveTo>
                  <a:lnTo>
                    <a:pt x="307" y="97"/>
                  </a:lnTo>
                  <a:lnTo>
                    <a:pt x="307" y="99"/>
                  </a:lnTo>
                  <a:lnTo>
                    <a:pt x="307" y="99"/>
                  </a:lnTo>
                  <a:lnTo>
                    <a:pt x="304" y="97"/>
                  </a:lnTo>
                  <a:lnTo>
                    <a:pt x="302" y="97"/>
                  </a:lnTo>
                  <a:lnTo>
                    <a:pt x="302" y="97"/>
                  </a:lnTo>
                  <a:lnTo>
                    <a:pt x="300" y="94"/>
                  </a:lnTo>
                  <a:lnTo>
                    <a:pt x="297" y="94"/>
                  </a:lnTo>
                  <a:lnTo>
                    <a:pt x="295" y="94"/>
                  </a:lnTo>
                  <a:lnTo>
                    <a:pt x="295" y="94"/>
                  </a:lnTo>
                  <a:lnTo>
                    <a:pt x="293" y="94"/>
                  </a:lnTo>
                  <a:lnTo>
                    <a:pt x="293" y="94"/>
                  </a:lnTo>
                  <a:lnTo>
                    <a:pt x="293" y="94"/>
                  </a:lnTo>
                  <a:lnTo>
                    <a:pt x="293" y="92"/>
                  </a:lnTo>
                  <a:lnTo>
                    <a:pt x="293" y="92"/>
                  </a:lnTo>
                  <a:lnTo>
                    <a:pt x="290" y="92"/>
                  </a:lnTo>
                  <a:lnTo>
                    <a:pt x="290" y="92"/>
                  </a:lnTo>
                  <a:lnTo>
                    <a:pt x="288" y="92"/>
                  </a:lnTo>
                  <a:lnTo>
                    <a:pt x="288" y="92"/>
                  </a:lnTo>
                  <a:lnTo>
                    <a:pt x="286" y="90"/>
                  </a:lnTo>
                  <a:lnTo>
                    <a:pt x="286" y="87"/>
                  </a:lnTo>
                  <a:lnTo>
                    <a:pt x="283" y="87"/>
                  </a:lnTo>
                  <a:lnTo>
                    <a:pt x="283" y="85"/>
                  </a:lnTo>
                  <a:lnTo>
                    <a:pt x="283" y="85"/>
                  </a:lnTo>
                  <a:lnTo>
                    <a:pt x="283" y="85"/>
                  </a:lnTo>
                  <a:lnTo>
                    <a:pt x="281" y="85"/>
                  </a:lnTo>
                  <a:lnTo>
                    <a:pt x="281" y="85"/>
                  </a:lnTo>
                  <a:lnTo>
                    <a:pt x="281" y="85"/>
                  </a:lnTo>
                  <a:lnTo>
                    <a:pt x="281" y="85"/>
                  </a:lnTo>
                  <a:lnTo>
                    <a:pt x="281" y="85"/>
                  </a:lnTo>
                  <a:lnTo>
                    <a:pt x="281" y="87"/>
                  </a:lnTo>
                  <a:lnTo>
                    <a:pt x="281" y="87"/>
                  </a:lnTo>
                  <a:lnTo>
                    <a:pt x="281" y="90"/>
                  </a:lnTo>
                  <a:lnTo>
                    <a:pt x="281" y="90"/>
                  </a:lnTo>
                  <a:lnTo>
                    <a:pt x="279" y="87"/>
                  </a:lnTo>
                  <a:lnTo>
                    <a:pt x="279" y="92"/>
                  </a:lnTo>
                  <a:lnTo>
                    <a:pt x="279" y="92"/>
                  </a:lnTo>
                  <a:lnTo>
                    <a:pt x="276" y="92"/>
                  </a:lnTo>
                  <a:lnTo>
                    <a:pt x="276" y="92"/>
                  </a:lnTo>
                  <a:lnTo>
                    <a:pt x="274" y="92"/>
                  </a:lnTo>
                  <a:lnTo>
                    <a:pt x="271" y="92"/>
                  </a:lnTo>
                  <a:lnTo>
                    <a:pt x="271" y="92"/>
                  </a:lnTo>
                  <a:lnTo>
                    <a:pt x="269" y="90"/>
                  </a:lnTo>
                  <a:lnTo>
                    <a:pt x="269" y="90"/>
                  </a:lnTo>
                  <a:lnTo>
                    <a:pt x="267" y="87"/>
                  </a:lnTo>
                  <a:lnTo>
                    <a:pt x="264" y="85"/>
                  </a:lnTo>
                  <a:lnTo>
                    <a:pt x="264" y="85"/>
                  </a:lnTo>
                  <a:lnTo>
                    <a:pt x="262" y="87"/>
                  </a:lnTo>
                  <a:lnTo>
                    <a:pt x="260" y="85"/>
                  </a:lnTo>
                  <a:lnTo>
                    <a:pt x="257" y="85"/>
                  </a:lnTo>
                  <a:lnTo>
                    <a:pt x="257" y="85"/>
                  </a:lnTo>
                  <a:lnTo>
                    <a:pt x="255" y="85"/>
                  </a:lnTo>
                  <a:lnTo>
                    <a:pt x="255" y="82"/>
                  </a:lnTo>
                  <a:lnTo>
                    <a:pt x="260" y="80"/>
                  </a:lnTo>
                  <a:lnTo>
                    <a:pt x="262" y="78"/>
                  </a:lnTo>
                  <a:lnTo>
                    <a:pt x="262" y="78"/>
                  </a:lnTo>
                  <a:lnTo>
                    <a:pt x="264" y="75"/>
                  </a:lnTo>
                  <a:lnTo>
                    <a:pt x="264" y="75"/>
                  </a:lnTo>
                  <a:lnTo>
                    <a:pt x="264" y="73"/>
                  </a:lnTo>
                  <a:lnTo>
                    <a:pt x="264" y="73"/>
                  </a:lnTo>
                  <a:lnTo>
                    <a:pt x="267" y="73"/>
                  </a:lnTo>
                  <a:lnTo>
                    <a:pt x="267" y="73"/>
                  </a:lnTo>
                  <a:lnTo>
                    <a:pt x="271" y="71"/>
                  </a:lnTo>
                  <a:lnTo>
                    <a:pt x="271" y="71"/>
                  </a:lnTo>
                  <a:lnTo>
                    <a:pt x="269" y="71"/>
                  </a:lnTo>
                  <a:lnTo>
                    <a:pt x="269" y="68"/>
                  </a:lnTo>
                  <a:lnTo>
                    <a:pt x="267" y="68"/>
                  </a:lnTo>
                  <a:lnTo>
                    <a:pt x="267" y="68"/>
                  </a:lnTo>
                  <a:lnTo>
                    <a:pt x="264" y="68"/>
                  </a:lnTo>
                  <a:lnTo>
                    <a:pt x="264" y="71"/>
                  </a:lnTo>
                  <a:lnTo>
                    <a:pt x="262" y="71"/>
                  </a:lnTo>
                  <a:lnTo>
                    <a:pt x="262" y="71"/>
                  </a:lnTo>
                  <a:lnTo>
                    <a:pt x="262" y="73"/>
                  </a:lnTo>
                  <a:lnTo>
                    <a:pt x="260" y="73"/>
                  </a:lnTo>
                  <a:lnTo>
                    <a:pt x="260" y="73"/>
                  </a:lnTo>
                  <a:lnTo>
                    <a:pt x="260" y="73"/>
                  </a:lnTo>
                  <a:lnTo>
                    <a:pt x="257" y="73"/>
                  </a:lnTo>
                  <a:lnTo>
                    <a:pt x="257" y="73"/>
                  </a:lnTo>
                  <a:lnTo>
                    <a:pt x="255" y="73"/>
                  </a:lnTo>
                  <a:lnTo>
                    <a:pt x="255" y="75"/>
                  </a:lnTo>
                  <a:lnTo>
                    <a:pt x="253" y="78"/>
                  </a:lnTo>
                  <a:lnTo>
                    <a:pt x="250" y="80"/>
                  </a:lnTo>
                  <a:lnTo>
                    <a:pt x="248" y="80"/>
                  </a:lnTo>
                  <a:lnTo>
                    <a:pt x="246" y="80"/>
                  </a:lnTo>
                  <a:lnTo>
                    <a:pt x="246" y="82"/>
                  </a:lnTo>
                  <a:lnTo>
                    <a:pt x="243" y="85"/>
                  </a:lnTo>
                  <a:lnTo>
                    <a:pt x="243" y="85"/>
                  </a:lnTo>
                  <a:lnTo>
                    <a:pt x="241" y="85"/>
                  </a:lnTo>
                  <a:lnTo>
                    <a:pt x="238" y="87"/>
                  </a:lnTo>
                  <a:lnTo>
                    <a:pt x="238" y="87"/>
                  </a:lnTo>
                  <a:lnTo>
                    <a:pt x="238" y="90"/>
                  </a:lnTo>
                  <a:lnTo>
                    <a:pt x="238" y="90"/>
                  </a:lnTo>
                  <a:lnTo>
                    <a:pt x="236" y="92"/>
                  </a:lnTo>
                  <a:lnTo>
                    <a:pt x="234" y="94"/>
                  </a:lnTo>
                  <a:lnTo>
                    <a:pt x="234" y="97"/>
                  </a:lnTo>
                  <a:lnTo>
                    <a:pt x="231" y="97"/>
                  </a:lnTo>
                  <a:lnTo>
                    <a:pt x="231" y="99"/>
                  </a:lnTo>
                  <a:lnTo>
                    <a:pt x="234" y="99"/>
                  </a:lnTo>
                  <a:lnTo>
                    <a:pt x="234" y="101"/>
                  </a:lnTo>
                  <a:lnTo>
                    <a:pt x="234" y="101"/>
                  </a:lnTo>
                  <a:lnTo>
                    <a:pt x="234" y="104"/>
                  </a:lnTo>
                  <a:lnTo>
                    <a:pt x="231" y="104"/>
                  </a:lnTo>
                  <a:lnTo>
                    <a:pt x="231" y="104"/>
                  </a:lnTo>
                  <a:lnTo>
                    <a:pt x="229" y="101"/>
                  </a:lnTo>
                  <a:lnTo>
                    <a:pt x="227" y="101"/>
                  </a:lnTo>
                  <a:lnTo>
                    <a:pt x="224" y="99"/>
                  </a:lnTo>
                  <a:lnTo>
                    <a:pt x="224" y="99"/>
                  </a:lnTo>
                  <a:lnTo>
                    <a:pt x="224" y="97"/>
                  </a:lnTo>
                  <a:lnTo>
                    <a:pt x="224" y="97"/>
                  </a:lnTo>
                  <a:lnTo>
                    <a:pt x="224" y="94"/>
                  </a:lnTo>
                  <a:lnTo>
                    <a:pt x="222" y="94"/>
                  </a:lnTo>
                  <a:lnTo>
                    <a:pt x="222" y="92"/>
                  </a:lnTo>
                  <a:lnTo>
                    <a:pt x="222" y="92"/>
                  </a:lnTo>
                  <a:lnTo>
                    <a:pt x="220" y="92"/>
                  </a:lnTo>
                  <a:lnTo>
                    <a:pt x="220" y="92"/>
                  </a:lnTo>
                  <a:lnTo>
                    <a:pt x="217" y="92"/>
                  </a:lnTo>
                  <a:lnTo>
                    <a:pt x="217" y="92"/>
                  </a:lnTo>
                  <a:lnTo>
                    <a:pt x="213" y="92"/>
                  </a:lnTo>
                  <a:lnTo>
                    <a:pt x="210" y="92"/>
                  </a:lnTo>
                  <a:lnTo>
                    <a:pt x="208" y="92"/>
                  </a:lnTo>
                  <a:lnTo>
                    <a:pt x="205" y="92"/>
                  </a:lnTo>
                  <a:lnTo>
                    <a:pt x="201" y="92"/>
                  </a:lnTo>
                  <a:lnTo>
                    <a:pt x="201" y="92"/>
                  </a:lnTo>
                  <a:lnTo>
                    <a:pt x="198" y="92"/>
                  </a:lnTo>
                  <a:lnTo>
                    <a:pt x="198" y="90"/>
                  </a:lnTo>
                  <a:lnTo>
                    <a:pt x="196" y="87"/>
                  </a:lnTo>
                  <a:lnTo>
                    <a:pt x="196" y="85"/>
                  </a:lnTo>
                  <a:lnTo>
                    <a:pt x="194" y="82"/>
                  </a:lnTo>
                  <a:lnTo>
                    <a:pt x="194" y="80"/>
                  </a:lnTo>
                  <a:lnTo>
                    <a:pt x="191" y="75"/>
                  </a:lnTo>
                  <a:lnTo>
                    <a:pt x="191" y="75"/>
                  </a:lnTo>
                  <a:lnTo>
                    <a:pt x="189" y="75"/>
                  </a:lnTo>
                  <a:lnTo>
                    <a:pt x="187" y="75"/>
                  </a:lnTo>
                  <a:lnTo>
                    <a:pt x="182" y="73"/>
                  </a:lnTo>
                  <a:lnTo>
                    <a:pt x="182" y="73"/>
                  </a:lnTo>
                  <a:lnTo>
                    <a:pt x="182" y="71"/>
                  </a:lnTo>
                  <a:lnTo>
                    <a:pt x="182" y="68"/>
                  </a:lnTo>
                  <a:lnTo>
                    <a:pt x="182" y="64"/>
                  </a:lnTo>
                  <a:lnTo>
                    <a:pt x="180" y="61"/>
                  </a:lnTo>
                  <a:lnTo>
                    <a:pt x="180" y="59"/>
                  </a:lnTo>
                  <a:lnTo>
                    <a:pt x="180" y="56"/>
                  </a:lnTo>
                  <a:lnTo>
                    <a:pt x="180" y="54"/>
                  </a:lnTo>
                  <a:lnTo>
                    <a:pt x="177" y="54"/>
                  </a:lnTo>
                  <a:lnTo>
                    <a:pt x="177" y="56"/>
                  </a:lnTo>
                  <a:lnTo>
                    <a:pt x="175" y="56"/>
                  </a:lnTo>
                  <a:lnTo>
                    <a:pt x="172" y="54"/>
                  </a:lnTo>
                  <a:lnTo>
                    <a:pt x="172" y="52"/>
                  </a:lnTo>
                  <a:lnTo>
                    <a:pt x="170" y="49"/>
                  </a:lnTo>
                  <a:lnTo>
                    <a:pt x="168" y="47"/>
                  </a:lnTo>
                  <a:lnTo>
                    <a:pt x="165" y="47"/>
                  </a:lnTo>
                  <a:lnTo>
                    <a:pt x="163" y="45"/>
                  </a:lnTo>
                  <a:lnTo>
                    <a:pt x="161" y="45"/>
                  </a:lnTo>
                  <a:lnTo>
                    <a:pt x="158" y="42"/>
                  </a:lnTo>
                  <a:lnTo>
                    <a:pt x="158" y="40"/>
                  </a:lnTo>
                  <a:lnTo>
                    <a:pt x="156" y="40"/>
                  </a:lnTo>
                  <a:lnTo>
                    <a:pt x="154" y="40"/>
                  </a:lnTo>
                  <a:lnTo>
                    <a:pt x="151" y="40"/>
                  </a:lnTo>
                  <a:lnTo>
                    <a:pt x="151" y="42"/>
                  </a:lnTo>
                  <a:lnTo>
                    <a:pt x="149" y="42"/>
                  </a:lnTo>
                  <a:lnTo>
                    <a:pt x="149" y="42"/>
                  </a:lnTo>
                  <a:lnTo>
                    <a:pt x="147" y="42"/>
                  </a:lnTo>
                  <a:lnTo>
                    <a:pt x="144" y="42"/>
                  </a:lnTo>
                  <a:lnTo>
                    <a:pt x="142" y="42"/>
                  </a:lnTo>
                  <a:lnTo>
                    <a:pt x="137" y="42"/>
                  </a:lnTo>
                  <a:lnTo>
                    <a:pt x="135" y="42"/>
                  </a:lnTo>
                  <a:lnTo>
                    <a:pt x="132" y="42"/>
                  </a:lnTo>
                  <a:lnTo>
                    <a:pt x="128" y="40"/>
                  </a:lnTo>
                  <a:lnTo>
                    <a:pt x="125" y="42"/>
                  </a:lnTo>
                  <a:lnTo>
                    <a:pt x="121" y="42"/>
                  </a:lnTo>
                  <a:lnTo>
                    <a:pt x="118" y="42"/>
                  </a:lnTo>
                  <a:lnTo>
                    <a:pt x="116" y="42"/>
                  </a:lnTo>
                  <a:lnTo>
                    <a:pt x="111" y="42"/>
                  </a:lnTo>
                  <a:lnTo>
                    <a:pt x="109" y="45"/>
                  </a:lnTo>
                  <a:lnTo>
                    <a:pt x="106" y="45"/>
                  </a:lnTo>
                  <a:lnTo>
                    <a:pt x="106" y="42"/>
                  </a:lnTo>
                  <a:lnTo>
                    <a:pt x="102" y="40"/>
                  </a:lnTo>
                  <a:lnTo>
                    <a:pt x="99" y="38"/>
                  </a:lnTo>
                  <a:lnTo>
                    <a:pt x="97" y="35"/>
                  </a:lnTo>
                  <a:lnTo>
                    <a:pt x="95" y="33"/>
                  </a:lnTo>
                  <a:lnTo>
                    <a:pt x="92" y="33"/>
                  </a:lnTo>
                  <a:lnTo>
                    <a:pt x="90" y="30"/>
                  </a:lnTo>
                  <a:lnTo>
                    <a:pt x="88" y="28"/>
                  </a:lnTo>
                  <a:lnTo>
                    <a:pt x="88" y="26"/>
                  </a:lnTo>
                  <a:lnTo>
                    <a:pt x="88" y="26"/>
                  </a:lnTo>
                  <a:lnTo>
                    <a:pt x="85" y="23"/>
                  </a:lnTo>
                  <a:lnTo>
                    <a:pt x="81" y="23"/>
                  </a:lnTo>
                  <a:lnTo>
                    <a:pt x="78" y="21"/>
                  </a:lnTo>
                  <a:lnTo>
                    <a:pt x="76" y="21"/>
                  </a:lnTo>
                  <a:lnTo>
                    <a:pt x="73" y="19"/>
                  </a:lnTo>
                  <a:lnTo>
                    <a:pt x="71" y="16"/>
                  </a:lnTo>
                  <a:lnTo>
                    <a:pt x="69" y="16"/>
                  </a:lnTo>
                  <a:lnTo>
                    <a:pt x="66" y="14"/>
                  </a:lnTo>
                  <a:lnTo>
                    <a:pt x="64" y="14"/>
                  </a:lnTo>
                  <a:lnTo>
                    <a:pt x="59" y="9"/>
                  </a:lnTo>
                  <a:lnTo>
                    <a:pt x="57" y="9"/>
                  </a:lnTo>
                  <a:lnTo>
                    <a:pt x="55" y="7"/>
                  </a:lnTo>
                  <a:lnTo>
                    <a:pt x="52" y="7"/>
                  </a:lnTo>
                  <a:lnTo>
                    <a:pt x="50" y="4"/>
                  </a:lnTo>
                  <a:lnTo>
                    <a:pt x="48" y="4"/>
                  </a:lnTo>
                  <a:lnTo>
                    <a:pt x="45" y="2"/>
                  </a:lnTo>
                  <a:lnTo>
                    <a:pt x="43" y="2"/>
                  </a:lnTo>
                  <a:lnTo>
                    <a:pt x="40" y="0"/>
                  </a:lnTo>
                  <a:lnTo>
                    <a:pt x="38" y="0"/>
                  </a:lnTo>
                  <a:lnTo>
                    <a:pt x="36" y="0"/>
                  </a:lnTo>
                  <a:lnTo>
                    <a:pt x="33" y="2"/>
                  </a:lnTo>
                  <a:lnTo>
                    <a:pt x="31" y="2"/>
                  </a:lnTo>
                  <a:lnTo>
                    <a:pt x="26" y="4"/>
                  </a:lnTo>
                  <a:lnTo>
                    <a:pt x="24" y="4"/>
                  </a:lnTo>
                  <a:lnTo>
                    <a:pt x="22" y="4"/>
                  </a:lnTo>
                  <a:lnTo>
                    <a:pt x="19" y="7"/>
                  </a:lnTo>
                  <a:lnTo>
                    <a:pt x="15" y="7"/>
                  </a:lnTo>
                  <a:lnTo>
                    <a:pt x="12" y="7"/>
                  </a:lnTo>
                  <a:lnTo>
                    <a:pt x="10" y="9"/>
                  </a:lnTo>
                  <a:lnTo>
                    <a:pt x="8" y="9"/>
                  </a:lnTo>
                  <a:lnTo>
                    <a:pt x="5" y="9"/>
                  </a:lnTo>
                  <a:lnTo>
                    <a:pt x="3" y="12"/>
                  </a:lnTo>
                  <a:lnTo>
                    <a:pt x="0" y="14"/>
                  </a:lnTo>
                  <a:lnTo>
                    <a:pt x="0" y="19"/>
                  </a:lnTo>
                  <a:lnTo>
                    <a:pt x="3" y="23"/>
                  </a:lnTo>
                  <a:lnTo>
                    <a:pt x="3" y="28"/>
                  </a:lnTo>
                  <a:lnTo>
                    <a:pt x="3" y="33"/>
                  </a:lnTo>
                  <a:lnTo>
                    <a:pt x="5" y="38"/>
                  </a:lnTo>
                  <a:lnTo>
                    <a:pt x="5" y="42"/>
                  </a:lnTo>
                  <a:lnTo>
                    <a:pt x="8" y="47"/>
                  </a:lnTo>
                  <a:lnTo>
                    <a:pt x="8" y="52"/>
                  </a:lnTo>
                  <a:lnTo>
                    <a:pt x="10" y="54"/>
                  </a:lnTo>
                  <a:lnTo>
                    <a:pt x="10" y="59"/>
                  </a:lnTo>
                  <a:lnTo>
                    <a:pt x="10" y="64"/>
                  </a:lnTo>
                  <a:lnTo>
                    <a:pt x="12" y="68"/>
                  </a:lnTo>
                  <a:lnTo>
                    <a:pt x="12" y="73"/>
                  </a:lnTo>
                  <a:lnTo>
                    <a:pt x="15" y="78"/>
                  </a:lnTo>
                  <a:lnTo>
                    <a:pt x="15" y="82"/>
                  </a:lnTo>
                  <a:lnTo>
                    <a:pt x="15" y="87"/>
                  </a:lnTo>
                  <a:lnTo>
                    <a:pt x="19" y="90"/>
                  </a:lnTo>
                  <a:lnTo>
                    <a:pt x="24" y="90"/>
                  </a:lnTo>
                  <a:lnTo>
                    <a:pt x="29" y="90"/>
                  </a:lnTo>
                  <a:lnTo>
                    <a:pt x="31" y="90"/>
                  </a:lnTo>
                  <a:lnTo>
                    <a:pt x="33" y="90"/>
                  </a:lnTo>
                  <a:lnTo>
                    <a:pt x="33" y="90"/>
                  </a:lnTo>
                  <a:lnTo>
                    <a:pt x="33" y="90"/>
                  </a:lnTo>
                  <a:lnTo>
                    <a:pt x="36" y="87"/>
                  </a:lnTo>
                  <a:lnTo>
                    <a:pt x="36" y="87"/>
                  </a:lnTo>
                  <a:lnTo>
                    <a:pt x="36" y="87"/>
                  </a:lnTo>
                  <a:lnTo>
                    <a:pt x="33" y="87"/>
                  </a:lnTo>
                  <a:lnTo>
                    <a:pt x="33" y="85"/>
                  </a:lnTo>
                  <a:lnTo>
                    <a:pt x="31" y="80"/>
                  </a:lnTo>
                  <a:lnTo>
                    <a:pt x="31" y="78"/>
                  </a:lnTo>
                  <a:lnTo>
                    <a:pt x="31" y="75"/>
                  </a:lnTo>
                  <a:lnTo>
                    <a:pt x="33" y="75"/>
                  </a:lnTo>
                  <a:lnTo>
                    <a:pt x="33" y="73"/>
                  </a:lnTo>
                  <a:lnTo>
                    <a:pt x="33" y="71"/>
                  </a:lnTo>
                  <a:lnTo>
                    <a:pt x="36" y="71"/>
                  </a:lnTo>
                  <a:lnTo>
                    <a:pt x="40" y="71"/>
                  </a:lnTo>
                  <a:lnTo>
                    <a:pt x="43" y="71"/>
                  </a:lnTo>
                  <a:lnTo>
                    <a:pt x="43" y="71"/>
                  </a:lnTo>
                  <a:lnTo>
                    <a:pt x="45" y="68"/>
                  </a:lnTo>
                  <a:lnTo>
                    <a:pt x="45" y="66"/>
                  </a:lnTo>
                  <a:lnTo>
                    <a:pt x="45" y="66"/>
                  </a:lnTo>
                  <a:lnTo>
                    <a:pt x="45" y="64"/>
                  </a:lnTo>
                  <a:lnTo>
                    <a:pt x="45" y="64"/>
                  </a:lnTo>
                  <a:lnTo>
                    <a:pt x="48" y="66"/>
                  </a:lnTo>
                  <a:lnTo>
                    <a:pt x="50" y="66"/>
                  </a:lnTo>
                  <a:lnTo>
                    <a:pt x="50" y="66"/>
                  </a:lnTo>
                  <a:lnTo>
                    <a:pt x="50" y="66"/>
                  </a:lnTo>
                  <a:lnTo>
                    <a:pt x="52" y="68"/>
                  </a:lnTo>
                  <a:lnTo>
                    <a:pt x="52" y="68"/>
                  </a:lnTo>
                  <a:lnTo>
                    <a:pt x="52" y="68"/>
                  </a:lnTo>
                  <a:lnTo>
                    <a:pt x="52" y="68"/>
                  </a:lnTo>
                  <a:lnTo>
                    <a:pt x="55" y="68"/>
                  </a:lnTo>
                  <a:lnTo>
                    <a:pt x="55" y="68"/>
                  </a:lnTo>
                  <a:lnTo>
                    <a:pt x="55" y="68"/>
                  </a:lnTo>
                  <a:lnTo>
                    <a:pt x="55" y="68"/>
                  </a:lnTo>
                  <a:lnTo>
                    <a:pt x="52" y="66"/>
                  </a:lnTo>
                  <a:lnTo>
                    <a:pt x="50" y="64"/>
                  </a:lnTo>
                  <a:lnTo>
                    <a:pt x="48" y="64"/>
                  </a:lnTo>
                  <a:lnTo>
                    <a:pt x="48" y="61"/>
                  </a:lnTo>
                  <a:lnTo>
                    <a:pt x="48" y="61"/>
                  </a:lnTo>
                  <a:lnTo>
                    <a:pt x="48" y="61"/>
                  </a:lnTo>
                  <a:lnTo>
                    <a:pt x="48" y="61"/>
                  </a:lnTo>
                  <a:lnTo>
                    <a:pt x="50" y="61"/>
                  </a:lnTo>
                  <a:lnTo>
                    <a:pt x="52" y="61"/>
                  </a:lnTo>
                  <a:lnTo>
                    <a:pt x="52" y="61"/>
                  </a:lnTo>
                  <a:lnTo>
                    <a:pt x="55" y="59"/>
                  </a:lnTo>
                  <a:lnTo>
                    <a:pt x="57" y="61"/>
                  </a:lnTo>
                  <a:lnTo>
                    <a:pt x="59" y="64"/>
                  </a:lnTo>
                  <a:lnTo>
                    <a:pt x="59" y="64"/>
                  </a:lnTo>
                  <a:lnTo>
                    <a:pt x="62" y="64"/>
                  </a:lnTo>
                  <a:lnTo>
                    <a:pt x="64" y="64"/>
                  </a:lnTo>
                  <a:lnTo>
                    <a:pt x="64" y="64"/>
                  </a:lnTo>
                  <a:lnTo>
                    <a:pt x="66" y="64"/>
                  </a:lnTo>
                  <a:lnTo>
                    <a:pt x="66" y="66"/>
                  </a:lnTo>
                  <a:lnTo>
                    <a:pt x="69" y="68"/>
                  </a:lnTo>
                  <a:lnTo>
                    <a:pt x="71" y="68"/>
                  </a:lnTo>
                  <a:lnTo>
                    <a:pt x="76" y="68"/>
                  </a:lnTo>
                  <a:lnTo>
                    <a:pt x="78" y="68"/>
                  </a:lnTo>
                  <a:lnTo>
                    <a:pt x="78" y="68"/>
                  </a:lnTo>
                  <a:lnTo>
                    <a:pt x="81" y="71"/>
                  </a:lnTo>
                  <a:lnTo>
                    <a:pt x="81" y="71"/>
                  </a:lnTo>
                  <a:lnTo>
                    <a:pt x="81" y="71"/>
                  </a:lnTo>
                  <a:lnTo>
                    <a:pt x="81" y="71"/>
                  </a:lnTo>
                  <a:lnTo>
                    <a:pt x="81" y="73"/>
                  </a:lnTo>
                  <a:lnTo>
                    <a:pt x="81" y="73"/>
                  </a:lnTo>
                  <a:lnTo>
                    <a:pt x="81" y="75"/>
                  </a:lnTo>
                  <a:lnTo>
                    <a:pt x="81" y="75"/>
                  </a:lnTo>
                  <a:lnTo>
                    <a:pt x="81" y="75"/>
                  </a:lnTo>
                  <a:lnTo>
                    <a:pt x="83" y="75"/>
                  </a:lnTo>
                  <a:lnTo>
                    <a:pt x="85" y="78"/>
                  </a:lnTo>
                  <a:lnTo>
                    <a:pt x="85" y="78"/>
                  </a:lnTo>
                  <a:lnTo>
                    <a:pt x="85" y="78"/>
                  </a:lnTo>
                  <a:lnTo>
                    <a:pt x="85" y="78"/>
                  </a:lnTo>
                  <a:lnTo>
                    <a:pt x="83" y="78"/>
                  </a:lnTo>
                  <a:lnTo>
                    <a:pt x="83" y="80"/>
                  </a:lnTo>
                  <a:lnTo>
                    <a:pt x="83" y="80"/>
                  </a:lnTo>
                  <a:lnTo>
                    <a:pt x="85" y="82"/>
                  </a:lnTo>
                  <a:lnTo>
                    <a:pt x="85" y="82"/>
                  </a:lnTo>
                  <a:lnTo>
                    <a:pt x="85" y="82"/>
                  </a:lnTo>
                  <a:lnTo>
                    <a:pt x="85" y="85"/>
                  </a:lnTo>
                  <a:lnTo>
                    <a:pt x="85" y="87"/>
                  </a:lnTo>
                  <a:lnTo>
                    <a:pt x="85" y="87"/>
                  </a:lnTo>
                  <a:lnTo>
                    <a:pt x="88" y="87"/>
                  </a:lnTo>
                  <a:lnTo>
                    <a:pt x="92" y="90"/>
                  </a:lnTo>
                  <a:lnTo>
                    <a:pt x="92" y="90"/>
                  </a:lnTo>
                  <a:lnTo>
                    <a:pt x="97" y="90"/>
                  </a:lnTo>
                  <a:lnTo>
                    <a:pt x="99" y="90"/>
                  </a:lnTo>
                  <a:lnTo>
                    <a:pt x="99" y="90"/>
                  </a:lnTo>
                  <a:lnTo>
                    <a:pt x="104" y="90"/>
                  </a:lnTo>
                  <a:lnTo>
                    <a:pt x="104" y="92"/>
                  </a:lnTo>
                  <a:lnTo>
                    <a:pt x="106" y="92"/>
                  </a:lnTo>
                  <a:lnTo>
                    <a:pt x="106" y="92"/>
                  </a:lnTo>
                  <a:lnTo>
                    <a:pt x="109" y="90"/>
                  </a:lnTo>
                  <a:lnTo>
                    <a:pt x="109" y="90"/>
                  </a:lnTo>
                  <a:lnTo>
                    <a:pt x="109" y="90"/>
                  </a:lnTo>
                  <a:lnTo>
                    <a:pt x="109" y="90"/>
                  </a:lnTo>
                  <a:lnTo>
                    <a:pt x="114" y="90"/>
                  </a:lnTo>
                  <a:lnTo>
                    <a:pt x="116" y="92"/>
                  </a:lnTo>
                  <a:lnTo>
                    <a:pt x="118" y="92"/>
                  </a:lnTo>
                  <a:lnTo>
                    <a:pt x="118" y="94"/>
                  </a:lnTo>
                  <a:lnTo>
                    <a:pt x="121" y="97"/>
                  </a:lnTo>
                  <a:lnTo>
                    <a:pt x="123" y="101"/>
                  </a:lnTo>
                  <a:lnTo>
                    <a:pt x="125" y="104"/>
                  </a:lnTo>
                  <a:lnTo>
                    <a:pt x="128" y="106"/>
                  </a:lnTo>
                  <a:lnTo>
                    <a:pt x="130" y="108"/>
                  </a:lnTo>
                  <a:lnTo>
                    <a:pt x="132" y="116"/>
                  </a:lnTo>
                  <a:lnTo>
                    <a:pt x="132" y="116"/>
                  </a:lnTo>
                  <a:lnTo>
                    <a:pt x="132" y="116"/>
                  </a:lnTo>
                  <a:lnTo>
                    <a:pt x="137" y="118"/>
                  </a:lnTo>
                  <a:lnTo>
                    <a:pt x="142" y="120"/>
                  </a:lnTo>
                  <a:lnTo>
                    <a:pt x="144" y="123"/>
                  </a:lnTo>
                  <a:lnTo>
                    <a:pt x="149" y="125"/>
                  </a:lnTo>
                  <a:lnTo>
                    <a:pt x="154" y="127"/>
                  </a:lnTo>
                  <a:lnTo>
                    <a:pt x="158" y="132"/>
                  </a:lnTo>
                  <a:lnTo>
                    <a:pt x="158" y="132"/>
                  </a:lnTo>
                  <a:lnTo>
                    <a:pt x="163" y="134"/>
                  </a:lnTo>
                  <a:lnTo>
                    <a:pt x="165" y="137"/>
                  </a:lnTo>
                  <a:lnTo>
                    <a:pt x="168" y="134"/>
                  </a:lnTo>
                  <a:lnTo>
                    <a:pt x="172" y="139"/>
                  </a:lnTo>
                  <a:lnTo>
                    <a:pt x="175" y="139"/>
                  </a:lnTo>
                  <a:lnTo>
                    <a:pt x="175" y="142"/>
                  </a:lnTo>
                  <a:lnTo>
                    <a:pt x="180" y="142"/>
                  </a:lnTo>
                  <a:lnTo>
                    <a:pt x="184" y="144"/>
                  </a:lnTo>
                  <a:lnTo>
                    <a:pt x="189" y="149"/>
                  </a:lnTo>
                  <a:lnTo>
                    <a:pt x="194" y="151"/>
                  </a:lnTo>
                  <a:lnTo>
                    <a:pt x="196" y="151"/>
                  </a:lnTo>
                  <a:lnTo>
                    <a:pt x="196" y="151"/>
                  </a:lnTo>
                  <a:lnTo>
                    <a:pt x="196" y="151"/>
                  </a:lnTo>
                  <a:lnTo>
                    <a:pt x="198" y="151"/>
                  </a:lnTo>
                  <a:lnTo>
                    <a:pt x="201" y="151"/>
                  </a:lnTo>
                  <a:lnTo>
                    <a:pt x="203" y="151"/>
                  </a:lnTo>
                  <a:lnTo>
                    <a:pt x="203" y="153"/>
                  </a:lnTo>
                  <a:lnTo>
                    <a:pt x="205" y="153"/>
                  </a:lnTo>
                  <a:lnTo>
                    <a:pt x="208" y="156"/>
                  </a:lnTo>
                  <a:lnTo>
                    <a:pt x="208" y="156"/>
                  </a:lnTo>
                  <a:lnTo>
                    <a:pt x="213" y="156"/>
                  </a:lnTo>
                  <a:lnTo>
                    <a:pt x="213" y="156"/>
                  </a:lnTo>
                  <a:lnTo>
                    <a:pt x="213" y="158"/>
                  </a:lnTo>
                  <a:lnTo>
                    <a:pt x="213" y="158"/>
                  </a:lnTo>
                  <a:lnTo>
                    <a:pt x="213" y="160"/>
                  </a:lnTo>
                  <a:lnTo>
                    <a:pt x="213" y="165"/>
                  </a:lnTo>
                  <a:lnTo>
                    <a:pt x="213" y="168"/>
                  </a:lnTo>
                  <a:lnTo>
                    <a:pt x="215" y="170"/>
                  </a:lnTo>
                  <a:lnTo>
                    <a:pt x="220" y="170"/>
                  </a:lnTo>
                  <a:lnTo>
                    <a:pt x="224" y="170"/>
                  </a:lnTo>
                  <a:lnTo>
                    <a:pt x="227" y="172"/>
                  </a:lnTo>
                  <a:lnTo>
                    <a:pt x="229" y="172"/>
                  </a:lnTo>
                  <a:lnTo>
                    <a:pt x="229" y="172"/>
                  </a:lnTo>
                  <a:lnTo>
                    <a:pt x="231" y="172"/>
                  </a:lnTo>
                  <a:lnTo>
                    <a:pt x="231" y="172"/>
                  </a:lnTo>
                  <a:lnTo>
                    <a:pt x="234" y="172"/>
                  </a:lnTo>
                  <a:lnTo>
                    <a:pt x="234" y="172"/>
                  </a:lnTo>
                  <a:lnTo>
                    <a:pt x="236" y="175"/>
                  </a:lnTo>
                  <a:lnTo>
                    <a:pt x="236" y="175"/>
                  </a:lnTo>
                  <a:lnTo>
                    <a:pt x="236" y="172"/>
                  </a:lnTo>
                  <a:lnTo>
                    <a:pt x="236" y="168"/>
                  </a:lnTo>
                  <a:lnTo>
                    <a:pt x="236" y="165"/>
                  </a:lnTo>
                  <a:lnTo>
                    <a:pt x="238" y="163"/>
                  </a:lnTo>
                  <a:lnTo>
                    <a:pt x="238" y="160"/>
                  </a:lnTo>
                  <a:lnTo>
                    <a:pt x="241" y="158"/>
                  </a:lnTo>
                  <a:lnTo>
                    <a:pt x="241" y="158"/>
                  </a:lnTo>
                  <a:lnTo>
                    <a:pt x="241" y="156"/>
                  </a:lnTo>
                  <a:lnTo>
                    <a:pt x="241" y="153"/>
                  </a:lnTo>
                  <a:lnTo>
                    <a:pt x="241" y="153"/>
                  </a:lnTo>
                  <a:lnTo>
                    <a:pt x="241" y="151"/>
                  </a:lnTo>
                  <a:lnTo>
                    <a:pt x="241" y="151"/>
                  </a:lnTo>
                  <a:lnTo>
                    <a:pt x="238" y="151"/>
                  </a:lnTo>
                  <a:lnTo>
                    <a:pt x="236" y="149"/>
                  </a:lnTo>
                  <a:lnTo>
                    <a:pt x="236" y="146"/>
                  </a:lnTo>
                  <a:lnTo>
                    <a:pt x="234" y="144"/>
                  </a:lnTo>
                  <a:lnTo>
                    <a:pt x="234" y="142"/>
                  </a:lnTo>
                  <a:lnTo>
                    <a:pt x="234" y="137"/>
                  </a:lnTo>
                  <a:lnTo>
                    <a:pt x="234" y="137"/>
                  </a:lnTo>
                  <a:lnTo>
                    <a:pt x="234" y="137"/>
                  </a:lnTo>
                  <a:lnTo>
                    <a:pt x="234" y="134"/>
                  </a:lnTo>
                  <a:lnTo>
                    <a:pt x="231" y="134"/>
                  </a:lnTo>
                  <a:lnTo>
                    <a:pt x="229" y="134"/>
                  </a:lnTo>
                  <a:lnTo>
                    <a:pt x="229" y="134"/>
                  </a:lnTo>
                  <a:lnTo>
                    <a:pt x="227" y="134"/>
                  </a:lnTo>
                  <a:lnTo>
                    <a:pt x="227" y="134"/>
                  </a:lnTo>
                  <a:lnTo>
                    <a:pt x="227" y="132"/>
                  </a:lnTo>
                  <a:lnTo>
                    <a:pt x="224" y="132"/>
                  </a:lnTo>
                  <a:lnTo>
                    <a:pt x="224" y="132"/>
                  </a:lnTo>
                  <a:lnTo>
                    <a:pt x="220" y="130"/>
                  </a:lnTo>
                  <a:lnTo>
                    <a:pt x="220" y="130"/>
                  </a:lnTo>
                  <a:lnTo>
                    <a:pt x="220" y="130"/>
                  </a:lnTo>
                  <a:lnTo>
                    <a:pt x="220" y="125"/>
                  </a:lnTo>
                  <a:lnTo>
                    <a:pt x="220" y="125"/>
                  </a:lnTo>
                  <a:lnTo>
                    <a:pt x="220" y="125"/>
                  </a:lnTo>
                  <a:lnTo>
                    <a:pt x="222" y="123"/>
                  </a:lnTo>
                  <a:lnTo>
                    <a:pt x="224" y="123"/>
                  </a:lnTo>
                  <a:lnTo>
                    <a:pt x="227" y="123"/>
                  </a:lnTo>
                  <a:lnTo>
                    <a:pt x="231" y="123"/>
                  </a:lnTo>
                  <a:lnTo>
                    <a:pt x="234" y="123"/>
                  </a:lnTo>
                  <a:lnTo>
                    <a:pt x="234" y="123"/>
                  </a:lnTo>
                  <a:lnTo>
                    <a:pt x="236" y="125"/>
                  </a:lnTo>
                  <a:lnTo>
                    <a:pt x="236" y="123"/>
                  </a:lnTo>
                  <a:lnTo>
                    <a:pt x="238" y="123"/>
                  </a:lnTo>
                  <a:lnTo>
                    <a:pt x="238" y="123"/>
                  </a:lnTo>
                  <a:lnTo>
                    <a:pt x="238" y="120"/>
                  </a:lnTo>
                  <a:lnTo>
                    <a:pt x="238" y="118"/>
                  </a:lnTo>
                  <a:lnTo>
                    <a:pt x="238" y="118"/>
                  </a:lnTo>
                  <a:lnTo>
                    <a:pt x="241" y="118"/>
                  </a:lnTo>
                  <a:lnTo>
                    <a:pt x="241" y="118"/>
                  </a:lnTo>
                  <a:lnTo>
                    <a:pt x="241" y="116"/>
                  </a:lnTo>
                  <a:lnTo>
                    <a:pt x="241" y="116"/>
                  </a:lnTo>
                  <a:lnTo>
                    <a:pt x="241" y="116"/>
                  </a:lnTo>
                  <a:lnTo>
                    <a:pt x="241" y="116"/>
                  </a:lnTo>
                  <a:lnTo>
                    <a:pt x="243" y="116"/>
                  </a:lnTo>
                  <a:lnTo>
                    <a:pt x="243" y="116"/>
                  </a:lnTo>
                  <a:lnTo>
                    <a:pt x="243" y="116"/>
                  </a:lnTo>
                  <a:lnTo>
                    <a:pt x="241" y="116"/>
                  </a:lnTo>
                  <a:lnTo>
                    <a:pt x="241" y="116"/>
                  </a:lnTo>
                  <a:lnTo>
                    <a:pt x="241" y="116"/>
                  </a:lnTo>
                  <a:lnTo>
                    <a:pt x="241" y="116"/>
                  </a:lnTo>
                  <a:lnTo>
                    <a:pt x="243" y="113"/>
                  </a:lnTo>
                  <a:lnTo>
                    <a:pt x="243" y="113"/>
                  </a:lnTo>
                  <a:lnTo>
                    <a:pt x="243" y="113"/>
                  </a:lnTo>
                  <a:lnTo>
                    <a:pt x="243" y="113"/>
                  </a:lnTo>
                  <a:lnTo>
                    <a:pt x="243" y="113"/>
                  </a:lnTo>
                  <a:lnTo>
                    <a:pt x="241" y="113"/>
                  </a:lnTo>
                  <a:lnTo>
                    <a:pt x="238" y="113"/>
                  </a:lnTo>
                  <a:lnTo>
                    <a:pt x="236" y="113"/>
                  </a:lnTo>
                  <a:lnTo>
                    <a:pt x="236" y="113"/>
                  </a:lnTo>
                  <a:lnTo>
                    <a:pt x="236" y="111"/>
                  </a:lnTo>
                  <a:lnTo>
                    <a:pt x="243" y="111"/>
                  </a:lnTo>
                  <a:lnTo>
                    <a:pt x="246" y="111"/>
                  </a:lnTo>
                  <a:lnTo>
                    <a:pt x="248" y="111"/>
                  </a:lnTo>
                  <a:lnTo>
                    <a:pt x="248" y="111"/>
                  </a:lnTo>
                  <a:lnTo>
                    <a:pt x="246" y="108"/>
                  </a:lnTo>
                  <a:lnTo>
                    <a:pt x="248" y="108"/>
                  </a:lnTo>
                  <a:lnTo>
                    <a:pt x="248" y="108"/>
                  </a:lnTo>
                  <a:lnTo>
                    <a:pt x="246" y="104"/>
                  </a:lnTo>
                  <a:lnTo>
                    <a:pt x="246" y="104"/>
                  </a:lnTo>
                  <a:lnTo>
                    <a:pt x="246" y="101"/>
                  </a:lnTo>
                  <a:lnTo>
                    <a:pt x="246" y="101"/>
                  </a:lnTo>
                  <a:lnTo>
                    <a:pt x="246" y="99"/>
                  </a:lnTo>
                  <a:lnTo>
                    <a:pt x="248" y="99"/>
                  </a:lnTo>
                  <a:lnTo>
                    <a:pt x="248" y="99"/>
                  </a:lnTo>
                  <a:lnTo>
                    <a:pt x="250" y="101"/>
                  </a:lnTo>
                  <a:lnTo>
                    <a:pt x="253" y="101"/>
                  </a:lnTo>
                  <a:lnTo>
                    <a:pt x="253" y="101"/>
                  </a:lnTo>
                  <a:lnTo>
                    <a:pt x="255" y="101"/>
                  </a:lnTo>
                  <a:lnTo>
                    <a:pt x="257" y="99"/>
                  </a:lnTo>
                  <a:lnTo>
                    <a:pt x="260" y="99"/>
                  </a:lnTo>
                  <a:lnTo>
                    <a:pt x="262" y="97"/>
                  </a:lnTo>
                  <a:lnTo>
                    <a:pt x="262" y="97"/>
                  </a:lnTo>
                  <a:lnTo>
                    <a:pt x="262" y="94"/>
                  </a:lnTo>
                  <a:lnTo>
                    <a:pt x="262" y="94"/>
                  </a:lnTo>
                  <a:lnTo>
                    <a:pt x="264" y="94"/>
                  </a:lnTo>
                  <a:lnTo>
                    <a:pt x="267" y="97"/>
                  </a:lnTo>
                  <a:lnTo>
                    <a:pt x="269" y="99"/>
                  </a:lnTo>
                  <a:lnTo>
                    <a:pt x="269" y="99"/>
                  </a:lnTo>
                  <a:lnTo>
                    <a:pt x="269" y="99"/>
                  </a:lnTo>
                  <a:lnTo>
                    <a:pt x="269" y="99"/>
                  </a:lnTo>
                  <a:lnTo>
                    <a:pt x="269" y="101"/>
                  </a:lnTo>
                  <a:lnTo>
                    <a:pt x="271" y="101"/>
                  </a:lnTo>
                  <a:lnTo>
                    <a:pt x="269" y="101"/>
                  </a:lnTo>
                  <a:lnTo>
                    <a:pt x="269" y="101"/>
                  </a:lnTo>
                  <a:lnTo>
                    <a:pt x="269" y="101"/>
                  </a:lnTo>
                  <a:lnTo>
                    <a:pt x="267" y="104"/>
                  </a:lnTo>
                  <a:lnTo>
                    <a:pt x="264" y="106"/>
                  </a:lnTo>
                  <a:lnTo>
                    <a:pt x="264" y="106"/>
                  </a:lnTo>
                  <a:lnTo>
                    <a:pt x="264" y="106"/>
                  </a:lnTo>
                  <a:lnTo>
                    <a:pt x="267" y="108"/>
                  </a:lnTo>
                  <a:lnTo>
                    <a:pt x="267" y="108"/>
                  </a:lnTo>
                  <a:lnTo>
                    <a:pt x="267" y="108"/>
                  </a:lnTo>
                  <a:lnTo>
                    <a:pt x="269" y="108"/>
                  </a:lnTo>
                  <a:lnTo>
                    <a:pt x="269" y="111"/>
                  </a:lnTo>
                  <a:lnTo>
                    <a:pt x="271" y="111"/>
                  </a:lnTo>
                  <a:lnTo>
                    <a:pt x="271" y="111"/>
                  </a:lnTo>
                  <a:lnTo>
                    <a:pt x="276" y="111"/>
                  </a:lnTo>
                  <a:lnTo>
                    <a:pt x="276" y="111"/>
                  </a:lnTo>
                  <a:lnTo>
                    <a:pt x="276" y="111"/>
                  </a:lnTo>
                  <a:lnTo>
                    <a:pt x="279" y="111"/>
                  </a:lnTo>
                  <a:lnTo>
                    <a:pt x="283" y="111"/>
                  </a:lnTo>
                  <a:lnTo>
                    <a:pt x="283" y="111"/>
                  </a:lnTo>
                  <a:lnTo>
                    <a:pt x="286" y="111"/>
                  </a:lnTo>
                  <a:lnTo>
                    <a:pt x="286" y="111"/>
                  </a:lnTo>
                  <a:lnTo>
                    <a:pt x="288" y="111"/>
                  </a:lnTo>
                  <a:lnTo>
                    <a:pt x="288" y="111"/>
                  </a:lnTo>
                  <a:lnTo>
                    <a:pt x="288" y="111"/>
                  </a:lnTo>
                  <a:lnTo>
                    <a:pt x="288" y="111"/>
                  </a:lnTo>
                  <a:lnTo>
                    <a:pt x="290" y="113"/>
                  </a:lnTo>
                  <a:lnTo>
                    <a:pt x="290" y="111"/>
                  </a:lnTo>
                  <a:lnTo>
                    <a:pt x="293" y="111"/>
                  </a:lnTo>
                  <a:lnTo>
                    <a:pt x="293" y="111"/>
                  </a:lnTo>
                  <a:lnTo>
                    <a:pt x="293" y="111"/>
                  </a:lnTo>
                  <a:lnTo>
                    <a:pt x="293" y="108"/>
                  </a:lnTo>
                  <a:lnTo>
                    <a:pt x="295" y="108"/>
                  </a:lnTo>
                  <a:lnTo>
                    <a:pt x="295" y="106"/>
                  </a:lnTo>
                  <a:lnTo>
                    <a:pt x="297" y="106"/>
                  </a:lnTo>
                  <a:lnTo>
                    <a:pt x="297" y="106"/>
                  </a:lnTo>
                  <a:lnTo>
                    <a:pt x="297" y="106"/>
                  </a:lnTo>
                  <a:lnTo>
                    <a:pt x="297" y="106"/>
                  </a:lnTo>
                  <a:lnTo>
                    <a:pt x="300" y="106"/>
                  </a:lnTo>
                  <a:lnTo>
                    <a:pt x="300" y="106"/>
                  </a:lnTo>
                  <a:lnTo>
                    <a:pt x="300" y="106"/>
                  </a:lnTo>
                  <a:lnTo>
                    <a:pt x="300" y="104"/>
                  </a:lnTo>
                  <a:lnTo>
                    <a:pt x="300" y="104"/>
                  </a:lnTo>
                  <a:lnTo>
                    <a:pt x="300" y="104"/>
                  </a:lnTo>
                  <a:lnTo>
                    <a:pt x="300" y="104"/>
                  </a:lnTo>
                  <a:lnTo>
                    <a:pt x="302" y="104"/>
                  </a:lnTo>
                  <a:lnTo>
                    <a:pt x="302" y="104"/>
                  </a:lnTo>
                  <a:lnTo>
                    <a:pt x="304" y="104"/>
                  </a:lnTo>
                  <a:lnTo>
                    <a:pt x="304" y="104"/>
                  </a:lnTo>
                  <a:lnTo>
                    <a:pt x="304" y="101"/>
                  </a:lnTo>
                  <a:lnTo>
                    <a:pt x="309" y="99"/>
                  </a:lnTo>
                  <a:lnTo>
                    <a:pt x="312" y="99"/>
                  </a:lnTo>
                  <a:lnTo>
                    <a:pt x="312" y="99"/>
                  </a:lnTo>
                  <a:close/>
                  <a:moveTo>
                    <a:pt x="267" y="97"/>
                  </a:moveTo>
                  <a:lnTo>
                    <a:pt x="267" y="94"/>
                  </a:lnTo>
                  <a:lnTo>
                    <a:pt x="264" y="94"/>
                  </a:lnTo>
                  <a:lnTo>
                    <a:pt x="267" y="94"/>
                  </a:lnTo>
                  <a:lnTo>
                    <a:pt x="267" y="94"/>
                  </a:lnTo>
                  <a:lnTo>
                    <a:pt x="267" y="97"/>
                  </a:lnTo>
                  <a:lnTo>
                    <a:pt x="267" y="97"/>
                  </a:lnTo>
                  <a:lnTo>
                    <a:pt x="267" y="9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6" name="Freeform 212"/>
            <p:cNvSpPr>
              <a:spLocks/>
            </p:cNvSpPr>
            <p:nvPr userDrawn="1"/>
          </p:nvSpPr>
          <p:spPr bwMode="auto">
            <a:xfrm>
              <a:off x="2630" y="3444"/>
              <a:ext cx="94" cy="101"/>
            </a:xfrm>
            <a:custGeom>
              <a:avLst/>
              <a:gdLst>
                <a:gd name="T0" fmla="*/ 90 w 94"/>
                <a:gd name="T1" fmla="*/ 73 h 101"/>
                <a:gd name="T2" fmla="*/ 87 w 94"/>
                <a:gd name="T3" fmla="*/ 64 h 101"/>
                <a:gd name="T4" fmla="*/ 90 w 94"/>
                <a:gd name="T5" fmla="*/ 61 h 101"/>
                <a:gd name="T6" fmla="*/ 94 w 94"/>
                <a:gd name="T7" fmla="*/ 54 h 101"/>
                <a:gd name="T8" fmla="*/ 90 w 94"/>
                <a:gd name="T9" fmla="*/ 52 h 101"/>
                <a:gd name="T10" fmla="*/ 83 w 94"/>
                <a:gd name="T11" fmla="*/ 45 h 101"/>
                <a:gd name="T12" fmla="*/ 80 w 94"/>
                <a:gd name="T13" fmla="*/ 40 h 101"/>
                <a:gd name="T14" fmla="*/ 75 w 94"/>
                <a:gd name="T15" fmla="*/ 38 h 101"/>
                <a:gd name="T16" fmla="*/ 71 w 94"/>
                <a:gd name="T17" fmla="*/ 35 h 101"/>
                <a:gd name="T18" fmla="*/ 64 w 94"/>
                <a:gd name="T19" fmla="*/ 30 h 101"/>
                <a:gd name="T20" fmla="*/ 54 w 94"/>
                <a:gd name="T21" fmla="*/ 23 h 101"/>
                <a:gd name="T22" fmla="*/ 50 w 94"/>
                <a:gd name="T23" fmla="*/ 23 h 101"/>
                <a:gd name="T24" fmla="*/ 47 w 94"/>
                <a:gd name="T25" fmla="*/ 21 h 101"/>
                <a:gd name="T26" fmla="*/ 42 w 94"/>
                <a:gd name="T27" fmla="*/ 16 h 101"/>
                <a:gd name="T28" fmla="*/ 40 w 94"/>
                <a:gd name="T29" fmla="*/ 16 h 101"/>
                <a:gd name="T30" fmla="*/ 40 w 94"/>
                <a:gd name="T31" fmla="*/ 19 h 101"/>
                <a:gd name="T32" fmla="*/ 35 w 94"/>
                <a:gd name="T33" fmla="*/ 19 h 101"/>
                <a:gd name="T34" fmla="*/ 35 w 94"/>
                <a:gd name="T35" fmla="*/ 19 h 101"/>
                <a:gd name="T36" fmla="*/ 33 w 94"/>
                <a:gd name="T37" fmla="*/ 12 h 101"/>
                <a:gd name="T38" fmla="*/ 19 w 94"/>
                <a:gd name="T39" fmla="*/ 2 h 101"/>
                <a:gd name="T40" fmla="*/ 14 w 94"/>
                <a:gd name="T41" fmla="*/ 0 h 101"/>
                <a:gd name="T42" fmla="*/ 12 w 94"/>
                <a:gd name="T43" fmla="*/ 2 h 101"/>
                <a:gd name="T44" fmla="*/ 2 w 94"/>
                <a:gd name="T45" fmla="*/ 2 h 101"/>
                <a:gd name="T46" fmla="*/ 2 w 94"/>
                <a:gd name="T47" fmla="*/ 4 h 101"/>
                <a:gd name="T48" fmla="*/ 2 w 94"/>
                <a:gd name="T49" fmla="*/ 12 h 101"/>
                <a:gd name="T50" fmla="*/ 2 w 94"/>
                <a:gd name="T51" fmla="*/ 16 h 101"/>
                <a:gd name="T52" fmla="*/ 2 w 94"/>
                <a:gd name="T53" fmla="*/ 21 h 101"/>
                <a:gd name="T54" fmla="*/ 0 w 94"/>
                <a:gd name="T55" fmla="*/ 26 h 101"/>
                <a:gd name="T56" fmla="*/ 2 w 94"/>
                <a:gd name="T57" fmla="*/ 30 h 101"/>
                <a:gd name="T58" fmla="*/ 2 w 94"/>
                <a:gd name="T59" fmla="*/ 35 h 101"/>
                <a:gd name="T60" fmla="*/ 0 w 94"/>
                <a:gd name="T61" fmla="*/ 38 h 101"/>
                <a:gd name="T62" fmla="*/ 2 w 94"/>
                <a:gd name="T63" fmla="*/ 42 h 101"/>
                <a:gd name="T64" fmla="*/ 2 w 94"/>
                <a:gd name="T65" fmla="*/ 47 h 101"/>
                <a:gd name="T66" fmla="*/ 5 w 94"/>
                <a:gd name="T67" fmla="*/ 54 h 101"/>
                <a:gd name="T68" fmla="*/ 7 w 94"/>
                <a:gd name="T69" fmla="*/ 61 h 101"/>
                <a:gd name="T70" fmla="*/ 2 w 94"/>
                <a:gd name="T71" fmla="*/ 64 h 101"/>
                <a:gd name="T72" fmla="*/ 5 w 94"/>
                <a:gd name="T73" fmla="*/ 75 h 101"/>
                <a:gd name="T74" fmla="*/ 14 w 94"/>
                <a:gd name="T75" fmla="*/ 87 h 101"/>
                <a:gd name="T76" fmla="*/ 19 w 94"/>
                <a:gd name="T77" fmla="*/ 92 h 101"/>
                <a:gd name="T78" fmla="*/ 35 w 94"/>
                <a:gd name="T79" fmla="*/ 97 h 101"/>
                <a:gd name="T80" fmla="*/ 47 w 94"/>
                <a:gd name="T81" fmla="*/ 101 h 101"/>
                <a:gd name="T82" fmla="*/ 54 w 94"/>
                <a:gd name="T83" fmla="*/ 99 h 101"/>
                <a:gd name="T84" fmla="*/ 66 w 94"/>
                <a:gd name="T85" fmla="*/ 101 h 101"/>
                <a:gd name="T86" fmla="*/ 80 w 94"/>
                <a:gd name="T87" fmla="*/ 97 h 101"/>
                <a:gd name="T88" fmla="*/ 85 w 94"/>
                <a:gd name="T89" fmla="*/ 92 h 101"/>
                <a:gd name="T90" fmla="*/ 92 w 94"/>
                <a:gd name="T91" fmla="*/ 82 h 101"/>
                <a:gd name="T92" fmla="*/ 94 w 94"/>
                <a:gd name="T93" fmla="*/ 7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101">
                  <a:moveTo>
                    <a:pt x="92" y="75"/>
                  </a:moveTo>
                  <a:lnTo>
                    <a:pt x="90" y="75"/>
                  </a:lnTo>
                  <a:lnTo>
                    <a:pt x="90" y="73"/>
                  </a:lnTo>
                  <a:lnTo>
                    <a:pt x="90" y="73"/>
                  </a:lnTo>
                  <a:lnTo>
                    <a:pt x="90" y="71"/>
                  </a:lnTo>
                  <a:lnTo>
                    <a:pt x="87" y="64"/>
                  </a:lnTo>
                  <a:lnTo>
                    <a:pt x="87" y="64"/>
                  </a:lnTo>
                  <a:lnTo>
                    <a:pt x="90" y="61"/>
                  </a:lnTo>
                  <a:lnTo>
                    <a:pt x="90" y="61"/>
                  </a:lnTo>
                  <a:lnTo>
                    <a:pt x="92" y="59"/>
                  </a:lnTo>
                  <a:lnTo>
                    <a:pt x="92" y="56"/>
                  </a:lnTo>
                  <a:lnTo>
                    <a:pt x="94" y="54"/>
                  </a:lnTo>
                  <a:lnTo>
                    <a:pt x="92" y="54"/>
                  </a:lnTo>
                  <a:lnTo>
                    <a:pt x="92" y="52"/>
                  </a:lnTo>
                  <a:lnTo>
                    <a:pt x="90" y="52"/>
                  </a:lnTo>
                  <a:lnTo>
                    <a:pt x="85" y="49"/>
                  </a:lnTo>
                  <a:lnTo>
                    <a:pt x="83" y="47"/>
                  </a:lnTo>
                  <a:lnTo>
                    <a:pt x="83" y="45"/>
                  </a:lnTo>
                  <a:lnTo>
                    <a:pt x="80" y="42"/>
                  </a:lnTo>
                  <a:lnTo>
                    <a:pt x="80" y="42"/>
                  </a:lnTo>
                  <a:lnTo>
                    <a:pt x="80" y="40"/>
                  </a:lnTo>
                  <a:lnTo>
                    <a:pt x="78" y="40"/>
                  </a:lnTo>
                  <a:lnTo>
                    <a:pt x="78" y="40"/>
                  </a:lnTo>
                  <a:lnTo>
                    <a:pt x="75" y="38"/>
                  </a:lnTo>
                  <a:lnTo>
                    <a:pt x="75" y="38"/>
                  </a:lnTo>
                  <a:lnTo>
                    <a:pt x="73" y="38"/>
                  </a:lnTo>
                  <a:lnTo>
                    <a:pt x="71" y="35"/>
                  </a:lnTo>
                  <a:lnTo>
                    <a:pt x="68" y="33"/>
                  </a:lnTo>
                  <a:lnTo>
                    <a:pt x="66" y="30"/>
                  </a:lnTo>
                  <a:lnTo>
                    <a:pt x="64" y="30"/>
                  </a:lnTo>
                  <a:lnTo>
                    <a:pt x="61" y="28"/>
                  </a:lnTo>
                  <a:lnTo>
                    <a:pt x="57" y="26"/>
                  </a:lnTo>
                  <a:lnTo>
                    <a:pt x="54" y="23"/>
                  </a:lnTo>
                  <a:lnTo>
                    <a:pt x="52" y="26"/>
                  </a:lnTo>
                  <a:lnTo>
                    <a:pt x="52" y="23"/>
                  </a:lnTo>
                  <a:lnTo>
                    <a:pt x="50" y="23"/>
                  </a:lnTo>
                  <a:lnTo>
                    <a:pt x="50" y="21"/>
                  </a:lnTo>
                  <a:lnTo>
                    <a:pt x="47" y="21"/>
                  </a:lnTo>
                  <a:lnTo>
                    <a:pt x="47" y="21"/>
                  </a:lnTo>
                  <a:lnTo>
                    <a:pt x="47" y="19"/>
                  </a:lnTo>
                  <a:lnTo>
                    <a:pt x="45" y="16"/>
                  </a:lnTo>
                  <a:lnTo>
                    <a:pt x="42" y="16"/>
                  </a:lnTo>
                  <a:lnTo>
                    <a:pt x="42" y="14"/>
                  </a:lnTo>
                  <a:lnTo>
                    <a:pt x="42" y="16"/>
                  </a:lnTo>
                  <a:lnTo>
                    <a:pt x="40" y="16"/>
                  </a:lnTo>
                  <a:lnTo>
                    <a:pt x="40" y="16"/>
                  </a:lnTo>
                  <a:lnTo>
                    <a:pt x="40" y="16"/>
                  </a:lnTo>
                  <a:lnTo>
                    <a:pt x="40" y="19"/>
                  </a:lnTo>
                  <a:lnTo>
                    <a:pt x="38" y="19"/>
                  </a:lnTo>
                  <a:lnTo>
                    <a:pt x="38" y="19"/>
                  </a:lnTo>
                  <a:lnTo>
                    <a:pt x="35" y="19"/>
                  </a:lnTo>
                  <a:lnTo>
                    <a:pt x="35" y="19"/>
                  </a:lnTo>
                  <a:lnTo>
                    <a:pt x="35" y="19"/>
                  </a:lnTo>
                  <a:lnTo>
                    <a:pt x="35" y="19"/>
                  </a:lnTo>
                  <a:lnTo>
                    <a:pt x="35" y="14"/>
                  </a:lnTo>
                  <a:lnTo>
                    <a:pt x="33" y="14"/>
                  </a:lnTo>
                  <a:lnTo>
                    <a:pt x="33" y="12"/>
                  </a:lnTo>
                  <a:lnTo>
                    <a:pt x="31" y="9"/>
                  </a:lnTo>
                  <a:lnTo>
                    <a:pt x="26" y="7"/>
                  </a:lnTo>
                  <a:lnTo>
                    <a:pt x="19" y="2"/>
                  </a:lnTo>
                  <a:lnTo>
                    <a:pt x="17" y="0"/>
                  </a:lnTo>
                  <a:lnTo>
                    <a:pt x="14" y="0"/>
                  </a:lnTo>
                  <a:lnTo>
                    <a:pt x="14" y="0"/>
                  </a:lnTo>
                  <a:lnTo>
                    <a:pt x="12" y="0"/>
                  </a:lnTo>
                  <a:lnTo>
                    <a:pt x="12" y="2"/>
                  </a:lnTo>
                  <a:lnTo>
                    <a:pt x="12" y="2"/>
                  </a:lnTo>
                  <a:lnTo>
                    <a:pt x="7" y="2"/>
                  </a:lnTo>
                  <a:lnTo>
                    <a:pt x="5" y="2"/>
                  </a:lnTo>
                  <a:lnTo>
                    <a:pt x="2" y="2"/>
                  </a:lnTo>
                  <a:lnTo>
                    <a:pt x="2" y="2"/>
                  </a:lnTo>
                  <a:lnTo>
                    <a:pt x="2" y="4"/>
                  </a:lnTo>
                  <a:lnTo>
                    <a:pt x="2" y="4"/>
                  </a:lnTo>
                  <a:lnTo>
                    <a:pt x="0" y="7"/>
                  </a:lnTo>
                  <a:lnTo>
                    <a:pt x="0" y="9"/>
                  </a:lnTo>
                  <a:lnTo>
                    <a:pt x="2" y="12"/>
                  </a:lnTo>
                  <a:lnTo>
                    <a:pt x="2" y="16"/>
                  </a:lnTo>
                  <a:lnTo>
                    <a:pt x="2" y="16"/>
                  </a:lnTo>
                  <a:lnTo>
                    <a:pt x="2" y="16"/>
                  </a:lnTo>
                  <a:lnTo>
                    <a:pt x="2" y="19"/>
                  </a:lnTo>
                  <a:lnTo>
                    <a:pt x="2" y="19"/>
                  </a:lnTo>
                  <a:lnTo>
                    <a:pt x="2" y="21"/>
                  </a:lnTo>
                  <a:lnTo>
                    <a:pt x="2" y="23"/>
                  </a:lnTo>
                  <a:lnTo>
                    <a:pt x="2" y="23"/>
                  </a:lnTo>
                  <a:lnTo>
                    <a:pt x="0" y="26"/>
                  </a:lnTo>
                  <a:lnTo>
                    <a:pt x="0" y="28"/>
                  </a:lnTo>
                  <a:lnTo>
                    <a:pt x="2" y="30"/>
                  </a:lnTo>
                  <a:lnTo>
                    <a:pt x="2" y="30"/>
                  </a:lnTo>
                  <a:lnTo>
                    <a:pt x="2" y="30"/>
                  </a:lnTo>
                  <a:lnTo>
                    <a:pt x="2" y="33"/>
                  </a:lnTo>
                  <a:lnTo>
                    <a:pt x="2" y="35"/>
                  </a:lnTo>
                  <a:lnTo>
                    <a:pt x="2" y="35"/>
                  </a:lnTo>
                  <a:lnTo>
                    <a:pt x="0" y="38"/>
                  </a:lnTo>
                  <a:lnTo>
                    <a:pt x="0" y="38"/>
                  </a:lnTo>
                  <a:lnTo>
                    <a:pt x="0" y="40"/>
                  </a:lnTo>
                  <a:lnTo>
                    <a:pt x="2" y="40"/>
                  </a:lnTo>
                  <a:lnTo>
                    <a:pt x="2" y="42"/>
                  </a:lnTo>
                  <a:lnTo>
                    <a:pt x="2" y="42"/>
                  </a:lnTo>
                  <a:lnTo>
                    <a:pt x="2" y="45"/>
                  </a:lnTo>
                  <a:lnTo>
                    <a:pt x="2" y="47"/>
                  </a:lnTo>
                  <a:lnTo>
                    <a:pt x="2" y="49"/>
                  </a:lnTo>
                  <a:lnTo>
                    <a:pt x="5" y="52"/>
                  </a:lnTo>
                  <a:lnTo>
                    <a:pt x="5" y="54"/>
                  </a:lnTo>
                  <a:lnTo>
                    <a:pt x="7" y="59"/>
                  </a:lnTo>
                  <a:lnTo>
                    <a:pt x="7" y="59"/>
                  </a:lnTo>
                  <a:lnTo>
                    <a:pt x="7" y="61"/>
                  </a:lnTo>
                  <a:lnTo>
                    <a:pt x="5" y="64"/>
                  </a:lnTo>
                  <a:lnTo>
                    <a:pt x="5" y="64"/>
                  </a:lnTo>
                  <a:lnTo>
                    <a:pt x="2" y="64"/>
                  </a:lnTo>
                  <a:lnTo>
                    <a:pt x="2" y="66"/>
                  </a:lnTo>
                  <a:lnTo>
                    <a:pt x="2" y="71"/>
                  </a:lnTo>
                  <a:lnTo>
                    <a:pt x="5" y="75"/>
                  </a:lnTo>
                  <a:lnTo>
                    <a:pt x="5" y="80"/>
                  </a:lnTo>
                  <a:lnTo>
                    <a:pt x="9" y="82"/>
                  </a:lnTo>
                  <a:lnTo>
                    <a:pt x="14" y="87"/>
                  </a:lnTo>
                  <a:lnTo>
                    <a:pt x="17" y="90"/>
                  </a:lnTo>
                  <a:lnTo>
                    <a:pt x="17" y="92"/>
                  </a:lnTo>
                  <a:lnTo>
                    <a:pt x="19" y="92"/>
                  </a:lnTo>
                  <a:lnTo>
                    <a:pt x="24" y="92"/>
                  </a:lnTo>
                  <a:lnTo>
                    <a:pt x="31" y="92"/>
                  </a:lnTo>
                  <a:lnTo>
                    <a:pt x="35" y="97"/>
                  </a:lnTo>
                  <a:lnTo>
                    <a:pt x="45" y="97"/>
                  </a:lnTo>
                  <a:lnTo>
                    <a:pt x="45" y="99"/>
                  </a:lnTo>
                  <a:lnTo>
                    <a:pt x="47" y="101"/>
                  </a:lnTo>
                  <a:lnTo>
                    <a:pt x="50" y="101"/>
                  </a:lnTo>
                  <a:lnTo>
                    <a:pt x="50" y="101"/>
                  </a:lnTo>
                  <a:lnTo>
                    <a:pt x="54" y="99"/>
                  </a:lnTo>
                  <a:lnTo>
                    <a:pt x="57" y="97"/>
                  </a:lnTo>
                  <a:lnTo>
                    <a:pt x="64" y="99"/>
                  </a:lnTo>
                  <a:lnTo>
                    <a:pt x="66" y="101"/>
                  </a:lnTo>
                  <a:lnTo>
                    <a:pt x="68" y="101"/>
                  </a:lnTo>
                  <a:lnTo>
                    <a:pt x="71" y="101"/>
                  </a:lnTo>
                  <a:lnTo>
                    <a:pt x="80" y="97"/>
                  </a:lnTo>
                  <a:lnTo>
                    <a:pt x="83" y="97"/>
                  </a:lnTo>
                  <a:lnTo>
                    <a:pt x="83" y="97"/>
                  </a:lnTo>
                  <a:lnTo>
                    <a:pt x="85" y="92"/>
                  </a:lnTo>
                  <a:lnTo>
                    <a:pt x="90" y="90"/>
                  </a:lnTo>
                  <a:lnTo>
                    <a:pt x="90" y="87"/>
                  </a:lnTo>
                  <a:lnTo>
                    <a:pt x="92" y="82"/>
                  </a:lnTo>
                  <a:lnTo>
                    <a:pt x="92" y="78"/>
                  </a:lnTo>
                  <a:lnTo>
                    <a:pt x="92" y="78"/>
                  </a:lnTo>
                  <a:lnTo>
                    <a:pt x="94" y="75"/>
                  </a:lnTo>
                  <a:lnTo>
                    <a:pt x="92" y="75"/>
                  </a:lnTo>
                  <a:lnTo>
                    <a:pt x="92" y="7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7" name="Freeform 213"/>
            <p:cNvSpPr>
              <a:spLocks noEditPoints="1"/>
            </p:cNvSpPr>
            <p:nvPr userDrawn="1"/>
          </p:nvSpPr>
          <p:spPr bwMode="auto">
            <a:xfrm>
              <a:off x="740" y="1346"/>
              <a:ext cx="5706" cy="1062"/>
            </a:xfrm>
            <a:custGeom>
              <a:avLst/>
              <a:gdLst>
                <a:gd name="T0" fmla="*/ 881 w 5706"/>
                <a:gd name="T1" fmla="*/ 216 h 1062"/>
                <a:gd name="T2" fmla="*/ 910 w 5706"/>
                <a:gd name="T3" fmla="*/ 232 h 1062"/>
                <a:gd name="T4" fmla="*/ 917 w 5706"/>
                <a:gd name="T5" fmla="*/ 265 h 1062"/>
                <a:gd name="T6" fmla="*/ 943 w 5706"/>
                <a:gd name="T7" fmla="*/ 284 h 1062"/>
                <a:gd name="T8" fmla="*/ 895 w 5706"/>
                <a:gd name="T9" fmla="*/ 204 h 1062"/>
                <a:gd name="T10" fmla="*/ 964 w 5706"/>
                <a:gd name="T11" fmla="*/ 17 h 1062"/>
                <a:gd name="T12" fmla="*/ 827 w 5706"/>
                <a:gd name="T13" fmla="*/ 19 h 1062"/>
                <a:gd name="T14" fmla="*/ 714 w 5706"/>
                <a:gd name="T15" fmla="*/ 86 h 1062"/>
                <a:gd name="T16" fmla="*/ 620 w 5706"/>
                <a:gd name="T17" fmla="*/ 126 h 1062"/>
                <a:gd name="T18" fmla="*/ 577 w 5706"/>
                <a:gd name="T19" fmla="*/ 159 h 1062"/>
                <a:gd name="T20" fmla="*/ 511 w 5706"/>
                <a:gd name="T21" fmla="*/ 201 h 1062"/>
                <a:gd name="T22" fmla="*/ 582 w 5706"/>
                <a:gd name="T23" fmla="*/ 230 h 1062"/>
                <a:gd name="T24" fmla="*/ 467 w 5706"/>
                <a:gd name="T25" fmla="*/ 294 h 1062"/>
                <a:gd name="T26" fmla="*/ 464 w 5706"/>
                <a:gd name="T27" fmla="*/ 298 h 1062"/>
                <a:gd name="T28" fmla="*/ 582 w 5706"/>
                <a:gd name="T29" fmla="*/ 258 h 1062"/>
                <a:gd name="T30" fmla="*/ 716 w 5706"/>
                <a:gd name="T31" fmla="*/ 197 h 1062"/>
                <a:gd name="T32" fmla="*/ 693 w 5706"/>
                <a:gd name="T33" fmla="*/ 225 h 1062"/>
                <a:gd name="T34" fmla="*/ 778 w 5706"/>
                <a:gd name="T35" fmla="*/ 192 h 1062"/>
                <a:gd name="T36" fmla="*/ 660 w 5706"/>
                <a:gd name="T37" fmla="*/ 239 h 1062"/>
                <a:gd name="T38" fmla="*/ 905 w 5706"/>
                <a:gd name="T39" fmla="*/ 270 h 1062"/>
                <a:gd name="T40" fmla="*/ 893 w 5706"/>
                <a:gd name="T41" fmla="*/ 279 h 1062"/>
                <a:gd name="T42" fmla="*/ 914 w 5706"/>
                <a:gd name="T43" fmla="*/ 279 h 1062"/>
                <a:gd name="T44" fmla="*/ 893 w 5706"/>
                <a:gd name="T45" fmla="*/ 291 h 1062"/>
                <a:gd name="T46" fmla="*/ 884 w 5706"/>
                <a:gd name="T47" fmla="*/ 301 h 1062"/>
                <a:gd name="T48" fmla="*/ 910 w 5706"/>
                <a:gd name="T49" fmla="*/ 249 h 1062"/>
                <a:gd name="T50" fmla="*/ 40 w 5706"/>
                <a:gd name="T51" fmla="*/ 1010 h 1062"/>
                <a:gd name="T52" fmla="*/ 68 w 5706"/>
                <a:gd name="T53" fmla="*/ 1041 h 1062"/>
                <a:gd name="T54" fmla="*/ 596 w 5706"/>
                <a:gd name="T55" fmla="*/ 270 h 1062"/>
                <a:gd name="T56" fmla="*/ 497 w 5706"/>
                <a:gd name="T57" fmla="*/ 204 h 1062"/>
                <a:gd name="T58" fmla="*/ 462 w 5706"/>
                <a:gd name="T59" fmla="*/ 308 h 1062"/>
                <a:gd name="T60" fmla="*/ 335 w 5706"/>
                <a:gd name="T61" fmla="*/ 336 h 1062"/>
                <a:gd name="T62" fmla="*/ 462 w 5706"/>
                <a:gd name="T63" fmla="*/ 301 h 1062"/>
                <a:gd name="T64" fmla="*/ 1680 w 5706"/>
                <a:gd name="T65" fmla="*/ 599 h 1062"/>
                <a:gd name="T66" fmla="*/ 1796 w 5706"/>
                <a:gd name="T67" fmla="*/ 466 h 1062"/>
                <a:gd name="T68" fmla="*/ 1652 w 5706"/>
                <a:gd name="T69" fmla="*/ 544 h 1062"/>
                <a:gd name="T70" fmla="*/ 1513 w 5706"/>
                <a:gd name="T71" fmla="*/ 582 h 1062"/>
                <a:gd name="T72" fmla="*/ 1544 w 5706"/>
                <a:gd name="T73" fmla="*/ 518 h 1062"/>
                <a:gd name="T74" fmla="*/ 1501 w 5706"/>
                <a:gd name="T75" fmla="*/ 516 h 1062"/>
                <a:gd name="T76" fmla="*/ 1468 w 5706"/>
                <a:gd name="T77" fmla="*/ 530 h 1062"/>
                <a:gd name="T78" fmla="*/ 1527 w 5706"/>
                <a:gd name="T79" fmla="*/ 492 h 1062"/>
                <a:gd name="T80" fmla="*/ 1494 w 5706"/>
                <a:gd name="T81" fmla="*/ 480 h 1062"/>
                <a:gd name="T82" fmla="*/ 1473 w 5706"/>
                <a:gd name="T83" fmla="*/ 452 h 1062"/>
                <a:gd name="T84" fmla="*/ 936 w 5706"/>
                <a:gd name="T85" fmla="*/ 450 h 1062"/>
                <a:gd name="T86" fmla="*/ 931 w 5706"/>
                <a:gd name="T87" fmla="*/ 450 h 1062"/>
                <a:gd name="T88" fmla="*/ 825 w 5706"/>
                <a:gd name="T89" fmla="*/ 577 h 1062"/>
                <a:gd name="T90" fmla="*/ 804 w 5706"/>
                <a:gd name="T91" fmla="*/ 667 h 1062"/>
                <a:gd name="T92" fmla="*/ 985 w 5706"/>
                <a:gd name="T93" fmla="*/ 800 h 1062"/>
                <a:gd name="T94" fmla="*/ 1129 w 5706"/>
                <a:gd name="T95" fmla="*/ 885 h 1062"/>
                <a:gd name="T96" fmla="*/ 1200 w 5706"/>
                <a:gd name="T97" fmla="*/ 856 h 1062"/>
                <a:gd name="T98" fmla="*/ 1310 w 5706"/>
                <a:gd name="T99" fmla="*/ 840 h 1062"/>
                <a:gd name="T100" fmla="*/ 1355 w 5706"/>
                <a:gd name="T101" fmla="*/ 816 h 1062"/>
                <a:gd name="T102" fmla="*/ 1433 w 5706"/>
                <a:gd name="T103" fmla="*/ 875 h 1062"/>
                <a:gd name="T104" fmla="*/ 1473 w 5706"/>
                <a:gd name="T105" fmla="*/ 859 h 1062"/>
                <a:gd name="T106" fmla="*/ 1504 w 5706"/>
                <a:gd name="T107" fmla="*/ 774 h 1062"/>
                <a:gd name="T108" fmla="*/ 1603 w 5706"/>
                <a:gd name="T109" fmla="*/ 703 h 1062"/>
                <a:gd name="T110" fmla="*/ 1600 w 5706"/>
                <a:gd name="T111" fmla="*/ 672 h 1062"/>
                <a:gd name="T112" fmla="*/ 1612 w 5706"/>
                <a:gd name="T113" fmla="*/ 632 h 1062"/>
                <a:gd name="T114" fmla="*/ 1614 w 5706"/>
                <a:gd name="T115" fmla="*/ 670 h 1062"/>
                <a:gd name="T116" fmla="*/ 1666 w 5706"/>
                <a:gd name="T117" fmla="*/ 603 h 1062"/>
                <a:gd name="T118" fmla="*/ 1739 w 5706"/>
                <a:gd name="T119" fmla="*/ 563 h 1062"/>
                <a:gd name="T120" fmla="*/ 1817 w 5706"/>
                <a:gd name="T121" fmla="*/ 518 h 1062"/>
                <a:gd name="T122" fmla="*/ 5682 w 5706"/>
                <a:gd name="T123" fmla="*/ 142 h 1062"/>
                <a:gd name="T124" fmla="*/ 1339 w 5706"/>
                <a:gd name="T125" fmla="*/ 823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6" h="1062">
                  <a:moveTo>
                    <a:pt x="530" y="239"/>
                  </a:moveTo>
                  <a:lnTo>
                    <a:pt x="540" y="235"/>
                  </a:lnTo>
                  <a:lnTo>
                    <a:pt x="537" y="235"/>
                  </a:lnTo>
                  <a:lnTo>
                    <a:pt x="533" y="235"/>
                  </a:lnTo>
                  <a:lnTo>
                    <a:pt x="530" y="237"/>
                  </a:lnTo>
                  <a:lnTo>
                    <a:pt x="530" y="237"/>
                  </a:lnTo>
                  <a:lnTo>
                    <a:pt x="528" y="239"/>
                  </a:lnTo>
                  <a:lnTo>
                    <a:pt x="530" y="239"/>
                  </a:lnTo>
                  <a:lnTo>
                    <a:pt x="530" y="239"/>
                  </a:lnTo>
                  <a:close/>
                  <a:moveTo>
                    <a:pt x="707" y="204"/>
                  </a:moveTo>
                  <a:lnTo>
                    <a:pt x="709" y="201"/>
                  </a:lnTo>
                  <a:lnTo>
                    <a:pt x="709" y="201"/>
                  </a:lnTo>
                  <a:lnTo>
                    <a:pt x="709" y="201"/>
                  </a:lnTo>
                  <a:lnTo>
                    <a:pt x="707" y="204"/>
                  </a:lnTo>
                  <a:lnTo>
                    <a:pt x="705" y="204"/>
                  </a:lnTo>
                  <a:lnTo>
                    <a:pt x="705" y="204"/>
                  </a:lnTo>
                  <a:lnTo>
                    <a:pt x="707" y="204"/>
                  </a:lnTo>
                  <a:close/>
                  <a:moveTo>
                    <a:pt x="799" y="197"/>
                  </a:moveTo>
                  <a:lnTo>
                    <a:pt x="799" y="197"/>
                  </a:lnTo>
                  <a:lnTo>
                    <a:pt x="799" y="197"/>
                  </a:lnTo>
                  <a:lnTo>
                    <a:pt x="799" y="197"/>
                  </a:lnTo>
                  <a:lnTo>
                    <a:pt x="799" y="199"/>
                  </a:lnTo>
                  <a:lnTo>
                    <a:pt x="806" y="199"/>
                  </a:lnTo>
                  <a:lnTo>
                    <a:pt x="804" y="199"/>
                  </a:lnTo>
                  <a:lnTo>
                    <a:pt x="801" y="201"/>
                  </a:lnTo>
                  <a:lnTo>
                    <a:pt x="801" y="201"/>
                  </a:lnTo>
                  <a:lnTo>
                    <a:pt x="799" y="201"/>
                  </a:lnTo>
                  <a:lnTo>
                    <a:pt x="799" y="201"/>
                  </a:lnTo>
                  <a:lnTo>
                    <a:pt x="801" y="201"/>
                  </a:lnTo>
                  <a:lnTo>
                    <a:pt x="801" y="204"/>
                  </a:lnTo>
                  <a:lnTo>
                    <a:pt x="804" y="204"/>
                  </a:lnTo>
                  <a:lnTo>
                    <a:pt x="806" y="204"/>
                  </a:lnTo>
                  <a:lnTo>
                    <a:pt x="808" y="204"/>
                  </a:lnTo>
                  <a:lnTo>
                    <a:pt x="811" y="201"/>
                  </a:lnTo>
                  <a:lnTo>
                    <a:pt x="813" y="201"/>
                  </a:lnTo>
                  <a:lnTo>
                    <a:pt x="815" y="199"/>
                  </a:lnTo>
                  <a:lnTo>
                    <a:pt x="820" y="199"/>
                  </a:lnTo>
                  <a:lnTo>
                    <a:pt x="820" y="199"/>
                  </a:lnTo>
                  <a:lnTo>
                    <a:pt x="818" y="199"/>
                  </a:lnTo>
                  <a:lnTo>
                    <a:pt x="815" y="201"/>
                  </a:lnTo>
                  <a:lnTo>
                    <a:pt x="813" y="201"/>
                  </a:lnTo>
                  <a:lnTo>
                    <a:pt x="811" y="204"/>
                  </a:lnTo>
                  <a:lnTo>
                    <a:pt x="811" y="206"/>
                  </a:lnTo>
                  <a:lnTo>
                    <a:pt x="811" y="206"/>
                  </a:lnTo>
                  <a:lnTo>
                    <a:pt x="811" y="206"/>
                  </a:lnTo>
                  <a:lnTo>
                    <a:pt x="811" y="206"/>
                  </a:lnTo>
                  <a:lnTo>
                    <a:pt x="813" y="206"/>
                  </a:lnTo>
                  <a:lnTo>
                    <a:pt x="815" y="209"/>
                  </a:lnTo>
                  <a:lnTo>
                    <a:pt x="815" y="209"/>
                  </a:lnTo>
                  <a:lnTo>
                    <a:pt x="815" y="209"/>
                  </a:lnTo>
                  <a:lnTo>
                    <a:pt x="815" y="211"/>
                  </a:lnTo>
                  <a:lnTo>
                    <a:pt x="815" y="211"/>
                  </a:lnTo>
                  <a:lnTo>
                    <a:pt x="813" y="211"/>
                  </a:lnTo>
                  <a:lnTo>
                    <a:pt x="815" y="211"/>
                  </a:lnTo>
                  <a:lnTo>
                    <a:pt x="820" y="211"/>
                  </a:lnTo>
                  <a:lnTo>
                    <a:pt x="825" y="211"/>
                  </a:lnTo>
                  <a:lnTo>
                    <a:pt x="834" y="209"/>
                  </a:lnTo>
                  <a:lnTo>
                    <a:pt x="839" y="209"/>
                  </a:lnTo>
                  <a:lnTo>
                    <a:pt x="844" y="211"/>
                  </a:lnTo>
                  <a:lnTo>
                    <a:pt x="851" y="211"/>
                  </a:lnTo>
                  <a:lnTo>
                    <a:pt x="853" y="211"/>
                  </a:lnTo>
                  <a:lnTo>
                    <a:pt x="853" y="211"/>
                  </a:lnTo>
                  <a:lnTo>
                    <a:pt x="855" y="211"/>
                  </a:lnTo>
                  <a:lnTo>
                    <a:pt x="855" y="209"/>
                  </a:lnTo>
                  <a:lnTo>
                    <a:pt x="855" y="209"/>
                  </a:lnTo>
                  <a:lnTo>
                    <a:pt x="858" y="209"/>
                  </a:lnTo>
                  <a:lnTo>
                    <a:pt x="858" y="209"/>
                  </a:lnTo>
                  <a:lnTo>
                    <a:pt x="858" y="209"/>
                  </a:lnTo>
                  <a:lnTo>
                    <a:pt x="855" y="211"/>
                  </a:lnTo>
                  <a:lnTo>
                    <a:pt x="855" y="211"/>
                  </a:lnTo>
                  <a:lnTo>
                    <a:pt x="853" y="213"/>
                  </a:lnTo>
                  <a:lnTo>
                    <a:pt x="853" y="213"/>
                  </a:lnTo>
                  <a:lnTo>
                    <a:pt x="858" y="216"/>
                  </a:lnTo>
                  <a:lnTo>
                    <a:pt x="860" y="216"/>
                  </a:lnTo>
                  <a:lnTo>
                    <a:pt x="863" y="216"/>
                  </a:lnTo>
                  <a:lnTo>
                    <a:pt x="867" y="216"/>
                  </a:lnTo>
                  <a:lnTo>
                    <a:pt x="872" y="216"/>
                  </a:lnTo>
                  <a:lnTo>
                    <a:pt x="874" y="213"/>
                  </a:lnTo>
                  <a:lnTo>
                    <a:pt x="881" y="211"/>
                  </a:lnTo>
                  <a:lnTo>
                    <a:pt x="884" y="211"/>
                  </a:lnTo>
                  <a:lnTo>
                    <a:pt x="884" y="211"/>
                  </a:lnTo>
                  <a:lnTo>
                    <a:pt x="884" y="211"/>
                  </a:lnTo>
                  <a:lnTo>
                    <a:pt x="884" y="213"/>
                  </a:lnTo>
                  <a:lnTo>
                    <a:pt x="886" y="213"/>
                  </a:lnTo>
                  <a:lnTo>
                    <a:pt x="886" y="216"/>
                  </a:lnTo>
                  <a:lnTo>
                    <a:pt x="884" y="213"/>
                  </a:lnTo>
                  <a:lnTo>
                    <a:pt x="884" y="216"/>
                  </a:lnTo>
                  <a:lnTo>
                    <a:pt x="881" y="216"/>
                  </a:lnTo>
                  <a:lnTo>
                    <a:pt x="881" y="216"/>
                  </a:lnTo>
                  <a:lnTo>
                    <a:pt x="879" y="218"/>
                  </a:lnTo>
                  <a:lnTo>
                    <a:pt x="879" y="218"/>
                  </a:lnTo>
                  <a:lnTo>
                    <a:pt x="877" y="218"/>
                  </a:lnTo>
                  <a:lnTo>
                    <a:pt x="879" y="216"/>
                  </a:lnTo>
                  <a:lnTo>
                    <a:pt x="881" y="213"/>
                  </a:lnTo>
                  <a:lnTo>
                    <a:pt x="884" y="213"/>
                  </a:lnTo>
                  <a:lnTo>
                    <a:pt x="881" y="211"/>
                  </a:lnTo>
                  <a:lnTo>
                    <a:pt x="881" y="211"/>
                  </a:lnTo>
                  <a:lnTo>
                    <a:pt x="881" y="211"/>
                  </a:lnTo>
                  <a:lnTo>
                    <a:pt x="881" y="213"/>
                  </a:lnTo>
                  <a:lnTo>
                    <a:pt x="879" y="213"/>
                  </a:lnTo>
                  <a:lnTo>
                    <a:pt x="879" y="213"/>
                  </a:lnTo>
                  <a:lnTo>
                    <a:pt x="879" y="213"/>
                  </a:lnTo>
                  <a:lnTo>
                    <a:pt x="877" y="216"/>
                  </a:lnTo>
                  <a:lnTo>
                    <a:pt x="877" y="216"/>
                  </a:lnTo>
                  <a:lnTo>
                    <a:pt x="877" y="218"/>
                  </a:lnTo>
                  <a:lnTo>
                    <a:pt x="872" y="218"/>
                  </a:lnTo>
                  <a:lnTo>
                    <a:pt x="872" y="218"/>
                  </a:lnTo>
                  <a:lnTo>
                    <a:pt x="870" y="220"/>
                  </a:lnTo>
                  <a:lnTo>
                    <a:pt x="870" y="220"/>
                  </a:lnTo>
                  <a:lnTo>
                    <a:pt x="870" y="220"/>
                  </a:lnTo>
                  <a:lnTo>
                    <a:pt x="870" y="220"/>
                  </a:lnTo>
                  <a:lnTo>
                    <a:pt x="870" y="223"/>
                  </a:lnTo>
                  <a:lnTo>
                    <a:pt x="872" y="223"/>
                  </a:lnTo>
                  <a:lnTo>
                    <a:pt x="877" y="225"/>
                  </a:lnTo>
                  <a:lnTo>
                    <a:pt x="877" y="227"/>
                  </a:lnTo>
                  <a:lnTo>
                    <a:pt x="879" y="227"/>
                  </a:lnTo>
                  <a:lnTo>
                    <a:pt x="879" y="227"/>
                  </a:lnTo>
                  <a:lnTo>
                    <a:pt x="879" y="227"/>
                  </a:lnTo>
                  <a:lnTo>
                    <a:pt x="879" y="227"/>
                  </a:lnTo>
                  <a:lnTo>
                    <a:pt x="879" y="227"/>
                  </a:lnTo>
                  <a:lnTo>
                    <a:pt x="881" y="230"/>
                  </a:lnTo>
                  <a:lnTo>
                    <a:pt x="881" y="230"/>
                  </a:lnTo>
                  <a:lnTo>
                    <a:pt x="881" y="232"/>
                  </a:lnTo>
                  <a:lnTo>
                    <a:pt x="881" y="232"/>
                  </a:lnTo>
                  <a:lnTo>
                    <a:pt x="881" y="235"/>
                  </a:lnTo>
                  <a:lnTo>
                    <a:pt x="881" y="235"/>
                  </a:lnTo>
                  <a:lnTo>
                    <a:pt x="881" y="237"/>
                  </a:lnTo>
                  <a:lnTo>
                    <a:pt x="881" y="237"/>
                  </a:lnTo>
                  <a:lnTo>
                    <a:pt x="884" y="237"/>
                  </a:lnTo>
                  <a:lnTo>
                    <a:pt x="884" y="237"/>
                  </a:lnTo>
                  <a:lnTo>
                    <a:pt x="881" y="239"/>
                  </a:lnTo>
                  <a:lnTo>
                    <a:pt x="881" y="239"/>
                  </a:lnTo>
                  <a:lnTo>
                    <a:pt x="886" y="242"/>
                  </a:lnTo>
                  <a:lnTo>
                    <a:pt x="888" y="244"/>
                  </a:lnTo>
                  <a:lnTo>
                    <a:pt x="888" y="244"/>
                  </a:lnTo>
                  <a:lnTo>
                    <a:pt x="891" y="246"/>
                  </a:lnTo>
                  <a:lnTo>
                    <a:pt x="891" y="246"/>
                  </a:lnTo>
                  <a:lnTo>
                    <a:pt x="893" y="244"/>
                  </a:lnTo>
                  <a:lnTo>
                    <a:pt x="898" y="244"/>
                  </a:lnTo>
                  <a:lnTo>
                    <a:pt x="900" y="244"/>
                  </a:lnTo>
                  <a:lnTo>
                    <a:pt x="900" y="242"/>
                  </a:lnTo>
                  <a:lnTo>
                    <a:pt x="903" y="242"/>
                  </a:lnTo>
                  <a:lnTo>
                    <a:pt x="903" y="239"/>
                  </a:lnTo>
                  <a:lnTo>
                    <a:pt x="903" y="239"/>
                  </a:lnTo>
                  <a:lnTo>
                    <a:pt x="903" y="237"/>
                  </a:lnTo>
                  <a:lnTo>
                    <a:pt x="900" y="237"/>
                  </a:lnTo>
                  <a:lnTo>
                    <a:pt x="903" y="237"/>
                  </a:lnTo>
                  <a:lnTo>
                    <a:pt x="903" y="237"/>
                  </a:lnTo>
                  <a:lnTo>
                    <a:pt x="900" y="235"/>
                  </a:lnTo>
                  <a:lnTo>
                    <a:pt x="900" y="235"/>
                  </a:lnTo>
                  <a:lnTo>
                    <a:pt x="900" y="235"/>
                  </a:lnTo>
                  <a:lnTo>
                    <a:pt x="900" y="235"/>
                  </a:lnTo>
                  <a:lnTo>
                    <a:pt x="900" y="235"/>
                  </a:lnTo>
                  <a:lnTo>
                    <a:pt x="898" y="232"/>
                  </a:lnTo>
                  <a:lnTo>
                    <a:pt x="898" y="232"/>
                  </a:lnTo>
                  <a:lnTo>
                    <a:pt x="895" y="232"/>
                  </a:lnTo>
                  <a:lnTo>
                    <a:pt x="895" y="232"/>
                  </a:lnTo>
                  <a:lnTo>
                    <a:pt x="898" y="232"/>
                  </a:lnTo>
                  <a:lnTo>
                    <a:pt x="898" y="232"/>
                  </a:lnTo>
                  <a:lnTo>
                    <a:pt x="900" y="232"/>
                  </a:lnTo>
                  <a:lnTo>
                    <a:pt x="900" y="230"/>
                  </a:lnTo>
                  <a:lnTo>
                    <a:pt x="900" y="230"/>
                  </a:lnTo>
                  <a:lnTo>
                    <a:pt x="900" y="230"/>
                  </a:lnTo>
                  <a:lnTo>
                    <a:pt x="905" y="232"/>
                  </a:lnTo>
                  <a:lnTo>
                    <a:pt x="905" y="232"/>
                  </a:lnTo>
                  <a:lnTo>
                    <a:pt x="905" y="232"/>
                  </a:lnTo>
                  <a:lnTo>
                    <a:pt x="905" y="235"/>
                  </a:lnTo>
                  <a:lnTo>
                    <a:pt x="905" y="235"/>
                  </a:lnTo>
                  <a:lnTo>
                    <a:pt x="905" y="235"/>
                  </a:lnTo>
                  <a:lnTo>
                    <a:pt x="905" y="235"/>
                  </a:lnTo>
                  <a:lnTo>
                    <a:pt x="907" y="235"/>
                  </a:lnTo>
                  <a:lnTo>
                    <a:pt x="907" y="235"/>
                  </a:lnTo>
                  <a:lnTo>
                    <a:pt x="910" y="235"/>
                  </a:lnTo>
                  <a:lnTo>
                    <a:pt x="910" y="232"/>
                  </a:lnTo>
                  <a:lnTo>
                    <a:pt x="910" y="232"/>
                  </a:lnTo>
                  <a:lnTo>
                    <a:pt x="910" y="232"/>
                  </a:lnTo>
                  <a:lnTo>
                    <a:pt x="912" y="230"/>
                  </a:lnTo>
                  <a:lnTo>
                    <a:pt x="912" y="230"/>
                  </a:lnTo>
                  <a:lnTo>
                    <a:pt x="912" y="230"/>
                  </a:lnTo>
                  <a:lnTo>
                    <a:pt x="912" y="232"/>
                  </a:lnTo>
                  <a:lnTo>
                    <a:pt x="912" y="232"/>
                  </a:lnTo>
                  <a:lnTo>
                    <a:pt x="914" y="232"/>
                  </a:lnTo>
                  <a:lnTo>
                    <a:pt x="914" y="232"/>
                  </a:lnTo>
                  <a:lnTo>
                    <a:pt x="910" y="235"/>
                  </a:lnTo>
                  <a:lnTo>
                    <a:pt x="910" y="235"/>
                  </a:lnTo>
                  <a:lnTo>
                    <a:pt x="907" y="237"/>
                  </a:lnTo>
                  <a:lnTo>
                    <a:pt x="907" y="239"/>
                  </a:lnTo>
                  <a:lnTo>
                    <a:pt x="905" y="242"/>
                  </a:lnTo>
                  <a:lnTo>
                    <a:pt x="903" y="242"/>
                  </a:lnTo>
                  <a:lnTo>
                    <a:pt x="903" y="242"/>
                  </a:lnTo>
                  <a:lnTo>
                    <a:pt x="910" y="242"/>
                  </a:lnTo>
                  <a:lnTo>
                    <a:pt x="910" y="242"/>
                  </a:lnTo>
                  <a:lnTo>
                    <a:pt x="910" y="244"/>
                  </a:lnTo>
                  <a:lnTo>
                    <a:pt x="910" y="244"/>
                  </a:lnTo>
                  <a:lnTo>
                    <a:pt x="912" y="246"/>
                  </a:lnTo>
                  <a:lnTo>
                    <a:pt x="912" y="246"/>
                  </a:lnTo>
                  <a:lnTo>
                    <a:pt x="914" y="244"/>
                  </a:lnTo>
                  <a:lnTo>
                    <a:pt x="914" y="244"/>
                  </a:lnTo>
                  <a:lnTo>
                    <a:pt x="914" y="244"/>
                  </a:lnTo>
                  <a:lnTo>
                    <a:pt x="917" y="239"/>
                  </a:lnTo>
                  <a:lnTo>
                    <a:pt x="919" y="239"/>
                  </a:lnTo>
                  <a:lnTo>
                    <a:pt x="919" y="237"/>
                  </a:lnTo>
                  <a:lnTo>
                    <a:pt x="921" y="235"/>
                  </a:lnTo>
                  <a:lnTo>
                    <a:pt x="921" y="232"/>
                  </a:lnTo>
                  <a:lnTo>
                    <a:pt x="926" y="230"/>
                  </a:lnTo>
                  <a:lnTo>
                    <a:pt x="926" y="227"/>
                  </a:lnTo>
                  <a:lnTo>
                    <a:pt x="926" y="227"/>
                  </a:lnTo>
                  <a:lnTo>
                    <a:pt x="928" y="227"/>
                  </a:lnTo>
                  <a:lnTo>
                    <a:pt x="928" y="225"/>
                  </a:lnTo>
                  <a:lnTo>
                    <a:pt x="928" y="225"/>
                  </a:lnTo>
                  <a:lnTo>
                    <a:pt x="928" y="225"/>
                  </a:lnTo>
                  <a:lnTo>
                    <a:pt x="931" y="223"/>
                  </a:lnTo>
                  <a:lnTo>
                    <a:pt x="933" y="223"/>
                  </a:lnTo>
                  <a:lnTo>
                    <a:pt x="933" y="223"/>
                  </a:lnTo>
                  <a:lnTo>
                    <a:pt x="931" y="225"/>
                  </a:lnTo>
                  <a:lnTo>
                    <a:pt x="928" y="225"/>
                  </a:lnTo>
                  <a:lnTo>
                    <a:pt x="928" y="230"/>
                  </a:lnTo>
                  <a:lnTo>
                    <a:pt x="924" y="235"/>
                  </a:lnTo>
                  <a:lnTo>
                    <a:pt x="924" y="235"/>
                  </a:lnTo>
                  <a:lnTo>
                    <a:pt x="924" y="235"/>
                  </a:lnTo>
                  <a:lnTo>
                    <a:pt x="924" y="235"/>
                  </a:lnTo>
                  <a:lnTo>
                    <a:pt x="924" y="237"/>
                  </a:lnTo>
                  <a:lnTo>
                    <a:pt x="921" y="242"/>
                  </a:lnTo>
                  <a:lnTo>
                    <a:pt x="921" y="242"/>
                  </a:lnTo>
                  <a:lnTo>
                    <a:pt x="924" y="244"/>
                  </a:lnTo>
                  <a:lnTo>
                    <a:pt x="926" y="244"/>
                  </a:lnTo>
                  <a:lnTo>
                    <a:pt x="926" y="246"/>
                  </a:lnTo>
                  <a:lnTo>
                    <a:pt x="926" y="246"/>
                  </a:lnTo>
                  <a:lnTo>
                    <a:pt x="928" y="244"/>
                  </a:lnTo>
                  <a:lnTo>
                    <a:pt x="931" y="242"/>
                  </a:lnTo>
                  <a:lnTo>
                    <a:pt x="936" y="239"/>
                  </a:lnTo>
                  <a:lnTo>
                    <a:pt x="936" y="239"/>
                  </a:lnTo>
                  <a:lnTo>
                    <a:pt x="936" y="239"/>
                  </a:lnTo>
                  <a:lnTo>
                    <a:pt x="936" y="239"/>
                  </a:lnTo>
                  <a:lnTo>
                    <a:pt x="936" y="242"/>
                  </a:lnTo>
                  <a:lnTo>
                    <a:pt x="928" y="244"/>
                  </a:lnTo>
                  <a:lnTo>
                    <a:pt x="928" y="246"/>
                  </a:lnTo>
                  <a:lnTo>
                    <a:pt x="926" y="249"/>
                  </a:lnTo>
                  <a:lnTo>
                    <a:pt x="926" y="249"/>
                  </a:lnTo>
                  <a:lnTo>
                    <a:pt x="926" y="251"/>
                  </a:lnTo>
                  <a:lnTo>
                    <a:pt x="926" y="251"/>
                  </a:lnTo>
                  <a:lnTo>
                    <a:pt x="926" y="253"/>
                  </a:lnTo>
                  <a:lnTo>
                    <a:pt x="926" y="253"/>
                  </a:lnTo>
                  <a:lnTo>
                    <a:pt x="926" y="253"/>
                  </a:lnTo>
                  <a:lnTo>
                    <a:pt x="926" y="253"/>
                  </a:lnTo>
                  <a:lnTo>
                    <a:pt x="928" y="251"/>
                  </a:lnTo>
                  <a:lnTo>
                    <a:pt x="931" y="251"/>
                  </a:lnTo>
                  <a:lnTo>
                    <a:pt x="933" y="253"/>
                  </a:lnTo>
                  <a:lnTo>
                    <a:pt x="933" y="253"/>
                  </a:lnTo>
                  <a:lnTo>
                    <a:pt x="928" y="253"/>
                  </a:lnTo>
                  <a:lnTo>
                    <a:pt x="928" y="253"/>
                  </a:lnTo>
                  <a:lnTo>
                    <a:pt x="928" y="253"/>
                  </a:lnTo>
                  <a:lnTo>
                    <a:pt x="926" y="253"/>
                  </a:lnTo>
                  <a:lnTo>
                    <a:pt x="926" y="256"/>
                  </a:lnTo>
                  <a:lnTo>
                    <a:pt x="928" y="258"/>
                  </a:lnTo>
                  <a:lnTo>
                    <a:pt x="928" y="258"/>
                  </a:lnTo>
                  <a:lnTo>
                    <a:pt x="926" y="258"/>
                  </a:lnTo>
                  <a:lnTo>
                    <a:pt x="924" y="256"/>
                  </a:lnTo>
                  <a:lnTo>
                    <a:pt x="924" y="256"/>
                  </a:lnTo>
                  <a:lnTo>
                    <a:pt x="924" y="256"/>
                  </a:lnTo>
                  <a:lnTo>
                    <a:pt x="921" y="258"/>
                  </a:lnTo>
                  <a:lnTo>
                    <a:pt x="921" y="258"/>
                  </a:lnTo>
                  <a:lnTo>
                    <a:pt x="919" y="263"/>
                  </a:lnTo>
                  <a:lnTo>
                    <a:pt x="917" y="265"/>
                  </a:lnTo>
                  <a:lnTo>
                    <a:pt x="921" y="268"/>
                  </a:lnTo>
                  <a:lnTo>
                    <a:pt x="924" y="268"/>
                  </a:lnTo>
                  <a:lnTo>
                    <a:pt x="924" y="270"/>
                  </a:lnTo>
                  <a:lnTo>
                    <a:pt x="921" y="270"/>
                  </a:lnTo>
                  <a:lnTo>
                    <a:pt x="921" y="270"/>
                  </a:lnTo>
                  <a:lnTo>
                    <a:pt x="921" y="272"/>
                  </a:lnTo>
                  <a:lnTo>
                    <a:pt x="921" y="272"/>
                  </a:lnTo>
                  <a:lnTo>
                    <a:pt x="921" y="275"/>
                  </a:lnTo>
                  <a:lnTo>
                    <a:pt x="924" y="275"/>
                  </a:lnTo>
                  <a:lnTo>
                    <a:pt x="921" y="277"/>
                  </a:lnTo>
                  <a:lnTo>
                    <a:pt x="921" y="277"/>
                  </a:lnTo>
                  <a:lnTo>
                    <a:pt x="921" y="277"/>
                  </a:lnTo>
                  <a:lnTo>
                    <a:pt x="921" y="277"/>
                  </a:lnTo>
                  <a:lnTo>
                    <a:pt x="921" y="279"/>
                  </a:lnTo>
                  <a:lnTo>
                    <a:pt x="921" y="279"/>
                  </a:lnTo>
                  <a:lnTo>
                    <a:pt x="921" y="279"/>
                  </a:lnTo>
                  <a:lnTo>
                    <a:pt x="921" y="282"/>
                  </a:lnTo>
                  <a:lnTo>
                    <a:pt x="921" y="282"/>
                  </a:lnTo>
                  <a:lnTo>
                    <a:pt x="924" y="282"/>
                  </a:lnTo>
                  <a:lnTo>
                    <a:pt x="924" y="284"/>
                  </a:lnTo>
                  <a:lnTo>
                    <a:pt x="921" y="284"/>
                  </a:lnTo>
                  <a:lnTo>
                    <a:pt x="921" y="284"/>
                  </a:lnTo>
                  <a:lnTo>
                    <a:pt x="924" y="284"/>
                  </a:lnTo>
                  <a:lnTo>
                    <a:pt x="926" y="287"/>
                  </a:lnTo>
                  <a:lnTo>
                    <a:pt x="924" y="287"/>
                  </a:lnTo>
                  <a:lnTo>
                    <a:pt x="921" y="287"/>
                  </a:lnTo>
                  <a:lnTo>
                    <a:pt x="914" y="291"/>
                  </a:lnTo>
                  <a:lnTo>
                    <a:pt x="912" y="294"/>
                  </a:lnTo>
                  <a:lnTo>
                    <a:pt x="910" y="294"/>
                  </a:lnTo>
                  <a:lnTo>
                    <a:pt x="907" y="294"/>
                  </a:lnTo>
                  <a:lnTo>
                    <a:pt x="907" y="296"/>
                  </a:lnTo>
                  <a:lnTo>
                    <a:pt x="905" y="298"/>
                  </a:lnTo>
                  <a:lnTo>
                    <a:pt x="905" y="298"/>
                  </a:lnTo>
                  <a:lnTo>
                    <a:pt x="907" y="298"/>
                  </a:lnTo>
                  <a:lnTo>
                    <a:pt x="907" y="298"/>
                  </a:lnTo>
                  <a:lnTo>
                    <a:pt x="912" y="296"/>
                  </a:lnTo>
                  <a:lnTo>
                    <a:pt x="914" y="294"/>
                  </a:lnTo>
                  <a:lnTo>
                    <a:pt x="914" y="294"/>
                  </a:lnTo>
                  <a:lnTo>
                    <a:pt x="914" y="294"/>
                  </a:lnTo>
                  <a:lnTo>
                    <a:pt x="917" y="294"/>
                  </a:lnTo>
                  <a:lnTo>
                    <a:pt x="917" y="291"/>
                  </a:lnTo>
                  <a:lnTo>
                    <a:pt x="917" y="291"/>
                  </a:lnTo>
                  <a:lnTo>
                    <a:pt x="921" y="291"/>
                  </a:lnTo>
                  <a:lnTo>
                    <a:pt x="926" y="289"/>
                  </a:lnTo>
                  <a:lnTo>
                    <a:pt x="933" y="289"/>
                  </a:lnTo>
                  <a:lnTo>
                    <a:pt x="931" y="289"/>
                  </a:lnTo>
                  <a:lnTo>
                    <a:pt x="928" y="289"/>
                  </a:lnTo>
                  <a:lnTo>
                    <a:pt x="928" y="291"/>
                  </a:lnTo>
                  <a:lnTo>
                    <a:pt x="928" y="294"/>
                  </a:lnTo>
                  <a:lnTo>
                    <a:pt x="928" y="294"/>
                  </a:lnTo>
                  <a:lnTo>
                    <a:pt x="926" y="296"/>
                  </a:lnTo>
                  <a:lnTo>
                    <a:pt x="924" y="298"/>
                  </a:lnTo>
                  <a:lnTo>
                    <a:pt x="924" y="301"/>
                  </a:lnTo>
                  <a:lnTo>
                    <a:pt x="921" y="303"/>
                  </a:lnTo>
                  <a:lnTo>
                    <a:pt x="921" y="303"/>
                  </a:lnTo>
                  <a:lnTo>
                    <a:pt x="921" y="303"/>
                  </a:lnTo>
                  <a:lnTo>
                    <a:pt x="921" y="303"/>
                  </a:lnTo>
                  <a:lnTo>
                    <a:pt x="917" y="305"/>
                  </a:lnTo>
                  <a:lnTo>
                    <a:pt x="914" y="305"/>
                  </a:lnTo>
                  <a:lnTo>
                    <a:pt x="914" y="305"/>
                  </a:lnTo>
                  <a:lnTo>
                    <a:pt x="914" y="308"/>
                  </a:lnTo>
                  <a:lnTo>
                    <a:pt x="912" y="310"/>
                  </a:lnTo>
                  <a:lnTo>
                    <a:pt x="912" y="313"/>
                  </a:lnTo>
                  <a:lnTo>
                    <a:pt x="914" y="313"/>
                  </a:lnTo>
                  <a:lnTo>
                    <a:pt x="914" y="315"/>
                  </a:lnTo>
                  <a:lnTo>
                    <a:pt x="917" y="313"/>
                  </a:lnTo>
                  <a:lnTo>
                    <a:pt x="921" y="310"/>
                  </a:lnTo>
                  <a:lnTo>
                    <a:pt x="926" y="308"/>
                  </a:lnTo>
                  <a:lnTo>
                    <a:pt x="926" y="308"/>
                  </a:lnTo>
                  <a:lnTo>
                    <a:pt x="928" y="305"/>
                  </a:lnTo>
                  <a:lnTo>
                    <a:pt x="933" y="303"/>
                  </a:lnTo>
                  <a:lnTo>
                    <a:pt x="933" y="303"/>
                  </a:lnTo>
                  <a:lnTo>
                    <a:pt x="936" y="301"/>
                  </a:lnTo>
                  <a:lnTo>
                    <a:pt x="936" y="298"/>
                  </a:lnTo>
                  <a:lnTo>
                    <a:pt x="938" y="298"/>
                  </a:lnTo>
                  <a:lnTo>
                    <a:pt x="938" y="296"/>
                  </a:lnTo>
                  <a:lnTo>
                    <a:pt x="940" y="296"/>
                  </a:lnTo>
                  <a:lnTo>
                    <a:pt x="940" y="294"/>
                  </a:lnTo>
                  <a:lnTo>
                    <a:pt x="943" y="294"/>
                  </a:lnTo>
                  <a:lnTo>
                    <a:pt x="945" y="291"/>
                  </a:lnTo>
                  <a:lnTo>
                    <a:pt x="945" y="291"/>
                  </a:lnTo>
                  <a:lnTo>
                    <a:pt x="947" y="289"/>
                  </a:lnTo>
                  <a:lnTo>
                    <a:pt x="947" y="289"/>
                  </a:lnTo>
                  <a:lnTo>
                    <a:pt x="947" y="287"/>
                  </a:lnTo>
                  <a:lnTo>
                    <a:pt x="945" y="289"/>
                  </a:lnTo>
                  <a:lnTo>
                    <a:pt x="943" y="287"/>
                  </a:lnTo>
                  <a:lnTo>
                    <a:pt x="943" y="284"/>
                  </a:lnTo>
                  <a:lnTo>
                    <a:pt x="943" y="284"/>
                  </a:lnTo>
                  <a:lnTo>
                    <a:pt x="943" y="282"/>
                  </a:lnTo>
                  <a:lnTo>
                    <a:pt x="940" y="282"/>
                  </a:lnTo>
                  <a:lnTo>
                    <a:pt x="938" y="282"/>
                  </a:lnTo>
                  <a:lnTo>
                    <a:pt x="938" y="279"/>
                  </a:lnTo>
                  <a:lnTo>
                    <a:pt x="936" y="279"/>
                  </a:lnTo>
                  <a:lnTo>
                    <a:pt x="936" y="279"/>
                  </a:lnTo>
                  <a:lnTo>
                    <a:pt x="933" y="277"/>
                  </a:lnTo>
                  <a:lnTo>
                    <a:pt x="933" y="277"/>
                  </a:lnTo>
                  <a:lnTo>
                    <a:pt x="931" y="277"/>
                  </a:lnTo>
                  <a:lnTo>
                    <a:pt x="931" y="277"/>
                  </a:lnTo>
                  <a:lnTo>
                    <a:pt x="931" y="275"/>
                  </a:lnTo>
                  <a:lnTo>
                    <a:pt x="933" y="275"/>
                  </a:lnTo>
                  <a:lnTo>
                    <a:pt x="933" y="272"/>
                  </a:lnTo>
                  <a:lnTo>
                    <a:pt x="931" y="272"/>
                  </a:lnTo>
                  <a:lnTo>
                    <a:pt x="933" y="270"/>
                  </a:lnTo>
                  <a:lnTo>
                    <a:pt x="936" y="270"/>
                  </a:lnTo>
                  <a:lnTo>
                    <a:pt x="933" y="268"/>
                  </a:lnTo>
                  <a:lnTo>
                    <a:pt x="931" y="268"/>
                  </a:lnTo>
                  <a:lnTo>
                    <a:pt x="933" y="268"/>
                  </a:lnTo>
                  <a:lnTo>
                    <a:pt x="936" y="265"/>
                  </a:lnTo>
                  <a:lnTo>
                    <a:pt x="936" y="265"/>
                  </a:lnTo>
                  <a:lnTo>
                    <a:pt x="936" y="261"/>
                  </a:lnTo>
                  <a:lnTo>
                    <a:pt x="936" y="261"/>
                  </a:lnTo>
                  <a:lnTo>
                    <a:pt x="938" y="258"/>
                  </a:lnTo>
                  <a:lnTo>
                    <a:pt x="938" y="253"/>
                  </a:lnTo>
                  <a:lnTo>
                    <a:pt x="938" y="253"/>
                  </a:lnTo>
                  <a:lnTo>
                    <a:pt x="938" y="251"/>
                  </a:lnTo>
                  <a:lnTo>
                    <a:pt x="938" y="249"/>
                  </a:lnTo>
                  <a:lnTo>
                    <a:pt x="940" y="246"/>
                  </a:lnTo>
                  <a:lnTo>
                    <a:pt x="940" y="244"/>
                  </a:lnTo>
                  <a:lnTo>
                    <a:pt x="940" y="242"/>
                  </a:lnTo>
                  <a:lnTo>
                    <a:pt x="940" y="239"/>
                  </a:lnTo>
                  <a:lnTo>
                    <a:pt x="940" y="239"/>
                  </a:lnTo>
                  <a:lnTo>
                    <a:pt x="940" y="237"/>
                  </a:lnTo>
                  <a:lnTo>
                    <a:pt x="940" y="235"/>
                  </a:lnTo>
                  <a:lnTo>
                    <a:pt x="938" y="235"/>
                  </a:lnTo>
                  <a:lnTo>
                    <a:pt x="938" y="235"/>
                  </a:lnTo>
                  <a:lnTo>
                    <a:pt x="938" y="232"/>
                  </a:lnTo>
                  <a:lnTo>
                    <a:pt x="938" y="232"/>
                  </a:lnTo>
                  <a:lnTo>
                    <a:pt x="938" y="232"/>
                  </a:lnTo>
                  <a:lnTo>
                    <a:pt x="938" y="230"/>
                  </a:lnTo>
                  <a:lnTo>
                    <a:pt x="938" y="230"/>
                  </a:lnTo>
                  <a:lnTo>
                    <a:pt x="940" y="230"/>
                  </a:lnTo>
                  <a:lnTo>
                    <a:pt x="938" y="227"/>
                  </a:lnTo>
                  <a:lnTo>
                    <a:pt x="938" y="227"/>
                  </a:lnTo>
                  <a:lnTo>
                    <a:pt x="938" y="225"/>
                  </a:lnTo>
                  <a:lnTo>
                    <a:pt x="936" y="225"/>
                  </a:lnTo>
                  <a:lnTo>
                    <a:pt x="936" y="225"/>
                  </a:lnTo>
                  <a:lnTo>
                    <a:pt x="938" y="223"/>
                  </a:lnTo>
                  <a:lnTo>
                    <a:pt x="938" y="220"/>
                  </a:lnTo>
                  <a:lnTo>
                    <a:pt x="940" y="220"/>
                  </a:lnTo>
                  <a:lnTo>
                    <a:pt x="940" y="220"/>
                  </a:lnTo>
                  <a:lnTo>
                    <a:pt x="940" y="218"/>
                  </a:lnTo>
                  <a:lnTo>
                    <a:pt x="938" y="216"/>
                  </a:lnTo>
                  <a:lnTo>
                    <a:pt x="938" y="216"/>
                  </a:lnTo>
                  <a:lnTo>
                    <a:pt x="933" y="216"/>
                  </a:lnTo>
                  <a:lnTo>
                    <a:pt x="928" y="218"/>
                  </a:lnTo>
                  <a:lnTo>
                    <a:pt x="926" y="218"/>
                  </a:lnTo>
                  <a:lnTo>
                    <a:pt x="921" y="218"/>
                  </a:lnTo>
                  <a:lnTo>
                    <a:pt x="921" y="220"/>
                  </a:lnTo>
                  <a:lnTo>
                    <a:pt x="919" y="220"/>
                  </a:lnTo>
                  <a:lnTo>
                    <a:pt x="919" y="223"/>
                  </a:lnTo>
                  <a:lnTo>
                    <a:pt x="917" y="223"/>
                  </a:lnTo>
                  <a:lnTo>
                    <a:pt x="912" y="225"/>
                  </a:lnTo>
                  <a:lnTo>
                    <a:pt x="910" y="227"/>
                  </a:lnTo>
                  <a:lnTo>
                    <a:pt x="905" y="227"/>
                  </a:lnTo>
                  <a:lnTo>
                    <a:pt x="903" y="227"/>
                  </a:lnTo>
                  <a:lnTo>
                    <a:pt x="898" y="230"/>
                  </a:lnTo>
                  <a:lnTo>
                    <a:pt x="895" y="230"/>
                  </a:lnTo>
                  <a:lnTo>
                    <a:pt x="891" y="232"/>
                  </a:lnTo>
                  <a:lnTo>
                    <a:pt x="888" y="232"/>
                  </a:lnTo>
                  <a:lnTo>
                    <a:pt x="891" y="230"/>
                  </a:lnTo>
                  <a:lnTo>
                    <a:pt x="893" y="227"/>
                  </a:lnTo>
                  <a:lnTo>
                    <a:pt x="895" y="225"/>
                  </a:lnTo>
                  <a:lnTo>
                    <a:pt x="895" y="225"/>
                  </a:lnTo>
                  <a:lnTo>
                    <a:pt x="893" y="223"/>
                  </a:lnTo>
                  <a:lnTo>
                    <a:pt x="893" y="223"/>
                  </a:lnTo>
                  <a:lnTo>
                    <a:pt x="893" y="220"/>
                  </a:lnTo>
                  <a:lnTo>
                    <a:pt x="893" y="218"/>
                  </a:lnTo>
                  <a:lnTo>
                    <a:pt x="891" y="218"/>
                  </a:lnTo>
                  <a:lnTo>
                    <a:pt x="891" y="216"/>
                  </a:lnTo>
                  <a:lnTo>
                    <a:pt x="893" y="213"/>
                  </a:lnTo>
                  <a:lnTo>
                    <a:pt x="891" y="213"/>
                  </a:lnTo>
                  <a:lnTo>
                    <a:pt x="888" y="211"/>
                  </a:lnTo>
                  <a:lnTo>
                    <a:pt x="888" y="209"/>
                  </a:lnTo>
                  <a:lnTo>
                    <a:pt x="891" y="209"/>
                  </a:lnTo>
                  <a:lnTo>
                    <a:pt x="895" y="206"/>
                  </a:lnTo>
                  <a:lnTo>
                    <a:pt x="895" y="204"/>
                  </a:lnTo>
                  <a:lnTo>
                    <a:pt x="893" y="204"/>
                  </a:lnTo>
                  <a:lnTo>
                    <a:pt x="891" y="204"/>
                  </a:lnTo>
                  <a:lnTo>
                    <a:pt x="886" y="204"/>
                  </a:lnTo>
                  <a:lnTo>
                    <a:pt x="884" y="206"/>
                  </a:lnTo>
                  <a:lnTo>
                    <a:pt x="879" y="209"/>
                  </a:lnTo>
                  <a:lnTo>
                    <a:pt x="877" y="206"/>
                  </a:lnTo>
                  <a:lnTo>
                    <a:pt x="874" y="206"/>
                  </a:lnTo>
                  <a:lnTo>
                    <a:pt x="872" y="206"/>
                  </a:lnTo>
                  <a:lnTo>
                    <a:pt x="870" y="206"/>
                  </a:lnTo>
                  <a:lnTo>
                    <a:pt x="867" y="206"/>
                  </a:lnTo>
                  <a:lnTo>
                    <a:pt x="872" y="199"/>
                  </a:lnTo>
                  <a:lnTo>
                    <a:pt x="879" y="194"/>
                  </a:lnTo>
                  <a:lnTo>
                    <a:pt x="886" y="190"/>
                  </a:lnTo>
                  <a:lnTo>
                    <a:pt x="893" y="182"/>
                  </a:lnTo>
                  <a:lnTo>
                    <a:pt x="898" y="178"/>
                  </a:lnTo>
                  <a:lnTo>
                    <a:pt x="905" y="171"/>
                  </a:lnTo>
                  <a:lnTo>
                    <a:pt x="912" y="166"/>
                  </a:lnTo>
                  <a:lnTo>
                    <a:pt x="917" y="161"/>
                  </a:lnTo>
                  <a:lnTo>
                    <a:pt x="924" y="154"/>
                  </a:lnTo>
                  <a:lnTo>
                    <a:pt x="931" y="149"/>
                  </a:lnTo>
                  <a:lnTo>
                    <a:pt x="938" y="145"/>
                  </a:lnTo>
                  <a:lnTo>
                    <a:pt x="943" y="138"/>
                  </a:lnTo>
                  <a:lnTo>
                    <a:pt x="950" y="133"/>
                  </a:lnTo>
                  <a:lnTo>
                    <a:pt x="957" y="128"/>
                  </a:lnTo>
                  <a:lnTo>
                    <a:pt x="964" y="121"/>
                  </a:lnTo>
                  <a:lnTo>
                    <a:pt x="969" y="116"/>
                  </a:lnTo>
                  <a:lnTo>
                    <a:pt x="976" y="112"/>
                  </a:lnTo>
                  <a:lnTo>
                    <a:pt x="983" y="107"/>
                  </a:lnTo>
                  <a:lnTo>
                    <a:pt x="990" y="100"/>
                  </a:lnTo>
                  <a:lnTo>
                    <a:pt x="997" y="95"/>
                  </a:lnTo>
                  <a:lnTo>
                    <a:pt x="1004" y="90"/>
                  </a:lnTo>
                  <a:lnTo>
                    <a:pt x="1009" y="86"/>
                  </a:lnTo>
                  <a:lnTo>
                    <a:pt x="1016" y="78"/>
                  </a:lnTo>
                  <a:lnTo>
                    <a:pt x="1023" y="74"/>
                  </a:lnTo>
                  <a:lnTo>
                    <a:pt x="1030" y="69"/>
                  </a:lnTo>
                  <a:lnTo>
                    <a:pt x="1037" y="64"/>
                  </a:lnTo>
                  <a:lnTo>
                    <a:pt x="1044" y="57"/>
                  </a:lnTo>
                  <a:lnTo>
                    <a:pt x="1051" y="52"/>
                  </a:lnTo>
                  <a:lnTo>
                    <a:pt x="1058" y="48"/>
                  </a:lnTo>
                  <a:lnTo>
                    <a:pt x="1065" y="43"/>
                  </a:lnTo>
                  <a:lnTo>
                    <a:pt x="1072" y="36"/>
                  </a:lnTo>
                  <a:lnTo>
                    <a:pt x="1077" y="31"/>
                  </a:lnTo>
                  <a:lnTo>
                    <a:pt x="1077" y="31"/>
                  </a:lnTo>
                  <a:lnTo>
                    <a:pt x="1075" y="31"/>
                  </a:lnTo>
                  <a:lnTo>
                    <a:pt x="1075" y="31"/>
                  </a:lnTo>
                  <a:lnTo>
                    <a:pt x="1072" y="31"/>
                  </a:lnTo>
                  <a:lnTo>
                    <a:pt x="1072" y="31"/>
                  </a:lnTo>
                  <a:lnTo>
                    <a:pt x="1072" y="29"/>
                  </a:lnTo>
                  <a:lnTo>
                    <a:pt x="1065" y="29"/>
                  </a:lnTo>
                  <a:lnTo>
                    <a:pt x="1065" y="26"/>
                  </a:lnTo>
                  <a:lnTo>
                    <a:pt x="1065" y="24"/>
                  </a:lnTo>
                  <a:lnTo>
                    <a:pt x="1060" y="24"/>
                  </a:lnTo>
                  <a:lnTo>
                    <a:pt x="1058" y="24"/>
                  </a:lnTo>
                  <a:lnTo>
                    <a:pt x="1058" y="24"/>
                  </a:lnTo>
                  <a:lnTo>
                    <a:pt x="1056" y="24"/>
                  </a:lnTo>
                  <a:lnTo>
                    <a:pt x="1053" y="24"/>
                  </a:lnTo>
                  <a:lnTo>
                    <a:pt x="1046" y="24"/>
                  </a:lnTo>
                  <a:lnTo>
                    <a:pt x="1042" y="24"/>
                  </a:lnTo>
                  <a:lnTo>
                    <a:pt x="1037" y="26"/>
                  </a:lnTo>
                  <a:lnTo>
                    <a:pt x="1030" y="26"/>
                  </a:lnTo>
                  <a:lnTo>
                    <a:pt x="1030" y="24"/>
                  </a:lnTo>
                  <a:lnTo>
                    <a:pt x="1027" y="24"/>
                  </a:lnTo>
                  <a:lnTo>
                    <a:pt x="1025" y="22"/>
                  </a:lnTo>
                  <a:lnTo>
                    <a:pt x="1023" y="24"/>
                  </a:lnTo>
                  <a:lnTo>
                    <a:pt x="1020" y="22"/>
                  </a:lnTo>
                  <a:lnTo>
                    <a:pt x="1013" y="22"/>
                  </a:lnTo>
                  <a:lnTo>
                    <a:pt x="1009" y="22"/>
                  </a:lnTo>
                  <a:lnTo>
                    <a:pt x="1002" y="22"/>
                  </a:lnTo>
                  <a:lnTo>
                    <a:pt x="1002" y="22"/>
                  </a:lnTo>
                  <a:lnTo>
                    <a:pt x="1002" y="19"/>
                  </a:lnTo>
                  <a:lnTo>
                    <a:pt x="1002" y="19"/>
                  </a:lnTo>
                  <a:lnTo>
                    <a:pt x="999" y="19"/>
                  </a:lnTo>
                  <a:lnTo>
                    <a:pt x="999" y="19"/>
                  </a:lnTo>
                  <a:lnTo>
                    <a:pt x="997" y="19"/>
                  </a:lnTo>
                  <a:lnTo>
                    <a:pt x="994" y="19"/>
                  </a:lnTo>
                  <a:lnTo>
                    <a:pt x="994" y="19"/>
                  </a:lnTo>
                  <a:lnTo>
                    <a:pt x="992" y="19"/>
                  </a:lnTo>
                  <a:lnTo>
                    <a:pt x="990" y="17"/>
                  </a:lnTo>
                  <a:lnTo>
                    <a:pt x="987" y="17"/>
                  </a:lnTo>
                  <a:lnTo>
                    <a:pt x="985" y="17"/>
                  </a:lnTo>
                  <a:lnTo>
                    <a:pt x="980" y="17"/>
                  </a:lnTo>
                  <a:lnTo>
                    <a:pt x="976" y="17"/>
                  </a:lnTo>
                  <a:lnTo>
                    <a:pt x="973" y="17"/>
                  </a:lnTo>
                  <a:lnTo>
                    <a:pt x="973" y="17"/>
                  </a:lnTo>
                  <a:lnTo>
                    <a:pt x="971" y="17"/>
                  </a:lnTo>
                  <a:lnTo>
                    <a:pt x="971" y="17"/>
                  </a:lnTo>
                  <a:lnTo>
                    <a:pt x="966" y="17"/>
                  </a:lnTo>
                  <a:lnTo>
                    <a:pt x="964" y="17"/>
                  </a:lnTo>
                  <a:lnTo>
                    <a:pt x="961" y="19"/>
                  </a:lnTo>
                  <a:lnTo>
                    <a:pt x="952" y="17"/>
                  </a:lnTo>
                  <a:lnTo>
                    <a:pt x="954" y="17"/>
                  </a:lnTo>
                  <a:lnTo>
                    <a:pt x="957" y="17"/>
                  </a:lnTo>
                  <a:lnTo>
                    <a:pt x="957" y="17"/>
                  </a:lnTo>
                  <a:lnTo>
                    <a:pt x="952" y="17"/>
                  </a:lnTo>
                  <a:lnTo>
                    <a:pt x="950" y="15"/>
                  </a:lnTo>
                  <a:lnTo>
                    <a:pt x="952" y="15"/>
                  </a:lnTo>
                  <a:lnTo>
                    <a:pt x="950" y="15"/>
                  </a:lnTo>
                  <a:lnTo>
                    <a:pt x="950" y="15"/>
                  </a:lnTo>
                  <a:lnTo>
                    <a:pt x="952" y="12"/>
                  </a:lnTo>
                  <a:lnTo>
                    <a:pt x="957" y="12"/>
                  </a:lnTo>
                  <a:lnTo>
                    <a:pt x="957" y="10"/>
                  </a:lnTo>
                  <a:lnTo>
                    <a:pt x="957" y="10"/>
                  </a:lnTo>
                  <a:lnTo>
                    <a:pt x="954" y="10"/>
                  </a:lnTo>
                  <a:lnTo>
                    <a:pt x="952" y="10"/>
                  </a:lnTo>
                  <a:lnTo>
                    <a:pt x="947" y="10"/>
                  </a:lnTo>
                  <a:lnTo>
                    <a:pt x="943" y="10"/>
                  </a:lnTo>
                  <a:lnTo>
                    <a:pt x="940" y="10"/>
                  </a:lnTo>
                  <a:lnTo>
                    <a:pt x="938" y="10"/>
                  </a:lnTo>
                  <a:lnTo>
                    <a:pt x="931" y="12"/>
                  </a:lnTo>
                  <a:lnTo>
                    <a:pt x="928" y="10"/>
                  </a:lnTo>
                  <a:lnTo>
                    <a:pt x="926" y="10"/>
                  </a:lnTo>
                  <a:lnTo>
                    <a:pt x="926" y="10"/>
                  </a:lnTo>
                  <a:lnTo>
                    <a:pt x="928" y="10"/>
                  </a:lnTo>
                  <a:lnTo>
                    <a:pt x="931" y="8"/>
                  </a:lnTo>
                  <a:lnTo>
                    <a:pt x="928" y="8"/>
                  </a:lnTo>
                  <a:lnTo>
                    <a:pt x="928" y="8"/>
                  </a:lnTo>
                  <a:lnTo>
                    <a:pt x="926" y="8"/>
                  </a:lnTo>
                  <a:lnTo>
                    <a:pt x="926" y="8"/>
                  </a:lnTo>
                  <a:lnTo>
                    <a:pt x="921" y="8"/>
                  </a:lnTo>
                  <a:lnTo>
                    <a:pt x="914" y="10"/>
                  </a:lnTo>
                  <a:lnTo>
                    <a:pt x="912" y="10"/>
                  </a:lnTo>
                  <a:lnTo>
                    <a:pt x="910" y="12"/>
                  </a:lnTo>
                  <a:lnTo>
                    <a:pt x="910" y="10"/>
                  </a:lnTo>
                  <a:lnTo>
                    <a:pt x="910" y="10"/>
                  </a:lnTo>
                  <a:lnTo>
                    <a:pt x="910" y="10"/>
                  </a:lnTo>
                  <a:lnTo>
                    <a:pt x="914" y="8"/>
                  </a:lnTo>
                  <a:lnTo>
                    <a:pt x="919" y="8"/>
                  </a:lnTo>
                  <a:lnTo>
                    <a:pt x="921" y="5"/>
                  </a:lnTo>
                  <a:lnTo>
                    <a:pt x="921" y="5"/>
                  </a:lnTo>
                  <a:lnTo>
                    <a:pt x="921" y="5"/>
                  </a:lnTo>
                  <a:lnTo>
                    <a:pt x="914" y="3"/>
                  </a:lnTo>
                  <a:lnTo>
                    <a:pt x="914" y="3"/>
                  </a:lnTo>
                  <a:lnTo>
                    <a:pt x="917" y="3"/>
                  </a:lnTo>
                  <a:lnTo>
                    <a:pt x="919" y="0"/>
                  </a:lnTo>
                  <a:lnTo>
                    <a:pt x="917" y="0"/>
                  </a:lnTo>
                  <a:lnTo>
                    <a:pt x="912" y="3"/>
                  </a:lnTo>
                  <a:lnTo>
                    <a:pt x="907" y="5"/>
                  </a:lnTo>
                  <a:lnTo>
                    <a:pt x="900" y="8"/>
                  </a:lnTo>
                  <a:lnTo>
                    <a:pt x="895" y="8"/>
                  </a:lnTo>
                  <a:lnTo>
                    <a:pt x="891" y="10"/>
                  </a:lnTo>
                  <a:lnTo>
                    <a:pt x="884" y="10"/>
                  </a:lnTo>
                  <a:lnTo>
                    <a:pt x="881" y="10"/>
                  </a:lnTo>
                  <a:lnTo>
                    <a:pt x="877" y="10"/>
                  </a:lnTo>
                  <a:lnTo>
                    <a:pt x="874" y="12"/>
                  </a:lnTo>
                  <a:lnTo>
                    <a:pt x="872" y="12"/>
                  </a:lnTo>
                  <a:lnTo>
                    <a:pt x="867" y="12"/>
                  </a:lnTo>
                  <a:lnTo>
                    <a:pt x="865" y="12"/>
                  </a:lnTo>
                  <a:lnTo>
                    <a:pt x="863" y="12"/>
                  </a:lnTo>
                  <a:lnTo>
                    <a:pt x="863" y="12"/>
                  </a:lnTo>
                  <a:lnTo>
                    <a:pt x="863" y="12"/>
                  </a:lnTo>
                  <a:lnTo>
                    <a:pt x="865" y="12"/>
                  </a:lnTo>
                  <a:lnTo>
                    <a:pt x="867" y="12"/>
                  </a:lnTo>
                  <a:lnTo>
                    <a:pt x="867" y="10"/>
                  </a:lnTo>
                  <a:lnTo>
                    <a:pt x="867" y="10"/>
                  </a:lnTo>
                  <a:lnTo>
                    <a:pt x="865" y="10"/>
                  </a:lnTo>
                  <a:lnTo>
                    <a:pt x="858" y="12"/>
                  </a:lnTo>
                  <a:lnTo>
                    <a:pt x="848" y="15"/>
                  </a:lnTo>
                  <a:lnTo>
                    <a:pt x="851" y="15"/>
                  </a:lnTo>
                  <a:lnTo>
                    <a:pt x="851" y="17"/>
                  </a:lnTo>
                  <a:lnTo>
                    <a:pt x="855" y="17"/>
                  </a:lnTo>
                  <a:lnTo>
                    <a:pt x="851" y="17"/>
                  </a:lnTo>
                  <a:lnTo>
                    <a:pt x="848" y="17"/>
                  </a:lnTo>
                  <a:lnTo>
                    <a:pt x="846" y="17"/>
                  </a:lnTo>
                  <a:lnTo>
                    <a:pt x="846" y="19"/>
                  </a:lnTo>
                  <a:lnTo>
                    <a:pt x="844" y="19"/>
                  </a:lnTo>
                  <a:lnTo>
                    <a:pt x="841" y="22"/>
                  </a:lnTo>
                  <a:lnTo>
                    <a:pt x="844" y="19"/>
                  </a:lnTo>
                  <a:lnTo>
                    <a:pt x="841" y="19"/>
                  </a:lnTo>
                  <a:lnTo>
                    <a:pt x="844" y="17"/>
                  </a:lnTo>
                  <a:lnTo>
                    <a:pt x="844" y="17"/>
                  </a:lnTo>
                  <a:lnTo>
                    <a:pt x="848" y="15"/>
                  </a:lnTo>
                  <a:lnTo>
                    <a:pt x="848" y="15"/>
                  </a:lnTo>
                  <a:lnTo>
                    <a:pt x="846" y="15"/>
                  </a:lnTo>
                  <a:lnTo>
                    <a:pt x="837" y="17"/>
                  </a:lnTo>
                  <a:lnTo>
                    <a:pt x="837" y="19"/>
                  </a:lnTo>
                  <a:lnTo>
                    <a:pt x="827" y="19"/>
                  </a:lnTo>
                  <a:lnTo>
                    <a:pt x="818" y="22"/>
                  </a:lnTo>
                  <a:lnTo>
                    <a:pt x="815" y="22"/>
                  </a:lnTo>
                  <a:lnTo>
                    <a:pt x="811" y="22"/>
                  </a:lnTo>
                  <a:lnTo>
                    <a:pt x="808" y="22"/>
                  </a:lnTo>
                  <a:lnTo>
                    <a:pt x="811" y="22"/>
                  </a:lnTo>
                  <a:lnTo>
                    <a:pt x="813" y="22"/>
                  </a:lnTo>
                  <a:lnTo>
                    <a:pt x="815" y="22"/>
                  </a:lnTo>
                  <a:lnTo>
                    <a:pt x="815" y="22"/>
                  </a:lnTo>
                  <a:lnTo>
                    <a:pt x="815" y="22"/>
                  </a:lnTo>
                  <a:lnTo>
                    <a:pt x="815" y="22"/>
                  </a:lnTo>
                  <a:lnTo>
                    <a:pt x="818" y="19"/>
                  </a:lnTo>
                  <a:lnTo>
                    <a:pt x="813" y="22"/>
                  </a:lnTo>
                  <a:lnTo>
                    <a:pt x="811" y="22"/>
                  </a:lnTo>
                  <a:lnTo>
                    <a:pt x="804" y="24"/>
                  </a:lnTo>
                  <a:lnTo>
                    <a:pt x="787" y="29"/>
                  </a:lnTo>
                  <a:lnTo>
                    <a:pt x="780" y="34"/>
                  </a:lnTo>
                  <a:lnTo>
                    <a:pt x="775" y="36"/>
                  </a:lnTo>
                  <a:lnTo>
                    <a:pt x="773" y="36"/>
                  </a:lnTo>
                  <a:lnTo>
                    <a:pt x="773" y="36"/>
                  </a:lnTo>
                  <a:lnTo>
                    <a:pt x="773" y="36"/>
                  </a:lnTo>
                  <a:lnTo>
                    <a:pt x="771" y="38"/>
                  </a:lnTo>
                  <a:lnTo>
                    <a:pt x="764" y="41"/>
                  </a:lnTo>
                  <a:lnTo>
                    <a:pt x="754" y="43"/>
                  </a:lnTo>
                  <a:lnTo>
                    <a:pt x="749" y="43"/>
                  </a:lnTo>
                  <a:lnTo>
                    <a:pt x="747" y="45"/>
                  </a:lnTo>
                  <a:lnTo>
                    <a:pt x="738" y="45"/>
                  </a:lnTo>
                  <a:lnTo>
                    <a:pt x="735" y="45"/>
                  </a:lnTo>
                  <a:lnTo>
                    <a:pt x="728" y="45"/>
                  </a:lnTo>
                  <a:lnTo>
                    <a:pt x="719" y="45"/>
                  </a:lnTo>
                  <a:lnTo>
                    <a:pt x="716" y="48"/>
                  </a:lnTo>
                  <a:lnTo>
                    <a:pt x="709" y="50"/>
                  </a:lnTo>
                  <a:lnTo>
                    <a:pt x="705" y="55"/>
                  </a:lnTo>
                  <a:lnTo>
                    <a:pt x="702" y="55"/>
                  </a:lnTo>
                  <a:lnTo>
                    <a:pt x="700" y="55"/>
                  </a:lnTo>
                  <a:lnTo>
                    <a:pt x="698" y="55"/>
                  </a:lnTo>
                  <a:lnTo>
                    <a:pt x="702" y="55"/>
                  </a:lnTo>
                  <a:lnTo>
                    <a:pt x="700" y="55"/>
                  </a:lnTo>
                  <a:lnTo>
                    <a:pt x="698" y="55"/>
                  </a:lnTo>
                  <a:lnTo>
                    <a:pt x="698" y="55"/>
                  </a:lnTo>
                  <a:lnTo>
                    <a:pt x="700" y="55"/>
                  </a:lnTo>
                  <a:lnTo>
                    <a:pt x="702" y="57"/>
                  </a:lnTo>
                  <a:lnTo>
                    <a:pt x="702" y="60"/>
                  </a:lnTo>
                  <a:lnTo>
                    <a:pt x="707" y="60"/>
                  </a:lnTo>
                  <a:lnTo>
                    <a:pt x="712" y="69"/>
                  </a:lnTo>
                  <a:lnTo>
                    <a:pt x="712" y="71"/>
                  </a:lnTo>
                  <a:lnTo>
                    <a:pt x="707" y="74"/>
                  </a:lnTo>
                  <a:lnTo>
                    <a:pt x="707" y="76"/>
                  </a:lnTo>
                  <a:lnTo>
                    <a:pt x="707" y="78"/>
                  </a:lnTo>
                  <a:lnTo>
                    <a:pt x="712" y="78"/>
                  </a:lnTo>
                  <a:lnTo>
                    <a:pt x="716" y="78"/>
                  </a:lnTo>
                  <a:lnTo>
                    <a:pt x="719" y="78"/>
                  </a:lnTo>
                  <a:lnTo>
                    <a:pt x="723" y="78"/>
                  </a:lnTo>
                  <a:lnTo>
                    <a:pt x="721" y="78"/>
                  </a:lnTo>
                  <a:lnTo>
                    <a:pt x="721" y="78"/>
                  </a:lnTo>
                  <a:lnTo>
                    <a:pt x="728" y="78"/>
                  </a:lnTo>
                  <a:lnTo>
                    <a:pt x="731" y="78"/>
                  </a:lnTo>
                  <a:lnTo>
                    <a:pt x="731" y="81"/>
                  </a:lnTo>
                  <a:lnTo>
                    <a:pt x="728" y="81"/>
                  </a:lnTo>
                  <a:lnTo>
                    <a:pt x="721" y="83"/>
                  </a:lnTo>
                  <a:lnTo>
                    <a:pt x="719" y="86"/>
                  </a:lnTo>
                  <a:lnTo>
                    <a:pt x="721" y="86"/>
                  </a:lnTo>
                  <a:lnTo>
                    <a:pt x="721" y="88"/>
                  </a:lnTo>
                  <a:lnTo>
                    <a:pt x="721" y="88"/>
                  </a:lnTo>
                  <a:lnTo>
                    <a:pt x="731" y="86"/>
                  </a:lnTo>
                  <a:lnTo>
                    <a:pt x="733" y="86"/>
                  </a:lnTo>
                  <a:lnTo>
                    <a:pt x="735" y="86"/>
                  </a:lnTo>
                  <a:lnTo>
                    <a:pt x="738" y="86"/>
                  </a:lnTo>
                  <a:lnTo>
                    <a:pt x="738" y="88"/>
                  </a:lnTo>
                  <a:lnTo>
                    <a:pt x="738" y="88"/>
                  </a:lnTo>
                  <a:lnTo>
                    <a:pt x="735" y="90"/>
                  </a:lnTo>
                  <a:lnTo>
                    <a:pt x="728" y="90"/>
                  </a:lnTo>
                  <a:lnTo>
                    <a:pt x="726" y="90"/>
                  </a:lnTo>
                  <a:lnTo>
                    <a:pt x="726" y="88"/>
                  </a:lnTo>
                  <a:lnTo>
                    <a:pt x="723" y="88"/>
                  </a:lnTo>
                  <a:lnTo>
                    <a:pt x="721" y="88"/>
                  </a:lnTo>
                  <a:lnTo>
                    <a:pt x="716" y="90"/>
                  </a:lnTo>
                  <a:lnTo>
                    <a:pt x="716" y="88"/>
                  </a:lnTo>
                  <a:lnTo>
                    <a:pt x="716" y="86"/>
                  </a:lnTo>
                  <a:lnTo>
                    <a:pt x="719" y="83"/>
                  </a:lnTo>
                  <a:lnTo>
                    <a:pt x="719" y="83"/>
                  </a:lnTo>
                  <a:lnTo>
                    <a:pt x="721" y="81"/>
                  </a:lnTo>
                  <a:lnTo>
                    <a:pt x="719" y="81"/>
                  </a:lnTo>
                  <a:lnTo>
                    <a:pt x="716" y="81"/>
                  </a:lnTo>
                  <a:lnTo>
                    <a:pt x="714" y="81"/>
                  </a:lnTo>
                  <a:lnTo>
                    <a:pt x="714" y="83"/>
                  </a:lnTo>
                  <a:lnTo>
                    <a:pt x="712" y="83"/>
                  </a:lnTo>
                  <a:lnTo>
                    <a:pt x="714" y="83"/>
                  </a:lnTo>
                  <a:lnTo>
                    <a:pt x="714" y="86"/>
                  </a:lnTo>
                  <a:lnTo>
                    <a:pt x="714" y="88"/>
                  </a:lnTo>
                  <a:lnTo>
                    <a:pt x="712" y="90"/>
                  </a:lnTo>
                  <a:lnTo>
                    <a:pt x="712" y="90"/>
                  </a:lnTo>
                  <a:lnTo>
                    <a:pt x="716" y="90"/>
                  </a:lnTo>
                  <a:lnTo>
                    <a:pt x="721" y="93"/>
                  </a:lnTo>
                  <a:lnTo>
                    <a:pt x="721" y="93"/>
                  </a:lnTo>
                  <a:lnTo>
                    <a:pt x="719" y="95"/>
                  </a:lnTo>
                  <a:lnTo>
                    <a:pt x="719" y="93"/>
                  </a:lnTo>
                  <a:lnTo>
                    <a:pt x="716" y="93"/>
                  </a:lnTo>
                  <a:lnTo>
                    <a:pt x="714" y="93"/>
                  </a:lnTo>
                  <a:lnTo>
                    <a:pt x="714" y="93"/>
                  </a:lnTo>
                  <a:lnTo>
                    <a:pt x="712" y="93"/>
                  </a:lnTo>
                  <a:lnTo>
                    <a:pt x="705" y="97"/>
                  </a:lnTo>
                  <a:lnTo>
                    <a:pt x="702" y="97"/>
                  </a:lnTo>
                  <a:lnTo>
                    <a:pt x="698" y="97"/>
                  </a:lnTo>
                  <a:lnTo>
                    <a:pt x="693" y="97"/>
                  </a:lnTo>
                  <a:lnTo>
                    <a:pt x="690" y="97"/>
                  </a:lnTo>
                  <a:lnTo>
                    <a:pt x="690" y="95"/>
                  </a:lnTo>
                  <a:lnTo>
                    <a:pt x="686" y="97"/>
                  </a:lnTo>
                  <a:lnTo>
                    <a:pt x="679" y="97"/>
                  </a:lnTo>
                  <a:lnTo>
                    <a:pt x="676" y="93"/>
                  </a:lnTo>
                  <a:lnTo>
                    <a:pt x="679" y="93"/>
                  </a:lnTo>
                  <a:lnTo>
                    <a:pt x="681" y="93"/>
                  </a:lnTo>
                  <a:lnTo>
                    <a:pt x="683" y="90"/>
                  </a:lnTo>
                  <a:lnTo>
                    <a:pt x="688" y="88"/>
                  </a:lnTo>
                  <a:lnTo>
                    <a:pt x="688" y="88"/>
                  </a:lnTo>
                  <a:lnTo>
                    <a:pt x="688" y="88"/>
                  </a:lnTo>
                  <a:lnTo>
                    <a:pt x="688" y="88"/>
                  </a:lnTo>
                  <a:lnTo>
                    <a:pt x="690" y="88"/>
                  </a:lnTo>
                  <a:lnTo>
                    <a:pt x="693" y="88"/>
                  </a:lnTo>
                  <a:lnTo>
                    <a:pt x="690" y="86"/>
                  </a:lnTo>
                  <a:lnTo>
                    <a:pt x="686" y="86"/>
                  </a:lnTo>
                  <a:lnTo>
                    <a:pt x="681" y="88"/>
                  </a:lnTo>
                  <a:lnTo>
                    <a:pt x="676" y="88"/>
                  </a:lnTo>
                  <a:lnTo>
                    <a:pt x="669" y="90"/>
                  </a:lnTo>
                  <a:lnTo>
                    <a:pt x="667" y="90"/>
                  </a:lnTo>
                  <a:lnTo>
                    <a:pt x="662" y="90"/>
                  </a:lnTo>
                  <a:lnTo>
                    <a:pt x="655" y="93"/>
                  </a:lnTo>
                  <a:lnTo>
                    <a:pt x="653" y="93"/>
                  </a:lnTo>
                  <a:lnTo>
                    <a:pt x="653" y="93"/>
                  </a:lnTo>
                  <a:lnTo>
                    <a:pt x="655" y="95"/>
                  </a:lnTo>
                  <a:lnTo>
                    <a:pt x="653" y="95"/>
                  </a:lnTo>
                  <a:lnTo>
                    <a:pt x="653" y="95"/>
                  </a:lnTo>
                  <a:lnTo>
                    <a:pt x="650" y="95"/>
                  </a:lnTo>
                  <a:lnTo>
                    <a:pt x="646" y="95"/>
                  </a:lnTo>
                  <a:lnTo>
                    <a:pt x="646" y="95"/>
                  </a:lnTo>
                  <a:lnTo>
                    <a:pt x="646" y="95"/>
                  </a:lnTo>
                  <a:lnTo>
                    <a:pt x="641" y="95"/>
                  </a:lnTo>
                  <a:lnTo>
                    <a:pt x="639" y="95"/>
                  </a:lnTo>
                  <a:lnTo>
                    <a:pt x="634" y="97"/>
                  </a:lnTo>
                  <a:lnTo>
                    <a:pt x="629" y="97"/>
                  </a:lnTo>
                  <a:lnTo>
                    <a:pt x="627" y="100"/>
                  </a:lnTo>
                  <a:lnTo>
                    <a:pt x="624" y="100"/>
                  </a:lnTo>
                  <a:lnTo>
                    <a:pt x="620" y="100"/>
                  </a:lnTo>
                  <a:lnTo>
                    <a:pt x="615" y="102"/>
                  </a:lnTo>
                  <a:lnTo>
                    <a:pt x="608" y="104"/>
                  </a:lnTo>
                  <a:lnTo>
                    <a:pt x="608" y="102"/>
                  </a:lnTo>
                  <a:lnTo>
                    <a:pt x="610" y="102"/>
                  </a:lnTo>
                  <a:lnTo>
                    <a:pt x="608" y="102"/>
                  </a:lnTo>
                  <a:lnTo>
                    <a:pt x="606" y="104"/>
                  </a:lnTo>
                  <a:lnTo>
                    <a:pt x="603" y="104"/>
                  </a:lnTo>
                  <a:lnTo>
                    <a:pt x="603" y="107"/>
                  </a:lnTo>
                  <a:lnTo>
                    <a:pt x="608" y="109"/>
                  </a:lnTo>
                  <a:lnTo>
                    <a:pt x="617" y="109"/>
                  </a:lnTo>
                  <a:lnTo>
                    <a:pt x="617" y="109"/>
                  </a:lnTo>
                  <a:lnTo>
                    <a:pt x="622" y="112"/>
                  </a:lnTo>
                  <a:lnTo>
                    <a:pt x="622" y="112"/>
                  </a:lnTo>
                  <a:lnTo>
                    <a:pt x="622" y="112"/>
                  </a:lnTo>
                  <a:lnTo>
                    <a:pt x="620" y="112"/>
                  </a:lnTo>
                  <a:lnTo>
                    <a:pt x="617" y="112"/>
                  </a:lnTo>
                  <a:lnTo>
                    <a:pt x="613" y="114"/>
                  </a:lnTo>
                  <a:lnTo>
                    <a:pt x="610" y="114"/>
                  </a:lnTo>
                  <a:lnTo>
                    <a:pt x="608" y="114"/>
                  </a:lnTo>
                  <a:lnTo>
                    <a:pt x="608" y="114"/>
                  </a:lnTo>
                  <a:lnTo>
                    <a:pt x="608" y="114"/>
                  </a:lnTo>
                  <a:lnTo>
                    <a:pt x="608" y="114"/>
                  </a:lnTo>
                  <a:lnTo>
                    <a:pt x="608" y="116"/>
                  </a:lnTo>
                  <a:lnTo>
                    <a:pt x="610" y="119"/>
                  </a:lnTo>
                  <a:lnTo>
                    <a:pt x="608" y="119"/>
                  </a:lnTo>
                  <a:lnTo>
                    <a:pt x="606" y="121"/>
                  </a:lnTo>
                  <a:lnTo>
                    <a:pt x="603" y="121"/>
                  </a:lnTo>
                  <a:lnTo>
                    <a:pt x="603" y="123"/>
                  </a:lnTo>
                  <a:lnTo>
                    <a:pt x="603" y="123"/>
                  </a:lnTo>
                  <a:lnTo>
                    <a:pt x="613" y="126"/>
                  </a:lnTo>
                  <a:lnTo>
                    <a:pt x="615" y="126"/>
                  </a:lnTo>
                  <a:lnTo>
                    <a:pt x="617" y="126"/>
                  </a:lnTo>
                  <a:lnTo>
                    <a:pt x="620" y="126"/>
                  </a:lnTo>
                  <a:lnTo>
                    <a:pt x="620" y="126"/>
                  </a:lnTo>
                  <a:lnTo>
                    <a:pt x="622" y="126"/>
                  </a:lnTo>
                  <a:lnTo>
                    <a:pt x="622" y="126"/>
                  </a:lnTo>
                  <a:lnTo>
                    <a:pt x="622" y="126"/>
                  </a:lnTo>
                  <a:lnTo>
                    <a:pt x="622" y="126"/>
                  </a:lnTo>
                  <a:lnTo>
                    <a:pt x="629" y="123"/>
                  </a:lnTo>
                  <a:lnTo>
                    <a:pt x="639" y="123"/>
                  </a:lnTo>
                  <a:lnTo>
                    <a:pt x="641" y="126"/>
                  </a:lnTo>
                  <a:lnTo>
                    <a:pt x="643" y="126"/>
                  </a:lnTo>
                  <a:lnTo>
                    <a:pt x="643" y="128"/>
                  </a:lnTo>
                  <a:lnTo>
                    <a:pt x="646" y="126"/>
                  </a:lnTo>
                  <a:lnTo>
                    <a:pt x="646" y="126"/>
                  </a:lnTo>
                  <a:lnTo>
                    <a:pt x="646" y="126"/>
                  </a:lnTo>
                  <a:lnTo>
                    <a:pt x="646" y="123"/>
                  </a:lnTo>
                  <a:lnTo>
                    <a:pt x="646" y="123"/>
                  </a:lnTo>
                  <a:lnTo>
                    <a:pt x="648" y="123"/>
                  </a:lnTo>
                  <a:lnTo>
                    <a:pt x="648" y="126"/>
                  </a:lnTo>
                  <a:lnTo>
                    <a:pt x="646" y="128"/>
                  </a:lnTo>
                  <a:lnTo>
                    <a:pt x="648" y="128"/>
                  </a:lnTo>
                  <a:lnTo>
                    <a:pt x="650" y="126"/>
                  </a:lnTo>
                  <a:lnTo>
                    <a:pt x="660" y="123"/>
                  </a:lnTo>
                  <a:lnTo>
                    <a:pt x="662" y="123"/>
                  </a:lnTo>
                  <a:lnTo>
                    <a:pt x="669" y="121"/>
                  </a:lnTo>
                  <a:lnTo>
                    <a:pt x="672" y="119"/>
                  </a:lnTo>
                  <a:lnTo>
                    <a:pt x="674" y="121"/>
                  </a:lnTo>
                  <a:lnTo>
                    <a:pt x="676" y="121"/>
                  </a:lnTo>
                  <a:lnTo>
                    <a:pt x="683" y="119"/>
                  </a:lnTo>
                  <a:lnTo>
                    <a:pt x="683" y="119"/>
                  </a:lnTo>
                  <a:lnTo>
                    <a:pt x="683" y="119"/>
                  </a:lnTo>
                  <a:lnTo>
                    <a:pt x="683" y="119"/>
                  </a:lnTo>
                  <a:lnTo>
                    <a:pt x="683" y="121"/>
                  </a:lnTo>
                  <a:lnTo>
                    <a:pt x="683" y="121"/>
                  </a:lnTo>
                  <a:lnTo>
                    <a:pt x="681" y="121"/>
                  </a:lnTo>
                  <a:lnTo>
                    <a:pt x="679" y="123"/>
                  </a:lnTo>
                  <a:lnTo>
                    <a:pt x="679" y="123"/>
                  </a:lnTo>
                  <a:lnTo>
                    <a:pt x="676" y="126"/>
                  </a:lnTo>
                  <a:lnTo>
                    <a:pt x="672" y="126"/>
                  </a:lnTo>
                  <a:lnTo>
                    <a:pt x="669" y="126"/>
                  </a:lnTo>
                  <a:lnTo>
                    <a:pt x="667" y="126"/>
                  </a:lnTo>
                  <a:lnTo>
                    <a:pt x="669" y="126"/>
                  </a:lnTo>
                  <a:lnTo>
                    <a:pt x="669" y="128"/>
                  </a:lnTo>
                  <a:lnTo>
                    <a:pt x="669" y="130"/>
                  </a:lnTo>
                  <a:lnTo>
                    <a:pt x="665" y="135"/>
                  </a:lnTo>
                  <a:lnTo>
                    <a:pt x="662" y="135"/>
                  </a:lnTo>
                  <a:lnTo>
                    <a:pt x="662" y="138"/>
                  </a:lnTo>
                  <a:lnTo>
                    <a:pt x="657" y="140"/>
                  </a:lnTo>
                  <a:lnTo>
                    <a:pt x="655" y="142"/>
                  </a:lnTo>
                  <a:lnTo>
                    <a:pt x="650" y="142"/>
                  </a:lnTo>
                  <a:lnTo>
                    <a:pt x="646" y="145"/>
                  </a:lnTo>
                  <a:lnTo>
                    <a:pt x="641" y="145"/>
                  </a:lnTo>
                  <a:lnTo>
                    <a:pt x="634" y="145"/>
                  </a:lnTo>
                  <a:lnTo>
                    <a:pt x="634" y="145"/>
                  </a:lnTo>
                  <a:lnTo>
                    <a:pt x="634" y="145"/>
                  </a:lnTo>
                  <a:lnTo>
                    <a:pt x="634" y="145"/>
                  </a:lnTo>
                  <a:lnTo>
                    <a:pt x="632" y="145"/>
                  </a:lnTo>
                  <a:lnTo>
                    <a:pt x="629" y="145"/>
                  </a:lnTo>
                  <a:lnTo>
                    <a:pt x="620" y="149"/>
                  </a:lnTo>
                  <a:lnTo>
                    <a:pt x="617" y="149"/>
                  </a:lnTo>
                  <a:lnTo>
                    <a:pt x="613" y="152"/>
                  </a:lnTo>
                  <a:lnTo>
                    <a:pt x="610" y="152"/>
                  </a:lnTo>
                  <a:lnTo>
                    <a:pt x="606" y="152"/>
                  </a:lnTo>
                  <a:lnTo>
                    <a:pt x="603" y="152"/>
                  </a:lnTo>
                  <a:lnTo>
                    <a:pt x="606" y="152"/>
                  </a:lnTo>
                  <a:lnTo>
                    <a:pt x="603" y="152"/>
                  </a:lnTo>
                  <a:lnTo>
                    <a:pt x="601" y="152"/>
                  </a:lnTo>
                  <a:lnTo>
                    <a:pt x="599" y="154"/>
                  </a:lnTo>
                  <a:lnTo>
                    <a:pt x="599" y="154"/>
                  </a:lnTo>
                  <a:lnTo>
                    <a:pt x="599" y="152"/>
                  </a:lnTo>
                  <a:lnTo>
                    <a:pt x="601" y="152"/>
                  </a:lnTo>
                  <a:lnTo>
                    <a:pt x="601" y="152"/>
                  </a:lnTo>
                  <a:lnTo>
                    <a:pt x="603" y="152"/>
                  </a:lnTo>
                  <a:lnTo>
                    <a:pt x="603" y="149"/>
                  </a:lnTo>
                  <a:lnTo>
                    <a:pt x="601" y="149"/>
                  </a:lnTo>
                  <a:lnTo>
                    <a:pt x="599" y="149"/>
                  </a:lnTo>
                  <a:lnTo>
                    <a:pt x="594" y="149"/>
                  </a:lnTo>
                  <a:lnTo>
                    <a:pt x="591" y="149"/>
                  </a:lnTo>
                  <a:lnTo>
                    <a:pt x="589" y="152"/>
                  </a:lnTo>
                  <a:lnTo>
                    <a:pt x="589" y="152"/>
                  </a:lnTo>
                  <a:lnTo>
                    <a:pt x="589" y="154"/>
                  </a:lnTo>
                  <a:lnTo>
                    <a:pt x="589" y="154"/>
                  </a:lnTo>
                  <a:lnTo>
                    <a:pt x="584" y="154"/>
                  </a:lnTo>
                  <a:lnTo>
                    <a:pt x="582" y="154"/>
                  </a:lnTo>
                  <a:lnTo>
                    <a:pt x="580" y="154"/>
                  </a:lnTo>
                  <a:lnTo>
                    <a:pt x="577" y="156"/>
                  </a:lnTo>
                  <a:lnTo>
                    <a:pt x="575" y="159"/>
                  </a:lnTo>
                  <a:lnTo>
                    <a:pt x="573" y="161"/>
                  </a:lnTo>
                  <a:lnTo>
                    <a:pt x="575" y="159"/>
                  </a:lnTo>
                  <a:lnTo>
                    <a:pt x="577" y="159"/>
                  </a:lnTo>
                  <a:lnTo>
                    <a:pt x="577" y="159"/>
                  </a:lnTo>
                  <a:lnTo>
                    <a:pt x="575" y="161"/>
                  </a:lnTo>
                  <a:lnTo>
                    <a:pt x="570" y="161"/>
                  </a:lnTo>
                  <a:lnTo>
                    <a:pt x="570" y="164"/>
                  </a:lnTo>
                  <a:lnTo>
                    <a:pt x="570" y="164"/>
                  </a:lnTo>
                  <a:lnTo>
                    <a:pt x="570" y="164"/>
                  </a:lnTo>
                  <a:lnTo>
                    <a:pt x="568" y="164"/>
                  </a:lnTo>
                  <a:lnTo>
                    <a:pt x="568" y="164"/>
                  </a:lnTo>
                  <a:lnTo>
                    <a:pt x="566" y="164"/>
                  </a:lnTo>
                  <a:lnTo>
                    <a:pt x="563" y="164"/>
                  </a:lnTo>
                  <a:lnTo>
                    <a:pt x="556" y="166"/>
                  </a:lnTo>
                  <a:lnTo>
                    <a:pt x="547" y="171"/>
                  </a:lnTo>
                  <a:lnTo>
                    <a:pt x="544" y="173"/>
                  </a:lnTo>
                  <a:lnTo>
                    <a:pt x="542" y="173"/>
                  </a:lnTo>
                  <a:lnTo>
                    <a:pt x="542" y="173"/>
                  </a:lnTo>
                  <a:lnTo>
                    <a:pt x="542" y="175"/>
                  </a:lnTo>
                  <a:lnTo>
                    <a:pt x="537" y="175"/>
                  </a:lnTo>
                  <a:lnTo>
                    <a:pt x="535" y="175"/>
                  </a:lnTo>
                  <a:lnTo>
                    <a:pt x="533" y="175"/>
                  </a:lnTo>
                  <a:lnTo>
                    <a:pt x="533" y="178"/>
                  </a:lnTo>
                  <a:lnTo>
                    <a:pt x="535" y="178"/>
                  </a:lnTo>
                  <a:lnTo>
                    <a:pt x="535" y="178"/>
                  </a:lnTo>
                  <a:lnTo>
                    <a:pt x="530" y="180"/>
                  </a:lnTo>
                  <a:lnTo>
                    <a:pt x="528" y="180"/>
                  </a:lnTo>
                  <a:lnTo>
                    <a:pt x="528" y="180"/>
                  </a:lnTo>
                  <a:lnTo>
                    <a:pt x="528" y="180"/>
                  </a:lnTo>
                  <a:lnTo>
                    <a:pt x="525" y="182"/>
                  </a:lnTo>
                  <a:lnTo>
                    <a:pt x="525" y="182"/>
                  </a:lnTo>
                  <a:lnTo>
                    <a:pt x="528" y="180"/>
                  </a:lnTo>
                  <a:lnTo>
                    <a:pt x="530" y="182"/>
                  </a:lnTo>
                  <a:lnTo>
                    <a:pt x="530" y="182"/>
                  </a:lnTo>
                  <a:lnTo>
                    <a:pt x="525" y="185"/>
                  </a:lnTo>
                  <a:lnTo>
                    <a:pt x="525" y="185"/>
                  </a:lnTo>
                  <a:lnTo>
                    <a:pt x="525" y="187"/>
                  </a:lnTo>
                  <a:lnTo>
                    <a:pt x="523" y="190"/>
                  </a:lnTo>
                  <a:lnTo>
                    <a:pt x="523" y="190"/>
                  </a:lnTo>
                  <a:lnTo>
                    <a:pt x="523" y="190"/>
                  </a:lnTo>
                  <a:lnTo>
                    <a:pt x="525" y="190"/>
                  </a:lnTo>
                  <a:lnTo>
                    <a:pt x="528" y="190"/>
                  </a:lnTo>
                  <a:lnTo>
                    <a:pt x="528" y="187"/>
                  </a:lnTo>
                  <a:lnTo>
                    <a:pt x="530" y="187"/>
                  </a:lnTo>
                  <a:lnTo>
                    <a:pt x="533" y="187"/>
                  </a:lnTo>
                  <a:lnTo>
                    <a:pt x="533" y="187"/>
                  </a:lnTo>
                  <a:lnTo>
                    <a:pt x="530" y="187"/>
                  </a:lnTo>
                  <a:lnTo>
                    <a:pt x="528" y="187"/>
                  </a:lnTo>
                  <a:lnTo>
                    <a:pt x="530" y="190"/>
                  </a:lnTo>
                  <a:lnTo>
                    <a:pt x="530" y="190"/>
                  </a:lnTo>
                  <a:lnTo>
                    <a:pt x="533" y="187"/>
                  </a:lnTo>
                  <a:lnTo>
                    <a:pt x="533" y="187"/>
                  </a:lnTo>
                  <a:lnTo>
                    <a:pt x="530" y="190"/>
                  </a:lnTo>
                  <a:lnTo>
                    <a:pt x="530" y="190"/>
                  </a:lnTo>
                  <a:lnTo>
                    <a:pt x="533" y="190"/>
                  </a:lnTo>
                  <a:lnTo>
                    <a:pt x="533" y="190"/>
                  </a:lnTo>
                  <a:lnTo>
                    <a:pt x="533" y="190"/>
                  </a:lnTo>
                  <a:lnTo>
                    <a:pt x="530" y="192"/>
                  </a:lnTo>
                  <a:lnTo>
                    <a:pt x="525" y="192"/>
                  </a:lnTo>
                  <a:lnTo>
                    <a:pt x="525" y="192"/>
                  </a:lnTo>
                  <a:lnTo>
                    <a:pt x="525" y="194"/>
                  </a:lnTo>
                  <a:lnTo>
                    <a:pt x="530" y="194"/>
                  </a:lnTo>
                  <a:lnTo>
                    <a:pt x="535" y="194"/>
                  </a:lnTo>
                  <a:lnTo>
                    <a:pt x="540" y="194"/>
                  </a:lnTo>
                  <a:lnTo>
                    <a:pt x="547" y="192"/>
                  </a:lnTo>
                  <a:lnTo>
                    <a:pt x="547" y="192"/>
                  </a:lnTo>
                  <a:lnTo>
                    <a:pt x="547" y="194"/>
                  </a:lnTo>
                  <a:lnTo>
                    <a:pt x="547" y="194"/>
                  </a:lnTo>
                  <a:lnTo>
                    <a:pt x="542" y="194"/>
                  </a:lnTo>
                  <a:lnTo>
                    <a:pt x="542" y="194"/>
                  </a:lnTo>
                  <a:lnTo>
                    <a:pt x="544" y="194"/>
                  </a:lnTo>
                  <a:lnTo>
                    <a:pt x="547" y="197"/>
                  </a:lnTo>
                  <a:lnTo>
                    <a:pt x="547" y="197"/>
                  </a:lnTo>
                  <a:lnTo>
                    <a:pt x="542" y="199"/>
                  </a:lnTo>
                  <a:lnTo>
                    <a:pt x="537" y="199"/>
                  </a:lnTo>
                  <a:lnTo>
                    <a:pt x="537" y="199"/>
                  </a:lnTo>
                  <a:lnTo>
                    <a:pt x="540" y="197"/>
                  </a:lnTo>
                  <a:lnTo>
                    <a:pt x="540" y="197"/>
                  </a:lnTo>
                  <a:lnTo>
                    <a:pt x="537" y="197"/>
                  </a:lnTo>
                  <a:lnTo>
                    <a:pt x="535" y="197"/>
                  </a:lnTo>
                  <a:lnTo>
                    <a:pt x="530" y="199"/>
                  </a:lnTo>
                  <a:lnTo>
                    <a:pt x="528" y="199"/>
                  </a:lnTo>
                  <a:lnTo>
                    <a:pt x="530" y="199"/>
                  </a:lnTo>
                  <a:lnTo>
                    <a:pt x="533" y="197"/>
                  </a:lnTo>
                  <a:lnTo>
                    <a:pt x="533" y="197"/>
                  </a:lnTo>
                  <a:lnTo>
                    <a:pt x="533" y="197"/>
                  </a:lnTo>
                  <a:lnTo>
                    <a:pt x="533" y="194"/>
                  </a:lnTo>
                  <a:lnTo>
                    <a:pt x="530" y="194"/>
                  </a:lnTo>
                  <a:lnTo>
                    <a:pt x="530" y="194"/>
                  </a:lnTo>
                  <a:lnTo>
                    <a:pt x="528" y="194"/>
                  </a:lnTo>
                  <a:lnTo>
                    <a:pt x="523" y="197"/>
                  </a:lnTo>
                  <a:lnTo>
                    <a:pt x="511" y="201"/>
                  </a:lnTo>
                  <a:lnTo>
                    <a:pt x="514" y="201"/>
                  </a:lnTo>
                  <a:lnTo>
                    <a:pt x="516" y="201"/>
                  </a:lnTo>
                  <a:lnTo>
                    <a:pt x="516" y="201"/>
                  </a:lnTo>
                  <a:lnTo>
                    <a:pt x="514" y="201"/>
                  </a:lnTo>
                  <a:lnTo>
                    <a:pt x="514" y="204"/>
                  </a:lnTo>
                  <a:lnTo>
                    <a:pt x="514" y="204"/>
                  </a:lnTo>
                  <a:lnTo>
                    <a:pt x="514" y="206"/>
                  </a:lnTo>
                  <a:lnTo>
                    <a:pt x="516" y="206"/>
                  </a:lnTo>
                  <a:lnTo>
                    <a:pt x="516" y="209"/>
                  </a:lnTo>
                  <a:lnTo>
                    <a:pt x="516" y="211"/>
                  </a:lnTo>
                  <a:lnTo>
                    <a:pt x="516" y="213"/>
                  </a:lnTo>
                  <a:lnTo>
                    <a:pt x="514" y="213"/>
                  </a:lnTo>
                  <a:lnTo>
                    <a:pt x="516" y="216"/>
                  </a:lnTo>
                  <a:lnTo>
                    <a:pt x="518" y="216"/>
                  </a:lnTo>
                  <a:lnTo>
                    <a:pt x="528" y="213"/>
                  </a:lnTo>
                  <a:lnTo>
                    <a:pt x="533" y="213"/>
                  </a:lnTo>
                  <a:lnTo>
                    <a:pt x="537" y="211"/>
                  </a:lnTo>
                  <a:lnTo>
                    <a:pt x="540" y="211"/>
                  </a:lnTo>
                  <a:lnTo>
                    <a:pt x="542" y="211"/>
                  </a:lnTo>
                  <a:lnTo>
                    <a:pt x="544" y="209"/>
                  </a:lnTo>
                  <a:lnTo>
                    <a:pt x="547" y="206"/>
                  </a:lnTo>
                  <a:lnTo>
                    <a:pt x="547" y="206"/>
                  </a:lnTo>
                  <a:lnTo>
                    <a:pt x="544" y="206"/>
                  </a:lnTo>
                  <a:lnTo>
                    <a:pt x="547" y="206"/>
                  </a:lnTo>
                  <a:lnTo>
                    <a:pt x="551" y="204"/>
                  </a:lnTo>
                  <a:lnTo>
                    <a:pt x="558" y="199"/>
                  </a:lnTo>
                  <a:lnTo>
                    <a:pt x="561" y="199"/>
                  </a:lnTo>
                  <a:lnTo>
                    <a:pt x="563" y="199"/>
                  </a:lnTo>
                  <a:lnTo>
                    <a:pt x="566" y="197"/>
                  </a:lnTo>
                  <a:lnTo>
                    <a:pt x="566" y="197"/>
                  </a:lnTo>
                  <a:lnTo>
                    <a:pt x="566" y="199"/>
                  </a:lnTo>
                  <a:lnTo>
                    <a:pt x="561" y="199"/>
                  </a:lnTo>
                  <a:lnTo>
                    <a:pt x="556" y="201"/>
                  </a:lnTo>
                  <a:lnTo>
                    <a:pt x="549" y="206"/>
                  </a:lnTo>
                  <a:lnTo>
                    <a:pt x="549" y="209"/>
                  </a:lnTo>
                  <a:lnTo>
                    <a:pt x="547" y="211"/>
                  </a:lnTo>
                  <a:lnTo>
                    <a:pt x="542" y="216"/>
                  </a:lnTo>
                  <a:lnTo>
                    <a:pt x="542" y="218"/>
                  </a:lnTo>
                  <a:lnTo>
                    <a:pt x="540" y="220"/>
                  </a:lnTo>
                  <a:lnTo>
                    <a:pt x="537" y="223"/>
                  </a:lnTo>
                  <a:lnTo>
                    <a:pt x="535" y="223"/>
                  </a:lnTo>
                  <a:lnTo>
                    <a:pt x="530" y="225"/>
                  </a:lnTo>
                  <a:lnTo>
                    <a:pt x="528" y="227"/>
                  </a:lnTo>
                  <a:lnTo>
                    <a:pt x="528" y="230"/>
                  </a:lnTo>
                  <a:lnTo>
                    <a:pt x="530" y="227"/>
                  </a:lnTo>
                  <a:lnTo>
                    <a:pt x="533" y="227"/>
                  </a:lnTo>
                  <a:lnTo>
                    <a:pt x="528" y="230"/>
                  </a:lnTo>
                  <a:lnTo>
                    <a:pt x="525" y="232"/>
                  </a:lnTo>
                  <a:lnTo>
                    <a:pt x="525" y="232"/>
                  </a:lnTo>
                  <a:lnTo>
                    <a:pt x="523" y="235"/>
                  </a:lnTo>
                  <a:lnTo>
                    <a:pt x="521" y="237"/>
                  </a:lnTo>
                  <a:lnTo>
                    <a:pt x="516" y="237"/>
                  </a:lnTo>
                  <a:lnTo>
                    <a:pt x="514" y="237"/>
                  </a:lnTo>
                  <a:lnTo>
                    <a:pt x="518" y="239"/>
                  </a:lnTo>
                  <a:lnTo>
                    <a:pt x="525" y="237"/>
                  </a:lnTo>
                  <a:lnTo>
                    <a:pt x="528" y="235"/>
                  </a:lnTo>
                  <a:lnTo>
                    <a:pt x="530" y="235"/>
                  </a:lnTo>
                  <a:lnTo>
                    <a:pt x="530" y="235"/>
                  </a:lnTo>
                  <a:lnTo>
                    <a:pt x="533" y="235"/>
                  </a:lnTo>
                  <a:lnTo>
                    <a:pt x="537" y="232"/>
                  </a:lnTo>
                  <a:lnTo>
                    <a:pt x="540" y="232"/>
                  </a:lnTo>
                  <a:lnTo>
                    <a:pt x="544" y="232"/>
                  </a:lnTo>
                  <a:lnTo>
                    <a:pt x="547" y="230"/>
                  </a:lnTo>
                  <a:lnTo>
                    <a:pt x="549" y="230"/>
                  </a:lnTo>
                  <a:lnTo>
                    <a:pt x="549" y="232"/>
                  </a:lnTo>
                  <a:lnTo>
                    <a:pt x="549" y="232"/>
                  </a:lnTo>
                  <a:lnTo>
                    <a:pt x="551" y="235"/>
                  </a:lnTo>
                  <a:lnTo>
                    <a:pt x="554" y="235"/>
                  </a:lnTo>
                  <a:lnTo>
                    <a:pt x="556" y="232"/>
                  </a:lnTo>
                  <a:lnTo>
                    <a:pt x="556" y="232"/>
                  </a:lnTo>
                  <a:lnTo>
                    <a:pt x="558" y="235"/>
                  </a:lnTo>
                  <a:lnTo>
                    <a:pt x="558" y="237"/>
                  </a:lnTo>
                  <a:lnTo>
                    <a:pt x="556" y="242"/>
                  </a:lnTo>
                  <a:lnTo>
                    <a:pt x="556" y="242"/>
                  </a:lnTo>
                  <a:lnTo>
                    <a:pt x="558" y="242"/>
                  </a:lnTo>
                  <a:lnTo>
                    <a:pt x="561" y="239"/>
                  </a:lnTo>
                  <a:lnTo>
                    <a:pt x="566" y="237"/>
                  </a:lnTo>
                  <a:lnTo>
                    <a:pt x="568" y="235"/>
                  </a:lnTo>
                  <a:lnTo>
                    <a:pt x="570" y="232"/>
                  </a:lnTo>
                  <a:lnTo>
                    <a:pt x="573" y="232"/>
                  </a:lnTo>
                  <a:lnTo>
                    <a:pt x="573" y="232"/>
                  </a:lnTo>
                  <a:lnTo>
                    <a:pt x="573" y="232"/>
                  </a:lnTo>
                  <a:lnTo>
                    <a:pt x="575" y="230"/>
                  </a:lnTo>
                  <a:lnTo>
                    <a:pt x="577" y="230"/>
                  </a:lnTo>
                  <a:lnTo>
                    <a:pt x="580" y="230"/>
                  </a:lnTo>
                  <a:lnTo>
                    <a:pt x="582" y="230"/>
                  </a:lnTo>
                  <a:lnTo>
                    <a:pt x="582" y="230"/>
                  </a:lnTo>
                  <a:lnTo>
                    <a:pt x="582" y="230"/>
                  </a:lnTo>
                  <a:lnTo>
                    <a:pt x="580" y="230"/>
                  </a:lnTo>
                  <a:lnTo>
                    <a:pt x="577" y="230"/>
                  </a:lnTo>
                  <a:lnTo>
                    <a:pt x="575" y="232"/>
                  </a:lnTo>
                  <a:lnTo>
                    <a:pt x="573" y="235"/>
                  </a:lnTo>
                  <a:lnTo>
                    <a:pt x="573" y="235"/>
                  </a:lnTo>
                  <a:lnTo>
                    <a:pt x="573" y="235"/>
                  </a:lnTo>
                  <a:lnTo>
                    <a:pt x="573" y="237"/>
                  </a:lnTo>
                  <a:lnTo>
                    <a:pt x="573" y="237"/>
                  </a:lnTo>
                  <a:lnTo>
                    <a:pt x="575" y="237"/>
                  </a:lnTo>
                  <a:lnTo>
                    <a:pt x="584" y="235"/>
                  </a:lnTo>
                  <a:lnTo>
                    <a:pt x="594" y="232"/>
                  </a:lnTo>
                  <a:lnTo>
                    <a:pt x="599" y="230"/>
                  </a:lnTo>
                  <a:lnTo>
                    <a:pt x="606" y="227"/>
                  </a:lnTo>
                  <a:lnTo>
                    <a:pt x="599" y="232"/>
                  </a:lnTo>
                  <a:lnTo>
                    <a:pt x="594" y="235"/>
                  </a:lnTo>
                  <a:lnTo>
                    <a:pt x="594" y="235"/>
                  </a:lnTo>
                  <a:lnTo>
                    <a:pt x="594" y="235"/>
                  </a:lnTo>
                  <a:lnTo>
                    <a:pt x="587" y="237"/>
                  </a:lnTo>
                  <a:lnTo>
                    <a:pt x="582" y="239"/>
                  </a:lnTo>
                  <a:lnTo>
                    <a:pt x="577" y="242"/>
                  </a:lnTo>
                  <a:lnTo>
                    <a:pt x="577" y="244"/>
                  </a:lnTo>
                  <a:lnTo>
                    <a:pt x="575" y="244"/>
                  </a:lnTo>
                  <a:lnTo>
                    <a:pt x="575" y="246"/>
                  </a:lnTo>
                  <a:lnTo>
                    <a:pt x="577" y="246"/>
                  </a:lnTo>
                  <a:lnTo>
                    <a:pt x="577" y="246"/>
                  </a:lnTo>
                  <a:lnTo>
                    <a:pt x="573" y="246"/>
                  </a:lnTo>
                  <a:lnTo>
                    <a:pt x="570" y="246"/>
                  </a:lnTo>
                  <a:lnTo>
                    <a:pt x="568" y="249"/>
                  </a:lnTo>
                  <a:lnTo>
                    <a:pt x="566" y="251"/>
                  </a:lnTo>
                  <a:lnTo>
                    <a:pt x="561" y="256"/>
                  </a:lnTo>
                  <a:lnTo>
                    <a:pt x="558" y="256"/>
                  </a:lnTo>
                  <a:lnTo>
                    <a:pt x="558" y="258"/>
                  </a:lnTo>
                  <a:lnTo>
                    <a:pt x="558" y="258"/>
                  </a:lnTo>
                  <a:lnTo>
                    <a:pt x="556" y="258"/>
                  </a:lnTo>
                  <a:lnTo>
                    <a:pt x="558" y="261"/>
                  </a:lnTo>
                  <a:lnTo>
                    <a:pt x="558" y="261"/>
                  </a:lnTo>
                  <a:lnTo>
                    <a:pt x="558" y="261"/>
                  </a:lnTo>
                  <a:lnTo>
                    <a:pt x="556" y="261"/>
                  </a:lnTo>
                  <a:lnTo>
                    <a:pt x="556" y="261"/>
                  </a:lnTo>
                  <a:lnTo>
                    <a:pt x="554" y="261"/>
                  </a:lnTo>
                  <a:lnTo>
                    <a:pt x="556" y="258"/>
                  </a:lnTo>
                  <a:lnTo>
                    <a:pt x="554" y="258"/>
                  </a:lnTo>
                  <a:lnTo>
                    <a:pt x="554" y="258"/>
                  </a:lnTo>
                  <a:lnTo>
                    <a:pt x="551" y="261"/>
                  </a:lnTo>
                  <a:lnTo>
                    <a:pt x="547" y="261"/>
                  </a:lnTo>
                  <a:lnTo>
                    <a:pt x="544" y="263"/>
                  </a:lnTo>
                  <a:lnTo>
                    <a:pt x="542" y="263"/>
                  </a:lnTo>
                  <a:lnTo>
                    <a:pt x="540" y="263"/>
                  </a:lnTo>
                  <a:lnTo>
                    <a:pt x="535" y="265"/>
                  </a:lnTo>
                  <a:lnTo>
                    <a:pt x="533" y="268"/>
                  </a:lnTo>
                  <a:lnTo>
                    <a:pt x="530" y="270"/>
                  </a:lnTo>
                  <a:lnTo>
                    <a:pt x="528" y="270"/>
                  </a:lnTo>
                  <a:lnTo>
                    <a:pt x="525" y="270"/>
                  </a:lnTo>
                  <a:lnTo>
                    <a:pt x="525" y="272"/>
                  </a:lnTo>
                  <a:lnTo>
                    <a:pt x="523" y="272"/>
                  </a:lnTo>
                  <a:lnTo>
                    <a:pt x="523" y="275"/>
                  </a:lnTo>
                  <a:lnTo>
                    <a:pt x="523" y="275"/>
                  </a:lnTo>
                  <a:lnTo>
                    <a:pt x="521" y="275"/>
                  </a:lnTo>
                  <a:lnTo>
                    <a:pt x="521" y="272"/>
                  </a:lnTo>
                  <a:lnTo>
                    <a:pt x="521" y="272"/>
                  </a:lnTo>
                  <a:lnTo>
                    <a:pt x="521" y="272"/>
                  </a:lnTo>
                  <a:lnTo>
                    <a:pt x="521" y="272"/>
                  </a:lnTo>
                  <a:lnTo>
                    <a:pt x="516" y="275"/>
                  </a:lnTo>
                  <a:lnTo>
                    <a:pt x="511" y="275"/>
                  </a:lnTo>
                  <a:lnTo>
                    <a:pt x="502" y="279"/>
                  </a:lnTo>
                  <a:lnTo>
                    <a:pt x="495" y="282"/>
                  </a:lnTo>
                  <a:lnTo>
                    <a:pt x="492" y="282"/>
                  </a:lnTo>
                  <a:lnTo>
                    <a:pt x="488" y="284"/>
                  </a:lnTo>
                  <a:lnTo>
                    <a:pt x="485" y="284"/>
                  </a:lnTo>
                  <a:lnTo>
                    <a:pt x="481" y="287"/>
                  </a:lnTo>
                  <a:lnTo>
                    <a:pt x="478" y="289"/>
                  </a:lnTo>
                  <a:lnTo>
                    <a:pt x="476" y="289"/>
                  </a:lnTo>
                  <a:lnTo>
                    <a:pt x="476" y="291"/>
                  </a:lnTo>
                  <a:lnTo>
                    <a:pt x="476" y="291"/>
                  </a:lnTo>
                  <a:lnTo>
                    <a:pt x="476" y="291"/>
                  </a:lnTo>
                  <a:lnTo>
                    <a:pt x="476" y="294"/>
                  </a:lnTo>
                  <a:lnTo>
                    <a:pt x="476" y="294"/>
                  </a:lnTo>
                  <a:lnTo>
                    <a:pt x="476" y="294"/>
                  </a:lnTo>
                  <a:lnTo>
                    <a:pt x="474" y="294"/>
                  </a:lnTo>
                  <a:lnTo>
                    <a:pt x="474" y="294"/>
                  </a:lnTo>
                  <a:lnTo>
                    <a:pt x="474" y="291"/>
                  </a:lnTo>
                  <a:lnTo>
                    <a:pt x="474" y="291"/>
                  </a:lnTo>
                  <a:lnTo>
                    <a:pt x="471" y="291"/>
                  </a:lnTo>
                  <a:lnTo>
                    <a:pt x="469" y="291"/>
                  </a:lnTo>
                  <a:lnTo>
                    <a:pt x="469" y="294"/>
                  </a:lnTo>
                  <a:lnTo>
                    <a:pt x="467" y="294"/>
                  </a:lnTo>
                  <a:lnTo>
                    <a:pt x="467" y="294"/>
                  </a:lnTo>
                  <a:lnTo>
                    <a:pt x="467" y="294"/>
                  </a:lnTo>
                  <a:lnTo>
                    <a:pt x="467" y="291"/>
                  </a:lnTo>
                  <a:lnTo>
                    <a:pt x="467" y="291"/>
                  </a:lnTo>
                  <a:lnTo>
                    <a:pt x="469" y="291"/>
                  </a:lnTo>
                  <a:lnTo>
                    <a:pt x="471" y="289"/>
                  </a:lnTo>
                  <a:lnTo>
                    <a:pt x="471" y="289"/>
                  </a:lnTo>
                  <a:lnTo>
                    <a:pt x="469" y="289"/>
                  </a:lnTo>
                  <a:lnTo>
                    <a:pt x="467" y="291"/>
                  </a:lnTo>
                  <a:lnTo>
                    <a:pt x="467" y="291"/>
                  </a:lnTo>
                  <a:lnTo>
                    <a:pt x="467" y="289"/>
                  </a:lnTo>
                  <a:lnTo>
                    <a:pt x="467" y="289"/>
                  </a:lnTo>
                  <a:lnTo>
                    <a:pt x="467" y="289"/>
                  </a:lnTo>
                  <a:lnTo>
                    <a:pt x="457" y="291"/>
                  </a:lnTo>
                  <a:lnTo>
                    <a:pt x="450" y="294"/>
                  </a:lnTo>
                  <a:lnTo>
                    <a:pt x="445" y="296"/>
                  </a:lnTo>
                  <a:lnTo>
                    <a:pt x="441" y="298"/>
                  </a:lnTo>
                  <a:lnTo>
                    <a:pt x="434" y="301"/>
                  </a:lnTo>
                  <a:lnTo>
                    <a:pt x="429" y="303"/>
                  </a:lnTo>
                  <a:lnTo>
                    <a:pt x="426" y="303"/>
                  </a:lnTo>
                  <a:lnTo>
                    <a:pt x="424" y="305"/>
                  </a:lnTo>
                  <a:lnTo>
                    <a:pt x="422" y="305"/>
                  </a:lnTo>
                  <a:lnTo>
                    <a:pt x="422" y="305"/>
                  </a:lnTo>
                  <a:lnTo>
                    <a:pt x="422" y="305"/>
                  </a:lnTo>
                  <a:lnTo>
                    <a:pt x="419" y="305"/>
                  </a:lnTo>
                  <a:lnTo>
                    <a:pt x="419" y="305"/>
                  </a:lnTo>
                  <a:lnTo>
                    <a:pt x="419" y="305"/>
                  </a:lnTo>
                  <a:lnTo>
                    <a:pt x="415" y="308"/>
                  </a:lnTo>
                  <a:lnTo>
                    <a:pt x="412" y="308"/>
                  </a:lnTo>
                  <a:lnTo>
                    <a:pt x="412" y="308"/>
                  </a:lnTo>
                  <a:lnTo>
                    <a:pt x="412" y="310"/>
                  </a:lnTo>
                  <a:lnTo>
                    <a:pt x="410" y="310"/>
                  </a:lnTo>
                  <a:lnTo>
                    <a:pt x="408" y="313"/>
                  </a:lnTo>
                  <a:lnTo>
                    <a:pt x="408" y="313"/>
                  </a:lnTo>
                  <a:lnTo>
                    <a:pt x="408" y="313"/>
                  </a:lnTo>
                  <a:lnTo>
                    <a:pt x="410" y="313"/>
                  </a:lnTo>
                  <a:lnTo>
                    <a:pt x="412" y="310"/>
                  </a:lnTo>
                  <a:lnTo>
                    <a:pt x="415" y="310"/>
                  </a:lnTo>
                  <a:lnTo>
                    <a:pt x="415" y="308"/>
                  </a:lnTo>
                  <a:lnTo>
                    <a:pt x="415" y="308"/>
                  </a:lnTo>
                  <a:lnTo>
                    <a:pt x="417" y="308"/>
                  </a:lnTo>
                  <a:lnTo>
                    <a:pt x="417" y="310"/>
                  </a:lnTo>
                  <a:lnTo>
                    <a:pt x="417" y="310"/>
                  </a:lnTo>
                  <a:lnTo>
                    <a:pt x="422" y="310"/>
                  </a:lnTo>
                  <a:lnTo>
                    <a:pt x="422" y="308"/>
                  </a:lnTo>
                  <a:lnTo>
                    <a:pt x="424" y="308"/>
                  </a:lnTo>
                  <a:lnTo>
                    <a:pt x="426" y="305"/>
                  </a:lnTo>
                  <a:lnTo>
                    <a:pt x="426" y="305"/>
                  </a:lnTo>
                  <a:lnTo>
                    <a:pt x="429" y="305"/>
                  </a:lnTo>
                  <a:lnTo>
                    <a:pt x="429" y="305"/>
                  </a:lnTo>
                  <a:lnTo>
                    <a:pt x="429" y="305"/>
                  </a:lnTo>
                  <a:lnTo>
                    <a:pt x="426" y="308"/>
                  </a:lnTo>
                  <a:lnTo>
                    <a:pt x="426" y="308"/>
                  </a:lnTo>
                  <a:lnTo>
                    <a:pt x="426" y="308"/>
                  </a:lnTo>
                  <a:lnTo>
                    <a:pt x="426" y="308"/>
                  </a:lnTo>
                  <a:lnTo>
                    <a:pt x="426" y="308"/>
                  </a:lnTo>
                  <a:lnTo>
                    <a:pt x="426" y="308"/>
                  </a:lnTo>
                  <a:lnTo>
                    <a:pt x="429" y="308"/>
                  </a:lnTo>
                  <a:lnTo>
                    <a:pt x="431" y="308"/>
                  </a:lnTo>
                  <a:lnTo>
                    <a:pt x="431" y="305"/>
                  </a:lnTo>
                  <a:lnTo>
                    <a:pt x="434" y="305"/>
                  </a:lnTo>
                  <a:lnTo>
                    <a:pt x="436" y="305"/>
                  </a:lnTo>
                  <a:lnTo>
                    <a:pt x="445" y="301"/>
                  </a:lnTo>
                  <a:lnTo>
                    <a:pt x="445" y="301"/>
                  </a:lnTo>
                  <a:lnTo>
                    <a:pt x="448" y="298"/>
                  </a:lnTo>
                  <a:lnTo>
                    <a:pt x="450" y="298"/>
                  </a:lnTo>
                  <a:lnTo>
                    <a:pt x="450" y="298"/>
                  </a:lnTo>
                  <a:lnTo>
                    <a:pt x="452" y="296"/>
                  </a:lnTo>
                  <a:lnTo>
                    <a:pt x="455" y="296"/>
                  </a:lnTo>
                  <a:lnTo>
                    <a:pt x="455" y="296"/>
                  </a:lnTo>
                  <a:lnTo>
                    <a:pt x="457" y="298"/>
                  </a:lnTo>
                  <a:lnTo>
                    <a:pt x="457" y="298"/>
                  </a:lnTo>
                  <a:lnTo>
                    <a:pt x="457" y="298"/>
                  </a:lnTo>
                  <a:lnTo>
                    <a:pt x="455" y="298"/>
                  </a:lnTo>
                  <a:lnTo>
                    <a:pt x="455" y="298"/>
                  </a:lnTo>
                  <a:lnTo>
                    <a:pt x="452" y="298"/>
                  </a:lnTo>
                  <a:lnTo>
                    <a:pt x="452" y="298"/>
                  </a:lnTo>
                  <a:lnTo>
                    <a:pt x="450" y="301"/>
                  </a:lnTo>
                  <a:lnTo>
                    <a:pt x="448" y="301"/>
                  </a:lnTo>
                  <a:lnTo>
                    <a:pt x="448" y="301"/>
                  </a:lnTo>
                  <a:lnTo>
                    <a:pt x="450" y="303"/>
                  </a:lnTo>
                  <a:lnTo>
                    <a:pt x="452" y="301"/>
                  </a:lnTo>
                  <a:lnTo>
                    <a:pt x="455" y="301"/>
                  </a:lnTo>
                  <a:lnTo>
                    <a:pt x="457" y="301"/>
                  </a:lnTo>
                  <a:lnTo>
                    <a:pt x="459" y="298"/>
                  </a:lnTo>
                  <a:lnTo>
                    <a:pt x="459" y="298"/>
                  </a:lnTo>
                  <a:lnTo>
                    <a:pt x="462" y="301"/>
                  </a:lnTo>
                  <a:lnTo>
                    <a:pt x="462" y="298"/>
                  </a:lnTo>
                  <a:lnTo>
                    <a:pt x="464" y="298"/>
                  </a:lnTo>
                  <a:lnTo>
                    <a:pt x="464" y="298"/>
                  </a:lnTo>
                  <a:lnTo>
                    <a:pt x="467" y="298"/>
                  </a:lnTo>
                  <a:lnTo>
                    <a:pt x="467" y="298"/>
                  </a:lnTo>
                  <a:lnTo>
                    <a:pt x="469" y="298"/>
                  </a:lnTo>
                  <a:lnTo>
                    <a:pt x="469" y="296"/>
                  </a:lnTo>
                  <a:lnTo>
                    <a:pt x="471" y="296"/>
                  </a:lnTo>
                  <a:lnTo>
                    <a:pt x="474" y="296"/>
                  </a:lnTo>
                  <a:lnTo>
                    <a:pt x="478" y="294"/>
                  </a:lnTo>
                  <a:lnTo>
                    <a:pt x="481" y="294"/>
                  </a:lnTo>
                  <a:lnTo>
                    <a:pt x="481" y="294"/>
                  </a:lnTo>
                  <a:lnTo>
                    <a:pt x="483" y="294"/>
                  </a:lnTo>
                  <a:lnTo>
                    <a:pt x="483" y="294"/>
                  </a:lnTo>
                  <a:lnTo>
                    <a:pt x="485" y="294"/>
                  </a:lnTo>
                  <a:lnTo>
                    <a:pt x="485" y="294"/>
                  </a:lnTo>
                  <a:lnTo>
                    <a:pt x="485" y="294"/>
                  </a:lnTo>
                  <a:lnTo>
                    <a:pt x="485" y="294"/>
                  </a:lnTo>
                  <a:lnTo>
                    <a:pt x="483" y="296"/>
                  </a:lnTo>
                  <a:lnTo>
                    <a:pt x="481" y="296"/>
                  </a:lnTo>
                  <a:lnTo>
                    <a:pt x="483" y="296"/>
                  </a:lnTo>
                  <a:lnTo>
                    <a:pt x="485" y="296"/>
                  </a:lnTo>
                  <a:lnTo>
                    <a:pt x="485" y="294"/>
                  </a:lnTo>
                  <a:lnTo>
                    <a:pt x="488" y="294"/>
                  </a:lnTo>
                  <a:lnTo>
                    <a:pt x="490" y="294"/>
                  </a:lnTo>
                  <a:lnTo>
                    <a:pt x="504" y="289"/>
                  </a:lnTo>
                  <a:lnTo>
                    <a:pt x="507" y="289"/>
                  </a:lnTo>
                  <a:lnTo>
                    <a:pt x="509" y="287"/>
                  </a:lnTo>
                  <a:lnTo>
                    <a:pt x="511" y="287"/>
                  </a:lnTo>
                  <a:lnTo>
                    <a:pt x="511" y="287"/>
                  </a:lnTo>
                  <a:lnTo>
                    <a:pt x="511" y="287"/>
                  </a:lnTo>
                  <a:lnTo>
                    <a:pt x="509" y="289"/>
                  </a:lnTo>
                  <a:lnTo>
                    <a:pt x="509" y="289"/>
                  </a:lnTo>
                  <a:lnTo>
                    <a:pt x="509" y="289"/>
                  </a:lnTo>
                  <a:lnTo>
                    <a:pt x="511" y="287"/>
                  </a:lnTo>
                  <a:lnTo>
                    <a:pt x="516" y="287"/>
                  </a:lnTo>
                  <a:lnTo>
                    <a:pt x="516" y="287"/>
                  </a:lnTo>
                  <a:lnTo>
                    <a:pt x="516" y="284"/>
                  </a:lnTo>
                  <a:lnTo>
                    <a:pt x="516" y="284"/>
                  </a:lnTo>
                  <a:lnTo>
                    <a:pt x="516" y="284"/>
                  </a:lnTo>
                  <a:lnTo>
                    <a:pt x="516" y="284"/>
                  </a:lnTo>
                  <a:lnTo>
                    <a:pt x="514" y="284"/>
                  </a:lnTo>
                  <a:lnTo>
                    <a:pt x="514" y="284"/>
                  </a:lnTo>
                  <a:lnTo>
                    <a:pt x="516" y="282"/>
                  </a:lnTo>
                  <a:lnTo>
                    <a:pt x="518" y="282"/>
                  </a:lnTo>
                  <a:lnTo>
                    <a:pt x="521" y="279"/>
                  </a:lnTo>
                  <a:lnTo>
                    <a:pt x="523" y="279"/>
                  </a:lnTo>
                  <a:lnTo>
                    <a:pt x="525" y="279"/>
                  </a:lnTo>
                  <a:lnTo>
                    <a:pt x="525" y="279"/>
                  </a:lnTo>
                  <a:lnTo>
                    <a:pt x="528" y="279"/>
                  </a:lnTo>
                  <a:lnTo>
                    <a:pt x="528" y="279"/>
                  </a:lnTo>
                  <a:lnTo>
                    <a:pt x="528" y="279"/>
                  </a:lnTo>
                  <a:lnTo>
                    <a:pt x="528" y="279"/>
                  </a:lnTo>
                  <a:lnTo>
                    <a:pt x="528" y="279"/>
                  </a:lnTo>
                  <a:lnTo>
                    <a:pt x="528" y="277"/>
                  </a:lnTo>
                  <a:lnTo>
                    <a:pt x="533" y="277"/>
                  </a:lnTo>
                  <a:lnTo>
                    <a:pt x="535" y="277"/>
                  </a:lnTo>
                  <a:lnTo>
                    <a:pt x="535" y="277"/>
                  </a:lnTo>
                  <a:lnTo>
                    <a:pt x="535" y="277"/>
                  </a:lnTo>
                  <a:lnTo>
                    <a:pt x="537" y="277"/>
                  </a:lnTo>
                  <a:lnTo>
                    <a:pt x="537" y="277"/>
                  </a:lnTo>
                  <a:lnTo>
                    <a:pt x="540" y="275"/>
                  </a:lnTo>
                  <a:lnTo>
                    <a:pt x="542" y="275"/>
                  </a:lnTo>
                  <a:lnTo>
                    <a:pt x="544" y="272"/>
                  </a:lnTo>
                  <a:lnTo>
                    <a:pt x="544" y="272"/>
                  </a:lnTo>
                  <a:lnTo>
                    <a:pt x="544" y="272"/>
                  </a:lnTo>
                  <a:lnTo>
                    <a:pt x="547" y="272"/>
                  </a:lnTo>
                  <a:lnTo>
                    <a:pt x="547" y="272"/>
                  </a:lnTo>
                  <a:lnTo>
                    <a:pt x="549" y="272"/>
                  </a:lnTo>
                  <a:lnTo>
                    <a:pt x="551" y="272"/>
                  </a:lnTo>
                  <a:lnTo>
                    <a:pt x="554" y="270"/>
                  </a:lnTo>
                  <a:lnTo>
                    <a:pt x="554" y="270"/>
                  </a:lnTo>
                  <a:lnTo>
                    <a:pt x="556" y="270"/>
                  </a:lnTo>
                  <a:lnTo>
                    <a:pt x="556" y="270"/>
                  </a:lnTo>
                  <a:lnTo>
                    <a:pt x="558" y="270"/>
                  </a:lnTo>
                  <a:lnTo>
                    <a:pt x="558" y="270"/>
                  </a:lnTo>
                  <a:lnTo>
                    <a:pt x="561" y="268"/>
                  </a:lnTo>
                  <a:lnTo>
                    <a:pt x="563" y="268"/>
                  </a:lnTo>
                  <a:lnTo>
                    <a:pt x="563" y="268"/>
                  </a:lnTo>
                  <a:lnTo>
                    <a:pt x="568" y="265"/>
                  </a:lnTo>
                  <a:lnTo>
                    <a:pt x="568" y="265"/>
                  </a:lnTo>
                  <a:lnTo>
                    <a:pt x="568" y="263"/>
                  </a:lnTo>
                  <a:lnTo>
                    <a:pt x="568" y="263"/>
                  </a:lnTo>
                  <a:lnTo>
                    <a:pt x="568" y="263"/>
                  </a:lnTo>
                  <a:lnTo>
                    <a:pt x="570" y="263"/>
                  </a:lnTo>
                  <a:lnTo>
                    <a:pt x="575" y="261"/>
                  </a:lnTo>
                  <a:lnTo>
                    <a:pt x="577" y="261"/>
                  </a:lnTo>
                  <a:lnTo>
                    <a:pt x="577" y="261"/>
                  </a:lnTo>
                  <a:lnTo>
                    <a:pt x="577" y="261"/>
                  </a:lnTo>
                  <a:lnTo>
                    <a:pt x="580" y="258"/>
                  </a:lnTo>
                  <a:lnTo>
                    <a:pt x="582" y="258"/>
                  </a:lnTo>
                  <a:lnTo>
                    <a:pt x="584" y="258"/>
                  </a:lnTo>
                  <a:lnTo>
                    <a:pt x="584" y="258"/>
                  </a:lnTo>
                  <a:lnTo>
                    <a:pt x="587" y="258"/>
                  </a:lnTo>
                  <a:lnTo>
                    <a:pt x="589" y="256"/>
                  </a:lnTo>
                  <a:lnTo>
                    <a:pt x="591" y="256"/>
                  </a:lnTo>
                  <a:lnTo>
                    <a:pt x="591" y="256"/>
                  </a:lnTo>
                  <a:lnTo>
                    <a:pt x="594" y="256"/>
                  </a:lnTo>
                  <a:lnTo>
                    <a:pt x="596" y="253"/>
                  </a:lnTo>
                  <a:lnTo>
                    <a:pt x="599" y="253"/>
                  </a:lnTo>
                  <a:lnTo>
                    <a:pt x="601" y="253"/>
                  </a:lnTo>
                  <a:lnTo>
                    <a:pt x="603" y="251"/>
                  </a:lnTo>
                  <a:lnTo>
                    <a:pt x="606" y="249"/>
                  </a:lnTo>
                  <a:lnTo>
                    <a:pt x="615" y="249"/>
                  </a:lnTo>
                  <a:lnTo>
                    <a:pt x="615" y="249"/>
                  </a:lnTo>
                  <a:lnTo>
                    <a:pt x="615" y="249"/>
                  </a:lnTo>
                  <a:lnTo>
                    <a:pt x="620" y="246"/>
                  </a:lnTo>
                  <a:lnTo>
                    <a:pt x="620" y="246"/>
                  </a:lnTo>
                  <a:lnTo>
                    <a:pt x="622" y="246"/>
                  </a:lnTo>
                  <a:lnTo>
                    <a:pt x="624" y="246"/>
                  </a:lnTo>
                  <a:lnTo>
                    <a:pt x="624" y="244"/>
                  </a:lnTo>
                  <a:lnTo>
                    <a:pt x="624" y="244"/>
                  </a:lnTo>
                  <a:lnTo>
                    <a:pt x="624" y="244"/>
                  </a:lnTo>
                  <a:lnTo>
                    <a:pt x="629" y="244"/>
                  </a:lnTo>
                  <a:lnTo>
                    <a:pt x="629" y="242"/>
                  </a:lnTo>
                  <a:lnTo>
                    <a:pt x="632" y="242"/>
                  </a:lnTo>
                  <a:lnTo>
                    <a:pt x="632" y="239"/>
                  </a:lnTo>
                  <a:lnTo>
                    <a:pt x="636" y="239"/>
                  </a:lnTo>
                  <a:lnTo>
                    <a:pt x="639" y="239"/>
                  </a:lnTo>
                  <a:lnTo>
                    <a:pt x="641" y="237"/>
                  </a:lnTo>
                  <a:lnTo>
                    <a:pt x="643" y="237"/>
                  </a:lnTo>
                  <a:lnTo>
                    <a:pt x="648" y="235"/>
                  </a:lnTo>
                  <a:lnTo>
                    <a:pt x="650" y="235"/>
                  </a:lnTo>
                  <a:lnTo>
                    <a:pt x="650" y="232"/>
                  </a:lnTo>
                  <a:lnTo>
                    <a:pt x="653" y="232"/>
                  </a:lnTo>
                  <a:lnTo>
                    <a:pt x="653" y="232"/>
                  </a:lnTo>
                  <a:lnTo>
                    <a:pt x="653" y="232"/>
                  </a:lnTo>
                  <a:lnTo>
                    <a:pt x="650" y="230"/>
                  </a:lnTo>
                  <a:lnTo>
                    <a:pt x="648" y="230"/>
                  </a:lnTo>
                  <a:lnTo>
                    <a:pt x="648" y="230"/>
                  </a:lnTo>
                  <a:lnTo>
                    <a:pt x="646" y="227"/>
                  </a:lnTo>
                  <a:lnTo>
                    <a:pt x="646" y="227"/>
                  </a:lnTo>
                  <a:lnTo>
                    <a:pt x="648" y="225"/>
                  </a:lnTo>
                  <a:lnTo>
                    <a:pt x="650" y="225"/>
                  </a:lnTo>
                  <a:lnTo>
                    <a:pt x="650" y="223"/>
                  </a:lnTo>
                  <a:lnTo>
                    <a:pt x="657" y="220"/>
                  </a:lnTo>
                  <a:lnTo>
                    <a:pt x="660" y="220"/>
                  </a:lnTo>
                  <a:lnTo>
                    <a:pt x="662" y="220"/>
                  </a:lnTo>
                  <a:lnTo>
                    <a:pt x="665" y="218"/>
                  </a:lnTo>
                  <a:lnTo>
                    <a:pt x="665" y="218"/>
                  </a:lnTo>
                  <a:lnTo>
                    <a:pt x="665" y="218"/>
                  </a:lnTo>
                  <a:lnTo>
                    <a:pt x="665" y="218"/>
                  </a:lnTo>
                  <a:lnTo>
                    <a:pt x="669" y="216"/>
                  </a:lnTo>
                  <a:lnTo>
                    <a:pt x="669" y="216"/>
                  </a:lnTo>
                  <a:lnTo>
                    <a:pt x="672" y="216"/>
                  </a:lnTo>
                  <a:lnTo>
                    <a:pt x="669" y="216"/>
                  </a:lnTo>
                  <a:lnTo>
                    <a:pt x="669" y="218"/>
                  </a:lnTo>
                  <a:lnTo>
                    <a:pt x="669" y="218"/>
                  </a:lnTo>
                  <a:lnTo>
                    <a:pt x="672" y="218"/>
                  </a:lnTo>
                  <a:lnTo>
                    <a:pt x="674" y="216"/>
                  </a:lnTo>
                  <a:lnTo>
                    <a:pt x="676" y="216"/>
                  </a:lnTo>
                  <a:lnTo>
                    <a:pt x="676" y="216"/>
                  </a:lnTo>
                  <a:lnTo>
                    <a:pt x="676" y="216"/>
                  </a:lnTo>
                  <a:lnTo>
                    <a:pt x="676" y="213"/>
                  </a:lnTo>
                  <a:lnTo>
                    <a:pt x="676" y="213"/>
                  </a:lnTo>
                  <a:lnTo>
                    <a:pt x="679" y="213"/>
                  </a:lnTo>
                  <a:lnTo>
                    <a:pt x="681" y="213"/>
                  </a:lnTo>
                  <a:lnTo>
                    <a:pt x="683" y="213"/>
                  </a:lnTo>
                  <a:lnTo>
                    <a:pt x="688" y="211"/>
                  </a:lnTo>
                  <a:lnTo>
                    <a:pt x="688" y="211"/>
                  </a:lnTo>
                  <a:lnTo>
                    <a:pt x="690" y="209"/>
                  </a:lnTo>
                  <a:lnTo>
                    <a:pt x="690" y="209"/>
                  </a:lnTo>
                  <a:lnTo>
                    <a:pt x="690" y="209"/>
                  </a:lnTo>
                  <a:lnTo>
                    <a:pt x="690" y="206"/>
                  </a:lnTo>
                  <a:lnTo>
                    <a:pt x="688" y="206"/>
                  </a:lnTo>
                  <a:lnTo>
                    <a:pt x="688" y="206"/>
                  </a:lnTo>
                  <a:lnTo>
                    <a:pt x="690" y="206"/>
                  </a:lnTo>
                  <a:lnTo>
                    <a:pt x="690" y="206"/>
                  </a:lnTo>
                  <a:lnTo>
                    <a:pt x="693" y="206"/>
                  </a:lnTo>
                  <a:lnTo>
                    <a:pt x="693" y="206"/>
                  </a:lnTo>
                  <a:lnTo>
                    <a:pt x="695" y="206"/>
                  </a:lnTo>
                  <a:lnTo>
                    <a:pt x="700" y="204"/>
                  </a:lnTo>
                  <a:lnTo>
                    <a:pt x="702" y="204"/>
                  </a:lnTo>
                  <a:lnTo>
                    <a:pt x="702" y="204"/>
                  </a:lnTo>
                  <a:lnTo>
                    <a:pt x="702" y="201"/>
                  </a:lnTo>
                  <a:lnTo>
                    <a:pt x="702" y="201"/>
                  </a:lnTo>
                  <a:lnTo>
                    <a:pt x="705" y="201"/>
                  </a:lnTo>
                  <a:lnTo>
                    <a:pt x="712" y="199"/>
                  </a:lnTo>
                  <a:lnTo>
                    <a:pt x="716" y="197"/>
                  </a:lnTo>
                  <a:lnTo>
                    <a:pt x="716" y="197"/>
                  </a:lnTo>
                  <a:lnTo>
                    <a:pt x="719" y="197"/>
                  </a:lnTo>
                  <a:lnTo>
                    <a:pt x="719" y="194"/>
                  </a:lnTo>
                  <a:lnTo>
                    <a:pt x="721" y="194"/>
                  </a:lnTo>
                  <a:lnTo>
                    <a:pt x="721" y="194"/>
                  </a:lnTo>
                  <a:lnTo>
                    <a:pt x="726" y="192"/>
                  </a:lnTo>
                  <a:lnTo>
                    <a:pt x="728" y="192"/>
                  </a:lnTo>
                  <a:lnTo>
                    <a:pt x="731" y="192"/>
                  </a:lnTo>
                  <a:lnTo>
                    <a:pt x="735" y="190"/>
                  </a:lnTo>
                  <a:lnTo>
                    <a:pt x="738" y="190"/>
                  </a:lnTo>
                  <a:lnTo>
                    <a:pt x="740" y="187"/>
                  </a:lnTo>
                  <a:lnTo>
                    <a:pt x="747" y="187"/>
                  </a:lnTo>
                  <a:lnTo>
                    <a:pt x="749" y="185"/>
                  </a:lnTo>
                  <a:lnTo>
                    <a:pt x="749" y="187"/>
                  </a:lnTo>
                  <a:lnTo>
                    <a:pt x="749" y="187"/>
                  </a:lnTo>
                  <a:lnTo>
                    <a:pt x="754" y="187"/>
                  </a:lnTo>
                  <a:lnTo>
                    <a:pt x="756" y="187"/>
                  </a:lnTo>
                  <a:lnTo>
                    <a:pt x="756" y="187"/>
                  </a:lnTo>
                  <a:lnTo>
                    <a:pt x="759" y="185"/>
                  </a:lnTo>
                  <a:lnTo>
                    <a:pt x="761" y="185"/>
                  </a:lnTo>
                  <a:lnTo>
                    <a:pt x="766" y="182"/>
                  </a:lnTo>
                  <a:lnTo>
                    <a:pt x="766" y="182"/>
                  </a:lnTo>
                  <a:lnTo>
                    <a:pt x="768" y="182"/>
                  </a:lnTo>
                  <a:lnTo>
                    <a:pt x="771" y="182"/>
                  </a:lnTo>
                  <a:lnTo>
                    <a:pt x="766" y="185"/>
                  </a:lnTo>
                  <a:lnTo>
                    <a:pt x="761" y="185"/>
                  </a:lnTo>
                  <a:lnTo>
                    <a:pt x="759" y="185"/>
                  </a:lnTo>
                  <a:lnTo>
                    <a:pt x="756" y="187"/>
                  </a:lnTo>
                  <a:lnTo>
                    <a:pt x="756" y="187"/>
                  </a:lnTo>
                  <a:lnTo>
                    <a:pt x="756" y="187"/>
                  </a:lnTo>
                  <a:lnTo>
                    <a:pt x="754" y="187"/>
                  </a:lnTo>
                  <a:lnTo>
                    <a:pt x="752" y="190"/>
                  </a:lnTo>
                  <a:lnTo>
                    <a:pt x="752" y="190"/>
                  </a:lnTo>
                  <a:lnTo>
                    <a:pt x="756" y="192"/>
                  </a:lnTo>
                  <a:lnTo>
                    <a:pt x="756" y="192"/>
                  </a:lnTo>
                  <a:lnTo>
                    <a:pt x="761" y="192"/>
                  </a:lnTo>
                  <a:lnTo>
                    <a:pt x="761" y="194"/>
                  </a:lnTo>
                  <a:lnTo>
                    <a:pt x="761" y="194"/>
                  </a:lnTo>
                  <a:lnTo>
                    <a:pt x="759" y="194"/>
                  </a:lnTo>
                  <a:lnTo>
                    <a:pt x="754" y="192"/>
                  </a:lnTo>
                  <a:lnTo>
                    <a:pt x="752" y="192"/>
                  </a:lnTo>
                  <a:lnTo>
                    <a:pt x="747" y="192"/>
                  </a:lnTo>
                  <a:lnTo>
                    <a:pt x="747" y="192"/>
                  </a:lnTo>
                  <a:lnTo>
                    <a:pt x="745" y="192"/>
                  </a:lnTo>
                  <a:lnTo>
                    <a:pt x="745" y="192"/>
                  </a:lnTo>
                  <a:lnTo>
                    <a:pt x="745" y="192"/>
                  </a:lnTo>
                  <a:lnTo>
                    <a:pt x="745" y="192"/>
                  </a:lnTo>
                  <a:lnTo>
                    <a:pt x="735" y="194"/>
                  </a:lnTo>
                  <a:lnTo>
                    <a:pt x="733" y="194"/>
                  </a:lnTo>
                  <a:lnTo>
                    <a:pt x="723" y="197"/>
                  </a:lnTo>
                  <a:lnTo>
                    <a:pt x="723" y="197"/>
                  </a:lnTo>
                  <a:lnTo>
                    <a:pt x="721" y="199"/>
                  </a:lnTo>
                  <a:lnTo>
                    <a:pt x="719" y="201"/>
                  </a:lnTo>
                  <a:lnTo>
                    <a:pt x="719" y="201"/>
                  </a:lnTo>
                  <a:lnTo>
                    <a:pt x="712" y="206"/>
                  </a:lnTo>
                  <a:lnTo>
                    <a:pt x="709" y="206"/>
                  </a:lnTo>
                  <a:lnTo>
                    <a:pt x="705" y="209"/>
                  </a:lnTo>
                  <a:lnTo>
                    <a:pt x="700" y="211"/>
                  </a:lnTo>
                  <a:lnTo>
                    <a:pt x="698" y="213"/>
                  </a:lnTo>
                  <a:lnTo>
                    <a:pt x="695" y="216"/>
                  </a:lnTo>
                  <a:lnTo>
                    <a:pt x="693" y="216"/>
                  </a:lnTo>
                  <a:lnTo>
                    <a:pt x="693" y="218"/>
                  </a:lnTo>
                  <a:lnTo>
                    <a:pt x="695" y="218"/>
                  </a:lnTo>
                  <a:lnTo>
                    <a:pt x="698" y="218"/>
                  </a:lnTo>
                  <a:lnTo>
                    <a:pt x="698" y="218"/>
                  </a:lnTo>
                  <a:lnTo>
                    <a:pt x="707" y="216"/>
                  </a:lnTo>
                  <a:lnTo>
                    <a:pt x="707" y="216"/>
                  </a:lnTo>
                  <a:lnTo>
                    <a:pt x="707" y="216"/>
                  </a:lnTo>
                  <a:lnTo>
                    <a:pt x="700" y="218"/>
                  </a:lnTo>
                  <a:lnTo>
                    <a:pt x="698" y="218"/>
                  </a:lnTo>
                  <a:lnTo>
                    <a:pt x="695" y="220"/>
                  </a:lnTo>
                  <a:lnTo>
                    <a:pt x="693" y="220"/>
                  </a:lnTo>
                  <a:lnTo>
                    <a:pt x="690" y="223"/>
                  </a:lnTo>
                  <a:lnTo>
                    <a:pt x="686" y="223"/>
                  </a:lnTo>
                  <a:lnTo>
                    <a:pt x="686" y="223"/>
                  </a:lnTo>
                  <a:lnTo>
                    <a:pt x="683" y="223"/>
                  </a:lnTo>
                  <a:lnTo>
                    <a:pt x="681" y="225"/>
                  </a:lnTo>
                  <a:lnTo>
                    <a:pt x="681" y="225"/>
                  </a:lnTo>
                  <a:lnTo>
                    <a:pt x="681" y="225"/>
                  </a:lnTo>
                  <a:lnTo>
                    <a:pt x="683" y="227"/>
                  </a:lnTo>
                  <a:lnTo>
                    <a:pt x="683" y="227"/>
                  </a:lnTo>
                  <a:lnTo>
                    <a:pt x="688" y="225"/>
                  </a:lnTo>
                  <a:lnTo>
                    <a:pt x="690" y="225"/>
                  </a:lnTo>
                  <a:lnTo>
                    <a:pt x="690" y="225"/>
                  </a:lnTo>
                  <a:lnTo>
                    <a:pt x="690" y="225"/>
                  </a:lnTo>
                  <a:lnTo>
                    <a:pt x="693" y="225"/>
                  </a:lnTo>
                  <a:lnTo>
                    <a:pt x="693" y="225"/>
                  </a:lnTo>
                  <a:lnTo>
                    <a:pt x="693" y="225"/>
                  </a:lnTo>
                  <a:lnTo>
                    <a:pt x="693" y="225"/>
                  </a:lnTo>
                  <a:lnTo>
                    <a:pt x="695" y="225"/>
                  </a:lnTo>
                  <a:lnTo>
                    <a:pt x="695" y="225"/>
                  </a:lnTo>
                  <a:lnTo>
                    <a:pt x="695" y="225"/>
                  </a:lnTo>
                  <a:lnTo>
                    <a:pt x="698" y="225"/>
                  </a:lnTo>
                  <a:lnTo>
                    <a:pt x="700" y="223"/>
                  </a:lnTo>
                  <a:lnTo>
                    <a:pt x="705" y="223"/>
                  </a:lnTo>
                  <a:lnTo>
                    <a:pt x="705" y="220"/>
                  </a:lnTo>
                  <a:lnTo>
                    <a:pt x="707" y="220"/>
                  </a:lnTo>
                  <a:lnTo>
                    <a:pt x="707" y="220"/>
                  </a:lnTo>
                  <a:lnTo>
                    <a:pt x="709" y="220"/>
                  </a:lnTo>
                  <a:lnTo>
                    <a:pt x="709" y="220"/>
                  </a:lnTo>
                  <a:lnTo>
                    <a:pt x="709" y="220"/>
                  </a:lnTo>
                  <a:lnTo>
                    <a:pt x="712" y="220"/>
                  </a:lnTo>
                  <a:lnTo>
                    <a:pt x="714" y="220"/>
                  </a:lnTo>
                  <a:lnTo>
                    <a:pt x="714" y="220"/>
                  </a:lnTo>
                  <a:lnTo>
                    <a:pt x="714" y="220"/>
                  </a:lnTo>
                  <a:lnTo>
                    <a:pt x="721" y="218"/>
                  </a:lnTo>
                  <a:lnTo>
                    <a:pt x="721" y="216"/>
                  </a:lnTo>
                  <a:lnTo>
                    <a:pt x="721" y="216"/>
                  </a:lnTo>
                  <a:lnTo>
                    <a:pt x="721" y="216"/>
                  </a:lnTo>
                  <a:lnTo>
                    <a:pt x="723" y="216"/>
                  </a:lnTo>
                  <a:lnTo>
                    <a:pt x="723" y="216"/>
                  </a:lnTo>
                  <a:lnTo>
                    <a:pt x="723" y="216"/>
                  </a:lnTo>
                  <a:lnTo>
                    <a:pt x="726" y="213"/>
                  </a:lnTo>
                  <a:lnTo>
                    <a:pt x="726" y="213"/>
                  </a:lnTo>
                  <a:lnTo>
                    <a:pt x="728" y="213"/>
                  </a:lnTo>
                  <a:lnTo>
                    <a:pt x="728" y="213"/>
                  </a:lnTo>
                  <a:lnTo>
                    <a:pt x="728" y="216"/>
                  </a:lnTo>
                  <a:lnTo>
                    <a:pt x="728" y="216"/>
                  </a:lnTo>
                  <a:lnTo>
                    <a:pt x="728" y="216"/>
                  </a:lnTo>
                  <a:lnTo>
                    <a:pt x="731" y="213"/>
                  </a:lnTo>
                  <a:lnTo>
                    <a:pt x="733" y="211"/>
                  </a:lnTo>
                  <a:lnTo>
                    <a:pt x="735" y="211"/>
                  </a:lnTo>
                  <a:lnTo>
                    <a:pt x="738" y="209"/>
                  </a:lnTo>
                  <a:lnTo>
                    <a:pt x="738" y="209"/>
                  </a:lnTo>
                  <a:lnTo>
                    <a:pt x="738" y="211"/>
                  </a:lnTo>
                  <a:lnTo>
                    <a:pt x="738" y="211"/>
                  </a:lnTo>
                  <a:lnTo>
                    <a:pt x="740" y="211"/>
                  </a:lnTo>
                  <a:lnTo>
                    <a:pt x="740" y="211"/>
                  </a:lnTo>
                  <a:lnTo>
                    <a:pt x="740" y="211"/>
                  </a:lnTo>
                  <a:lnTo>
                    <a:pt x="742" y="211"/>
                  </a:lnTo>
                  <a:lnTo>
                    <a:pt x="745" y="213"/>
                  </a:lnTo>
                  <a:lnTo>
                    <a:pt x="747" y="211"/>
                  </a:lnTo>
                  <a:lnTo>
                    <a:pt x="747" y="211"/>
                  </a:lnTo>
                  <a:lnTo>
                    <a:pt x="747" y="211"/>
                  </a:lnTo>
                  <a:lnTo>
                    <a:pt x="749" y="211"/>
                  </a:lnTo>
                  <a:lnTo>
                    <a:pt x="749" y="211"/>
                  </a:lnTo>
                  <a:lnTo>
                    <a:pt x="749" y="211"/>
                  </a:lnTo>
                  <a:lnTo>
                    <a:pt x="754" y="209"/>
                  </a:lnTo>
                  <a:lnTo>
                    <a:pt x="756" y="209"/>
                  </a:lnTo>
                  <a:lnTo>
                    <a:pt x="756" y="209"/>
                  </a:lnTo>
                  <a:lnTo>
                    <a:pt x="756" y="209"/>
                  </a:lnTo>
                  <a:lnTo>
                    <a:pt x="756" y="209"/>
                  </a:lnTo>
                  <a:lnTo>
                    <a:pt x="759" y="206"/>
                  </a:lnTo>
                  <a:lnTo>
                    <a:pt x="761" y="204"/>
                  </a:lnTo>
                  <a:lnTo>
                    <a:pt x="761" y="204"/>
                  </a:lnTo>
                  <a:lnTo>
                    <a:pt x="764" y="204"/>
                  </a:lnTo>
                  <a:lnTo>
                    <a:pt x="764" y="204"/>
                  </a:lnTo>
                  <a:lnTo>
                    <a:pt x="766" y="204"/>
                  </a:lnTo>
                  <a:lnTo>
                    <a:pt x="766" y="201"/>
                  </a:lnTo>
                  <a:lnTo>
                    <a:pt x="768" y="201"/>
                  </a:lnTo>
                  <a:lnTo>
                    <a:pt x="768" y="201"/>
                  </a:lnTo>
                  <a:lnTo>
                    <a:pt x="768" y="199"/>
                  </a:lnTo>
                  <a:lnTo>
                    <a:pt x="768" y="199"/>
                  </a:lnTo>
                  <a:lnTo>
                    <a:pt x="766" y="201"/>
                  </a:lnTo>
                  <a:lnTo>
                    <a:pt x="764" y="201"/>
                  </a:lnTo>
                  <a:lnTo>
                    <a:pt x="761" y="201"/>
                  </a:lnTo>
                  <a:lnTo>
                    <a:pt x="759" y="201"/>
                  </a:lnTo>
                  <a:lnTo>
                    <a:pt x="759" y="201"/>
                  </a:lnTo>
                  <a:lnTo>
                    <a:pt x="759" y="201"/>
                  </a:lnTo>
                  <a:lnTo>
                    <a:pt x="759" y="201"/>
                  </a:lnTo>
                  <a:lnTo>
                    <a:pt x="761" y="199"/>
                  </a:lnTo>
                  <a:lnTo>
                    <a:pt x="764" y="199"/>
                  </a:lnTo>
                  <a:lnTo>
                    <a:pt x="764" y="199"/>
                  </a:lnTo>
                  <a:lnTo>
                    <a:pt x="766" y="199"/>
                  </a:lnTo>
                  <a:lnTo>
                    <a:pt x="766" y="199"/>
                  </a:lnTo>
                  <a:lnTo>
                    <a:pt x="768" y="199"/>
                  </a:lnTo>
                  <a:lnTo>
                    <a:pt x="768" y="197"/>
                  </a:lnTo>
                  <a:lnTo>
                    <a:pt x="768" y="197"/>
                  </a:lnTo>
                  <a:lnTo>
                    <a:pt x="766" y="197"/>
                  </a:lnTo>
                  <a:lnTo>
                    <a:pt x="766" y="197"/>
                  </a:lnTo>
                  <a:lnTo>
                    <a:pt x="766" y="194"/>
                  </a:lnTo>
                  <a:lnTo>
                    <a:pt x="768" y="194"/>
                  </a:lnTo>
                  <a:lnTo>
                    <a:pt x="768" y="194"/>
                  </a:lnTo>
                  <a:lnTo>
                    <a:pt x="771" y="194"/>
                  </a:lnTo>
                  <a:lnTo>
                    <a:pt x="773" y="192"/>
                  </a:lnTo>
                  <a:lnTo>
                    <a:pt x="778" y="192"/>
                  </a:lnTo>
                  <a:lnTo>
                    <a:pt x="778" y="192"/>
                  </a:lnTo>
                  <a:lnTo>
                    <a:pt x="775" y="192"/>
                  </a:lnTo>
                  <a:lnTo>
                    <a:pt x="773" y="192"/>
                  </a:lnTo>
                  <a:lnTo>
                    <a:pt x="773" y="192"/>
                  </a:lnTo>
                  <a:lnTo>
                    <a:pt x="773" y="192"/>
                  </a:lnTo>
                  <a:lnTo>
                    <a:pt x="775" y="190"/>
                  </a:lnTo>
                  <a:lnTo>
                    <a:pt x="778" y="190"/>
                  </a:lnTo>
                  <a:lnTo>
                    <a:pt x="778" y="190"/>
                  </a:lnTo>
                  <a:lnTo>
                    <a:pt x="778" y="190"/>
                  </a:lnTo>
                  <a:lnTo>
                    <a:pt x="780" y="190"/>
                  </a:lnTo>
                  <a:lnTo>
                    <a:pt x="782" y="190"/>
                  </a:lnTo>
                  <a:lnTo>
                    <a:pt x="785" y="187"/>
                  </a:lnTo>
                  <a:lnTo>
                    <a:pt x="787" y="187"/>
                  </a:lnTo>
                  <a:lnTo>
                    <a:pt x="787" y="187"/>
                  </a:lnTo>
                  <a:lnTo>
                    <a:pt x="780" y="192"/>
                  </a:lnTo>
                  <a:lnTo>
                    <a:pt x="778" y="192"/>
                  </a:lnTo>
                  <a:lnTo>
                    <a:pt x="778" y="192"/>
                  </a:lnTo>
                  <a:lnTo>
                    <a:pt x="778" y="194"/>
                  </a:lnTo>
                  <a:lnTo>
                    <a:pt x="780" y="194"/>
                  </a:lnTo>
                  <a:lnTo>
                    <a:pt x="782" y="194"/>
                  </a:lnTo>
                  <a:lnTo>
                    <a:pt x="782" y="192"/>
                  </a:lnTo>
                  <a:lnTo>
                    <a:pt x="785" y="192"/>
                  </a:lnTo>
                  <a:lnTo>
                    <a:pt x="785" y="192"/>
                  </a:lnTo>
                  <a:lnTo>
                    <a:pt x="785" y="192"/>
                  </a:lnTo>
                  <a:lnTo>
                    <a:pt x="787" y="192"/>
                  </a:lnTo>
                  <a:lnTo>
                    <a:pt x="787" y="194"/>
                  </a:lnTo>
                  <a:lnTo>
                    <a:pt x="787" y="194"/>
                  </a:lnTo>
                  <a:lnTo>
                    <a:pt x="787" y="194"/>
                  </a:lnTo>
                  <a:lnTo>
                    <a:pt x="787" y="192"/>
                  </a:lnTo>
                  <a:lnTo>
                    <a:pt x="789" y="192"/>
                  </a:lnTo>
                  <a:lnTo>
                    <a:pt x="792" y="192"/>
                  </a:lnTo>
                  <a:lnTo>
                    <a:pt x="792" y="192"/>
                  </a:lnTo>
                  <a:lnTo>
                    <a:pt x="794" y="192"/>
                  </a:lnTo>
                  <a:lnTo>
                    <a:pt x="794" y="192"/>
                  </a:lnTo>
                  <a:lnTo>
                    <a:pt x="797" y="192"/>
                  </a:lnTo>
                  <a:lnTo>
                    <a:pt x="799" y="190"/>
                  </a:lnTo>
                  <a:lnTo>
                    <a:pt x="804" y="190"/>
                  </a:lnTo>
                  <a:lnTo>
                    <a:pt x="806" y="190"/>
                  </a:lnTo>
                  <a:lnTo>
                    <a:pt x="806" y="190"/>
                  </a:lnTo>
                  <a:lnTo>
                    <a:pt x="801" y="192"/>
                  </a:lnTo>
                  <a:lnTo>
                    <a:pt x="799" y="192"/>
                  </a:lnTo>
                  <a:lnTo>
                    <a:pt x="797" y="194"/>
                  </a:lnTo>
                  <a:lnTo>
                    <a:pt x="797" y="194"/>
                  </a:lnTo>
                  <a:lnTo>
                    <a:pt x="797" y="194"/>
                  </a:lnTo>
                  <a:lnTo>
                    <a:pt x="799" y="194"/>
                  </a:lnTo>
                  <a:lnTo>
                    <a:pt x="797" y="197"/>
                  </a:lnTo>
                  <a:lnTo>
                    <a:pt x="794" y="197"/>
                  </a:lnTo>
                  <a:lnTo>
                    <a:pt x="794" y="197"/>
                  </a:lnTo>
                  <a:lnTo>
                    <a:pt x="794" y="197"/>
                  </a:lnTo>
                  <a:lnTo>
                    <a:pt x="797" y="197"/>
                  </a:lnTo>
                  <a:lnTo>
                    <a:pt x="799" y="197"/>
                  </a:lnTo>
                  <a:close/>
                  <a:moveTo>
                    <a:pt x="912" y="303"/>
                  </a:moveTo>
                  <a:lnTo>
                    <a:pt x="912" y="303"/>
                  </a:lnTo>
                  <a:lnTo>
                    <a:pt x="912" y="303"/>
                  </a:lnTo>
                  <a:lnTo>
                    <a:pt x="912" y="303"/>
                  </a:lnTo>
                  <a:lnTo>
                    <a:pt x="912" y="305"/>
                  </a:lnTo>
                  <a:lnTo>
                    <a:pt x="914" y="305"/>
                  </a:lnTo>
                  <a:lnTo>
                    <a:pt x="917" y="303"/>
                  </a:lnTo>
                  <a:lnTo>
                    <a:pt x="919" y="301"/>
                  </a:lnTo>
                  <a:lnTo>
                    <a:pt x="921" y="301"/>
                  </a:lnTo>
                  <a:lnTo>
                    <a:pt x="924" y="298"/>
                  </a:lnTo>
                  <a:lnTo>
                    <a:pt x="926" y="296"/>
                  </a:lnTo>
                  <a:lnTo>
                    <a:pt x="926" y="296"/>
                  </a:lnTo>
                  <a:lnTo>
                    <a:pt x="926" y="291"/>
                  </a:lnTo>
                  <a:lnTo>
                    <a:pt x="926" y="291"/>
                  </a:lnTo>
                  <a:lnTo>
                    <a:pt x="926" y="291"/>
                  </a:lnTo>
                  <a:lnTo>
                    <a:pt x="919" y="294"/>
                  </a:lnTo>
                  <a:lnTo>
                    <a:pt x="914" y="298"/>
                  </a:lnTo>
                  <a:lnTo>
                    <a:pt x="910" y="298"/>
                  </a:lnTo>
                  <a:lnTo>
                    <a:pt x="907" y="301"/>
                  </a:lnTo>
                  <a:lnTo>
                    <a:pt x="907" y="303"/>
                  </a:lnTo>
                  <a:lnTo>
                    <a:pt x="905" y="305"/>
                  </a:lnTo>
                  <a:lnTo>
                    <a:pt x="905" y="305"/>
                  </a:lnTo>
                  <a:lnTo>
                    <a:pt x="905" y="305"/>
                  </a:lnTo>
                  <a:lnTo>
                    <a:pt x="907" y="303"/>
                  </a:lnTo>
                  <a:lnTo>
                    <a:pt x="912" y="303"/>
                  </a:lnTo>
                  <a:lnTo>
                    <a:pt x="912" y="303"/>
                  </a:lnTo>
                  <a:lnTo>
                    <a:pt x="914" y="301"/>
                  </a:lnTo>
                  <a:lnTo>
                    <a:pt x="912" y="303"/>
                  </a:lnTo>
                  <a:lnTo>
                    <a:pt x="912" y="303"/>
                  </a:lnTo>
                  <a:close/>
                  <a:moveTo>
                    <a:pt x="660" y="237"/>
                  </a:moveTo>
                  <a:lnTo>
                    <a:pt x="655" y="239"/>
                  </a:lnTo>
                  <a:lnTo>
                    <a:pt x="655" y="239"/>
                  </a:lnTo>
                  <a:lnTo>
                    <a:pt x="655" y="239"/>
                  </a:lnTo>
                  <a:lnTo>
                    <a:pt x="655" y="242"/>
                  </a:lnTo>
                  <a:lnTo>
                    <a:pt x="655" y="242"/>
                  </a:lnTo>
                  <a:lnTo>
                    <a:pt x="657" y="239"/>
                  </a:lnTo>
                  <a:lnTo>
                    <a:pt x="660" y="239"/>
                  </a:lnTo>
                  <a:lnTo>
                    <a:pt x="660" y="239"/>
                  </a:lnTo>
                  <a:lnTo>
                    <a:pt x="660" y="239"/>
                  </a:lnTo>
                  <a:lnTo>
                    <a:pt x="660" y="237"/>
                  </a:lnTo>
                  <a:lnTo>
                    <a:pt x="660" y="237"/>
                  </a:lnTo>
                  <a:close/>
                  <a:moveTo>
                    <a:pt x="657" y="244"/>
                  </a:moveTo>
                  <a:lnTo>
                    <a:pt x="657" y="244"/>
                  </a:lnTo>
                  <a:lnTo>
                    <a:pt x="657" y="242"/>
                  </a:lnTo>
                  <a:lnTo>
                    <a:pt x="657" y="244"/>
                  </a:lnTo>
                  <a:lnTo>
                    <a:pt x="657" y="242"/>
                  </a:lnTo>
                  <a:lnTo>
                    <a:pt x="655" y="242"/>
                  </a:lnTo>
                  <a:lnTo>
                    <a:pt x="655" y="244"/>
                  </a:lnTo>
                  <a:lnTo>
                    <a:pt x="653" y="244"/>
                  </a:lnTo>
                  <a:lnTo>
                    <a:pt x="653" y="242"/>
                  </a:lnTo>
                  <a:lnTo>
                    <a:pt x="653" y="242"/>
                  </a:lnTo>
                  <a:lnTo>
                    <a:pt x="653" y="242"/>
                  </a:lnTo>
                  <a:lnTo>
                    <a:pt x="653" y="242"/>
                  </a:lnTo>
                  <a:lnTo>
                    <a:pt x="648" y="242"/>
                  </a:lnTo>
                  <a:lnTo>
                    <a:pt x="648" y="242"/>
                  </a:lnTo>
                  <a:lnTo>
                    <a:pt x="648" y="244"/>
                  </a:lnTo>
                  <a:lnTo>
                    <a:pt x="646" y="244"/>
                  </a:lnTo>
                  <a:lnTo>
                    <a:pt x="646" y="244"/>
                  </a:lnTo>
                  <a:lnTo>
                    <a:pt x="646" y="244"/>
                  </a:lnTo>
                  <a:lnTo>
                    <a:pt x="643" y="244"/>
                  </a:lnTo>
                  <a:lnTo>
                    <a:pt x="641" y="246"/>
                  </a:lnTo>
                  <a:lnTo>
                    <a:pt x="634" y="249"/>
                  </a:lnTo>
                  <a:lnTo>
                    <a:pt x="634" y="249"/>
                  </a:lnTo>
                  <a:lnTo>
                    <a:pt x="636" y="251"/>
                  </a:lnTo>
                  <a:lnTo>
                    <a:pt x="639" y="251"/>
                  </a:lnTo>
                  <a:lnTo>
                    <a:pt x="639" y="249"/>
                  </a:lnTo>
                  <a:lnTo>
                    <a:pt x="641" y="249"/>
                  </a:lnTo>
                  <a:lnTo>
                    <a:pt x="641" y="249"/>
                  </a:lnTo>
                  <a:lnTo>
                    <a:pt x="643" y="249"/>
                  </a:lnTo>
                  <a:lnTo>
                    <a:pt x="646" y="249"/>
                  </a:lnTo>
                  <a:lnTo>
                    <a:pt x="646" y="246"/>
                  </a:lnTo>
                  <a:lnTo>
                    <a:pt x="648" y="246"/>
                  </a:lnTo>
                  <a:lnTo>
                    <a:pt x="646" y="249"/>
                  </a:lnTo>
                  <a:lnTo>
                    <a:pt x="646" y="249"/>
                  </a:lnTo>
                  <a:lnTo>
                    <a:pt x="648" y="246"/>
                  </a:lnTo>
                  <a:lnTo>
                    <a:pt x="648" y="249"/>
                  </a:lnTo>
                  <a:lnTo>
                    <a:pt x="650" y="246"/>
                  </a:lnTo>
                  <a:lnTo>
                    <a:pt x="650" y="246"/>
                  </a:lnTo>
                  <a:lnTo>
                    <a:pt x="650" y="246"/>
                  </a:lnTo>
                  <a:lnTo>
                    <a:pt x="650" y="246"/>
                  </a:lnTo>
                  <a:lnTo>
                    <a:pt x="653" y="244"/>
                  </a:lnTo>
                  <a:lnTo>
                    <a:pt x="653" y="244"/>
                  </a:lnTo>
                  <a:lnTo>
                    <a:pt x="653" y="246"/>
                  </a:lnTo>
                  <a:lnTo>
                    <a:pt x="653" y="246"/>
                  </a:lnTo>
                  <a:lnTo>
                    <a:pt x="653" y="246"/>
                  </a:lnTo>
                  <a:lnTo>
                    <a:pt x="653" y="246"/>
                  </a:lnTo>
                  <a:lnTo>
                    <a:pt x="655" y="246"/>
                  </a:lnTo>
                  <a:lnTo>
                    <a:pt x="657" y="246"/>
                  </a:lnTo>
                  <a:lnTo>
                    <a:pt x="660" y="244"/>
                  </a:lnTo>
                  <a:lnTo>
                    <a:pt x="660" y="244"/>
                  </a:lnTo>
                  <a:lnTo>
                    <a:pt x="657" y="244"/>
                  </a:lnTo>
                  <a:close/>
                  <a:moveTo>
                    <a:pt x="778" y="194"/>
                  </a:moveTo>
                  <a:lnTo>
                    <a:pt x="778" y="194"/>
                  </a:lnTo>
                  <a:lnTo>
                    <a:pt x="778" y="194"/>
                  </a:lnTo>
                  <a:lnTo>
                    <a:pt x="775" y="194"/>
                  </a:lnTo>
                  <a:lnTo>
                    <a:pt x="775" y="194"/>
                  </a:lnTo>
                  <a:lnTo>
                    <a:pt x="773" y="194"/>
                  </a:lnTo>
                  <a:lnTo>
                    <a:pt x="773" y="194"/>
                  </a:lnTo>
                  <a:lnTo>
                    <a:pt x="773" y="194"/>
                  </a:lnTo>
                  <a:lnTo>
                    <a:pt x="775" y="194"/>
                  </a:lnTo>
                  <a:lnTo>
                    <a:pt x="778" y="194"/>
                  </a:lnTo>
                  <a:close/>
                  <a:moveTo>
                    <a:pt x="910" y="284"/>
                  </a:moveTo>
                  <a:lnTo>
                    <a:pt x="912" y="284"/>
                  </a:lnTo>
                  <a:lnTo>
                    <a:pt x="912" y="284"/>
                  </a:lnTo>
                  <a:lnTo>
                    <a:pt x="912" y="282"/>
                  </a:lnTo>
                  <a:lnTo>
                    <a:pt x="912" y="282"/>
                  </a:lnTo>
                  <a:lnTo>
                    <a:pt x="914" y="282"/>
                  </a:lnTo>
                  <a:lnTo>
                    <a:pt x="914" y="282"/>
                  </a:lnTo>
                  <a:lnTo>
                    <a:pt x="914" y="282"/>
                  </a:lnTo>
                  <a:lnTo>
                    <a:pt x="914" y="279"/>
                  </a:lnTo>
                  <a:lnTo>
                    <a:pt x="910" y="279"/>
                  </a:lnTo>
                  <a:lnTo>
                    <a:pt x="910" y="282"/>
                  </a:lnTo>
                  <a:lnTo>
                    <a:pt x="907" y="282"/>
                  </a:lnTo>
                  <a:lnTo>
                    <a:pt x="907" y="282"/>
                  </a:lnTo>
                  <a:lnTo>
                    <a:pt x="907" y="282"/>
                  </a:lnTo>
                  <a:lnTo>
                    <a:pt x="907" y="284"/>
                  </a:lnTo>
                  <a:lnTo>
                    <a:pt x="907" y="284"/>
                  </a:lnTo>
                  <a:lnTo>
                    <a:pt x="910" y="284"/>
                  </a:lnTo>
                  <a:close/>
                  <a:moveTo>
                    <a:pt x="917" y="270"/>
                  </a:moveTo>
                  <a:lnTo>
                    <a:pt x="917" y="270"/>
                  </a:lnTo>
                  <a:lnTo>
                    <a:pt x="914" y="270"/>
                  </a:lnTo>
                  <a:lnTo>
                    <a:pt x="914" y="270"/>
                  </a:lnTo>
                  <a:lnTo>
                    <a:pt x="910" y="268"/>
                  </a:lnTo>
                  <a:lnTo>
                    <a:pt x="907" y="268"/>
                  </a:lnTo>
                  <a:lnTo>
                    <a:pt x="905" y="270"/>
                  </a:lnTo>
                  <a:lnTo>
                    <a:pt x="905" y="270"/>
                  </a:lnTo>
                  <a:lnTo>
                    <a:pt x="905" y="270"/>
                  </a:lnTo>
                  <a:lnTo>
                    <a:pt x="905" y="272"/>
                  </a:lnTo>
                  <a:lnTo>
                    <a:pt x="905" y="272"/>
                  </a:lnTo>
                  <a:lnTo>
                    <a:pt x="905" y="275"/>
                  </a:lnTo>
                  <a:lnTo>
                    <a:pt x="903" y="275"/>
                  </a:lnTo>
                  <a:lnTo>
                    <a:pt x="903" y="277"/>
                  </a:lnTo>
                  <a:lnTo>
                    <a:pt x="900" y="279"/>
                  </a:lnTo>
                  <a:lnTo>
                    <a:pt x="900" y="279"/>
                  </a:lnTo>
                  <a:lnTo>
                    <a:pt x="900" y="279"/>
                  </a:lnTo>
                  <a:lnTo>
                    <a:pt x="903" y="279"/>
                  </a:lnTo>
                  <a:lnTo>
                    <a:pt x="905" y="279"/>
                  </a:lnTo>
                  <a:lnTo>
                    <a:pt x="907" y="279"/>
                  </a:lnTo>
                  <a:lnTo>
                    <a:pt x="907" y="279"/>
                  </a:lnTo>
                  <a:lnTo>
                    <a:pt x="907" y="279"/>
                  </a:lnTo>
                  <a:lnTo>
                    <a:pt x="907" y="279"/>
                  </a:lnTo>
                  <a:lnTo>
                    <a:pt x="910" y="277"/>
                  </a:lnTo>
                  <a:lnTo>
                    <a:pt x="910" y="277"/>
                  </a:lnTo>
                  <a:lnTo>
                    <a:pt x="910" y="277"/>
                  </a:lnTo>
                  <a:lnTo>
                    <a:pt x="910" y="275"/>
                  </a:lnTo>
                  <a:lnTo>
                    <a:pt x="910" y="275"/>
                  </a:lnTo>
                  <a:lnTo>
                    <a:pt x="912" y="275"/>
                  </a:lnTo>
                  <a:lnTo>
                    <a:pt x="912" y="272"/>
                  </a:lnTo>
                  <a:lnTo>
                    <a:pt x="912" y="272"/>
                  </a:lnTo>
                  <a:lnTo>
                    <a:pt x="912" y="275"/>
                  </a:lnTo>
                  <a:lnTo>
                    <a:pt x="912" y="277"/>
                  </a:lnTo>
                  <a:lnTo>
                    <a:pt x="912" y="277"/>
                  </a:lnTo>
                  <a:lnTo>
                    <a:pt x="912" y="277"/>
                  </a:lnTo>
                  <a:lnTo>
                    <a:pt x="914" y="277"/>
                  </a:lnTo>
                  <a:lnTo>
                    <a:pt x="914" y="277"/>
                  </a:lnTo>
                  <a:lnTo>
                    <a:pt x="914" y="275"/>
                  </a:lnTo>
                  <a:lnTo>
                    <a:pt x="917" y="275"/>
                  </a:lnTo>
                  <a:lnTo>
                    <a:pt x="917" y="272"/>
                  </a:lnTo>
                  <a:lnTo>
                    <a:pt x="919" y="272"/>
                  </a:lnTo>
                  <a:lnTo>
                    <a:pt x="919" y="270"/>
                  </a:lnTo>
                  <a:lnTo>
                    <a:pt x="919" y="270"/>
                  </a:lnTo>
                  <a:lnTo>
                    <a:pt x="917" y="270"/>
                  </a:lnTo>
                  <a:close/>
                  <a:moveTo>
                    <a:pt x="905" y="310"/>
                  </a:moveTo>
                  <a:lnTo>
                    <a:pt x="905" y="313"/>
                  </a:lnTo>
                  <a:lnTo>
                    <a:pt x="905" y="313"/>
                  </a:lnTo>
                  <a:lnTo>
                    <a:pt x="907" y="310"/>
                  </a:lnTo>
                  <a:lnTo>
                    <a:pt x="907" y="310"/>
                  </a:lnTo>
                  <a:lnTo>
                    <a:pt x="910" y="308"/>
                  </a:lnTo>
                  <a:lnTo>
                    <a:pt x="910" y="305"/>
                  </a:lnTo>
                  <a:lnTo>
                    <a:pt x="910" y="303"/>
                  </a:lnTo>
                  <a:lnTo>
                    <a:pt x="910" y="303"/>
                  </a:lnTo>
                  <a:lnTo>
                    <a:pt x="907" y="305"/>
                  </a:lnTo>
                  <a:lnTo>
                    <a:pt x="907" y="305"/>
                  </a:lnTo>
                  <a:lnTo>
                    <a:pt x="907" y="305"/>
                  </a:lnTo>
                  <a:lnTo>
                    <a:pt x="905" y="308"/>
                  </a:lnTo>
                  <a:lnTo>
                    <a:pt x="905" y="308"/>
                  </a:lnTo>
                  <a:lnTo>
                    <a:pt x="905" y="308"/>
                  </a:lnTo>
                  <a:lnTo>
                    <a:pt x="905" y="308"/>
                  </a:lnTo>
                  <a:lnTo>
                    <a:pt x="905" y="310"/>
                  </a:lnTo>
                  <a:lnTo>
                    <a:pt x="905" y="310"/>
                  </a:lnTo>
                  <a:lnTo>
                    <a:pt x="905" y="310"/>
                  </a:lnTo>
                  <a:close/>
                  <a:moveTo>
                    <a:pt x="891" y="282"/>
                  </a:moveTo>
                  <a:lnTo>
                    <a:pt x="886" y="287"/>
                  </a:lnTo>
                  <a:lnTo>
                    <a:pt x="884" y="289"/>
                  </a:lnTo>
                  <a:lnTo>
                    <a:pt x="884" y="289"/>
                  </a:lnTo>
                  <a:lnTo>
                    <a:pt x="886" y="287"/>
                  </a:lnTo>
                  <a:lnTo>
                    <a:pt x="886" y="287"/>
                  </a:lnTo>
                  <a:lnTo>
                    <a:pt x="886" y="287"/>
                  </a:lnTo>
                  <a:lnTo>
                    <a:pt x="888" y="287"/>
                  </a:lnTo>
                  <a:lnTo>
                    <a:pt x="888" y="287"/>
                  </a:lnTo>
                  <a:lnTo>
                    <a:pt x="891" y="287"/>
                  </a:lnTo>
                  <a:lnTo>
                    <a:pt x="893" y="284"/>
                  </a:lnTo>
                  <a:lnTo>
                    <a:pt x="895" y="282"/>
                  </a:lnTo>
                  <a:lnTo>
                    <a:pt x="895" y="279"/>
                  </a:lnTo>
                  <a:lnTo>
                    <a:pt x="898" y="277"/>
                  </a:lnTo>
                  <a:lnTo>
                    <a:pt x="900" y="277"/>
                  </a:lnTo>
                  <a:lnTo>
                    <a:pt x="900" y="277"/>
                  </a:lnTo>
                  <a:lnTo>
                    <a:pt x="903" y="277"/>
                  </a:lnTo>
                  <a:lnTo>
                    <a:pt x="903" y="275"/>
                  </a:lnTo>
                  <a:lnTo>
                    <a:pt x="903" y="275"/>
                  </a:lnTo>
                  <a:lnTo>
                    <a:pt x="900" y="275"/>
                  </a:lnTo>
                  <a:lnTo>
                    <a:pt x="903" y="272"/>
                  </a:lnTo>
                  <a:lnTo>
                    <a:pt x="903" y="272"/>
                  </a:lnTo>
                  <a:lnTo>
                    <a:pt x="903" y="272"/>
                  </a:lnTo>
                  <a:lnTo>
                    <a:pt x="900" y="270"/>
                  </a:lnTo>
                  <a:lnTo>
                    <a:pt x="898" y="272"/>
                  </a:lnTo>
                  <a:lnTo>
                    <a:pt x="895" y="272"/>
                  </a:lnTo>
                  <a:lnTo>
                    <a:pt x="893" y="275"/>
                  </a:lnTo>
                  <a:lnTo>
                    <a:pt x="893" y="275"/>
                  </a:lnTo>
                  <a:lnTo>
                    <a:pt x="893" y="277"/>
                  </a:lnTo>
                  <a:lnTo>
                    <a:pt x="891" y="277"/>
                  </a:lnTo>
                  <a:lnTo>
                    <a:pt x="893" y="279"/>
                  </a:lnTo>
                  <a:lnTo>
                    <a:pt x="893" y="279"/>
                  </a:lnTo>
                  <a:lnTo>
                    <a:pt x="891" y="282"/>
                  </a:lnTo>
                  <a:close/>
                  <a:moveTo>
                    <a:pt x="806" y="204"/>
                  </a:moveTo>
                  <a:lnTo>
                    <a:pt x="808" y="204"/>
                  </a:lnTo>
                  <a:lnTo>
                    <a:pt x="808" y="204"/>
                  </a:lnTo>
                  <a:lnTo>
                    <a:pt x="804" y="204"/>
                  </a:lnTo>
                  <a:lnTo>
                    <a:pt x="804" y="204"/>
                  </a:lnTo>
                  <a:lnTo>
                    <a:pt x="806" y="206"/>
                  </a:lnTo>
                  <a:lnTo>
                    <a:pt x="806" y="204"/>
                  </a:lnTo>
                  <a:close/>
                  <a:moveTo>
                    <a:pt x="629" y="253"/>
                  </a:moveTo>
                  <a:lnTo>
                    <a:pt x="629" y="253"/>
                  </a:lnTo>
                  <a:lnTo>
                    <a:pt x="629" y="253"/>
                  </a:lnTo>
                  <a:lnTo>
                    <a:pt x="629" y="251"/>
                  </a:lnTo>
                  <a:lnTo>
                    <a:pt x="629" y="251"/>
                  </a:lnTo>
                  <a:lnTo>
                    <a:pt x="629" y="251"/>
                  </a:lnTo>
                  <a:lnTo>
                    <a:pt x="627" y="251"/>
                  </a:lnTo>
                  <a:lnTo>
                    <a:pt x="627" y="251"/>
                  </a:lnTo>
                  <a:lnTo>
                    <a:pt x="627" y="251"/>
                  </a:lnTo>
                  <a:lnTo>
                    <a:pt x="629" y="253"/>
                  </a:lnTo>
                  <a:lnTo>
                    <a:pt x="629" y="253"/>
                  </a:lnTo>
                  <a:close/>
                  <a:moveTo>
                    <a:pt x="881" y="265"/>
                  </a:moveTo>
                  <a:lnTo>
                    <a:pt x="881" y="265"/>
                  </a:lnTo>
                  <a:lnTo>
                    <a:pt x="879" y="268"/>
                  </a:lnTo>
                  <a:lnTo>
                    <a:pt x="879" y="268"/>
                  </a:lnTo>
                  <a:lnTo>
                    <a:pt x="877" y="270"/>
                  </a:lnTo>
                  <a:lnTo>
                    <a:pt x="879" y="270"/>
                  </a:lnTo>
                  <a:lnTo>
                    <a:pt x="881" y="268"/>
                  </a:lnTo>
                  <a:lnTo>
                    <a:pt x="886" y="265"/>
                  </a:lnTo>
                  <a:lnTo>
                    <a:pt x="886" y="265"/>
                  </a:lnTo>
                  <a:lnTo>
                    <a:pt x="886" y="265"/>
                  </a:lnTo>
                  <a:lnTo>
                    <a:pt x="886" y="268"/>
                  </a:lnTo>
                  <a:lnTo>
                    <a:pt x="886" y="268"/>
                  </a:lnTo>
                  <a:lnTo>
                    <a:pt x="886" y="270"/>
                  </a:lnTo>
                  <a:lnTo>
                    <a:pt x="886" y="270"/>
                  </a:lnTo>
                  <a:lnTo>
                    <a:pt x="884" y="270"/>
                  </a:lnTo>
                  <a:lnTo>
                    <a:pt x="881" y="272"/>
                  </a:lnTo>
                  <a:lnTo>
                    <a:pt x="881" y="272"/>
                  </a:lnTo>
                  <a:lnTo>
                    <a:pt x="881" y="272"/>
                  </a:lnTo>
                  <a:lnTo>
                    <a:pt x="881" y="275"/>
                  </a:lnTo>
                  <a:lnTo>
                    <a:pt x="884" y="272"/>
                  </a:lnTo>
                  <a:lnTo>
                    <a:pt x="884" y="275"/>
                  </a:lnTo>
                  <a:lnTo>
                    <a:pt x="881" y="275"/>
                  </a:lnTo>
                  <a:lnTo>
                    <a:pt x="881" y="275"/>
                  </a:lnTo>
                  <a:lnTo>
                    <a:pt x="881" y="277"/>
                  </a:lnTo>
                  <a:lnTo>
                    <a:pt x="884" y="277"/>
                  </a:lnTo>
                  <a:lnTo>
                    <a:pt x="884" y="277"/>
                  </a:lnTo>
                  <a:lnTo>
                    <a:pt x="884" y="277"/>
                  </a:lnTo>
                  <a:lnTo>
                    <a:pt x="884" y="277"/>
                  </a:lnTo>
                  <a:lnTo>
                    <a:pt x="881" y="277"/>
                  </a:lnTo>
                  <a:lnTo>
                    <a:pt x="881" y="279"/>
                  </a:lnTo>
                  <a:lnTo>
                    <a:pt x="879" y="279"/>
                  </a:lnTo>
                  <a:lnTo>
                    <a:pt x="879" y="279"/>
                  </a:lnTo>
                  <a:lnTo>
                    <a:pt x="879" y="284"/>
                  </a:lnTo>
                  <a:lnTo>
                    <a:pt x="879" y="284"/>
                  </a:lnTo>
                  <a:lnTo>
                    <a:pt x="879" y="284"/>
                  </a:lnTo>
                  <a:lnTo>
                    <a:pt x="879" y="284"/>
                  </a:lnTo>
                  <a:lnTo>
                    <a:pt x="879" y="284"/>
                  </a:lnTo>
                  <a:lnTo>
                    <a:pt x="881" y="284"/>
                  </a:lnTo>
                  <a:lnTo>
                    <a:pt x="884" y="282"/>
                  </a:lnTo>
                  <a:lnTo>
                    <a:pt x="886" y="279"/>
                  </a:lnTo>
                  <a:lnTo>
                    <a:pt x="886" y="279"/>
                  </a:lnTo>
                  <a:lnTo>
                    <a:pt x="886" y="277"/>
                  </a:lnTo>
                  <a:lnTo>
                    <a:pt x="888" y="277"/>
                  </a:lnTo>
                  <a:lnTo>
                    <a:pt x="888" y="275"/>
                  </a:lnTo>
                  <a:lnTo>
                    <a:pt x="891" y="275"/>
                  </a:lnTo>
                  <a:lnTo>
                    <a:pt x="891" y="272"/>
                  </a:lnTo>
                  <a:lnTo>
                    <a:pt x="893" y="268"/>
                  </a:lnTo>
                  <a:lnTo>
                    <a:pt x="895" y="268"/>
                  </a:lnTo>
                  <a:lnTo>
                    <a:pt x="895" y="265"/>
                  </a:lnTo>
                  <a:lnTo>
                    <a:pt x="895" y="263"/>
                  </a:lnTo>
                  <a:lnTo>
                    <a:pt x="895" y="261"/>
                  </a:lnTo>
                  <a:lnTo>
                    <a:pt x="895" y="261"/>
                  </a:lnTo>
                  <a:lnTo>
                    <a:pt x="895" y="258"/>
                  </a:lnTo>
                  <a:lnTo>
                    <a:pt x="893" y="258"/>
                  </a:lnTo>
                  <a:lnTo>
                    <a:pt x="893" y="261"/>
                  </a:lnTo>
                  <a:lnTo>
                    <a:pt x="888" y="261"/>
                  </a:lnTo>
                  <a:lnTo>
                    <a:pt x="888" y="263"/>
                  </a:lnTo>
                  <a:lnTo>
                    <a:pt x="886" y="263"/>
                  </a:lnTo>
                  <a:lnTo>
                    <a:pt x="886" y="263"/>
                  </a:lnTo>
                  <a:lnTo>
                    <a:pt x="884" y="263"/>
                  </a:lnTo>
                  <a:lnTo>
                    <a:pt x="881" y="265"/>
                  </a:lnTo>
                  <a:close/>
                  <a:moveTo>
                    <a:pt x="917" y="275"/>
                  </a:moveTo>
                  <a:lnTo>
                    <a:pt x="914" y="277"/>
                  </a:lnTo>
                  <a:lnTo>
                    <a:pt x="912" y="277"/>
                  </a:lnTo>
                  <a:lnTo>
                    <a:pt x="912" y="277"/>
                  </a:lnTo>
                  <a:lnTo>
                    <a:pt x="912" y="279"/>
                  </a:lnTo>
                  <a:lnTo>
                    <a:pt x="912" y="279"/>
                  </a:lnTo>
                  <a:lnTo>
                    <a:pt x="914" y="279"/>
                  </a:lnTo>
                  <a:lnTo>
                    <a:pt x="914" y="279"/>
                  </a:lnTo>
                  <a:lnTo>
                    <a:pt x="914" y="279"/>
                  </a:lnTo>
                  <a:lnTo>
                    <a:pt x="917" y="279"/>
                  </a:lnTo>
                  <a:lnTo>
                    <a:pt x="919" y="277"/>
                  </a:lnTo>
                  <a:lnTo>
                    <a:pt x="919" y="277"/>
                  </a:lnTo>
                  <a:lnTo>
                    <a:pt x="919" y="277"/>
                  </a:lnTo>
                  <a:lnTo>
                    <a:pt x="919" y="275"/>
                  </a:lnTo>
                  <a:lnTo>
                    <a:pt x="917" y="275"/>
                  </a:lnTo>
                  <a:close/>
                  <a:moveTo>
                    <a:pt x="879" y="313"/>
                  </a:moveTo>
                  <a:lnTo>
                    <a:pt x="879" y="315"/>
                  </a:lnTo>
                  <a:lnTo>
                    <a:pt x="879" y="315"/>
                  </a:lnTo>
                  <a:lnTo>
                    <a:pt x="881" y="315"/>
                  </a:lnTo>
                  <a:lnTo>
                    <a:pt x="881" y="315"/>
                  </a:lnTo>
                  <a:lnTo>
                    <a:pt x="884" y="315"/>
                  </a:lnTo>
                  <a:lnTo>
                    <a:pt x="884" y="313"/>
                  </a:lnTo>
                  <a:lnTo>
                    <a:pt x="886" y="313"/>
                  </a:lnTo>
                  <a:lnTo>
                    <a:pt x="886" y="310"/>
                  </a:lnTo>
                  <a:lnTo>
                    <a:pt x="884" y="310"/>
                  </a:lnTo>
                  <a:lnTo>
                    <a:pt x="884" y="310"/>
                  </a:lnTo>
                  <a:lnTo>
                    <a:pt x="884" y="313"/>
                  </a:lnTo>
                  <a:lnTo>
                    <a:pt x="881" y="313"/>
                  </a:lnTo>
                  <a:lnTo>
                    <a:pt x="881" y="313"/>
                  </a:lnTo>
                  <a:lnTo>
                    <a:pt x="884" y="310"/>
                  </a:lnTo>
                  <a:lnTo>
                    <a:pt x="884" y="308"/>
                  </a:lnTo>
                  <a:lnTo>
                    <a:pt x="884" y="308"/>
                  </a:lnTo>
                  <a:lnTo>
                    <a:pt x="884" y="305"/>
                  </a:lnTo>
                  <a:lnTo>
                    <a:pt x="884" y="305"/>
                  </a:lnTo>
                  <a:lnTo>
                    <a:pt x="884" y="303"/>
                  </a:lnTo>
                  <a:lnTo>
                    <a:pt x="881" y="303"/>
                  </a:lnTo>
                  <a:lnTo>
                    <a:pt x="879" y="303"/>
                  </a:lnTo>
                  <a:lnTo>
                    <a:pt x="879" y="305"/>
                  </a:lnTo>
                  <a:lnTo>
                    <a:pt x="879" y="305"/>
                  </a:lnTo>
                  <a:lnTo>
                    <a:pt x="881" y="305"/>
                  </a:lnTo>
                  <a:lnTo>
                    <a:pt x="879" y="308"/>
                  </a:lnTo>
                  <a:lnTo>
                    <a:pt x="879" y="310"/>
                  </a:lnTo>
                  <a:lnTo>
                    <a:pt x="879" y="310"/>
                  </a:lnTo>
                  <a:lnTo>
                    <a:pt x="879" y="310"/>
                  </a:lnTo>
                  <a:lnTo>
                    <a:pt x="879" y="313"/>
                  </a:lnTo>
                  <a:close/>
                  <a:moveTo>
                    <a:pt x="910" y="291"/>
                  </a:moveTo>
                  <a:lnTo>
                    <a:pt x="910" y="291"/>
                  </a:lnTo>
                  <a:lnTo>
                    <a:pt x="910" y="291"/>
                  </a:lnTo>
                  <a:lnTo>
                    <a:pt x="912" y="291"/>
                  </a:lnTo>
                  <a:lnTo>
                    <a:pt x="912" y="291"/>
                  </a:lnTo>
                  <a:lnTo>
                    <a:pt x="912" y="291"/>
                  </a:lnTo>
                  <a:lnTo>
                    <a:pt x="917" y="287"/>
                  </a:lnTo>
                  <a:lnTo>
                    <a:pt x="919" y="284"/>
                  </a:lnTo>
                  <a:lnTo>
                    <a:pt x="919" y="282"/>
                  </a:lnTo>
                  <a:lnTo>
                    <a:pt x="921" y="279"/>
                  </a:lnTo>
                  <a:lnTo>
                    <a:pt x="919" y="279"/>
                  </a:lnTo>
                  <a:lnTo>
                    <a:pt x="914" y="282"/>
                  </a:lnTo>
                  <a:lnTo>
                    <a:pt x="914" y="284"/>
                  </a:lnTo>
                  <a:lnTo>
                    <a:pt x="912" y="284"/>
                  </a:lnTo>
                  <a:lnTo>
                    <a:pt x="910" y="284"/>
                  </a:lnTo>
                  <a:lnTo>
                    <a:pt x="910" y="287"/>
                  </a:lnTo>
                  <a:lnTo>
                    <a:pt x="907" y="287"/>
                  </a:lnTo>
                  <a:lnTo>
                    <a:pt x="907" y="289"/>
                  </a:lnTo>
                  <a:lnTo>
                    <a:pt x="907" y="289"/>
                  </a:lnTo>
                  <a:lnTo>
                    <a:pt x="910" y="289"/>
                  </a:lnTo>
                  <a:lnTo>
                    <a:pt x="910" y="289"/>
                  </a:lnTo>
                  <a:lnTo>
                    <a:pt x="910" y="289"/>
                  </a:lnTo>
                  <a:lnTo>
                    <a:pt x="910" y="291"/>
                  </a:lnTo>
                  <a:close/>
                  <a:moveTo>
                    <a:pt x="905" y="294"/>
                  </a:moveTo>
                  <a:lnTo>
                    <a:pt x="905" y="294"/>
                  </a:lnTo>
                  <a:lnTo>
                    <a:pt x="905" y="291"/>
                  </a:lnTo>
                  <a:lnTo>
                    <a:pt x="905" y="289"/>
                  </a:lnTo>
                  <a:lnTo>
                    <a:pt x="900" y="287"/>
                  </a:lnTo>
                  <a:lnTo>
                    <a:pt x="900" y="287"/>
                  </a:lnTo>
                  <a:lnTo>
                    <a:pt x="903" y="287"/>
                  </a:lnTo>
                  <a:lnTo>
                    <a:pt x="903" y="287"/>
                  </a:lnTo>
                  <a:lnTo>
                    <a:pt x="903" y="287"/>
                  </a:lnTo>
                  <a:lnTo>
                    <a:pt x="903" y="284"/>
                  </a:lnTo>
                  <a:lnTo>
                    <a:pt x="903" y="284"/>
                  </a:lnTo>
                  <a:lnTo>
                    <a:pt x="903" y="284"/>
                  </a:lnTo>
                  <a:lnTo>
                    <a:pt x="900" y="284"/>
                  </a:lnTo>
                  <a:lnTo>
                    <a:pt x="898" y="282"/>
                  </a:lnTo>
                  <a:lnTo>
                    <a:pt x="898" y="284"/>
                  </a:lnTo>
                  <a:lnTo>
                    <a:pt x="895" y="284"/>
                  </a:lnTo>
                  <a:lnTo>
                    <a:pt x="895" y="287"/>
                  </a:lnTo>
                  <a:lnTo>
                    <a:pt x="895" y="287"/>
                  </a:lnTo>
                  <a:lnTo>
                    <a:pt x="893" y="287"/>
                  </a:lnTo>
                  <a:lnTo>
                    <a:pt x="888" y="289"/>
                  </a:lnTo>
                  <a:lnTo>
                    <a:pt x="888" y="291"/>
                  </a:lnTo>
                  <a:lnTo>
                    <a:pt x="888" y="291"/>
                  </a:lnTo>
                  <a:lnTo>
                    <a:pt x="893" y="289"/>
                  </a:lnTo>
                  <a:lnTo>
                    <a:pt x="895" y="289"/>
                  </a:lnTo>
                  <a:lnTo>
                    <a:pt x="895" y="289"/>
                  </a:lnTo>
                  <a:lnTo>
                    <a:pt x="895" y="291"/>
                  </a:lnTo>
                  <a:lnTo>
                    <a:pt x="895" y="291"/>
                  </a:lnTo>
                  <a:lnTo>
                    <a:pt x="893" y="291"/>
                  </a:lnTo>
                  <a:lnTo>
                    <a:pt x="893" y="294"/>
                  </a:lnTo>
                  <a:lnTo>
                    <a:pt x="891" y="294"/>
                  </a:lnTo>
                  <a:lnTo>
                    <a:pt x="891" y="294"/>
                  </a:lnTo>
                  <a:lnTo>
                    <a:pt x="888" y="294"/>
                  </a:lnTo>
                  <a:lnTo>
                    <a:pt x="888" y="294"/>
                  </a:lnTo>
                  <a:lnTo>
                    <a:pt x="886" y="294"/>
                  </a:lnTo>
                  <a:lnTo>
                    <a:pt x="886" y="294"/>
                  </a:lnTo>
                  <a:lnTo>
                    <a:pt x="886" y="294"/>
                  </a:lnTo>
                  <a:lnTo>
                    <a:pt x="886" y="296"/>
                  </a:lnTo>
                  <a:lnTo>
                    <a:pt x="886" y="296"/>
                  </a:lnTo>
                  <a:lnTo>
                    <a:pt x="888" y="296"/>
                  </a:lnTo>
                  <a:lnTo>
                    <a:pt x="888" y="296"/>
                  </a:lnTo>
                  <a:lnTo>
                    <a:pt x="888" y="298"/>
                  </a:lnTo>
                  <a:lnTo>
                    <a:pt x="888" y="298"/>
                  </a:lnTo>
                  <a:lnTo>
                    <a:pt x="891" y="296"/>
                  </a:lnTo>
                  <a:lnTo>
                    <a:pt x="893" y="298"/>
                  </a:lnTo>
                  <a:lnTo>
                    <a:pt x="891" y="298"/>
                  </a:lnTo>
                  <a:lnTo>
                    <a:pt x="891" y="298"/>
                  </a:lnTo>
                  <a:lnTo>
                    <a:pt x="891" y="301"/>
                  </a:lnTo>
                  <a:lnTo>
                    <a:pt x="888" y="301"/>
                  </a:lnTo>
                  <a:lnTo>
                    <a:pt x="888" y="301"/>
                  </a:lnTo>
                  <a:lnTo>
                    <a:pt x="886" y="303"/>
                  </a:lnTo>
                  <a:lnTo>
                    <a:pt x="886" y="303"/>
                  </a:lnTo>
                  <a:lnTo>
                    <a:pt x="886" y="303"/>
                  </a:lnTo>
                  <a:lnTo>
                    <a:pt x="886" y="305"/>
                  </a:lnTo>
                  <a:lnTo>
                    <a:pt x="886" y="308"/>
                  </a:lnTo>
                  <a:lnTo>
                    <a:pt x="886" y="308"/>
                  </a:lnTo>
                  <a:lnTo>
                    <a:pt x="888" y="308"/>
                  </a:lnTo>
                  <a:lnTo>
                    <a:pt x="888" y="308"/>
                  </a:lnTo>
                  <a:lnTo>
                    <a:pt x="891" y="305"/>
                  </a:lnTo>
                  <a:lnTo>
                    <a:pt x="891" y="305"/>
                  </a:lnTo>
                  <a:lnTo>
                    <a:pt x="888" y="308"/>
                  </a:lnTo>
                  <a:lnTo>
                    <a:pt x="888" y="308"/>
                  </a:lnTo>
                  <a:lnTo>
                    <a:pt x="888" y="310"/>
                  </a:lnTo>
                  <a:lnTo>
                    <a:pt x="888" y="310"/>
                  </a:lnTo>
                  <a:lnTo>
                    <a:pt x="888" y="310"/>
                  </a:lnTo>
                  <a:lnTo>
                    <a:pt x="888" y="310"/>
                  </a:lnTo>
                  <a:lnTo>
                    <a:pt x="891" y="310"/>
                  </a:lnTo>
                  <a:lnTo>
                    <a:pt x="891" y="310"/>
                  </a:lnTo>
                  <a:lnTo>
                    <a:pt x="888" y="313"/>
                  </a:lnTo>
                  <a:lnTo>
                    <a:pt x="888" y="315"/>
                  </a:lnTo>
                  <a:lnTo>
                    <a:pt x="891" y="315"/>
                  </a:lnTo>
                  <a:lnTo>
                    <a:pt x="891" y="315"/>
                  </a:lnTo>
                  <a:lnTo>
                    <a:pt x="891" y="315"/>
                  </a:lnTo>
                  <a:lnTo>
                    <a:pt x="893" y="313"/>
                  </a:lnTo>
                  <a:lnTo>
                    <a:pt x="895" y="313"/>
                  </a:lnTo>
                  <a:lnTo>
                    <a:pt x="895" y="313"/>
                  </a:lnTo>
                  <a:lnTo>
                    <a:pt x="895" y="310"/>
                  </a:lnTo>
                  <a:lnTo>
                    <a:pt x="895" y="310"/>
                  </a:lnTo>
                  <a:lnTo>
                    <a:pt x="898" y="310"/>
                  </a:lnTo>
                  <a:lnTo>
                    <a:pt x="898" y="308"/>
                  </a:lnTo>
                  <a:lnTo>
                    <a:pt x="903" y="305"/>
                  </a:lnTo>
                  <a:lnTo>
                    <a:pt x="903" y="305"/>
                  </a:lnTo>
                  <a:lnTo>
                    <a:pt x="898" y="305"/>
                  </a:lnTo>
                  <a:lnTo>
                    <a:pt x="898" y="305"/>
                  </a:lnTo>
                  <a:lnTo>
                    <a:pt x="898" y="305"/>
                  </a:lnTo>
                  <a:lnTo>
                    <a:pt x="898" y="303"/>
                  </a:lnTo>
                  <a:lnTo>
                    <a:pt x="900" y="303"/>
                  </a:lnTo>
                  <a:lnTo>
                    <a:pt x="900" y="303"/>
                  </a:lnTo>
                  <a:lnTo>
                    <a:pt x="900" y="301"/>
                  </a:lnTo>
                  <a:lnTo>
                    <a:pt x="900" y="301"/>
                  </a:lnTo>
                  <a:lnTo>
                    <a:pt x="900" y="301"/>
                  </a:lnTo>
                  <a:lnTo>
                    <a:pt x="898" y="301"/>
                  </a:lnTo>
                  <a:lnTo>
                    <a:pt x="895" y="301"/>
                  </a:lnTo>
                  <a:lnTo>
                    <a:pt x="898" y="298"/>
                  </a:lnTo>
                  <a:lnTo>
                    <a:pt x="898" y="298"/>
                  </a:lnTo>
                  <a:lnTo>
                    <a:pt x="900" y="298"/>
                  </a:lnTo>
                  <a:lnTo>
                    <a:pt x="900" y="298"/>
                  </a:lnTo>
                  <a:lnTo>
                    <a:pt x="903" y="298"/>
                  </a:lnTo>
                  <a:lnTo>
                    <a:pt x="903" y="301"/>
                  </a:lnTo>
                  <a:lnTo>
                    <a:pt x="903" y="301"/>
                  </a:lnTo>
                  <a:lnTo>
                    <a:pt x="903" y="298"/>
                  </a:lnTo>
                  <a:lnTo>
                    <a:pt x="903" y="298"/>
                  </a:lnTo>
                  <a:lnTo>
                    <a:pt x="903" y="296"/>
                  </a:lnTo>
                  <a:lnTo>
                    <a:pt x="905" y="294"/>
                  </a:lnTo>
                  <a:close/>
                  <a:moveTo>
                    <a:pt x="886" y="298"/>
                  </a:moveTo>
                  <a:lnTo>
                    <a:pt x="886" y="298"/>
                  </a:lnTo>
                  <a:lnTo>
                    <a:pt x="886" y="298"/>
                  </a:lnTo>
                  <a:lnTo>
                    <a:pt x="884" y="298"/>
                  </a:lnTo>
                  <a:lnTo>
                    <a:pt x="884" y="298"/>
                  </a:lnTo>
                  <a:lnTo>
                    <a:pt x="881" y="298"/>
                  </a:lnTo>
                  <a:lnTo>
                    <a:pt x="879" y="298"/>
                  </a:lnTo>
                  <a:lnTo>
                    <a:pt x="879" y="301"/>
                  </a:lnTo>
                  <a:lnTo>
                    <a:pt x="877" y="303"/>
                  </a:lnTo>
                  <a:lnTo>
                    <a:pt x="879" y="303"/>
                  </a:lnTo>
                  <a:lnTo>
                    <a:pt x="881" y="303"/>
                  </a:lnTo>
                  <a:lnTo>
                    <a:pt x="881" y="301"/>
                  </a:lnTo>
                  <a:lnTo>
                    <a:pt x="884" y="301"/>
                  </a:lnTo>
                  <a:lnTo>
                    <a:pt x="884" y="301"/>
                  </a:lnTo>
                  <a:lnTo>
                    <a:pt x="886" y="298"/>
                  </a:lnTo>
                  <a:lnTo>
                    <a:pt x="886" y="298"/>
                  </a:lnTo>
                  <a:close/>
                  <a:moveTo>
                    <a:pt x="924" y="246"/>
                  </a:moveTo>
                  <a:lnTo>
                    <a:pt x="924" y="246"/>
                  </a:lnTo>
                  <a:lnTo>
                    <a:pt x="924" y="244"/>
                  </a:lnTo>
                  <a:lnTo>
                    <a:pt x="924" y="244"/>
                  </a:lnTo>
                  <a:lnTo>
                    <a:pt x="921" y="244"/>
                  </a:lnTo>
                  <a:lnTo>
                    <a:pt x="919" y="244"/>
                  </a:lnTo>
                  <a:lnTo>
                    <a:pt x="919" y="246"/>
                  </a:lnTo>
                  <a:lnTo>
                    <a:pt x="921" y="246"/>
                  </a:lnTo>
                  <a:lnTo>
                    <a:pt x="924" y="246"/>
                  </a:lnTo>
                  <a:close/>
                  <a:moveTo>
                    <a:pt x="917" y="244"/>
                  </a:moveTo>
                  <a:lnTo>
                    <a:pt x="917" y="244"/>
                  </a:lnTo>
                  <a:lnTo>
                    <a:pt x="917" y="244"/>
                  </a:lnTo>
                  <a:lnTo>
                    <a:pt x="917" y="244"/>
                  </a:lnTo>
                  <a:lnTo>
                    <a:pt x="914" y="246"/>
                  </a:lnTo>
                  <a:lnTo>
                    <a:pt x="914" y="246"/>
                  </a:lnTo>
                  <a:lnTo>
                    <a:pt x="914" y="249"/>
                  </a:lnTo>
                  <a:lnTo>
                    <a:pt x="912" y="251"/>
                  </a:lnTo>
                  <a:lnTo>
                    <a:pt x="907" y="256"/>
                  </a:lnTo>
                  <a:lnTo>
                    <a:pt x="907" y="258"/>
                  </a:lnTo>
                  <a:lnTo>
                    <a:pt x="907" y="258"/>
                  </a:lnTo>
                  <a:lnTo>
                    <a:pt x="907" y="261"/>
                  </a:lnTo>
                  <a:lnTo>
                    <a:pt x="905" y="261"/>
                  </a:lnTo>
                  <a:lnTo>
                    <a:pt x="900" y="265"/>
                  </a:lnTo>
                  <a:lnTo>
                    <a:pt x="898" y="265"/>
                  </a:lnTo>
                  <a:lnTo>
                    <a:pt x="898" y="268"/>
                  </a:lnTo>
                  <a:lnTo>
                    <a:pt x="898" y="268"/>
                  </a:lnTo>
                  <a:lnTo>
                    <a:pt x="898" y="268"/>
                  </a:lnTo>
                  <a:lnTo>
                    <a:pt x="898" y="270"/>
                  </a:lnTo>
                  <a:lnTo>
                    <a:pt x="898" y="268"/>
                  </a:lnTo>
                  <a:lnTo>
                    <a:pt x="903" y="268"/>
                  </a:lnTo>
                  <a:lnTo>
                    <a:pt x="910" y="263"/>
                  </a:lnTo>
                  <a:lnTo>
                    <a:pt x="912" y="263"/>
                  </a:lnTo>
                  <a:lnTo>
                    <a:pt x="912" y="263"/>
                  </a:lnTo>
                  <a:lnTo>
                    <a:pt x="912" y="263"/>
                  </a:lnTo>
                  <a:lnTo>
                    <a:pt x="914" y="261"/>
                  </a:lnTo>
                  <a:lnTo>
                    <a:pt x="914" y="261"/>
                  </a:lnTo>
                  <a:lnTo>
                    <a:pt x="917" y="258"/>
                  </a:lnTo>
                  <a:lnTo>
                    <a:pt x="917" y="258"/>
                  </a:lnTo>
                  <a:lnTo>
                    <a:pt x="917" y="256"/>
                  </a:lnTo>
                  <a:lnTo>
                    <a:pt x="917" y="253"/>
                  </a:lnTo>
                  <a:lnTo>
                    <a:pt x="919" y="251"/>
                  </a:lnTo>
                  <a:lnTo>
                    <a:pt x="919" y="249"/>
                  </a:lnTo>
                  <a:lnTo>
                    <a:pt x="921" y="249"/>
                  </a:lnTo>
                  <a:lnTo>
                    <a:pt x="921" y="249"/>
                  </a:lnTo>
                  <a:lnTo>
                    <a:pt x="921" y="249"/>
                  </a:lnTo>
                  <a:lnTo>
                    <a:pt x="921" y="249"/>
                  </a:lnTo>
                  <a:lnTo>
                    <a:pt x="921" y="251"/>
                  </a:lnTo>
                  <a:lnTo>
                    <a:pt x="919" y="253"/>
                  </a:lnTo>
                  <a:lnTo>
                    <a:pt x="919" y="253"/>
                  </a:lnTo>
                  <a:lnTo>
                    <a:pt x="919" y="253"/>
                  </a:lnTo>
                  <a:lnTo>
                    <a:pt x="919" y="253"/>
                  </a:lnTo>
                  <a:lnTo>
                    <a:pt x="919" y="256"/>
                  </a:lnTo>
                  <a:lnTo>
                    <a:pt x="919" y="258"/>
                  </a:lnTo>
                  <a:lnTo>
                    <a:pt x="919" y="258"/>
                  </a:lnTo>
                  <a:lnTo>
                    <a:pt x="921" y="256"/>
                  </a:lnTo>
                  <a:lnTo>
                    <a:pt x="921" y="253"/>
                  </a:lnTo>
                  <a:lnTo>
                    <a:pt x="921" y="253"/>
                  </a:lnTo>
                  <a:lnTo>
                    <a:pt x="924" y="251"/>
                  </a:lnTo>
                  <a:lnTo>
                    <a:pt x="924" y="246"/>
                  </a:lnTo>
                  <a:lnTo>
                    <a:pt x="921" y="246"/>
                  </a:lnTo>
                  <a:lnTo>
                    <a:pt x="917" y="246"/>
                  </a:lnTo>
                  <a:lnTo>
                    <a:pt x="917" y="246"/>
                  </a:lnTo>
                  <a:lnTo>
                    <a:pt x="917" y="244"/>
                  </a:lnTo>
                  <a:close/>
                  <a:moveTo>
                    <a:pt x="884" y="261"/>
                  </a:moveTo>
                  <a:lnTo>
                    <a:pt x="886" y="261"/>
                  </a:lnTo>
                  <a:lnTo>
                    <a:pt x="888" y="261"/>
                  </a:lnTo>
                  <a:lnTo>
                    <a:pt x="891" y="258"/>
                  </a:lnTo>
                  <a:lnTo>
                    <a:pt x="893" y="256"/>
                  </a:lnTo>
                  <a:lnTo>
                    <a:pt x="893" y="256"/>
                  </a:lnTo>
                  <a:lnTo>
                    <a:pt x="895" y="256"/>
                  </a:lnTo>
                  <a:lnTo>
                    <a:pt x="898" y="258"/>
                  </a:lnTo>
                  <a:lnTo>
                    <a:pt x="898" y="261"/>
                  </a:lnTo>
                  <a:lnTo>
                    <a:pt x="900" y="261"/>
                  </a:lnTo>
                  <a:lnTo>
                    <a:pt x="903" y="258"/>
                  </a:lnTo>
                  <a:lnTo>
                    <a:pt x="903" y="256"/>
                  </a:lnTo>
                  <a:lnTo>
                    <a:pt x="905" y="256"/>
                  </a:lnTo>
                  <a:lnTo>
                    <a:pt x="900" y="256"/>
                  </a:lnTo>
                  <a:lnTo>
                    <a:pt x="900" y="253"/>
                  </a:lnTo>
                  <a:lnTo>
                    <a:pt x="903" y="253"/>
                  </a:lnTo>
                  <a:lnTo>
                    <a:pt x="903" y="253"/>
                  </a:lnTo>
                  <a:lnTo>
                    <a:pt x="903" y="253"/>
                  </a:lnTo>
                  <a:lnTo>
                    <a:pt x="905" y="253"/>
                  </a:lnTo>
                  <a:lnTo>
                    <a:pt x="910" y="251"/>
                  </a:lnTo>
                  <a:lnTo>
                    <a:pt x="910" y="249"/>
                  </a:lnTo>
                  <a:lnTo>
                    <a:pt x="910" y="249"/>
                  </a:lnTo>
                  <a:lnTo>
                    <a:pt x="910" y="249"/>
                  </a:lnTo>
                  <a:lnTo>
                    <a:pt x="907" y="249"/>
                  </a:lnTo>
                  <a:lnTo>
                    <a:pt x="905" y="249"/>
                  </a:lnTo>
                  <a:lnTo>
                    <a:pt x="905" y="249"/>
                  </a:lnTo>
                  <a:lnTo>
                    <a:pt x="900" y="249"/>
                  </a:lnTo>
                  <a:lnTo>
                    <a:pt x="900" y="251"/>
                  </a:lnTo>
                  <a:lnTo>
                    <a:pt x="900" y="249"/>
                  </a:lnTo>
                  <a:lnTo>
                    <a:pt x="900" y="249"/>
                  </a:lnTo>
                  <a:lnTo>
                    <a:pt x="900" y="249"/>
                  </a:lnTo>
                  <a:lnTo>
                    <a:pt x="903" y="249"/>
                  </a:lnTo>
                  <a:lnTo>
                    <a:pt x="903" y="246"/>
                  </a:lnTo>
                  <a:lnTo>
                    <a:pt x="903" y="246"/>
                  </a:lnTo>
                  <a:lnTo>
                    <a:pt x="903" y="244"/>
                  </a:lnTo>
                  <a:lnTo>
                    <a:pt x="900" y="246"/>
                  </a:lnTo>
                  <a:lnTo>
                    <a:pt x="898" y="246"/>
                  </a:lnTo>
                  <a:lnTo>
                    <a:pt x="898" y="246"/>
                  </a:lnTo>
                  <a:lnTo>
                    <a:pt x="895" y="246"/>
                  </a:lnTo>
                  <a:lnTo>
                    <a:pt x="895" y="246"/>
                  </a:lnTo>
                  <a:lnTo>
                    <a:pt x="893" y="249"/>
                  </a:lnTo>
                  <a:lnTo>
                    <a:pt x="893" y="246"/>
                  </a:lnTo>
                  <a:lnTo>
                    <a:pt x="893" y="246"/>
                  </a:lnTo>
                  <a:lnTo>
                    <a:pt x="891" y="246"/>
                  </a:lnTo>
                  <a:lnTo>
                    <a:pt x="888" y="249"/>
                  </a:lnTo>
                  <a:lnTo>
                    <a:pt x="888" y="249"/>
                  </a:lnTo>
                  <a:lnTo>
                    <a:pt x="886" y="249"/>
                  </a:lnTo>
                  <a:lnTo>
                    <a:pt x="884" y="251"/>
                  </a:lnTo>
                  <a:lnTo>
                    <a:pt x="884" y="253"/>
                  </a:lnTo>
                  <a:lnTo>
                    <a:pt x="886" y="253"/>
                  </a:lnTo>
                  <a:lnTo>
                    <a:pt x="886" y="256"/>
                  </a:lnTo>
                  <a:lnTo>
                    <a:pt x="884" y="258"/>
                  </a:lnTo>
                  <a:lnTo>
                    <a:pt x="884" y="261"/>
                  </a:lnTo>
                  <a:close/>
                  <a:moveTo>
                    <a:pt x="653" y="93"/>
                  </a:moveTo>
                  <a:lnTo>
                    <a:pt x="655" y="93"/>
                  </a:lnTo>
                  <a:lnTo>
                    <a:pt x="655" y="93"/>
                  </a:lnTo>
                  <a:lnTo>
                    <a:pt x="650" y="93"/>
                  </a:lnTo>
                  <a:lnTo>
                    <a:pt x="648" y="93"/>
                  </a:lnTo>
                  <a:lnTo>
                    <a:pt x="648" y="93"/>
                  </a:lnTo>
                  <a:lnTo>
                    <a:pt x="648" y="93"/>
                  </a:lnTo>
                  <a:lnTo>
                    <a:pt x="653" y="93"/>
                  </a:lnTo>
                  <a:close/>
                  <a:moveTo>
                    <a:pt x="14" y="994"/>
                  </a:moveTo>
                  <a:lnTo>
                    <a:pt x="12" y="994"/>
                  </a:lnTo>
                  <a:lnTo>
                    <a:pt x="9" y="996"/>
                  </a:lnTo>
                  <a:lnTo>
                    <a:pt x="9" y="998"/>
                  </a:lnTo>
                  <a:lnTo>
                    <a:pt x="12" y="998"/>
                  </a:lnTo>
                  <a:lnTo>
                    <a:pt x="12" y="998"/>
                  </a:lnTo>
                  <a:lnTo>
                    <a:pt x="14" y="1001"/>
                  </a:lnTo>
                  <a:lnTo>
                    <a:pt x="14" y="1001"/>
                  </a:lnTo>
                  <a:lnTo>
                    <a:pt x="16" y="998"/>
                  </a:lnTo>
                  <a:lnTo>
                    <a:pt x="16" y="998"/>
                  </a:lnTo>
                  <a:lnTo>
                    <a:pt x="19" y="996"/>
                  </a:lnTo>
                  <a:lnTo>
                    <a:pt x="19" y="996"/>
                  </a:lnTo>
                  <a:lnTo>
                    <a:pt x="19" y="994"/>
                  </a:lnTo>
                  <a:lnTo>
                    <a:pt x="19" y="994"/>
                  </a:lnTo>
                  <a:lnTo>
                    <a:pt x="14" y="994"/>
                  </a:lnTo>
                  <a:close/>
                  <a:moveTo>
                    <a:pt x="61" y="1015"/>
                  </a:moveTo>
                  <a:lnTo>
                    <a:pt x="61" y="1015"/>
                  </a:lnTo>
                  <a:lnTo>
                    <a:pt x="56" y="1015"/>
                  </a:lnTo>
                  <a:lnTo>
                    <a:pt x="56" y="1015"/>
                  </a:lnTo>
                  <a:lnTo>
                    <a:pt x="56" y="1015"/>
                  </a:lnTo>
                  <a:lnTo>
                    <a:pt x="52" y="1015"/>
                  </a:lnTo>
                  <a:lnTo>
                    <a:pt x="52" y="1012"/>
                  </a:lnTo>
                  <a:lnTo>
                    <a:pt x="52" y="1015"/>
                  </a:lnTo>
                  <a:lnTo>
                    <a:pt x="49" y="1015"/>
                  </a:lnTo>
                  <a:lnTo>
                    <a:pt x="49" y="1017"/>
                  </a:lnTo>
                  <a:lnTo>
                    <a:pt x="54" y="1017"/>
                  </a:lnTo>
                  <a:lnTo>
                    <a:pt x="56" y="1017"/>
                  </a:lnTo>
                  <a:lnTo>
                    <a:pt x="59" y="1017"/>
                  </a:lnTo>
                  <a:lnTo>
                    <a:pt x="61" y="1015"/>
                  </a:lnTo>
                  <a:close/>
                  <a:moveTo>
                    <a:pt x="45" y="1010"/>
                  </a:moveTo>
                  <a:lnTo>
                    <a:pt x="45" y="1008"/>
                  </a:lnTo>
                  <a:lnTo>
                    <a:pt x="42" y="1010"/>
                  </a:lnTo>
                  <a:lnTo>
                    <a:pt x="42" y="1008"/>
                  </a:lnTo>
                  <a:lnTo>
                    <a:pt x="42" y="1008"/>
                  </a:lnTo>
                  <a:lnTo>
                    <a:pt x="42" y="1008"/>
                  </a:lnTo>
                  <a:lnTo>
                    <a:pt x="42" y="1008"/>
                  </a:lnTo>
                  <a:lnTo>
                    <a:pt x="40" y="1003"/>
                  </a:lnTo>
                  <a:lnTo>
                    <a:pt x="40" y="1003"/>
                  </a:lnTo>
                  <a:lnTo>
                    <a:pt x="38" y="1005"/>
                  </a:lnTo>
                  <a:lnTo>
                    <a:pt x="35" y="1005"/>
                  </a:lnTo>
                  <a:lnTo>
                    <a:pt x="35" y="1008"/>
                  </a:lnTo>
                  <a:lnTo>
                    <a:pt x="35" y="1008"/>
                  </a:lnTo>
                  <a:lnTo>
                    <a:pt x="35" y="1010"/>
                  </a:lnTo>
                  <a:lnTo>
                    <a:pt x="35" y="1012"/>
                  </a:lnTo>
                  <a:lnTo>
                    <a:pt x="38" y="1012"/>
                  </a:lnTo>
                  <a:lnTo>
                    <a:pt x="38" y="1012"/>
                  </a:lnTo>
                  <a:lnTo>
                    <a:pt x="38" y="1010"/>
                  </a:lnTo>
                  <a:lnTo>
                    <a:pt x="38" y="1010"/>
                  </a:lnTo>
                  <a:lnTo>
                    <a:pt x="40" y="1010"/>
                  </a:lnTo>
                  <a:lnTo>
                    <a:pt x="40" y="1012"/>
                  </a:lnTo>
                  <a:lnTo>
                    <a:pt x="40" y="1010"/>
                  </a:lnTo>
                  <a:lnTo>
                    <a:pt x="40" y="1012"/>
                  </a:lnTo>
                  <a:lnTo>
                    <a:pt x="42" y="1012"/>
                  </a:lnTo>
                  <a:lnTo>
                    <a:pt x="42" y="1012"/>
                  </a:lnTo>
                  <a:lnTo>
                    <a:pt x="45" y="1012"/>
                  </a:lnTo>
                  <a:lnTo>
                    <a:pt x="45" y="1012"/>
                  </a:lnTo>
                  <a:lnTo>
                    <a:pt x="45" y="1010"/>
                  </a:lnTo>
                  <a:close/>
                  <a:moveTo>
                    <a:pt x="56" y="1020"/>
                  </a:moveTo>
                  <a:lnTo>
                    <a:pt x="54" y="1020"/>
                  </a:lnTo>
                  <a:lnTo>
                    <a:pt x="54" y="1020"/>
                  </a:lnTo>
                  <a:lnTo>
                    <a:pt x="54" y="1022"/>
                  </a:lnTo>
                  <a:lnTo>
                    <a:pt x="54" y="1024"/>
                  </a:lnTo>
                  <a:lnTo>
                    <a:pt x="54" y="1024"/>
                  </a:lnTo>
                  <a:lnTo>
                    <a:pt x="56" y="1024"/>
                  </a:lnTo>
                  <a:lnTo>
                    <a:pt x="56" y="1022"/>
                  </a:lnTo>
                  <a:lnTo>
                    <a:pt x="56" y="1022"/>
                  </a:lnTo>
                  <a:lnTo>
                    <a:pt x="56" y="1020"/>
                  </a:lnTo>
                  <a:close/>
                  <a:moveTo>
                    <a:pt x="304" y="341"/>
                  </a:moveTo>
                  <a:lnTo>
                    <a:pt x="306" y="339"/>
                  </a:lnTo>
                  <a:lnTo>
                    <a:pt x="306" y="339"/>
                  </a:lnTo>
                  <a:lnTo>
                    <a:pt x="306" y="339"/>
                  </a:lnTo>
                  <a:lnTo>
                    <a:pt x="304" y="339"/>
                  </a:lnTo>
                  <a:lnTo>
                    <a:pt x="302" y="339"/>
                  </a:lnTo>
                  <a:lnTo>
                    <a:pt x="299" y="339"/>
                  </a:lnTo>
                  <a:lnTo>
                    <a:pt x="297" y="341"/>
                  </a:lnTo>
                  <a:lnTo>
                    <a:pt x="297" y="341"/>
                  </a:lnTo>
                  <a:lnTo>
                    <a:pt x="295" y="343"/>
                  </a:lnTo>
                  <a:lnTo>
                    <a:pt x="295" y="343"/>
                  </a:lnTo>
                  <a:lnTo>
                    <a:pt x="295" y="343"/>
                  </a:lnTo>
                  <a:lnTo>
                    <a:pt x="292" y="343"/>
                  </a:lnTo>
                  <a:lnTo>
                    <a:pt x="292" y="343"/>
                  </a:lnTo>
                  <a:lnTo>
                    <a:pt x="290" y="343"/>
                  </a:lnTo>
                  <a:lnTo>
                    <a:pt x="287" y="343"/>
                  </a:lnTo>
                  <a:lnTo>
                    <a:pt x="287" y="346"/>
                  </a:lnTo>
                  <a:lnTo>
                    <a:pt x="285" y="346"/>
                  </a:lnTo>
                  <a:lnTo>
                    <a:pt x="283" y="346"/>
                  </a:lnTo>
                  <a:lnTo>
                    <a:pt x="283" y="348"/>
                  </a:lnTo>
                  <a:lnTo>
                    <a:pt x="280" y="348"/>
                  </a:lnTo>
                  <a:lnTo>
                    <a:pt x="280" y="348"/>
                  </a:lnTo>
                  <a:lnTo>
                    <a:pt x="278" y="350"/>
                  </a:lnTo>
                  <a:lnTo>
                    <a:pt x="276" y="350"/>
                  </a:lnTo>
                  <a:lnTo>
                    <a:pt x="280" y="350"/>
                  </a:lnTo>
                  <a:lnTo>
                    <a:pt x="280" y="350"/>
                  </a:lnTo>
                  <a:lnTo>
                    <a:pt x="283" y="348"/>
                  </a:lnTo>
                  <a:lnTo>
                    <a:pt x="285" y="348"/>
                  </a:lnTo>
                  <a:lnTo>
                    <a:pt x="285" y="348"/>
                  </a:lnTo>
                  <a:lnTo>
                    <a:pt x="287" y="348"/>
                  </a:lnTo>
                  <a:lnTo>
                    <a:pt x="290" y="346"/>
                  </a:lnTo>
                  <a:lnTo>
                    <a:pt x="295" y="346"/>
                  </a:lnTo>
                  <a:lnTo>
                    <a:pt x="302" y="343"/>
                  </a:lnTo>
                  <a:lnTo>
                    <a:pt x="304" y="341"/>
                  </a:lnTo>
                  <a:lnTo>
                    <a:pt x="304" y="341"/>
                  </a:lnTo>
                  <a:close/>
                  <a:moveTo>
                    <a:pt x="66" y="1027"/>
                  </a:moveTo>
                  <a:lnTo>
                    <a:pt x="68" y="1027"/>
                  </a:lnTo>
                  <a:lnTo>
                    <a:pt x="71" y="1024"/>
                  </a:lnTo>
                  <a:lnTo>
                    <a:pt x="71" y="1024"/>
                  </a:lnTo>
                  <a:lnTo>
                    <a:pt x="71" y="1022"/>
                  </a:lnTo>
                  <a:lnTo>
                    <a:pt x="71" y="1022"/>
                  </a:lnTo>
                  <a:lnTo>
                    <a:pt x="71" y="1022"/>
                  </a:lnTo>
                  <a:lnTo>
                    <a:pt x="68" y="1020"/>
                  </a:lnTo>
                  <a:lnTo>
                    <a:pt x="66" y="1020"/>
                  </a:lnTo>
                  <a:lnTo>
                    <a:pt x="64" y="1020"/>
                  </a:lnTo>
                  <a:lnTo>
                    <a:pt x="64" y="1020"/>
                  </a:lnTo>
                  <a:lnTo>
                    <a:pt x="64" y="1020"/>
                  </a:lnTo>
                  <a:lnTo>
                    <a:pt x="61" y="1017"/>
                  </a:lnTo>
                  <a:lnTo>
                    <a:pt x="61" y="1017"/>
                  </a:lnTo>
                  <a:lnTo>
                    <a:pt x="59" y="1020"/>
                  </a:lnTo>
                  <a:lnTo>
                    <a:pt x="59" y="1020"/>
                  </a:lnTo>
                  <a:lnTo>
                    <a:pt x="61" y="1022"/>
                  </a:lnTo>
                  <a:lnTo>
                    <a:pt x="61" y="1022"/>
                  </a:lnTo>
                  <a:lnTo>
                    <a:pt x="64" y="1022"/>
                  </a:lnTo>
                  <a:lnTo>
                    <a:pt x="64" y="1024"/>
                  </a:lnTo>
                  <a:lnTo>
                    <a:pt x="64" y="1027"/>
                  </a:lnTo>
                  <a:lnTo>
                    <a:pt x="64" y="1027"/>
                  </a:lnTo>
                  <a:lnTo>
                    <a:pt x="66" y="1027"/>
                  </a:lnTo>
                  <a:lnTo>
                    <a:pt x="66" y="1027"/>
                  </a:lnTo>
                  <a:close/>
                  <a:moveTo>
                    <a:pt x="85" y="1048"/>
                  </a:moveTo>
                  <a:lnTo>
                    <a:pt x="85" y="1046"/>
                  </a:lnTo>
                  <a:lnTo>
                    <a:pt x="82" y="1046"/>
                  </a:lnTo>
                  <a:lnTo>
                    <a:pt x="85" y="1043"/>
                  </a:lnTo>
                  <a:lnTo>
                    <a:pt x="82" y="1041"/>
                  </a:lnTo>
                  <a:lnTo>
                    <a:pt x="75" y="1036"/>
                  </a:lnTo>
                  <a:lnTo>
                    <a:pt x="73" y="1034"/>
                  </a:lnTo>
                  <a:lnTo>
                    <a:pt x="71" y="1034"/>
                  </a:lnTo>
                  <a:lnTo>
                    <a:pt x="71" y="1036"/>
                  </a:lnTo>
                  <a:lnTo>
                    <a:pt x="71" y="1038"/>
                  </a:lnTo>
                  <a:lnTo>
                    <a:pt x="68" y="1041"/>
                  </a:lnTo>
                  <a:lnTo>
                    <a:pt x="66" y="1043"/>
                  </a:lnTo>
                  <a:lnTo>
                    <a:pt x="66" y="1046"/>
                  </a:lnTo>
                  <a:lnTo>
                    <a:pt x="66" y="1048"/>
                  </a:lnTo>
                  <a:lnTo>
                    <a:pt x="66" y="1053"/>
                  </a:lnTo>
                  <a:lnTo>
                    <a:pt x="66" y="1057"/>
                  </a:lnTo>
                  <a:lnTo>
                    <a:pt x="66" y="1060"/>
                  </a:lnTo>
                  <a:lnTo>
                    <a:pt x="68" y="1062"/>
                  </a:lnTo>
                  <a:lnTo>
                    <a:pt x="68" y="1062"/>
                  </a:lnTo>
                  <a:lnTo>
                    <a:pt x="71" y="1060"/>
                  </a:lnTo>
                  <a:lnTo>
                    <a:pt x="71" y="1057"/>
                  </a:lnTo>
                  <a:lnTo>
                    <a:pt x="75" y="1055"/>
                  </a:lnTo>
                  <a:lnTo>
                    <a:pt x="82" y="1055"/>
                  </a:lnTo>
                  <a:lnTo>
                    <a:pt x="85" y="1050"/>
                  </a:lnTo>
                  <a:lnTo>
                    <a:pt x="87" y="1050"/>
                  </a:lnTo>
                  <a:lnTo>
                    <a:pt x="87" y="1048"/>
                  </a:lnTo>
                  <a:lnTo>
                    <a:pt x="85" y="1048"/>
                  </a:lnTo>
                  <a:close/>
                  <a:moveTo>
                    <a:pt x="339" y="334"/>
                  </a:moveTo>
                  <a:lnTo>
                    <a:pt x="337" y="334"/>
                  </a:lnTo>
                  <a:lnTo>
                    <a:pt x="337" y="334"/>
                  </a:lnTo>
                  <a:lnTo>
                    <a:pt x="337" y="334"/>
                  </a:lnTo>
                  <a:lnTo>
                    <a:pt x="337" y="334"/>
                  </a:lnTo>
                  <a:lnTo>
                    <a:pt x="337" y="334"/>
                  </a:lnTo>
                  <a:lnTo>
                    <a:pt x="339" y="334"/>
                  </a:lnTo>
                  <a:lnTo>
                    <a:pt x="339" y="334"/>
                  </a:lnTo>
                  <a:lnTo>
                    <a:pt x="342" y="334"/>
                  </a:lnTo>
                  <a:lnTo>
                    <a:pt x="342" y="331"/>
                  </a:lnTo>
                  <a:lnTo>
                    <a:pt x="342" y="331"/>
                  </a:lnTo>
                  <a:lnTo>
                    <a:pt x="339" y="334"/>
                  </a:lnTo>
                  <a:close/>
                  <a:moveTo>
                    <a:pt x="639" y="253"/>
                  </a:moveTo>
                  <a:lnTo>
                    <a:pt x="639" y="253"/>
                  </a:lnTo>
                  <a:lnTo>
                    <a:pt x="634" y="253"/>
                  </a:lnTo>
                  <a:lnTo>
                    <a:pt x="634" y="253"/>
                  </a:lnTo>
                  <a:lnTo>
                    <a:pt x="634" y="253"/>
                  </a:lnTo>
                  <a:lnTo>
                    <a:pt x="636" y="251"/>
                  </a:lnTo>
                  <a:lnTo>
                    <a:pt x="636" y="251"/>
                  </a:lnTo>
                  <a:lnTo>
                    <a:pt x="634" y="251"/>
                  </a:lnTo>
                  <a:lnTo>
                    <a:pt x="632" y="251"/>
                  </a:lnTo>
                  <a:lnTo>
                    <a:pt x="632" y="251"/>
                  </a:lnTo>
                  <a:lnTo>
                    <a:pt x="632" y="253"/>
                  </a:lnTo>
                  <a:lnTo>
                    <a:pt x="632" y="253"/>
                  </a:lnTo>
                  <a:lnTo>
                    <a:pt x="629" y="253"/>
                  </a:lnTo>
                  <a:lnTo>
                    <a:pt x="629" y="253"/>
                  </a:lnTo>
                  <a:lnTo>
                    <a:pt x="629" y="253"/>
                  </a:lnTo>
                  <a:lnTo>
                    <a:pt x="627" y="253"/>
                  </a:lnTo>
                  <a:lnTo>
                    <a:pt x="627" y="253"/>
                  </a:lnTo>
                  <a:lnTo>
                    <a:pt x="624" y="253"/>
                  </a:lnTo>
                  <a:lnTo>
                    <a:pt x="624" y="256"/>
                  </a:lnTo>
                  <a:lnTo>
                    <a:pt x="624" y="256"/>
                  </a:lnTo>
                  <a:lnTo>
                    <a:pt x="622" y="256"/>
                  </a:lnTo>
                  <a:lnTo>
                    <a:pt x="622" y="256"/>
                  </a:lnTo>
                  <a:lnTo>
                    <a:pt x="624" y="253"/>
                  </a:lnTo>
                  <a:lnTo>
                    <a:pt x="624" y="253"/>
                  </a:lnTo>
                  <a:lnTo>
                    <a:pt x="622" y="253"/>
                  </a:lnTo>
                  <a:lnTo>
                    <a:pt x="622" y="253"/>
                  </a:lnTo>
                  <a:lnTo>
                    <a:pt x="622" y="253"/>
                  </a:lnTo>
                  <a:lnTo>
                    <a:pt x="620" y="253"/>
                  </a:lnTo>
                  <a:lnTo>
                    <a:pt x="617" y="253"/>
                  </a:lnTo>
                  <a:lnTo>
                    <a:pt x="617" y="256"/>
                  </a:lnTo>
                  <a:lnTo>
                    <a:pt x="617" y="256"/>
                  </a:lnTo>
                  <a:lnTo>
                    <a:pt x="620" y="256"/>
                  </a:lnTo>
                  <a:lnTo>
                    <a:pt x="617" y="258"/>
                  </a:lnTo>
                  <a:lnTo>
                    <a:pt x="617" y="256"/>
                  </a:lnTo>
                  <a:lnTo>
                    <a:pt x="615" y="258"/>
                  </a:lnTo>
                  <a:lnTo>
                    <a:pt x="615" y="258"/>
                  </a:lnTo>
                  <a:lnTo>
                    <a:pt x="613" y="261"/>
                  </a:lnTo>
                  <a:lnTo>
                    <a:pt x="610" y="263"/>
                  </a:lnTo>
                  <a:lnTo>
                    <a:pt x="610" y="263"/>
                  </a:lnTo>
                  <a:lnTo>
                    <a:pt x="610" y="263"/>
                  </a:lnTo>
                  <a:lnTo>
                    <a:pt x="610" y="263"/>
                  </a:lnTo>
                  <a:lnTo>
                    <a:pt x="610" y="261"/>
                  </a:lnTo>
                  <a:lnTo>
                    <a:pt x="613" y="258"/>
                  </a:lnTo>
                  <a:lnTo>
                    <a:pt x="613" y="258"/>
                  </a:lnTo>
                  <a:lnTo>
                    <a:pt x="613" y="258"/>
                  </a:lnTo>
                  <a:lnTo>
                    <a:pt x="613" y="258"/>
                  </a:lnTo>
                  <a:lnTo>
                    <a:pt x="613" y="258"/>
                  </a:lnTo>
                  <a:lnTo>
                    <a:pt x="613" y="256"/>
                  </a:lnTo>
                  <a:lnTo>
                    <a:pt x="610" y="256"/>
                  </a:lnTo>
                  <a:lnTo>
                    <a:pt x="610" y="258"/>
                  </a:lnTo>
                  <a:lnTo>
                    <a:pt x="606" y="258"/>
                  </a:lnTo>
                  <a:lnTo>
                    <a:pt x="603" y="258"/>
                  </a:lnTo>
                  <a:lnTo>
                    <a:pt x="599" y="261"/>
                  </a:lnTo>
                  <a:lnTo>
                    <a:pt x="596" y="263"/>
                  </a:lnTo>
                  <a:lnTo>
                    <a:pt x="596" y="263"/>
                  </a:lnTo>
                  <a:lnTo>
                    <a:pt x="596" y="265"/>
                  </a:lnTo>
                  <a:lnTo>
                    <a:pt x="591" y="270"/>
                  </a:lnTo>
                  <a:lnTo>
                    <a:pt x="591" y="272"/>
                  </a:lnTo>
                  <a:lnTo>
                    <a:pt x="594" y="272"/>
                  </a:lnTo>
                  <a:lnTo>
                    <a:pt x="596" y="270"/>
                  </a:lnTo>
                  <a:lnTo>
                    <a:pt x="596" y="270"/>
                  </a:lnTo>
                  <a:lnTo>
                    <a:pt x="596" y="270"/>
                  </a:lnTo>
                  <a:lnTo>
                    <a:pt x="599" y="268"/>
                  </a:lnTo>
                  <a:lnTo>
                    <a:pt x="599" y="268"/>
                  </a:lnTo>
                  <a:lnTo>
                    <a:pt x="599" y="268"/>
                  </a:lnTo>
                  <a:lnTo>
                    <a:pt x="596" y="268"/>
                  </a:lnTo>
                  <a:lnTo>
                    <a:pt x="596" y="268"/>
                  </a:lnTo>
                  <a:lnTo>
                    <a:pt x="596" y="268"/>
                  </a:lnTo>
                  <a:lnTo>
                    <a:pt x="599" y="268"/>
                  </a:lnTo>
                  <a:lnTo>
                    <a:pt x="601" y="268"/>
                  </a:lnTo>
                  <a:lnTo>
                    <a:pt x="601" y="268"/>
                  </a:lnTo>
                  <a:lnTo>
                    <a:pt x="601" y="268"/>
                  </a:lnTo>
                  <a:lnTo>
                    <a:pt x="601" y="268"/>
                  </a:lnTo>
                  <a:lnTo>
                    <a:pt x="599" y="268"/>
                  </a:lnTo>
                  <a:lnTo>
                    <a:pt x="599" y="270"/>
                  </a:lnTo>
                  <a:lnTo>
                    <a:pt x="599" y="270"/>
                  </a:lnTo>
                  <a:lnTo>
                    <a:pt x="601" y="268"/>
                  </a:lnTo>
                  <a:lnTo>
                    <a:pt x="601" y="270"/>
                  </a:lnTo>
                  <a:lnTo>
                    <a:pt x="603" y="270"/>
                  </a:lnTo>
                  <a:lnTo>
                    <a:pt x="603" y="270"/>
                  </a:lnTo>
                  <a:lnTo>
                    <a:pt x="594" y="272"/>
                  </a:lnTo>
                  <a:lnTo>
                    <a:pt x="594" y="275"/>
                  </a:lnTo>
                  <a:lnTo>
                    <a:pt x="594" y="275"/>
                  </a:lnTo>
                  <a:lnTo>
                    <a:pt x="594" y="275"/>
                  </a:lnTo>
                  <a:lnTo>
                    <a:pt x="594" y="275"/>
                  </a:lnTo>
                  <a:lnTo>
                    <a:pt x="601" y="272"/>
                  </a:lnTo>
                  <a:lnTo>
                    <a:pt x="603" y="270"/>
                  </a:lnTo>
                  <a:lnTo>
                    <a:pt x="606" y="270"/>
                  </a:lnTo>
                  <a:lnTo>
                    <a:pt x="606" y="270"/>
                  </a:lnTo>
                  <a:lnTo>
                    <a:pt x="606" y="270"/>
                  </a:lnTo>
                  <a:lnTo>
                    <a:pt x="606" y="268"/>
                  </a:lnTo>
                  <a:lnTo>
                    <a:pt x="608" y="268"/>
                  </a:lnTo>
                  <a:lnTo>
                    <a:pt x="608" y="268"/>
                  </a:lnTo>
                  <a:lnTo>
                    <a:pt x="610" y="268"/>
                  </a:lnTo>
                  <a:lnTo>
                    <a:pt x="610" y="265"/>
                  </a:lnTo>
                  <a:lnTo>
                    <a:pt x="615" y="265"/>
                  </a:lnTo>
                  <a:lnTo>
                    <a:pt x="620" y="265"/>
                  </a:lnTo>
                  <a:lnTo>
                    <a:pt x="622" y="265"/>
                  </a:lnTo>
                  <a:lnTo>
                    <a:pt x="624" y="263"/>
                  </a:lnTo>
                  <a:lnTo>
                    <a:pt x="624" y="263"/>
                  </a:lnTo>
                  <a:lnTo>
                    <a:pt x="627" y="263"/>
                  </a:lnTo>
                  <a:lnTo>
                    <a:pt x="627" y="263"/>
                  </a:lnTo>
                  <a:lnTo>
                    <a:pt x="627" y="263"/>
                  </a:lnTo>
                  <a:lnTo>
                    <a:pt x="627" y="261"/>
                  </a:lnTo>
                  <a:lnTo>
                    <a:pt x="627" y="261"/>
                  </a:lnTo>
                  <a:lnTo>
                    <a:pt x="624" y="261"/>
                  </a:lnTo>
                  <a:lnTo>
                    <a:pt x="624" y="261"/>
                  </a:lnTo>
                  <a:lnTo>
                    <a:pt x="627" y="261"/>
                  </a:lnTo>
                  <a:lnTo>
                    <a:pt x="627" y="261"/>
                  </a:lnTo>
                  <a:lnTo>
                    <a:pt x="629" y="261"/>
                  </a:lnTo>
                  <a:lnTo>
                    <a:pt x="632" y="261"/>
                  </a:lnTo>
                  <a:lnTo>
                    <a:pt x="634" y="261"/>
                  </a:lnTo>
                  <a:lnTo>
                    <a:pt x="634" y="261"/>
                  </a:lnTo>
                  <a:lnTo>
                    <a:pt x="636" y="261"/>
                  </a:lnTo>
                  <a:lnTo>
                    <a:pt x="639" y="258"/>
                  </a:lnTo>
                  <a:lnTo>
                    <a:pt x="639" y="258"/>
                  </a:lnTo>
                  <a:lnTo>
                    <a:pt x="639" y="258"/>
                  </a:lnTo>
                  <a:lnTo>
                    <a:pt x="639" y="258"/>
                  </a:lnTo>
                  <a:lnTo>
                    <a:pt x="639" y="256"/>
                  </a:lnTo>
                  <a:lnTo>
                    <a:pt x="639" y="256"/>
                  </a:lnTo>
                  <a:lnTo>
                    <a:pt x="641" y="253"/>
                  </a:lnTo>
                  <a:lnTo>
                    <a:pt x="641" y="253"/>
                  </a:lnTo>
                  <a:lnTo>
                    <a:pt x="641" y="253"/>
                  </a:lnTo>
                  <a:lnTo>
                    <a:pt x="641" y="253"/>
                  </a:lnTo>
                  <a:lnTo>
                    <a:pt x="639" y="253"/>
                  </a:lnTo>
                  <a:close/>
                  <a:moveTo>
                    <a:pt x="474" y="211"/>
                  </a:moveTo>
                  <a:lnTo>
                    <a:pt x="476" y="213"/>
                  </a:lnTo>
                  <a:lnTo>
                    <a:pt x="481" y="213"/>
                  </a:lnTo>
                  <a:lnTo>
                    <a:pt x="481" y="216"/>
                  </a:lnTo>
                  <a:lnTo>
                    <a:pt x="481" y="216"/>
                  </a:lnTo>
                  <a:lnTo>
                    <a:pt x="481" y="216"/>
                  </a:lnTo>
                  <a:lnTo>
                    <a:pt x="483" y="216"/>
                  </a:lnTo>
                  <a:lnTo>
                    <a:pt x="483" y="216"/>
                  </a:lnTo>
                  <a:lnTo>
                    <a:pt x="483" y="213"/>
                  </a:lnTo>
                  <a:lnTo>
                    <a:pt x="488" y="213"/>
                  </a:lnTo>
                  <a:lnTo>
                    <a:pt x="490" y="213"/>
                  </a:lnTo>
                  <a:lnTo>
                    <a:pt x="492" y="213"/>
                  </a:lnTo>
                  <a:lnTo>
                    <a:pt x="495" y="211"/>
                  </a:lnTo>
                  <a:lnTo>
                    <a:pt x="495" y="211"/>
                  </a:lnTo>
                  <a:lnTo>
                    <a:pt x="495" y="211"/>
                  </a:lnTo>
                  <a:lnTo>
                    <a:pt x="497" y="209"/>
                  </a:lnTo>
                  <a:lnTo>
                    <a:pt x="497" y="209"/>
                  </a:lnTo>
                  <a:lnTo>
                    <a:pt x="500" y="206"/>
                  </a:lnTo>
                  <a:lnTo>
                    <a:pt x="500" y="206"/>
                  </a:lnTo>
                  <a:lnTo>
                    <a:pt x="502" y="206"/>
                  </a:lnTo>
                  <a:lnTo>
                    <a:pt x="500" y="204"/>
                  </a:lnTo>
                  <a:lnTo>
                    <a:pt x="500" y="204"/>
                  </a:lnTo>
                  <a:lnTo>
                    <a:pt x="497" y="204"/>
                  </a:lnTo>
                  <a:lnTo>
                    <a:pt x="497" y="204"/>
                  </a:lnTo>
                  <a:lnTo>
                    <a:pt x="497" y="204"/>
                  </a:lnTo>
                  <a:lnTo>
                    <a:pt x="497" y="204"/>
                  </a:lnTo>
                  <a:lnTo>
                    <a:pt x="495" y="204"/>
                  </a:lnTo>
                  <a:lnTo>
                    <a:pt x="492" y="204"/>
                  </a:lnTo>
                  <a:lnTo>
                    <a:pt x="492" y="204"/>
                  </a:lnTo>
                  <a:lnTo>
                    <a:pt x="492" y="204"/>
                  </a:lnTo>
                  <a:lnTo>
                    <a:pt x="488" y="204"/>
                  </a:lnTo>
                  <a:lnTo>
                    <a:pt x="485" y="206"/>
                  </a:lnTo>
                  <a:lnTo>
                    <a:pt x="485" y="206"/>
                  </a:lnTo>
                  <a:lnTo>
                    <a:pt x="483" y="206"/>
                  </a:lnTo>
                  <a:lnTo>
                    <a:pt x="476" y="206"/>
                  </a:lnTo>
                  <a:lnTo>
                    <a:pt x="476" y="206"/>
                  </a:lnTo>
                  <a:lnTo>
                    <a:pt x="474" y="206"/>
                  </a:lnTo>
                  <a:lnTo>
                    <a:pt x="471" y="209"/>
                  </a:lnTo>
                  <a:lnTo>
                    <a:pt x="474" y="211"/>
                  </a:lnTo>
                  <a:lnTo>
                    <a:pt x="474" y="211"/>
                  </a:lnTo>
                  <a:close/>
                  <a:moveTo>
                    <a:pt x="2" y="998"/>
                  </a:moveTo>
                  <a:lnTo>
                    <a:pt x="0" y="1001"/>
                  </a:lnTo>
                  <a:lnTo>
                    <a:pt x="0" y="1001"/>
                  </a:lnTo>
                  <a:lnTo>
                    <a:pt x="0" y="1001"/>
                  </a:lnTo>
                  <a:lnTo>
                    <a:pt x="0" y="1001"/>
                  </a:lnTo>
                  <a:lnTo>
                    <a:pt x="2" y="1001"/>
                  </a:lnTo>
                  <a:lnTo>
                    <a:pt x="2" y="1001"/>
                  </a:lnTo>
                  <a:lnTo>
                    <a:pt x="2" y="998"/>
                  </a:lnTo>
                  <a:lnTo>
                    <a:pt x="5" y="998"/>
                  </a:lnTo>
                  <a:lnTo>
                    <a:pt x="5" y="998"/>
                  </a:lnTo>
                  <a:lnTo>
                    <a:pt x="5" y="996"/>
                  </a:lnTo>
                  <a:lnTo>
                    <a:pt x="2" y="998"/>
                  </a:lnTo>
                  <a:close/>
                  <a:moveTo>
                    <a:pt x="551" y="291"/>
                  </a:moveTo>
                  <a:lnTo>
                    <a:pt x="547" y="294"/>
                  </a:lnTo>
                  <a:lnTo>
                    <a:pt x="547" y="294"/>
                  </a:lnTo>
                  <a:lnTo>
                    <a:pt x="547" y="294"/>
                  </a:lnTo>
                  <a:lnTo>
                    <a:pt x="549" y="294"/>
                  </a:lnTo>
                  <a:lnTo>
                    <a:pt x="549" y="294"/>
                  </a:lnTo>
                  <a:lnTo>
                    <a:pt x="551" y="291"/>
                  </a:lnTo>
                  <a:lnTo>
                    <a:pt x="551" y="291"/>
                  </a:lnTo>
                  <a:lnTo>
                    <a:pt x="551" y="291"/>
                  </a:lnTo>
                  <a:lnTo>
                    <a:pt x="551" y="291"/>
                  </a:lnTo>
                  <a:close/>
                  <a:moveTo>
                    <a:pt x="474" y="305"/>
                  </a:moveTo>
                  <a:lnTo>
                    <a:pt x="474" y="305"/>
                  </a:lnTo>
                  <a:lnTo>
                    <a:pt x="471" y="308"/>
                  </a:lnTo>
                  <a:lnTo>
                    <a:pt x="471" y="308"/>
                  </a:lnTo>
                  <a:lnTo>
                    <a:pt x="471" y="308"/>
                  </a:lnTo>
                  <a:lnTo>
                    <a:pt x="469" y="308"/>
                  </a:lnTo>
                  <a:lnTo>
                    <a:pt x="469" y="308"/>
                  </a:lnTo>
                  <a:lnTo>
                    <a:pt x="471" y="308"/>
                  </a:lnTo>
                  <a:lnTo>
                    <a:pt x="471" y="308"/>
                  </a:lnTo>
                  <a:lnTo>
                    <a:pt x="471" y="308"/>
                  </a:lnTo>
                  <a:lnTo>
                    <a:pt x="474" y="305"/>
                  </a:lnTo>
                  <a:lnTo>
                    <a:pt x="474" y="305"/>
                  </a:lnTo>
                  <a:lnTo>
                    <a:pt x="474" y="305"/>
                  </a:lnTo>
                  <a:lnTo>
                    <a:pt x="474" y="305"/>
                  </a:lnTo>
                  <a:close/>
                  <a:moveTo>
                    <a:pt x="471" y="308"/>
                  </a:moveTo>
                  <a:lnTo>
                    <a:pt x="471" y="310"/>
                  </a:lnTo>
                  <a:lnTo>
                    <a:pt x="471" y="310"/>
                  </a:lnTo>
                  <a:lnTo>
                    <a:pt x="471" y="310"/>
                  </a:lnTo>
                  <a:lnTo>
                    <a:pt x="471" y="310"/>
                  </a:lnTo>
                  <a:lnTo>
                    <a:pt x="474" y="308"/>
                  </a:lnTo>
                  <a:lnTo>
                    <a:pt x="471" y="308"/>
                  </a:lnTo>
                  <a:lnTo>
                    <a:pt x="471" y="308"/>
                  </a:lnTo>
                  <a:close/>
                  <a:moveTo>
                    <a:pt x="615" y="265"/>
                  </a:moveTo>
                  <a:lnTo>
                    <a:pt x="613" y="268"/>
                  </a:lnTo>
                  <a:lnTo>
                    <a:pt x="610" y="268"/>
                  </a:lnTo>
                  <a:lnTo>
                    <a:pt x="610" y="270"/>
                  </a:lnTo>
                  <a:lnTo>
                    <a:pt x="613" y="270"/>
                  </a:lnTo>
                  <a:lnTo>
                    <a:pt x="615" y="268"/>
                  </a:lnTo>
                  <a:lnTo>
                    <a:pt x="615" y="268"/>
                  </a:lnTo>
                  <a:lnTo>
                    <a:pt x="617" y="268"/>
                  </a:lnTo>
                  <a:lnTo>
                    <a:pt x="617" y="268"/>
                  </a:lnTo>
                  <a:lnTo>
                    <a:pt x="620" y="268"/>
                  </a:lnTo>
                  <a:lnTo>
                    <a:pt x="620" y="268"/>
                  </a:lnTo>
                  <a:lnTo>
                    <a:pt x="620" y="265"/>
                  </a:lnTo>
                  <a:lnTo>
                    <a:pt x="615" y="265"/>
                  </a:lnTo>
                  <a:close/>
                  <a:moveTo>
                    <a:pt x="471" y="303"/>
                  </a:moveTo>
                  <a:lnTo>
                    <a:pt x="471" y="303"/>
                  </a:lnTo>
                  <a:lnTo>
                    <a:pt x="469" y="303"/>
                  </a:lnTo>
                  <a:lnTo>
                    <a:pt x="467" y="305"/>
                  </a:lnTo>
                  <a:lnTo>
                    <a:pt x="467" y="305"/>
                  </a:lnTo>
                  <a:lnTo>
                    <a:pt x="464" y="308"/>
                  </a:lnTo>
                  <a:lnTo>
                    <a:pt x="464" y="308"/>
                  </a:lnTo>
                  <a:lnTo>
                    <a:pt x="462" y="308"/>
                  </a:lnTo>
                  <a:lnTo>
                    <a:pt x="462" y="308"/>
                  </a:lnTo>
                  <a:lnTo>
                    <a:pt x="462" y="308"/>
                  </a:lnTo>
                  <a:lnTo>
                    <a:pt x="459" y="310"/>
                  </a:lnTo>
                  <a:lnTo>
                    <a:pt x="457" y="310"/>
                  </a:lnTo>
                  <a:lnTo>
                    <a:pt x="459" y="310"/>
                  </a:lnTo>
                  <a:lnTo>
                    <a:pt x="462" y="308"/>
                  </a:lnTo>
                  <a:lnTo>
                    <a:pt x="464" y="308"/>
                  </a:lnTo>
                  <a:lnTo>
                    <a:pt x="464" y="308"/>
                  </a:lnTo>
                  <a:lnTo>
                    <a:pt x="467" y="308"/>
                  </a:lnTo>
                  <a:lnTo>
                    <a:pt x="467" y="308"/>
                  </a:lnTo>
                  <a:lnTo>
                    <a:pt x="469" y="305"/>
                  </a:lnTo>
                  <a:lnTo>
                    <a:pt x="469" y="305"/>
                  </a:lnTo>
                  <a:lnTo>
                    <a:pt x="469" y="305"/>
                  </a:lnTo>
                  <a:lnTo>
                    <a:pt x="471" y="303"/>
                  </a:lnTo>
                  <a:close/>
                  <a:moveTo>
                    <a:pt x="580" y="279"/>
                  </a:moveTo>
                  <a:lnTo>
                    <a:pt x="577" y="279"/>
                  </a:lnTo>
                  <a:lnTo>
                    <a:pt x="575" y="279"/>
                  </a:lnTo>
                  <a:lnTo>
                    <a:pt x="575" y="282"/>
                  </a:lnTo>
                  <a:lnTo>
                    <a:pt x="575" y="282"/>
                  </a:lnTo>
                  <a:lnTo>
                    <a:pt x="575" y="282"/>
                  </a:lnTo>
                  <a:lnTo>
                    <a:pt x="577" y="282"/>
                  </a:lnTo>
                  <a:lnTo>
                    <a:pt x="582" y="279"/>
                  </a:lnTo>
                  <a:lnTo>
                    <a:pt x="582" y="277"/>
                  </a:lnTo>
                  <a:lnTo>
                    <a:pt x="584" y="277"/>
                  </a:lnTo>
                  <a:lnTo>
                    <a:pt x="582" y="277"/>
                  </a:lnTo>
                  <a:lnTo>
                    <a:pt x="580" y="279"/>
                  </a:lnTo>
                  <a:close/>
                  <a:moveTo>
                    <a:pt x="584" y="277"/>
                  </a:moveTo>
                  <a:lnTo>
                    <a:pt x="584" y="279"/>
                  </a:lnTo>
                  <a:lnTo>
                    <a:pt x="584" y="279"/>
                  </a:lnTo>
                  <a:lnTo>
                    <a:pt x="584" y="279"/>
                  </a:lnTo>
                  <a:lnTo>
                    <a:pt x="587" y="279"/>
                  </a:lnTo>
                  <a:lnTo>
                    <a:pt x="587" y="279"/>
                  </a:lnTo>
                  <a:lnTo>
                    <a:pt x="587" y="279"/>
                  </a:lnTo>
                  <a:lnTo>
                    <a:pt x="589" y="277"/>
                  </a:lnTo>
                  <a:lnTo>
                    <a:pt x="589" y="277"/>
                  </a:lnTo>
                  <a:lnTo>
                    <a:pt x="587" y="277"/>
                  </a:lnTo>
                  <a:lnTo>
                    <a:pt x="584" y="277"/>
                  </a:lnTo>
                  <a:close/>
                  <a:moveTo>
                    <a:pt x="342" y="329"/>
                  </a:moveTo>
                  <a:lnTo>
                    <a:pt x="339" y="329"/>
                  </a:lnTo>
                  <a:lnTo>
                    <a:pt x="337" y="331"/>
                  </a:lnTo>
                  <a:lnTo>
                    <a:pt x="337" y="331"/>
                  </a:lnTo>
                  <a:lnTo>
                    <a:pt x="335" y="331"/>
                  </a:lnTo>
                  <a:lnTo>
                    <a:pt x="335" y="331"/>
                  </a:lnTo>
                  <a:lnTo>
                    <a:pt x="337" y="329"/>
                  </a:lnTo>
                  <a:lnTo>
                    <a:pt x="337" y="329"/>
                  </a:lnTo>
                  <a:lnTo>
                    <a:pt x="335" y="329"/>
                  </a:lnTo>
                  <a:lnTo>
                    <a:pt x="332" y="329"/>
                  </a:lnTo>
                  <a:lnTo>
                    <a:pt x="330" y="329"/>
                  </a:lnTo>
                  <a:lnTo>
                    <a:pt x="330" y="331"/>
                  </a:lnTo>
                  <a:lnTo>
                    <a:pt x="328" y="331"/>
                  </a:lnTo>
                  <a:lnTo>
                    <a:pt x="325" y="331"/>
                  </a:lnTo>
                  <a:lnTo>
                    <a:pt x="325" y="331"/>
                  </a:lnTo>
                  <a:lnTo>
                    <a:pt x="325" y="334"/>
                  </a:lnTo>
                  <a:lnTo>
                    <a:pt x="325" y="334"/>
                  </a:lnTo>
                  <a:lnTo>
                    <a:pt x="325" y="334"/>
                  </a:lnTo>
                  <a:lnTo>
                    <a:pt x="325" y="334"/>
                  </a:lnTo>
                  <a:lnTo>
                    <a:pt x="328" y="334"/>
                  </a:lnTo>
                  <a:lnTo>
                    <a:pt x="328" y="334"/>
                  </a:lnTo>
                  <a:lnTo>
                    <a:pt x="328" y="336"/>
                  </a:lnTo>
                  <a:lnTo>
                    <a:pt x="328" y="336"/>
                  </a:lnTo>
                  <a:lnTo>
                    <a:pt x="325" y="336"/>
                  </a:lnTo>
                  <a:lnTo>
                    <a:pt x="325" y="336"/>
                  </a:lnTo>
                  <a:lnTo>
                    <a:pt x="325" y="336"/>
                  </a:lnTo>
                  <a:lnTo>
                    <a:pt x="325" y="336"/>
                  </a:lnTo>
                  <a:lnTo>
                    <a:pt x="323" y="336"/>
                  </a:lnTo>
                  <a:lnTo>
                    <a:pt x="323" y="336"/>
                  </a:lnTo>
                  <a:lnTo>
                    <a:pt x="320" y="336"/>
                  </a:lnTo>
                  <a:lnTo>
                    <a:pt x="318" y="339"/>
                  </a:lnTo>
                  <a:lnTo>
                    <a:pt x="316" y="339"/>
                  </a:lnTo>
                  <a:lnTo>
                    <a:pt x="311" y="341"/>
                  </a:lnTo>
                  <a:lnTo>
                    <a:pt x="309" y="341"/>
                  </a:lnTo>
                  <a:lnTo>
                    <a:pt x="306" y="341"/>
                  </a:lnTo>
                  <a:lnTo>
                    <a:pt x="306" y="341"/>
                  </a:lnTo>
                  <a:lnTo>
                    <a:pt x="304" y="343"/>
                  </a:lnTo>
                  <a:lnTo>
                    <a:pt x="304" y="343"/>
                  </a:lnTo>
                  <a:lnTo>
                    <a:pt x="304" y="343"/>
                  </a:lnTo>
                  <a:lnTo>
                    <a:pt x="304" y="343"/>
                  </a:lnTo>
                  <a:lnTo>
                    <a:pt x="306" y="343"/>
                  </a:lnTo>
                  <a:lnTo>
                    <a:pt x="306" y="343"/>
                  </a:lnTo>
                  <a:lnTo>
                    <a:pt x="309" y="343"/>
                  </a:lnTo>
                  <a:lnTo>
                    <a:pt x="309" y="343"/>
                  </a:lnTo>
                  <a:lnTo>
                    <a:pt x="311" y="343"/>
                  </a:lnTo>
                  <a:lnTo>
                    <a:pt x="311" y="343"/>
                  </a:lnTo>
                  <a:lnTo>
                    <a:pt x="311" y="343"/>
                  </a:lnTo>
                  <a:lnTo>
                    <a:pt x="313" y="341"/>
                  </a:lnTo>
                  <a:lnTo>
                    <a:pt x="316" y="341"/>
                  </a:lnTo>
                  <a:lnTo>
                    <a:pt x="318" y="341"/>
                  </a:lnTo>
                  <a:lnTo>
                    <a:pt x="320" y="341"/>
                  </a:lnTo>
                  <a:lnTo>
                    <a:pt x="323" y="341"/>
                  </a:lnTo>
                  <a:lnTo>
                    <a:pt x="325" y="339"/>
                  </a:lnTo>
                  <a:lnTo>
                    <a:pt x="330" y="336"/>
                  </a:lnTo>
                  <a:lnTo>
                    <a:pt x="332" y="336"/>
                  </a:lnTo>
                  <a:lnTo>
                    <a:pt x="335" y="336"/>
                  </a:lnTo>
                  <a:lnTo>
                    <a:pt x="335" y="336"/>
                  </a:lnTo>
                  <a:lnTo>
                    <a:pt x="335" y="334"/>
                  </a:lnTo>
                  <a:lnTo>
                    <a:pt x="335" y="334"/>
                  </a:lnTo>
                  <a:lnTo>
                    <a:pt x="332" y="336"/>
                  </a:lnTo>
                  <a:lnTo>
                    <a:pt x="332" y="334"/>
                  </a:lnTo>
                  <a:lnTo>
                    <a:pt x="335" y="334"/>
                  </a:lnTo>
                  <a:lnTo>
                    <a:pt x="339" y="331"/>
                  </a:lnTo>
                  <a:lnTo>
                    <a:pt x="342" y="331"/>
                  </a:lnTo>
                  <a:lnTo>
                    <a:pt x="342" y="329"/>
                  </a:lnTo>
                  <a:lnTo>
                    <a:pt x="342" y="329"/>
                  </a:lnTo>
                  <a:close/>
                  <a:moveTo>
                    <a:pt x="361" y="324"/>
                  </a:moveTo>
                  <a:lnTo>
                    <a:pt x="361" y="324"/>
                  </a:lnTo>
                  <a:lnTo>
                    <a:pt x="361" y="324"/>
                  </a:lnTo>
                  <a:lnTo>
                    <a:pt x="358" y="324"/>
                  </a:lnTo>
                  <a:lnTo>
                    <a:pt x="358" y="324"/>
                  </a:lnTo>
                  <a:lnTo>
                    <a:pt x="356" y="327"/>
                  </a:lnTo>
                  <a:lnTo>
                    <a:pt x="356" y="327"/>
                  </a:lnTo>
                  <a:lnTo>
                    <a:pt x="356" y="327"/>
                  </a:lnTo>
                  <a:lnTo>
                    <a:pt x="356" y="327"/>
                  </a:lnTo>
                  <a:lnTo>
                    <a:pt x="358" y="327"/>
                  </a:lnTo>
                  <a:lnTo>
                    <a:pt x="361" y="324"/>
                  </a:lnTo>
                  <a:lnTo>
                    <a:pt x="361" y="324"/>
                  </a:lnTo>
                  <a:lnTo>
                    <a:pt x="361" y="324"/>
                  </a:lnTo>
                  <a:close/>
                  <a:moveTo>
                    <a:pt x="462" y="303"/>
                  </a:moveTo>
                  <a:lnTo>
                    <a:pt x="462" y="303"/>
                  </a:lnTo>
                  <a:lnTo>
                    <a:pt x="464" y="303"/>
                  </a:lnTo>
                  <a:lnTo>
                    <a:pt x="464" y="303"/>
                  </a:lnTo>
                  <a:lnTo>
                    <a:pt x="462" y="303"/>
                  </a:lnTo>
                  <a:lnTo>
                    <a:pt x="462" y="303"/>
                  </a:lnTo>
                  <a:lnTo>
                    <a:pt x="462" y="303"/>
                  </a:lnTo>
                  <a:close/>
                  <a:moveTo>
                    <a:pt x="353" y="324"/>
                  </a:moveTo>
                  <a:lnTo>
                    <a:pt x="351" y="324"/>
                  </a:lnTo>
                  <a:lnTo>
                    <a:pt x="351" y="324"/>
                  </a:lnTo>
                  <a:lnTo>
                    <a:pt x="349" y="327"/>
                  </a:lnTo>
                  <a:lnTo>
                    <a:pt x="349" y="327"/>
                  </a:lnTo>
                  <a:lnTo>
                    <a:pt x="349" y="327"/>
                  </a:lnTo>
                  <a:lnTo>
                    <a:pt x="346" y="329"/>
                  </a:lnTo>
                  <a:lnTo>
                    <a:pt x="346" y="329"/>
                  </a:lnTo>
                  <a:lnTo>
                    <a:pt x="349" y="329"/>
                  </a:lnTo>
                  <a:lnTo>
                    <a:pt x="349" y="329"/>
                  </a:lnTo>
                  <a:lnTo>
                    <a:pt x="349" y="329"/>
                  </a:lnTo>
                  <a:lnTo>
                    <a:pt x="351" y="327"/>
                  </a:lnTo>
                  <a:lnTo>
                    <a:pt x="353" y="327"/>
                  </a:lnTo>
                  <a:lnTo>
                    <a:pt x="353" y="327"/>
                  </a:lnTo>
                  <a:lnTo>
                    <a:pt x="353" y="327"/>
                  </a:lnTo>
                  <a:lnTo>
                    <a:pt x="353" y="327"/>
                  </a:lnTo>
                  <a:lnTo>
                    <a:pt x="353" y="324"/>
                  </a:lnTo>
                  <a:close/>
                  <a:moveTo>
                    <a:pt x="408" y="315"/>
                  </a:moveTo>
                  <a:lnTo>
                    <a:pt x="408" y="315"/>
                  </a:lnTo>
                  <a:lnTo>
                    <a:pt x="408" y="315"/>
                  </a:lnTo>
                  <a:lnTo>
                    <a:pt x="405" y="315"/>
                  </a:lnTo>
                  <a:lnTo>
                    <a:pt x="405" y="313"/>
                  </a:lnTo>
                  <a:lnTo>
                    <a:pt x="405" y="313"/>
                  </a:lnTo>
                  <a:lnTo>
                    <a:pt x="408" y="310"/>
                  </a:lnTo>
                  <a:lnTo>
                    <a:pt x="408" y="310"/>
                  </a:lnTo>
                  <a:lnTo>
                    <a:pt x="408" y="308"/>
                  </a:lnTo>
                  <a:lnTo>
                    <a:pt x="408" y="308"/>
                  </a:lnTo>
                  <a:lnTo>
                    <a:pt x="405" y="308"/>
                  </a:lnTo>
                  <a:lnTo>
                    <a:pt x="403" y="308"/>
                  </a:lnTo>
                  <a:lnTo>
                    <a:pt x="398" y="310"/>
                  </a:lnTo>
                  <a:lnTo>
                    <a:pt x="393" y="310"/>
                  </a:lnTo>
                  <a:lnTo>
                    <a:pt x="391" y="310"/>
                  </a:lnTo>
                  <a:lnTo>
                    <a:pt x="391" y="310"/>
                  </a:lnTo>
                  <a:lnTo>
                    <a:pt x="389" y="313"/>
                  </a:lnTo>
                  <a:lnTo>
                    <a:pt x="382" y="315"/>
                  </a:lnTo>
                  <a:lnTo>
                    <a:pt x="382" y="315"/>
                  </a:lnTo>
                  <a:lnTo>
                    <a:pt x="377" y="317"/>
                  </a:lnTo>
                  <a:lnTo>
                    <a:pt x="377" y="317"/>
                  </a:lnTo>
                  <a:lnTo>
                    <a:pt x="377" y="317"/>
                  </a:lnTo>
                  <a:lnTo>
                    <a:pt x="375" y="320"/>
                  </a:lnTo>
                  <a:lnTo>
                    <a:pt x="375" y="322"/>
                  </a:lnTo>
                  <a:lnTo>
                    <a:pt x="375" y="322"/>
                  </a:lnTo>
                  <a:lnTo>
                    <a:pt x="377" y="322"/>
                  </a:lnTo>
                  <a:lnTo>
                    <a:pt x="379" y="320"/>
                  </a:lnTo>
                  <a:lnTo>
                    <a:pt x="382" y="320"/>
                  </a:lnTo>
                  <a:lnTo>
                    <a:pt x="384" y="320"/>
                  </a:lnTo>
                  <a:lnTo>
                    <a:pt x="386" y="317"/>
                  </a:lnTo>
                  <a:lnTo>
                    <a:pt x="389" y="317"/>
                  </a:lnTo>
                  <a:lnTo>
                    <a:pt x="391" y="317"/>
                  </a:lnTo>
                  <a:lnTo>
                    <a:pt x="398" y="317"/>
                  </a:lnTo>
                  <a:lnTo>
                    <a:pt x="401" y="317"/>
                  </a:lnTo>
                  <a:lnTo>
                    <a:pt x="405" y="315"/>
                  </a:lnTo>
                  <a:lnTo>
                    <a:pt x="408" y="315"/>
                  </a:lnTo>
                  <a:lnTo>
                    <a:pt x="408" y="315"/>
                  </a:lnTo>
                  <a:close/>
                  <a:moveTo>
                    <a:pt x="459" y="305"/>
                  </a:moveTo>
                  <a:lnTo>
                    <a:pt x="459" y="305"/>
                  </a:lnTo>
                  <a:lnTo>
                    <a:pt x="459" y="303"/>
                  </a:lnTo>
                  <a:lnTo>
                    <a:pt x="462" y="303"/>
                  </a:lnTo>
                  <a:lnTo>
                    <a:pt x="462" y="301"/>
                  </a:lnTo>
                  <a:lnTo>
                    <a:pt x="462" y="301"/>
                  </a:lnTo>
                  <a:lnTo>
                    <a:pt x="459" y="303"/>
                  </a:lnTo>
                  <a:lnTo>
                    <a:pt x="459" y="303"/>
                  </a:lnTo>
                  <a:lnTo>
                    <a:pt x="459" y="303"/>
                  </a:lnTo>
                  <a:lnTo>
                    <a:pt x="459" y="303"/>
                  </a:lnTo>
                  <a:lnTo>
                    <a:pt x="459" y="301"/>
                  </a:lnTo>
                  <a:lnTo>
                    <a:pt x="459" y="301"/>
                  </a:lnTo>
                  <a:lnTo>
                    <a:pt x="459" y="301"/>
                  </a:lnTo>
                  <a:lnTo>
                    <a:pt x="459" y="301"/>
                  </a:lnTo>
                  <a:lnTo>
                    <a:pt x="457" y="303"/>
                  </a:lnTo>
                  <a:lnTo>
                    <a:pt x="457" y="303"/>
                  </a:lnTo>
                  <a:lnTo>
                    <a:pt x="455" y="305"/>
                  </a:lnTo>
                  <a:lnTo>
                    <a:pt x="452" y="305"/>
                  </a:lnTo>
                  <a:lnTo>
                    <a:pt x="455" y="305"/>
                  </a:lnTo>
                  <a:lnTo>
                    <a:pt x="455" y="305"/>
                  </a:lnTo>
                  <a:lnTo>
                    <a:pt x="457" y="305"/>
                  </a:lnTo>
                  <a:lnTo>
                    <a:pt x="459" y="305"/>
                  </a:lnTo>
                  <a:lnTo>
                    <a:pt x="459" y="305"/>
                  </a:lnTo>
                  <a:close/>
                  <a:moveTo>
                    <a:pt x="408" y="320"/>
                  </a:moveTo>
                  <a:lnTo>
                    <a:pt x="405" y="320"/>
                  </a:lnTo>
                  <a:lnTo>
                    <a:pt x="408" y="322"/>
                  </a:lnTo>
                  <a:lnTo>
                    <a:pt x="408" y="322"/>
                  </a:lnTo>
                  <a:lnTo>
                    <a:pt x="410" y="322"/>
                  </a:lnTo>
                  <a:lnTo>
                    <a:pt x="410" y="320"/>
                  </a:lnTo>
                  <a:lnTo>
                    <a:pt x="410" y="320"/>
                  </a:lnTo>
                  <a:lnTo>
                    <a:pt x="408" y="320"/>
                  </a:lnTo>
                  <a:close/>
                  <a:moveTo>
                    <a:pt x="424" y="310"/>
                  </a:moveTo>
                  <a:lnTo>
                    <a:pt x="422" y="313"/>
                  </a:lnTo>
                  <a:lnTo>
                    <a:pt x="422" y="313"/>
                  </a:lnTo>
                  <a:lnTo>
                    <a:pt x="422" y="313"/>
                  </a:lnTo>
                  <a:lnTo>
                    <a:pt x="424" y="313"/>
                  </a:lnTo>
                  <a:lnTo>
                    <a:pt x="424" y="313"/>
                  </a:lnTo>
                  <a:lnTo>
                    <a:pt x="426" y="310"/>
                  </a:lnTo>
                  <a:lnTo>
                    <a:pt x="426" y="310"/>
                  </a:lnTo>
                  <a:lnTo>
                    <a:pt x="426" y="310"/>
                  </a:lnTo>
                  <a:lnTo>
                    <a:pt x="426" y="310"/>
                  </a:lnTo>
                  <a:lnTo>
                    <a:pt x="424" y="310"/>
                  </a:lnTo>
                  <a:close/>
                  <a:moveTo>
                    <a:pt x="1718" y="584"/>
                  </a:moveTo>
                  <a:lnTo>
                    <a:pt x="1718" y="584"/>
                  </a:lnTo>
                  <a:lnTo>
                    <a:pt x="1716" y="587"/>
                  </a:lnTo>
                  <a:lnTo>
                    <a:pt x="1716" y="587"/>
                  </a:lnTo>
                  <a:lnTo>
                    <a:pt x="1718" y="587"/>
                  </a:lnTo>
                  <a:lnTo>
                    <a:pt x="1718" y="587"/>
                  </a:lnTo>
                  <a:lnTo>
                    <a:pt x="1718" y="584"/>
                  </a:lnTo>
                  <a:close/>
                  <a:moveTo>
                    <a:pt x="1475" y="875"/>
                  </a:moveTo>
                  <a:lnTo>
                    <a:pt x="1475" y="873"/>
                  </a:lnTo>
                  <a:lnTo>
                    <a:pt x="1475" y="878"/>
                  </a:lnTo>
                  <a:lnTo>
                    <a:pt x="1475" y="885"/>
                  </a:lnTo>
                  <a:lnTo>
                    <a:pt x="1478" y="887"/>
                  </a:lnTo>
                  <a:lnTo>
                    <a:pt x="1478" y="885"/>
                  </a:lnTo>
                  <a:lnTo>
                    <a:pt x="1475" y="878"/>
                  </a:lnTo>
                  <a:lnTo>
                    <a:pt x="1475" y="875"/>
                  </a:lnTo>
                  <a:close/>
                  <a:moveTo>
                    <a:pt x="1661" y="606"/>
                  </a:moveTo>
                  <a:lnTo>
                    <a:pt x="1661" y="606"/>
                  </a:lnTo>
                  <a:lnTo>
                    <a:pt x="1661" y="606"/>
                  </a:lnTo>
                  <a:lnTo>
                    <a:pt x="1664" y="606"/>
                  </a:lnTo>
                  <a:lnTo>
                    <a:pt x="1664" y="606"/>
                  </a:lnTo>
                  <a:lnTo>
                    <a:pt x="1664" y="603"/>
                  </a:lnTo>
                  <a:lnTo>
                    <a:pt x="1664" y="603"/>
                  </a:lnTo>
                  <a:lnTo>
                    <a:pt x="1661" y="606"/>
                  </a:lnTo>
                  <a:lnTo>
                    <a:pt x="1661" y="606"/>
                  </a:lnTo>
                  <a:close/>
                  <a:moveTo>
                    <a:pt x="917" y="469"/>
                  </a:moveTo>
                  <a:lnTo>
                    <a:pt x="917" y="469"/>
                  </a:lnTo>
                  <a:lnTo>
                    <a:pt x="917" y="469"/>
                  </a:lnTo>
                  <a:lnTo>
                    <a:pt x="917" y="469"/>
                  </a:lnTo>
                  <a:lnTo>
                    <a:pt x="917" y="469"/>
                  </a:lnTo>
                  <a:lnTo>
                    <a:pt x="917" y="466"/>
                  </a:lnTo>
                  <a:lnTo>
                    <a:pt x="917" y="466"/>
                  </a:lnTo>
                  <a:lnTo>
                    <a:pt x="917" y="469"/>
                  </a:lnTo>
                  <a:close/>
                  <a:moveTo>
                    <a:pt x="1702" y="596"/>
                  </a:moveTo>
                  <a:lnTo>
                    <a:pt x="1699" y="596"/>
                  </a:lnTo>
                  <a:lnTo>
                    <a:pt x="1699" y="596"/>
                  </a:lnTo>
                  <a:lnTo>
                    <a:pt x="1697" y="596"/>
                  </a:lnTo>
                  <a:lnTo>
                    <a:pt x="1694" y="596"/>
                  </a:lnTo>
                  <a:lnTo>
                    <a:pt x="1694" y="599"/>
                  </a:lnTo>
                  <a:lnTo>
                    <a:pt x="1692" y="599"/>
                  </a:lnTo>
                  <a:lnTo>
                    <a:pt x="1692" y="599"/>
                  </a:lnTo>
                  <a:lnTo>
                    <a:pt x="1694" y="596"/>
                  </a:lnTo>
                  <a:lnTo>
                    <a:pt x="1694" y="596"/>
                  </a:lnTo>
                  <a:lnTo>
                    <a:pt x="1699" y="594"/>
                  </a:lnTo>
                  <a:lnTo>
                    <a:pt x="1697" y="594"/>
                  </a:lnTo>
                  <a:lnTo>
                    <a:pt x="1694" y="596"/>
                  </a:lnTo>
                  <a:lnTo>
                    <a:pt x="1692" y="596"/>
                  </a:lnTo>
                  <a:lnTo>
                    <a:pt x="1687" y="596"/>
                  </a:lnTo>
                  <a:lnTo>
                    <a:pt x="1685" y="599"/>
                  </a:lnTo>
                  <a:lnTo>
                    <a:pt x="1683" y="599"/>
                  </a:lnTo>
                  <a:lnTo>
                    <a:pt x="1683" y="599"/>
                  </a:lnTo>
                  <a:lnTo>
                    <a:pt x="1680" y="599"/>
                  </a:lnTo>
                  <a:lnTo>
                    <a:pt x="1678" y="599"/>
                  </a:lnTo>
                  <a:lnTo>
                    <a:pt x="1678" y="599"/>
                  </a:lnTo>
                  <a:lnTo>
                    <a:pt x="1678" y="599"/>
                  </a:lnTo>
                  <a:lnTo>
                    <a:pt x="1676" y="599"/>
                  </a:lnTo>
                  <a:lnTo>
                    <a:pt x="1676" y="599"/>
                  </a:lnTo>
                  <a:lnTo>
                    <a:pt x="1673" y="599"/>
                  </a:lnTo>
                  <a:lnTo>
                    <a:pt x="1673" y="599"/>
                  </a:lnTo>
                  <a:lnTo>
                    <a:pt x="1673" y="601"/>
                  </a:lnTo>
                  <a:lnTo>
                    <a:pt x="1673" y="599"/>
                  </a:lnTo>
                  <a:lnTo>
                    <a:pt x="1671" y="601"/>
                  </a:lnTo>
                  <a:lnTo>
                    <a:pt x="1669" y="601"/>
                  </a:lnTo>
                  <a:lnTo>
                    <a:pt x="1666" y="603"/>
                  </a:lnTo>
                  <a:lnTo>
                    <a:pt x="1666" y="603"/>
                  </a:lnTo>
                  <a:lnTo>
                    <a:pt x="1666" y="603"/>
                  </a:lnTo>
                  <a:lnTo>
                    <a:pt x="1664" y="606"/>
                  </a:lnTo>
                  <a:lnTo>
                    <a:pt x="1666" y="606"/>
                  </a:lnTo>
                  <a:lnTo>
                    <a:pt x="1669" y="603"/>
                  </a:lnTo>
                  <a:lnTo>
                    <a:pt x="1669" y="603"/>
                  </a:lnTo>
                  <a:lnTo>
                    <a:pt x="1669" y="603"/>
                  </a:lnTo>
                  <a:lnTo>
                    <a:pt x="1669" y="606"/>
                  </a:lnTo>
                  <a:lnTo>
                    <a:pt x="1666" y="606"/>
                  </a:lnTo>
                  <a:lnTo>
                    <a:pt x="1669" y="606"/>
                  </a:lnTo>
                  <a:lnTo>
                    <a:pt x="1671" y="606"/>
                  </a:lnTo>
                  <a:lnTo>
                    <a:pt x="1678" y="603"/>
                  </a:lnTo>
                  <a:lnTo>
                    <a:pt x="1678" y="603"/>
                  </a:lnTo>
                  <a:lnTo>
                    <a:pt x="1680" y="603"/>
                  </a:lnTo>
                  <a:lnTo>
                    <a:pt x="1687" y="601"/>
                  </a:lnTo>
                  <a:lnTo>
                    <a:pt x="1690" y="601"/>
                  </a:lnTo>
                  <a:lnTo>
                    <a:pt x="1692" y="601"/>
                  </a:lnTo>
                  <a:lnTo>
                    <a:pt x="1694" y="599"/>
                  </a:lnTo>
                  <a:lnTo>
                    <a:pt x="1697" y="599"/>
                  </a:lnTo>
                  <a:lnTo>
                    <a:pt x="1704" y="596"/>
                  </a:lnTo>
                  <a:lnTo>
                    <a:pt x="1704" y="596"/>
                  </a:lnTo>
                  <a:lnTo>
                    <a:pt x="1702" y="596"/>
                  </a:lnTo>
                  <a:close/>
                  <a:moveTo>
                    <a:pt x="1727" y="587"/>
                  </a:moveTo>
                  <a:lnTo>
                    <a:pt x="1727" y="589"/>
                  </a:lnTo>
                  <a:lnTo>
                    <a:pt x="1725" y="589"/>
                  </a:lnTo>
                  <a:lnTo>
                    <a:pt x="1725" y="589"/>
                  </a:lnTo>
                  <a:lnTo>
                    <a:pt x="1730" y="589"/>
                  </a:lnTo>
                  <a:lnTo>
                    <a:pt x="1730" y="589"/>
                  </a:lnTo>
                  <a:lnTo>
                    <a:pt x="1730" y="587"/>
                  </a:lnTo>
                  <a:lnTo>
                    <a:pt x="1727" y="587"/>
                  </a:lnTo>
                  <a:close/>
                  <a:moveTo>
                    <a:pt x="1652" y="627"/>
                  </a:moveTo>
                  <a:lnTo>
                    <a:pt x="1657" y="622"/>
                  </a:lnTo>
                  <a:lnTo>
                    <a:pt x="1657" y="622"/>
                  </a:lnTo>
                  <a:lnTo>
                    <a:pt x="1654" y="625"/>
                  </a:lnTo>
                  <a:lnTo>
                    <a:pt x="1652" y="627"/>
                  </a:lnTo>
                  <a:close/>
                  <a:moveTo>
                    <a:pt x="1739" y="589"/>
                  </a:moveTo>
                  <a:lnTo>
                    <a:pt x="1737" y="589"/>
                  </a:lnTo>
                  <a:lnTo>
                    <a:pt x="1737" y="589"/>
                  </a:lnTo>
                  <a:lnTo>
                    <a:pt x="1735" y="592"/>
                  </a:lnTo>
                  <a:lnTo>
                    <a:pt x="1737" y="592"/>
                  </a:lnTo>
                  <a:lnTo>
                    <a:pt x="1739" y="592"/>
                  </a:lnTo>
                  <a:lnTo>
                    <a:pt x="1739" y="592"/>
                  </a:lnTo>
                  <a:lnTo>
                    <a:pt x="1739" y="589"/>
                  </a:lnTo>
                  <a:lnTo>
                    <a:pt x="1739" y="589"/>
                  </a:lnTo>
                  <a:close/>
                  <a:moveTo>
                    <a:pt x="1791" y="525"/>
                  </a:moveTo>
                  <a:lnTo>
                    <a:pt x="1791" y="528"/>
                  </a:lnTo>
                  <a:lnTo>
                    <a:pt x="1789" y="528"/>
                  </a:lnTo>
                  <a:lnTo>
                    <a:pt x="1789" y="530"/>
                  </a:lnTo>
                  <a:lnTo>
                    <a:pt x="1789" y="530"/>
                  </a:lnTo>
                  <a:lnTo>
                    <a:pt x="1789" y="530"/>
                  </a:lnTo>
                  <a:lnTo>
                    <a:pt x="1791" y="530"/>
                  </a:lnTo>
                  <a:lnTo>
                    <a:pt x="1791" y="528"/>
                  </a:lnTo>
                  <a:lnTo>
                    <a:pt x="1791" y="530"/>
                  </a:lnTo>
                  <a:lnTo>
                    <a:pt x="1793" y="528"/>
                  </a:lnTo>
                  <a:lnTo>
                    <a:pt x="1793" y="528"/>
                  </a:lnTo>
                  <a:lnTo>
                    <a:pt x="1793" y="525"/>
                  </a:lnTo>
                  <a:lnTo>
                    <a:pt x="1791" y="525"/>
                  </a:lnTo>
                  <a:close/>
                  <a:moveTo>
                    <a:pt x="1817" y="466"/>
                  </a:moveTo>
                  <a:lnTo>
                    <a:pt x="1817" y="464"/>
                  </a:lnTo>
                  <a:lnTo>
                    <a:pt x="1815" y="464"/>
                  </a:lnTo>
                  <a:lnTo>
                    <a:pt x="1815" y="464"/>
                  </a:lnTo>
                  <a:lnTo>
                    <a:pt x="1812" y="466"/>
                  </a:lnTo>
                  <a:lnTo>
                    <a:pt x="1812" y="466"/>
                  </a:lnTo>
                  <a:lnTo>
                    <a:pt x="1808" y="466"/>
                  </a:lnTo>
                  <a:lnTo>
                    <a:pt x="1805" y="469"/>
                  </a:lnTo>
                  <a:lnTo>
                    <a:pt x="1803" y="469"/>
                  </a:lnTo>
                  <a:lnTo>
                    <a:pt x="1803" y="469"/>
                  </a:lnTo>
                  <a:lnTo>
                    <a:pt x="1803" y="466"/>
                  </a:lnTo>
                  <a:lnTo>
                    <a:pt x="1803" y="466"/>
                  </a:lnTo>
                  <a:lnTo>
                    <a:pt x="1803" y="466"/>
                  </a:lnTo>
                  <a:lnTo>
                    <a:pt x="1803" y="464"/>
                  </a:lnTo>
                  <a:lnTo>
                    <a:pt x="1803" y="464"/>
                  </a:lnTo>
                  <a:lnTo>
                    <a:pt x="1801" y="462"/>
                  </a:lnTo>
                  <a:lnTo>
                    <a:pt x="1798" y="464"/>
                  </a:lnTo>
                  <a:lnTo>
                    <a:pt x="1798" y="464"/>
                  </a:lnTo>
                  <a:lnTo>
                    <a:pt x="1796" y="466"/>
                  </a:lnTo>
                  <a:lnTo>
                    <a:pt x="1791" y="471"/>
                  </a:lnTo>
                  <a:lnTo>
                    <a:pt x="1789" y="473"/>
                  </a:lnTo>
                  <a:lnTo>
                    <a:pt x="1784" y="476"/>
                  </a:lnTo>
                  <a:lnTo>
                    <a:pt x="1782" y="478"/>
                  </a:lnTo>
                  <a:lnTo>
                    <a:pt x="1779" y="480"/>
                  </a:lnTo>
                  <a:lnTo>
                    <a:pt x="1779" y="483"/>
                  </a:lnTo>
                  <a:lnTo>
                    <a:pt x="1775" y="485"/>
                  </a:lnTo>
                  <a:lnTo>
                    <a:pt x="1775" y="488"/>
                  </a:lnTo>
                  <a:lnTo>
                    <a:pt x="1772" y="490"/>
                  </a:lnTo>
                  <a:lnTo>
                    <a:pt x="1772" y="492"/>
                  </a:lnTo>
                  <a:lnTo>
                    <a:pt x="1770" y="492"/>
                  </a:lnTo>
                  <a:lnTo>
                    <a:pt x="1770" y="495"/>
                  </a:lnTo>
                  <a:lnTo>
                    <a:pt x="1770" y="495"/>
                  </a:lnTo>
                  <a:lnTo>
                    <a:pt x="1770" y="495"/>
                  </a:lnTo>
                  <a:lnTo>
                    <a:pt x="1768" y="497"/>
                  </a:lnTo>
                  <a:lnTo>
                    <a:pt x="1768" y="497"/>
                  </a:lnTo>
                  <a:lnTo>
                    <a:pt x="1765" y="499"/>
                  </a:lnTo>
                  <a:lnTo>
                    <a:pt x="1763" y="499"/>
                  </a:lnTo>
                  <a:lnTo>
                    <a:pt x="1760" y="502"/>
                  </a:lnTo>
                  <a:lnTo>
                    <a:pt x="1760" y="504"/>
                  </a:lnTo>
                  <a:lnTo>
                    <a:pt x="1760" y="504"/>
                  </a:lnTo>
                  <a:lnTo>
                    <a:pt x="1760" y="504"/>
                  </a:lnTo>
                  <a:lnTo>
                    <a:pt x="1758" y="504"/>
                  </a:lnTo>
                  <a:lnTo>
                    <a:pt x="1758" y="504"/>
                  </a:lnTo>
                  <a:lnTo>
                    <a:pt x="1758" y="504"/>
                  </a:lnTo>
                  <a:lnTo>
                    <a:pt x="1756" y="506"/>
                  </a:lnTo>
                  <a:lnTo>
                    <a:pt x="1756" y="506"/>
                  </a:lnTo>
                  <a:lnTo>
                    <a:pt x="1756" y="509"/>
                  </a:lnTo>
                  <a:lnTo>
                    <a:pt x="1756" y="509"/>
                  </a:lnTo>
                  <a:lnTo>
                    <a:pt x="1756" y="506"/>
                  </a:lnTo>
                  <a:lnTo>
                    <a:pt x="1753" y="506"/>
                  </a:lnTo>
                  <a:lnTo>
                    <a:pt x="1753" y="506"/>
                  </a:lnTo>
                  <a:lnTo>
                    <a:pt x="1753" y="506"/>
                  </a:lnTo>
                  <a:lnTo>
                    <a:pt x="1751" y="509"/>
                  </a:lnTo>
                  <a:lnTo>
                    <a:pt x="1749" y="509"/>
                  </a:lnTo>
                  <a:lnTo>
                    <a:pt x="1749" y="506"/>
                  </a:lnTo>
                  <a:lnTo>
                    <a:pt x="1746" y="509"/>
                  </a:lnTo>
                  <a:lnTo>
                    <a:pt x="1742" y="514"/>
                  </a:lnTo>
                  <a:lnTo>
                    <a:pt x="1735" y="514"/>
                  </a:lnTo>
                  <a:lnTo>
                    <a:pt x="1727" y="514"/>
                  </a:lnTo>
                  <a:lnTo>
                    <a:pt x="1723" y="514"/>
                  </a:lnTo>
                  <a:lnTo>
                    <a:pt x="1716" y="514"/>
                  </a:lnTo>
                  <a:lnTo>
                    <a:pt x="1709" y="514"/>
                  </a:lnTo>
                  <a:lnTo>
                    <a:pt x="1694" y="514"/>
                  </a:lnTo>
                  <a:lnTo>
                    <a:pt x="1690" y="514"/>
                  </a:lnTo>
                  <a:lnTo>
                    <a:pt x="1690" y="514"/>
                  </a:lnTo>
                  <a:lnTo>
                    <a:pt x="1687" y="516"/>
                  </a:lnTo>
                  <a:lnTo>
                    <a:pt x="1687" y="514"/>
                  </a:lnTo>
                  <a:lnTo>
                    <a:pt x="1685" y="516"/>
                  </a:lnTo>
                  <a:lnTo>
                    <a:pt x="1680" y="516"/>
                  </a:lnTo>
                  <a:lnTo>
                    <a:pt x="1676" y="521"/>
                  </a:lnTo>
                  <a:lnTo>
                    <a:pt x="1666" y="525"/>
                  </a:lnTo>
                  <a:lnTo>
                    <a:pt x="1666" y="525"/>
                  </a:lnTo>
                  <a:lnTo>
                    <a:pt x="1666" y="525"/>
                  </a:lnTo>
                  <a:lnTo>
                    <a:pt x="1666" y="525"/>
                  </a:lnTo>
                  <a:lnTo>
                    <a:pt x="1666" y="528"/>
                  </a:lnTo>
                  <a:lnTo>
                    <a:pt x="1666" y="528"/>
                  </a:lnTo>
                  <a:lnTo>
                    <a:pt x="1657" y="532"/>
                  </a:lnTo>
                  <a:lnTo>
                    <a:pt x="1654" y="532"/>
                  </a:lnTo>
                  <a:lnTo>
                    <a:pt x="1654" y="535"/>
                  </a:lnTo>
                  <a:lnTo>
                    <a:pt x="1654" y="535"/>
                  </a:lnTo>
                  <a:lnTo>
                    <a:pt x="1654" y="535"/>
                  </a:lnTo>
                  <a:lnTo>
                    <a:pt x="1657" y="535"/>
                  </a:lnTo>
                  <a:lnTo>
                    <a:pt x="1657" y="535"/>
                  </a:lnTo>
                  <a:lnTo>
                    <a:pt x="1657" y="535"/>
                  </a:lnTo>
                  <a:lnTo>
                    <a:pt x="1657" y="535"/>
                  </a:lnTo>
                  <a:lnTo>
                    <a:pt x="1657" y="535"/>
                  </a:lnTo>
                  <a:lnTo>
                    <a:pt x="1657" y="535"/>
                  </a:lnTo>
                  <a:lnTo>
                    <a:pt x="1657" y="535"/>
                  </a:lnTo>
                  <a:lnTo>
                    <a:pt x="1657" y="535"/>
                  </a:lnTo>
                  <a:lnTo>
                    <a:pt x="1657" y="537"/>
                  </a:lnTo>
                  <a:lnTo>
                    <a:pt x="1657" y="537"/>
                  </a:lnTo>
                  <a:lnTo>
                    <a:pt x="1657" y="537"/>
                  </a:lnTo>
                  <a:lnTo>
                    <a:pt x="1654" y="537"/>
                  </a:lnTo>
                  <a:lnTo>
                    <a:pt x="1654" y="537"/>
                  </a:lnTo>
                  <a:lnTo>
                    <a:pt x="1654" y="537"/>
                  </a:lnTo>
                  <a:lnTo>
                    <a:pt x="1654" y="537"/>
                  </a:lnTo>
                  <a:lnTo>
                    <a:pt x="1652" y="537"/>
                  </a:lnTo>
                  <a:lnTo>
                    <a:pt x="1652" y="540"/>
                  </a:lnTo>
                  <a:lnTo>
                    <a:pt x="1654" y="540"/>
                  </a:lnTo>
                  <a:lnTo>
                    <a:pt x="1654" y="540"/>
                  </a:lnTo>
                  <a:lnTo>
                    <a:pt x="1654" y="540"/>
                  </a:lnTo>
                  <a:lnTo>
                    <a:pt x="1652" y="542"/>
                  </a:lnTo>
                  <a:lnTo>
                    <a:pt x="1652" y="542"/>
                  </a:lnTo>
                  <a:lnTo>
                    <a:pt x="1652" y="542"/>
                  </a:lnTo>
                  <a:lnTo>
                    <a:pt x="1652" y="542"/>
                  </a:lnTo>
                  <a:lnTo>
                    <a:pt x="1652" y="544"/>
                  </a:lnTo>
                  <a:lnTo>
                    <a:pt x="1652" y="544"/>
                  </a:lnTo>
                  <a:lnTo>
                    <a:pt x="1652" y="544"/>
                  </a:lnTo>
                  <a:lnTo>
                    <a:pt x="1652" y="544"/>
                  </a:lnTo>
                  <a:lnTo>
                    <a:pt x="1650" y="544"/>
                  </a:lnTo>
                  <a:lnTo>
                    <a:pt x="1650" y="544"/>
                  </a:lnTo>
                  <a:lnTo>
                    <a:pt x="1647" y="547"/>
                  </a:lnTo>
                  <a:lnTo>
                    <a:pt x="1645" y="547"/>
                  </a:lnTo>
                  <a:lnTo>
                    <a:pt x="1643" y="547"/>
                  </a:lnTo>
                  <a:lnTo>
                    <a:pt x="1643" y="549"/>
                  </a:lnTo>
                  <a:lnTo>
                    <a:pt x="1640" y="549"/>
                  </a:lnTo>
                  <a:lnTo>
                    <a:pt x="1640" y="549"/>
                  </a:lnTo>
                  <a:lnTo>
                    <a:pt x="1638" y="549"/>
                  </a:lnTo>
                  <a:lnTo>
                    <a:pt x="1638" y="549"/>
                  </a:lnTo>
                  <a:lnTo>
                    <a:pt x="1638" y="551"/>
                  </a:lnTo>
                  <a:lnTo>
                    <a:pt x="1636" y="551"/>
                  </a:lnTo>
                  <a:lnTo>
                    <a:pt x="1636" y="549"/>
                  </a:lnTo>
                  <a:lnTo>
                    <a:pt x="1636" y="549"/>
                  </a:lnTo>
                  <a:lnTo>
                    <a:pt x="1631" y="549"/>
                  </a:lnTo>
                  <a:lnTo>
                    <a:pt x="1628" y="549"/>
                  </a:lnTo>
                  <a:lnTo>
                    <a:pt x="1626" y="551"/>
                  </a:lnTo>
                  <a:lnTo>
                    <a:pt x="1626" y="549"/>
                  </a:lnTo>
                  <a:lnTo>
                    <a:pt x="1624" y="549"/>
                  </a:lnTo>
                  <a:lnTo>
                    <a:pt x="1624" y="549"/>
                  </a:lnTo>
                  <a:lnTo>
                    <a:pt x="1617" y="547"/>
                  </a:lnTo>
                  <a:lnTo>
                    <a:pt x="1612" y="549"/>
                  </a:lnTo>
                  <a:lnTo>
                    <a:pt x="1607" y="549"/>
                  </a:lnTo>
                  <a:lnTo>
                    <a:pt x="1603" y="549"/>
                  </a:lnTo>
                  <a:lnTo>
                    <a:pt x="1603" y="549"/>
                  </a:lnTo>
                  <a:lnTo>
                    <a:pt x="1603" y="549"/>
                  </a:lnTo>
                  <a:lnTo>
                    <a:pt x="1600" y="554"/>
                  </a:lnTo>
                  <a:lnTo>
                    <a:pt x="1603" y="554"/>
                  </a:lnTo>
                  <a:lnTo>
                    <a:pt x="1603" y="554"/>
                  </a:lnTo>
                  <a:lnTo>
                    <a:pt x="1603" y="556"/>
                  </a:lnTo>
                  <a:lnTo>
                    <a:pt x="1600" y="556"/>
                  </a:lnTo>
                  <a:lnTo>
                    <a:pt x="1600" y="556"/>
                  </a:lnTo>
                  <a:lnTo>
                    <a:pt x="1600" y="558"/>
                  </a:lnTo>
                  <a:lnTo>
                    <a:pt x="1600" y="558"/>
                  </a:lnTo>
                  <a:lnTo>
                    <a:pt x="1600" y="561"/>
                  </a:lnTo>
                  <a:lnTo>
                    <a:pt x="1600" y="561"/>
                  </a:lnTo>
                  <a:lnTo>
                    <a:pt x="1598" y="561"/>
                  </a:lnTo>
                  <a:lnTo>
                    <a:pt x="1595" y="563"/>
                  </a:lnTo>
                  <a:lnTo>
                    <a:pt x="1595" y="563"/>
                  </a:lnTo>
                  <a:lnTo>
                    <a:pt x="1593" y="566"/>
                  </a:lnTo>
                  <a:lnTo>
                    <a:pt x="1591" y="566"/>
                  </a:lnTo>
                  <a:lnTo>
                    <a:pt x="1588" y="568"/>
                  </a:lnTo>
                  <a:lnTo>
                    <a:pt x="1586" y="568"/>
                  </a:lnTo>
                  <a:lnTo>
                    <a:pt x="1581" y="570"/>
                  </a:lnTo>
                  <a:lnTo>
                    <a:pt x="1574" y="573"/>
                  </a:lnTo>
                  <a:lnTo>
                    <a:pt x="1574" y="573"/>
                  </a:lnTo>
                  <a:lnTo>
                    <a:pt x="1572" y="575"/>
                  </a:lnTo>
                  <a:lnTo>
                    <a:pt x="1572" y="575"/>
                  </a:lnTo>
                  <a:lnTo>
                    <a:pt x="1570" y="575"/>
                  </a:lnTo>
                  <a:lnTo>
                    <a:pt x="1558" y="577"/>
                  </a:lnTo>
                  <a:lnTo>
                    <a:pt x="1551" y="582"/>
                  </a:lnTo>
                  <a:lnTo>
                    <a:pt x="1546" y="582"/>
                  </a:lnTo>
                  <a:lnTo>
                    <a:pt x="1544" y="584"/>
                  </a:lnTo>
                  <a:lnTo>
                    <a:pt x="1541" y="587"/>
                  </a:lnTo>
                  <a:lnTo>
                    <a:pt x="1539" y="587"/>
                  </a:lnTo>
                  <a:lnTo>
                    <a:pt x="1537" y="587"/>
                  </a:lnTo>
                  <a:lnTo>
                    <a:pt x="1534" y="587"/>
                  </a:lnTo>
                  <a:lnTo>
                    <a:pt x="1532" y="587"/>
                  </a:lnTo>
                  <a:lnTo>
                    <a:pt x="1529" y="589"/>
                  </a:lnTo>
                  <a:lnTo>
                    <a:pt x="1527" y="589"/>
                  </a:lnTo>
                  <a:lnTo>
                    <a:pt x="1527" y="589"/>
                  </a:lnTo>
                  <a:lnTo>
                    <a:pt x="1527" y="589"/>
                  </a:lnTo>
                  <a:lnTo>
                    <a:pt x="1525" y="587"/>
                  </a:lnTo>
                  <a:lnTo>
                    <a:pt x="1525" y="587"/>
                  </a:lnTo>
                  <a:lnTo>
                    <a:pt x="1525" y="587"/>
                  </a:lnTo>
                  <a:lnTo>
                    <a:pt x="1522" y="587"/>
                  </a:lnTo>
                  <a:lnTo>
                    <a:pt x="1522" y="587"/>
                  </a:lnTo>
                  <a:lnTo>
                    <a:pt x="1520" y="587"/>
                  </a:lnTo>
                  <a:lnTo>
                    <a:pt x="1520" y="587"/>
                  </a:lnTo>
                  <a:lnTo>
                    <a:pt x="1518" y="587"/>
                  </a:lnTo>
                  <a:lnTo>
                    <a:pt x="1520" y="587"/>
                  </a:lnTo>
                  <a:lnTo>
                    <a:pt x="1525" y="587"/>
                  </a:lnTo>
                  <a:lnTo>
                    <a:pt x="1525" y="587"/>
                  </a:lnTo>
                  <a:lnTo>
                    <a:pt x="1522" y="584"/>
                  </a:lnTo>
                  <a:lnTo>
                    <a:pt x="1522" y="584"/>
                  </a:lnTo>
                  <a:lnTo>
                    <a:pt x="1522" y="584"/>
                  </a:lnTo>
                  <a:lnTo>
                    <a:pt x="1522" y="584"/>
                  </a:lnTo>
                  <a:lnTo>
                    <a:pt x="1520" y="587"/>
                  </a:lnTo>
                  <a:lnTo>
                    <a:pt x="1520" y="587"/>
                  </a:lnTo>
                  <a:lnTo>
                    <a:pt x="1520" y="584"/>
                  </a:lnTo>
                  <a:lnTo>
                    <a:pt x="1520" y="584"/>
                  </a:lnTo>
                  <a:lnTo>
                    <a:pt x="1518" y="582"/>
                  </a:lnTo>
                  <a:lnTo>
                    <a:pt x="1515" y="582"/>
                  </a:lnTo>
                  <a:lnTo>
                    <a:pt x="1515" y="582"/>
                  </a:lnTo>
                  <a:lnTo>
                    <a:pt x="1513" y="582"/>
                  </a:lnTo>
                  <a:lnTo>
                    <a:pt x="1513" y="582"/>
                  </a:lnTo>
                  <a:lnTo>
                    <a:pt x="1513" y="582"/>
                  </a:lnTo>
                  <a:lnTo>
                    <a:pt x="1515" y="580"/>
                  </a:lnTo>
                  <a:lnTo>
                    <a:pt x="1518" y="577"/>
                  </a:lnTo>
                  <a:lnTo>
                    <a:pt x="1518" y="577"/>
                  </a:lnTo>
                  <a:lnTo>
                    <a:pt x="1518" y="577"/>
                  </a:lnTo>
                  <a:lnTo>
                    <a:pt x="1518" y="577"/>
                  </a:lnTo>
                  <a:lnTo>
                    <a:pt x="1518" y="577"/>
                  </a:lnTo>
                  <a:lnTo>
                    <a:pt x="1520" y="577"/>
                  </a:lnTo>
                  <a:lnTo>
                    <a:pt x="1520" y="575"/>
                  </a:lnTo>
                  <a:lnTo>
                    <a:pt x="1520" y="575"/>
                  </a:lnTo>
                  <a:lnTo>
                    <a:pt x="1520" y="575"/>
                  </a:lnTo>
                  <a:lnTo>
                    <a:pt x="1522" y="573"/>
                  </a:lnTo>
                  <a:lnTo>
                    <a:pt x="1522" y="573"/>
                  </a:lnTo>
                  <a:lnTo>
                    <a:pt x="1525" y="570"/>
                  </a:lnTo>
                  <a:lnTo>
                    <a:pt x="1525" y="570"/>
                  </a:lnTo>
                  <a:lnTo>
                    <a:pt x="1527" y="570"/>
                  </a:lnTo>
                  <a:lnTo>
                    <a:pt x="1527" y="568"/>
                  </a:lnTo>
                  <a:lnTo>
                    <a:pt x="1529" y="568"/>
                  </a:lnTo>
                  <a:lnTo>
                    <a:pt x="1529" y="568"/>
                  </a:lnTo>
                  <a:lnTo>
                    <a:pt x="1529" y="566"/>
                  </a:lnTo>
                  <a:lnTo>
                    <a:pt x="1532" y="566"/>
                  </a:lnTo>
                  <a:lnTo>
                    <a:pt x="1532" y="563"/>
                  </a:lnTo>
                  <a:lnTo>
                    <a:pt x="1532" y="563"/>
                  </a:lnTo>
                  <a:lnTo>
                    <a:pt x="1532" y="563"/>
                  </a:lnTo>
                  <a:lnTo>
                    <a:pt x="1534" y="563"/>
                  </a:lnTo>
                  <a:lnTo>
                    <a:pt x="1534" y="563"/>
                  </a:lnTo>
                  <a:lnTo>
                    <a:pt x="1534" y="563"/>
                  </a:lnTo>
                  <a:lnTo>
                    <a:pt x="1537" y="563"/>
                  </a:lnTo>
                  <a:lnTo>
                    <a:pt x="1537" y="563"/>
                  </a:lnTo>
                  <a:lnTo>
                    <a:pt x="1534" y="563"/>
                  </a:lnTo>
                  <a:lnTo>
                    <a:pt x="1534" y="566"/>
                  </a:lnTo>
                  <a:lnTo>
                    <a:pt x="1534" y="566"/>
                  </a:lnTo>
                  <a:lnTo>
                    <a:pt x="1537" y="563"/>
                  </a:lnTo>
                  <a:lnTo>
                    <a:pt x="1539" y="561"/>
                  </a:lnTo>
                  <a:lnTo>
                    <a:pt x="1544" y="556"/>
                  </a:lnTo>
                  <a:lnTo>
                    <a:pt x="1544" y="556"/>
                  </a:lnTo>
                  <a:lnTo>
                    <a:pt x="1541" y="554"/>
                  </a:lnTo>
                  <a:lnTo>
                    <a:pt x="1544" y="549"/>
                  </a:lnTo>
                  <a:lnTo>
                    <a:pt x="1546" y="542"/>
                  </a:lnTo>
                  <a:lnTo>
                    <a:pt x="1546" y="540"/>
                  </a:lnTo>
                  <a:lnTo>
                    <a:pt x="1546" y="537"/>
                  </a:lnTo>
                  <a:lnTo>
                    <a:pt x="1546" y="535"/>
                  </a:lnTo>
                  <a:lnTo>
                    <a:pt x="1544" y="535"/>
                  </a:lnTo>
                  <a:lnTo>
                    <a:pt x="1544" y="535"/>
                  </a:lnTo>
                  <a:lnTo>
                    <a:pt x="1541" y="535"/>
                  </a:lnTo>
                  <a:lnTo>
                    <a:pt x="1541" y="535"/>
                  </a:lnTo>
                  <a:lnTo>
                    <a:pt x="1539" y="535"/>
                  </a:lnTo>
                  <a:lnTo>
                    <a:pt x="1537" y="535"/>
                  </a:lnTo>
                  <a:lnTo>
                    <a:pt x="1537" y="537"/>
                  </a:lnTo>
                  <a:lnTo>
                    <a:pt x="1534" y="537"/>
                  </a:lnTo>
                  <a:lnTo>
                    <a:pt x="1534" y="537"/>
                  </a:lnTo>
                  <a:lnTo>
                    <a:pt x="1534" y="537"/>
                  </a:lnTo>
                  <a:lnTo>
                    <a:pt x="1534" y="537"/>
                  </a:lnTo>
                  <a:lnTo>
                    <a:pt x="1534" y="537"/>
                  </a:lnTo>
                  <a:lnTo>
                    <a:pt x="1532" y="540"/>
                  </a:lnTo>
                  <a:lnTo>
                    <a:pt x="1532" y="542"/>
                  </a:lnTo>
                  <a:lnTo>
                    <a:pt x="1529" y="542"/>
                  </a:lnTo>
                  <a:lnTo>
                    <a:pt x="1529" y="542"/>
                  </a:lnTo>
                  <a:lnTo>
                    <a:pt x="1527" y="542"/>
                  </a:lnTo>
                  <a:lnTo>
                    <a:pt x="1527" y="544"/>
                  </a:lnTo>
                  <a:lnTo>
                    <a:pt x="1525" y="542"/>
                  </a:lnTo>
                  <a:lnTo>
                    <a:pt x="1525" y="542"/>
                  </a:lnTo>
                  <a:lnTo>
                    <a:pt x="1522" y="542"/>
                  </a:lnTo>
                  <a:lnTo>
                    <a:pt x="1522" y="542"/>
                  </a:lnTo>
                  <a:lnTo>
                    <a:pt x="1525" y="540"/>
                  </a:lnTo>
                  <a:lnTo>
                    <a:pt x="1525" y="540"/>
                  </a:lnTo>
                  <a:lnTo>
                    <a:pt x="1525" y="537"/>
                  </a:lnTo>
                  <a:lnTo>
                    <a:pt x="1527" y="537"/>
                  </a:lnTo>
                  <a:lnTo>
                    <a:pt x="1527" y="535"/>
                  </a:lnTo>
                  <a:lnTo>
                    <a:pt x="1529" y="535"/>
                  </a:lnTo>
                  <a:lnTo>
                    <a:pt x="1529" y="535"/>
                  </a:lnTo>
                  <a:lnTo>
                    <a:pt x="1529" y="535"/>
                  </a:lnTo>
                  <a:lnTo>
                    <a:pt x="1532" y="535"/>
                  </a:lnTo>
                  <a:lnTo>
                    <a:pt x="1532" y="535"/>
                  </a:lnTo>
                  <a:lnTo>
                    <a:pt x="1534" y="532"/>
                  </a:lnTo>
                  <a:lnTo>
                    <a:pt x="1534" y="530"/>
                  </a:lnTo>
                  <a:lnTo>
                    <a:pt x="1537" y="530"/>
                  </a:lnTo>
                  <a:lnTo>
                    <a:pt x="1537" y="530"/>
                  </a:lnTo>
                  <a:lnTo>
                    <a:pt x="1537" y="530"/>
                  </a:lnTo>
                  <a:lnTo>
                    <a:pt x="1537" y="530"/>
                  </a:lnTo>
                  <a:lnTo>
                    <a:pt x="1539" y="528"/>
                  </a:lnTo>
                  <a:lnTo>
                    <a:pt x="1539" y="528"/>
                  </a:lnTo>
                  <a:lnTo>
                    <a:pt x="1541" y="528"/>
                  </a:lnTo>
                  <a:lnTo>
                    <a:pt x="1541" y="523"/>
                  </a:lnTo>
                  <a:lnTo>
                    <a:pt x="1544" y="523"/>
                  </a:lnTo>
                  <a:lnTo>
                    <a:pt x="1544" y="521"/>
                  </a:lnTo>
                  <a:lnTo>
                    <a:pt x="1544" y="518"/>
                  </a:lnTo>
                  <a:lnTo>
                    <a:pt x="1544" y="518"/>
                  </a:lnTo>
                  <a:lnTo>
                    <a:pt x="1544" y="516"/>
                  </a:lnTo>
                  <a:lnTo>
                    <a:pt x="1544" y="516"/>
                  </a:lnTo>
                  <a:lnTo>
                    <a:pt x="1544" y="514"/>
                  </a:lnTo>
                  <a:lnTo>
                    <a:pt x="1544" y="511"/>
                  </a:lnTo>
                  <a:lnTo>
                    <a:pt x="1546" y="511"/>
                  </a:lnTo>
                  <a:lnTo>
                    <a:pt x="1546" y="514"/>
                  </a:lnTo>
                  <a:lnTo>
                    <a:pt x="1546" y="511"/>
                  </a:lnTo>
                  <a:lnTo>
                    <a:pt x="1546" y="511"/>
                  </a:lnTo>
                  <a:lnTo>
                    <a:pt x="1546" y="511"/>
                  </a:lnTo>
                  <a:lnTo>
                    <a:pt x="1546" y="511"/>
                  </a:lnTo>
                  <a:lnTo>
                    <a:pt x="1546" y="509"/>
                  </a:lnTo>
                  <a:lnTo>
                    <a:pt x="1546" y="509"/>
                  </a:lnTo>
                  <a:lnTo>
                    <a:pt x="1546" y="509"/>
                  </a:lnTo>
                  <a:lnTo>
                    <a:pt x="1546" y="509"/>
                  </a:lnTo>
                  <a:lnTo>
                    <a:pt x="1546" y="509"/>
                  </a:lnTo>
                  <a:lnTo>
                    <a:pt x="1546" y="506"/>
                  </a:lnTo>
                  <a:lnTo>
                    <a:pt x="1546" y="506"/>
                  </a:lnTo>
                  <a:lnTo>
                    <a:pt x="1544" y="506"/>
                  </a:lnTo>
                  <a:lnTo>
                    <a:pt x="1541" y="504"/>
                  </a:lnTo>
                  <a:lnTo>
                    <a:pt x="1541" y="504"/>
                  </a:lnTo>
                  <a:lnTo>
                    <a:pt x="1539" y="504"/>
                  </a:lnTo>
                  <a:lnTo>
                    <a:pt x="1539" y="502"/>
                  </a:lnTo>
                  <a:lnTo>
                    <a:pt x="1537" y="502"/>
                  </a:lnTo>
                  <a:lnTo>
                    <a:pt x="1537" y="502"/>
                  </a:lnTo>
                  <a:lnTo>
                    <a:pt x="1537" y="502"/>
                  </a:lnTo>
                  <a:lnTo>
                    <a:pt x="1537" y="499"/>
                  </a:lnTo>
                  <a:lnTo>
                    <a:pt x="1534" y="499"/>
                  </a:lnTo>
                  <a:lnTo>
                    <a:pt x="1534" y="499"/>
                  </a:lnTo>
                  <a:lnTo>
                    <a:pt x="1532" y="499"/>
                  </a:lnTo>
                  <a:lnTo>
                    <a:pt x="1529" y="497"/>
                  </a:lnTo>
                  <a:lnTo>
                    <a:pt x="1529" y="497"/>
                  </a:lnTo>
                  <a:lnTo>
                    <a:pt x="1529" y="497"/>
                  </a:lnTo>
                  <a:lnTo>
                    <a:pt x="1527" y="497"/>
                  </a:lnTo>
                  <a:lnTo>
                    <a:pt x="1525" y="497"/>
                  </a:lnTo>
                  <a:lnTo>
                    <a:pt x="1525" y="497"/>
                  </a:lnTo>
                  <a:lnTo>
                    <a:pt x="1525" y="497"/>
                  </a:lnTo>
                  <a:lnTo>
                    <a:pt x="1525" y="499"/>
                  </a:lnTo>
                  <a:lnTo>
                    <a:pt x="1522" y="499"/>
                  </a:lnTo>
                  <a:lnTo>
                    <a:pt x="1522" y="502"/>
                  </a:lnTo>
                  <a:lnTo>
                    <a:pt x="1522" y="502"/>
                  </a:lnTo>
                  <a:lnTo>
                    <a:pt x="1520" y="504"/>
                  </a:lnTo>
                  <a:lnTo>
                    <a:pt x="1522" y="504"/>
                  </a:lnTo>
                  <a:lnTo>
                    <a:pt x="1522" y="504"/>
                  </a:lnTo>
                  <a:lnTo>
                    <a:pt x="1522" y="504"/>
                  </a:lnTo>
                  <a:lnTo>
                    <a:pt x="1522" y="504"/>
                  </a:lnTo>
                  <a:lnTo>
                    <a:pt x="1522" y="504"/>
                  </a:lnTo>
                  <a:lnTo>
                    <a:pt x="1520" y="506"/>
                  </a:lnTo>
                  <a:lnTo>
                    <a:pt x="1520" y="506"/>
                  </a:lnTo>
                  <a:lnTo>
                    <a:pt x="1518" y="506"/>
                  </a:lnTo>
                  <a:lnTo>
                    <a:pt x="1515" y="506"/>
                  </a:lnTo>
                  <a:lnTo>
                    <a:pt x="1513" y="509"/>
                  </a:lnTo>
                  <a:lnTo>
                    <a:pt x="1513" y="509"/>
                  </a:lnTo>
                  <a:lnTo>
                    <a:pt x="1513" y="509"/>
                  </a:lnTo>
                  <a:lnTo>
                    <a:pt x="1513" y="511"/>
                  </a:lnTo>
                  <a:lnTo>
                    <a:pt x="1511" y="514"/>
                  </a:lnTo>
                  <a:lnTo>
                    <a:pt x="1511" y="516"/>
                  </a:lnTo>
                  <a:lnTo>
                    <a:pt x="1508" y="518"/>
                  </a:lnTo>
                  <a:lnTo>
                    <a:pt x="1506" y="521"/>
                  </a:lnTo>
                  <a:lnTo>
                    <a:pt x="1506" y="521"/>
                  </a:lnTo>
                  <a:lnTo>
                    <a:pt x="1506" y="518"/>
                  </a:lnTo>
                  <a:lnTo>
                    <a:pt x="1508" y="516"/>
                  </a:lnTo>
                  <a:lnTo>
                    <a:pt x="1508" y="516"/>
                  </a:lnTo>
                  <a:lnTo>
                    <a:pt x="1508" y="516"/>
                  </a:lnTo>
                  <a:lnTo>
                    <a:pt x="1508" y="516"/>
                  </a:lnTo>
                  <a:lnTo>
                    <a:pt x="1508" y="516"/>
                  </a:lnTo>
                  <a:lnTo>
                    <a:pt x="1508" y="516"/>
                  </a:lnTo>
                  <a:lnTo>
                    <a:pt x="1508" y="516"/>
                  </a:lnTo>
                  <a:lnTo>
                    <a:pt x="1508" y="516"/>
                  </a:lnTo>
                  <a:lnTo>
                    <a:pt x="1508" y="518"/>
                  </a:lnTo>
                  <a:lnTo>
                    <a:pt x="1506" y="518"/>
                  </a:lnTo>
                  <a:lnTo>
                    <a:pt x="1506" y="518"/>
                  </a:lnTo>
                  <a:lnTo>
                    <a:pt x="1506" y="518"/>
                  </a:lnTo>
                  <a:lnTo>
                    <a:pt x="1506" y="518"/>
                  </a:lnTo>
                  <a:lnTo>
                    <a:pt x="1508" y="516"/>
                  </a:lnTo>
                  <a:lnTo>
                    <a:pt x="1508" y="516"/>
                  </a:lnTo>
                  <a:lnTo>
                    <a:pt x="1508" y="514"/>
                  </a:lnTo>
                  <a:lnTo>
                    <a:pt x="1508" y="511"/>
                  </a:lnTo>
                  <a:lnTo>
                    <a:pt x="1508" y="511"/>
                  </a:lnTo>
                  <a:lnTo>
                    <a:pt x="1508" y="511"/>
                  </a:lnTo>
                  <a:lnTo>
                    <a:pt x="1511" y="509"/>
                  </a:lnTo>
                  <a:lnTo>
                    <a:pt x="1511" y="509"/>
                  </a:lnTo>
                  <a:lnTo>
                    <a:pt x="1508" y="509"/>
                  </a:lnTo>
                  <a:lnTo>
                    <a:pt x="1508" y="511"/>
                  </a:lnTo>
                  <a:lnTo>
                    <a:pt x="1504" y="514"/>
                  </a:lnTo>
                  <a:lnTo>
                    <a:pt x="1504" y="516"/>
                  </a:lnTo>
                  <a:lnTo>
                    <a:pt x="1501" y="516"/>
                  </a:lnTo>
                  <a:lnTo>
                    <a:pt x="1501" y="516"/>
                  </a:lnTo>
                  <a:lnTo>
                    <a:pt x="1501" y="516"/>
                  </a:lnTo>
                  <a:lnTo>
                    <a:pt x="1499" y="516"/>
                  </a:lnTo>
                  <a:lnTo>
                    <a:pt x="1499" y="516"/>
                  </a:lnTo>
                  <a:lnTo>
                    <a:pt x="1499" y="518"/>
                  </a:lnTo>
                  <a:lnTo>
                    <a:pt x="1496" y="518"/>
                  </a:lnTo>
                  <a:lnTo>
                    <a:pt x="1496" y="521"/>
                  </a:lnTo>
                  <a:lnTo>
                    <a:pt x="1494" y="521"/>
                  </a:lnTo>
                  <a:lnTo>
                    <a:pt x="1494" y="521"/>
                  </a:lnTo>
                  <a:lnTo>
                    <a:pt x="1494" y="521"/>
                  </a:lnTo>
                  <a:lnTo>
                    <a:pt x="1494" y="523"/>
                  </a:lnTo>
                  <a:lnTo>
                    <a:pt x="1492" y="525"/>
                  </a:lnTo>
                  <a:lnTo>
                    <a:pt x="1492" y="528"/>
                  </a:lnTo>
                  <a:lnTo>
                    <a:pt x="1489" y="528"/>
                  </a:lnTo>
                  <a:lnTo>
                    <a:pt x="1487" y="530"/>
                  </a:lnTo>
                  <a:lnTo>
                    <a:pt x="1487" y="532"/>
                  </a:lnTo>
                  <a:lnTo>
                    <a:pt x="1482" y="535"/>
                  </a:lnTo>
                  <a:lnTo>
                    <a:pt x="1482" y="535"/>
                  </a:lnTo>
                  <a:lnTo>
                    <a:pt x="1482" y="535"/>
                  </a:lnTo>
                  <a:lnTo>
                    <a:pt x="1482" y="537"/>
                  </a:lnTo>
                  <a:lnTo>
                    <a:pt x="1482" y="540"/>
                  </a:lnTo>
                  <a:lnTo>
                    <a:pt x="1482" y="540"/>
                  </a:lnTo>
                  <a:lnTo>
                    <a:pt x="1480" y="542"/>
                  </a:lnTo>
                  <a:lnTo>
                    <a:pt x="1480" y="542"/>
                  </a:lnTo>
                  <a:lnTo>
                    <a:pt x="1478" y="547"/>
                  </a:lnTo>
                  <a:lnTo>
                    <a:pt x="1478" y="551"/>
                  </a:lnTo>
                  <a:lnTo>
                    <a:pt x="1478" y="551"/>
                  </a:lnTo>
                  <a:lnTo>
                    <a:pt x="1478" y="554"/>
                  </a:lnTo>
                  <a:lnTo>
                    <a:pt x="1478" y="556"/>
                  </a:lnTo>
                  <a:lnTo>
                    <a:pt x="1478" y="558"/>
                  </a:lnTo>
                  <a:lnTo>
                    <a:pt x="1475" y="561"/>
                  </a:lnTo>
                  <a:lnTo>
                    <a:pt x="1475" y="563"/>
                  </a:lnTo>
                  <a:lnTo>
                    <a:pt x="1473" y="566"/>
                  </a:lnTo>
                  <a:lnTo>
                    <a:pt x="1471" y="568"/>
                  </a:lnTo>
                  <a:lnTo>
                    <a:pt x="1471" y="570"/>
                  </a:lnTo>
                  <a:lnTo>
                    <a:pt x="1468" y="573"/>
                  </a:lnTo>
                  <a:lnTo>
                    <a:pt x="1466" y="575"/>
                  </a:lnTo>
                  <a:lnTo>
                    <a:pt x="1463" y="577"/>
                  </a:lnTo>
                  <a:lnTo>
                    <a:pt x="1461" y="577"/>
                  </a:lnTo>
                  <a:lnTo>
                    <a:pt x="1459" y="580"/>
                  </a:lnTo>
                  <a:lnTo>
                    <a:pt x="1456" y="580"/>
                  </a:lnTo>
                  <a:lnTo>
                    <a:pt x="1452" y="582"/>
                  </a:lnTo>
                  <a:lnTo>
                    <a:pt x="1449" y="584"/>
                  </a:lnTo>
                  <a:lnTo>
                    <a:pt x="1449" y="584"/>
                  </a:lnTo>
                  <a:lnTo>
                    <a:pt x="1447" y="584"/>
                  </a:lnTo>
                  <a:lnTo>
                    <a:pt x="1445" y="584"/>
                  </a:lnTo>
                  <a:lnTo>
                    <a:pt x="1445" y="582"/>
                  </a:lnTo>
                  <a:lnTo>
                    <a:pt x="1445" y="582"/>
                  </a:lnTo>
                  <a:lnTo>
                    <a:pt x="1445" y="582"/>
                  </a:lnTo>
                  <a:lnTo>
                    <a:pt x="1445" y="582"/>
                  </a:lnTo>
                  <a:lnTo>
                    <a:pt x="1445" y="582"/>
                  </a:lnTo>
                  <a:lnTo>
                    <a:pt x="1445" y="580"/>
                  </a:lnTo>
                  <a:lnTo>
                    <a:pt x="1445" y="577"/>
                  </a:lnTo>
                  <a:lnTo>
                    <a:pt x="1445" y="575"/>
                  </a:lnTo>
                  <a:lnTo>
                    <a:pt x="1445" y="575"/>
                  </a:lnTo>
                  <a:lnTo>
                    <a:pt x="1445" y="573"/>
                  </a:lnTo>
                  <a:lnTo>
                    <a:pt x="1445" y="573"/>
                  </a:lnTo>
                  <a:lnTo>
                    <a:pt x="1445" y="570"/>
                  </a:lnTo>
                  <a:lnTo>
                    <a:pt x="1447" y="566"/>
                  </a:lnTo>
                  <a:lnTo>
                    <a:pt x="1449" y="563"/>
                  </a:lnTo>
                  <a:lnTo>
                    <a:pt x="1449" y="561"/>
                  </a:lnTo>
                  <a:lnTo>
                    <a:pt x="1449" y="561"/>
                  </a:lnTo>
                  <a:lnTo>
                    <a:pt x="1449" y="558"/>
                  </a:lnTo>
                  <a:lnTo>
                    <a:pt x="1449" y="558"/>
                  </a:lnTo>
                  <a:lnTo>
                    <a:pt x="1449" y="556"/>
                  </a:lnTo>
                  <a:lnTo>
                    <a:pt x="1449" y="556"/>
                  </a:lnTo>
                  <a:lnTo>
                    <a:pt x="1449" y="556"/>
                  </a:lnTo>
                  <a:lnTo>
                    <a:pt x="1449" y="556"/>
                  </a:lnTo>
                  <a:lnTo>
                    <a:pt x="1452" y="554"/>
                  </a:lnTo>
                  <a:lnTo>
                    <a:pt x="1452" y="554"/>
                  </a:lnTo>
                  <a:lnTo>
                    <a:pt x="1452" y="554"/>
                  </a:lnTo>
                  <a:lnTo>
                    <a:pt x="1452" y="554"/>
                  </a:lnTo>
                  <a:lnTo>
                    <a:pt x="1452" y="551"/>
                  </a:lnTo>
                  <a:lnTo>
                    <a:pt x="1452" y="551"/>
                  </a:lnTo>
                  <a:lnTo>
                    <a:pt x="1452" y="549"/>
                  </a:lnTo>
                  <a:lnTo>
                    <a:pt x="1454" y="549"/>
                  </a:lnTo>
                  <a:lnTo>
                    <a:pt x="1456" y="547"/>
                  </a:lnTo>
                  <a:lnTo>
                    <a:pt x="1456" y="547"/>
                  </a:lnTo>
                  <a:lnTo>
                    <a:pt x="1456" y="544"/>
                  </a:lnTo>
                  <a:lnTo>
                    <a:pt x="1459" y="544"/>
                  </a:lnTo>
                  <a:lnTo>
                    <a:pt x="1461" y="542"/>
                  </a:lnTo>
                  <a:lnTo>
                    <a:pt x="1461" y="540"/>
                  </a:lnTo>
                  <a:lnTo>
                    <a:pt x="1461" y="540"/>
                  </a:lnTo>
                  <a:lnTo>
                    <a:pt x="1461" y="540"/>
                  </a:lnTo>
                  <a:lnTo>
                    <a:pt x="1461" y="537"/>
                  </a:lnTo>
                  <a:lnTo>
                    <a:pt x="1463" y="535"/>
                  </a:lnTo>
                  <a:lnTo>
                    <a:pt x="1463" y="535"/>
                  </a:lnTo>
                  <a:lnTo>
                    <a:pt x="1466" y="532"/>
                  </a:lnTo>
                  <a:lnTo>
                    <a:pt x="1468" y="532"/>
                  </a:lnTo>
                  <a:lnTo>
                    <a:pt x="1468" y="530"/>
                  </a:lnTo>
                  <a:lnTo>
                    <a:pt x="1468" y="530"/>
                  </a:lnTo>
                  <a:lnTo>
                    <a:pt x="1471" y="528"/>
                  </a:lnTo>
                  <a:lnTo>
                    <a:pt x="1471" y="525"/>
                  </a:lnTo>
                  <a:lnTo>
                    <a:pt x="1473" y="523"/>
                  </a:lnTo>
                  <a:lnTo>
                    <a:pt x="1475" y="523"/>
                  </a:lnTo>
                  <a:lnTo>
                    <a:pt x="1475" y="521"/>
                  </a:lnTo>
                  <a:lnTo>
                    <a:pt x="1478" y="521"/>
                  </a:lnTo>
                  <a:lnTo>
                    <a:pt x="1478" y="518"/>
                  </a:lnTo>
                  <a:lnTo>
                    <a:pt x="1475" y="518"/>
                  </a:lnTo>
                  <a:lnTo>
                    <a:pt x="1475" y="518"/>
                  </a:lnTo>
                  <a:lnTo>
                    <a:pt x="1475" y="518"/>
                  </a:lnTo>
                  <a:lnTo>
                    <a:pt x="1473" y="518"/>
                  </a:lnTo>
                  <a:lnTo>
                    <a:pt x="1473" y="518"/>
                  </a:lnTo>
                  <a:lnTo>
                    <a:pt x="1473" y="518"/>
                  </a:lnTo>
                  <a:lnTo>
                    <a:pt x="1471" y="518"/>
                  </a:lnTo>
                  <a:lnTo>
                    <a:pt x="1468" y="521"/>
                  </a:lnTo>
                  <a:lnTo>
                    <a:pt x="1468" y="523"/>
                  </a:lnTo>
                  <a:lnTo>
                    <a:pt x="1466" y="523"/>
                  </a:lnTo>
                  <a:lnTo>
                    <a:pt x="1466" y="523"/>
                  </a:lnTo>
                  <a:lnTo>
                    <a:pt x="1463" y="523"/>
                  </a:lnTo>
                  <a:lnTo>
                    <a:pt x="1463" y="523"/>
                  </a:lnTo>
                  <a:lnTo>
                    <a:pt x="1463" y="523"/>
                  </a:lnTo>
                  <a:lnTo>
                    <a:pt x="1463" y="523"/>
                  </a:lnTo>
                  <a:lnTo>
                    <a:pt x="1466" y="521"/>
                  </a:lnTo>
                  <a:lnTo>
                    <a:pt x="1466" y="521"/>
                  </a:lnTo>
                  <a:lnTo>
                    <a:pt x="1468" y="518"/>
                  </a:lnTo>
                  <a:lnTo>
                    <a:pt x="1468" y="516"/>
                  </a:lnTo>
                  <a:lnTo>
                    <a:pt x="1471" y="516"/>
                  </a:lnTo>
                  <a:lnTo>
                    <a:pt x="1473" y="516"/>
                  </a:lnTo>
                  <a:lnTo>
                    <a:pt x="1475" y="514"/>
                  </a:lnTo>
                  <a:lnTo>
                    <a:pt x="1475" y="511"/>
                  </a:lnTo>
                  <a:lnTo>
                    <a:pt x="1475" y="511"/>
                  </a:lnTo>
                  <a:lnTo>
                    <a:pt x="1475" y="509"/>
                  </a:lnTo>
                  <a:lnTo>
                    <a:pt x="1478" y="509"/>
                  </a:lnTo>
                  <a:lnTo>
                    <a:pt x="1478" y="509"/>
                  </a:lnTo>
                  <a:lnTo>
                    <a:pt x="1482" y="506"/>
                  </a:lnTo>
                  <a:lnTo>
                    <a:pt x="1485" y="504"/>
                  </a:lnTo>
                  <a:lnTo>
                    <a:pt x="1487" y="502"/>
                  </a:lnTo>
                  <a:lnTo>
                    <a:pt x="1489" y="499"/>
                  </a:lnTo>
                  <a:lnTo>
                    <a:pt x="1489" y="499"/>
                  </a:lnTo>
                  <a:lnTo>
                    <a:pt x="1489" y="499"/>
                  </a:lnTo>
                  <a:lnTo>
                    <a:pt x="1492" y="497"/>
                  </a:lnTo>
                  <a:lnTo>
                    <a:pt x="1494" y="495"/>
                  </a:lnTo>
                  <a:lnTo>
                    <a:pt x="1494" y="495"/>
                  </a:lnTo>
                  <a:lnTo>
                    <a:pt x="1494" y="495"/>
                  </a:lnTo>
                  <a:lnTo>
                    <a:pt x="1492" y="497"/>
                  </a:lnTo>
                  <a:lnTo>
                    <a:pt x="1492" y="497"/>
                  </a:lnTo>
                  <a:lnTo>
                    <a:pt x="1492" y="499"/>
                  </a:lnTo>
                  <a:lnTo>
                    <a:pt x="1492" y="499"/>
                  </a:lnTo>
                  <a:lnTo>
                    <a:pt x="1494" y="499"/>
                  </a:lnTo>
                  <a:lnTo>
                    <a:pt x="1494" y="497"/>
                  </a:lnTo>
                  <a:lnTo>
                    <a:pt x="1496" y="497"/>
                  </a:lnTo>
                  <a:lnTo>
                    <a:pt x="1496" y="495"/>
                  </a:lnTo>
                  <a:lnTo>
                    <a:pt x="1496" y="497"/>
                  </a:lnTo>
                  <a:lnTo>
                    <a:pt x="1499" y="497"/>
                  </a:lnTo>
                  <a:lnTo>
                    <a:pt x="1499" y="495"/>
                  </a:lnTo>
                  <a:lnTo>
                    <a:pt x="1501" y="495"/>
                  </a:lnTo>
                  <a:lnTo>
                    <a:pt x="1501" y="495"/>
                  </a:lnTo>
                  <a:lnTo>
                    <a:pt x="1499" y="497"/>
                  </a:lnTo>
                  <a:lnTo>
                    <a:pt x="1499" y="497"/>
                  </a:lnTo>
                  <a:lnTo>
                    <a:pt x="1499" y="497"/>
                  </a:lnTo>
                  <a:lnTo>
                    <a:pt x="1496" y="497"/>
                  </a:lnTo>
                  <a:lnTo>
                    <a:pt x="1496" y="499"/>
                  </a:lnTo>
                  <a:lnTo>
                    <a:pt x="1496" y="499"/>
                  </a:lnTo>
                  <a:lnTo>
                    <a:pt x="1496" y="499"/>
                  </a:lnTo>
                  <a:lnTo>
                    <a:pt x="1496" y="499"/>
                  </a:lnTo>
                  <a:lnTo>
                    <a:pt x="1496" y="499"/>
                  </a:lnTo>
                  <a:lnTo>
                    <a:pt x="1496" y="499"/>
                  </a:lnTo>
                  <a:lnTo>
                    <a:pt x="1499" y="499"/>
                  </a:lnTo>
                  <a:lnTo>
                    <a:pt x="1499" y="497"/>
                  </a:lnTo>
                  <a:lnTo>
                    <a:pt x="1501" y="497"/>
                  </a:lnTo>
                  <a:lnTo>
                    <a:pt x="1504" y="497"/>
                  </a:lnTo>
                  <a:lnTo>
                    <a:pt x="1504" y="495"/>
                  </a:lnTo>
                  <a:lnTo>
                    <a:pt x="1506" y="495"/>
                  </a:lnTo>
                  <a:lnTo>
                    <a:pt x="1506" y="495"/>
                  </a:lnTo>
                  <a:lnTo>
                    <a:pt x="1508" y="492"/>
                  </a:lnTo>
                  <a:lnTo>
                    <a:pt x="1511" y="495"/>
                  </a:lnTo>
                  <a:lnTo>
                    <a:pt x="1511" y="495"/>
                  </a:lnTo>
                  <a:lnTo>
                    <a:pt x="1511" y="495"/>
                  </a:lnTo>
                  <a:lnTo>
                    <a:pt x="1513" y="495"/>
                  </a:lnTo>
                  <a:lnTo>
                    <a:pt x="1513" y="492"/>
                  </a:lnTo>
                  <a:lnTo>
                    <a:pt x="1515" y="492"/>
                  </a:lnTo>
                  <a:lnTo>
                    <a:pt x="1518" y="492"/>
                  </a:lnTo>
                  <a:lnTo>
                    <a:pt x="1520" y="492"/>
                  </a:lnTo>
                  <a:lnTo>
                    <a:pt x="1520" y="490"/>
                  </a:lnTo>
                  <a:lnTo>
                    <a:pt x="1522" y="490"/>
                  </a:lnTo>
                  <a:lnTo>
                    <a:pt x="1525" y="490"/>
                  </a:lnTo>
                  <a:lnTo>
                    <a:pt x="1527" y="492"/>
                  </a:lnTo>
                  <a:lnTo>
                    <a:pt x="1527" y="492"/>
                  </a:lnTo>
                  <a:lnTo>
                    <a:pt x="1529" y="495"/>
                  </a:lnTo>
                  <a:lnTo>
                    <a:pt x="1529" y="495"/>
                  </a:lnTo>
                  <a:lnTo>
                    <a:pt x="1529" y="495"/>
                  </a:lnTo>
                  <a:lnTo>
                    <a:pt x="1532" y="495"/>
                  </a:lnTo>
                  <a:lnTo>
                    <a:pt x="1532" y="495"/>
                  </a:lnTo>
                  <a:lnTo>
                    <a:pt x="1532" y="495"/>
                  </a:lnTo>
                  <a:lnTo>
                    <a:pt x="1532" y="495"/>
                  </a:lnTo>
                  <a:lnTo>
                    <a:pt x="1532" y="495"/>
                  </a:lnTo>
                  <a:lnTo>
                    <a:pt x="1534" y="492"/>
                  </a:lnTo>
                  <a:lnTo>
                    <a:pt x="1534" y="492"/>
                  </a:lnTo>
                  <a:lnTo>
                    <a:pt x="1534" y="492"/>
                  </a:lnTo>
                  <a:lnTo>
                    <a:pt x="1534" y="492"/>
                  </a:lnTo>
                  <a:lnTo>
                    <a:pt x="1534" y="492"/>
                  </a:lnTo>
                  <a:lnTo>
                    <a:pt x="1534" y="492"/>
                  </a:lnTo>
                  <a:lnTo>
                    <a:pt x="1537" y="492"/>
                  </a:lnTo>
                  <a:lnTo>
                    <a:pt x="1537" y="492"/>
                  </a:lnTo>
                  <a:lnTo>
                    <a:pt x="1537" y="492"/>
                  </a:lnTo>
                  <a:lnTo>
                    <a:pt x="1537" y="492"/>
                  </a:lnTo>
                  <a:lnTo>
                    <a:pt x="1539" y="492"/>
                  </a:lnTo>
                  <a:lnTo>
                    <a:pt x="1544" y="495"/>
                  </a:lnTo>
                  <a:lnTo>
                    <a:pt x="1544" y="492"/>
                  </a:lnTo>
                  <a:lnTo>
                    <a:pt x="1546" y="492"/>
                  </a:lnTo>
                  <a:lnTo>
                    <a:pt x="1546" y="492"/>
                  </a:lnTo>
                  <a:lnTo>
                    <a:pt x="1546" y="492"/>
                  </a:lnTo>
                  <a:lnTo>
                    <a:pt x="1544" y="492"/>
                  </a:lnTo>
                  <a:lnTo>
                    <a:pt x="1544" y="490"/>
                  </a:lnTo>
                  <a:lnTo>
                    <a:pt x="1544" y="490"/>
                  </a:lnTo>
                  <a:lnTo>
                    <a:pt x="1544" y="490"/>
                  </a:lnTo>
                  <a:lnTo>
                    <a:pt x="1544" y="490"/>
                  </a:lnTo>
                  <a:lnTo>
                    <a:pt x="1544" y="490"/>
                  </a:lnTo>
                  <a:lnTo>
                    <a:pt x="1541" y="490"/>
                  </a:lnTo>
                  <a:lnTo>
                    <a:pt x="1541" y="488"/>
                  </a:lnTo>
                  <a:lnTo>
                    <a:pt x="1541" y="488"/>
                  </a:lnTo>
                  <a:lnTo>
                    <a:pt x="1544" y="488"/>
                  </a:lnTo>
                  <a:lnTo>
                    <a:pt x="1544" y="488"/>
                  </a:lnTo>
                  <a:lnTo>
                    <a:pt x="1544" y="488"/>
                  </a:lnTo>
                  <a:lnTo>
                    <a:pt x="1544" y="485"/>
                  </a:lnTo>
                  <a:lnTo>
                    <a:pt x="1544" y="485"/>
                  </a:lnTo>
                  <a:lnTo>
                    <a:pt x="1544" y="483"/>
                  </a:lnTo>
                  <a:lnTo>
                    <a:pt x="1544" y="483"/>
                  </a:lnTo>
                  <a:lnTo>
                    <a:pt x="1544" y="483"/>
                  </a:lnTo>
                  <a:lnTo>
                    <a:pt x="1541" y="483"/>
                  </a:lnTo>
                  <a:lnTo>
                    <a:pt x="1541" y="483"/>
                  </a:lnTo>
                  <a:lnTo>
                    <a:pt x="1541" y="483"/>
                  </a:lnTo>
                  <a:lnTo>
                    <a:pt x="1539" y="483"/>
                  </a:lnTo>
                  <a:lnTo>
                    <a:pt x="1539" y="483"/>
                  </a:lnTo>
                  <a:lnTo>
                    <a:pt x="1539" y="483"/>
                  </a:lnTo>
                  <a:lnTo>
                    <a:pt x="1537" y="483"/>
                  </a:lnTo>
                  <a:lnTo>
                    <a:pt x="1537" y="483"/>
                  </a:lnTo>
                  <a:lnTo>
                    <a:pt x="1534" y="483"/>
                  </a:lnTo>
                  <a:lnTo>
                    <a:pt x="1534" y="483"/>
                  </a:lnTo>
                  <a:lnTo>
                    <a:pt x="1532" y="483"/>
                  </a:lnTo>
                  <a:lnTo>
                    <a:pt x="1532" y="483"/>
                  </a:lnTo>
                  <a:lnTo>
                    <a:pt x="1532" y="480"/>
                  </a:lnTo>
                  <a:lnTo>
                    <a:pt x="1532" y="480"/>
                  </a:lnTo>
                  <a:lnTo>
                    <a:pt x="1532" y="480"/>
                  </a:lnTo>
                  <a:lnTo>
                    <a:pt x="1534" y="478"/>
                  </a:lnTo>
                  <a:lnTo>
                    <a:pt x="1534" y="478"/>
                  </a:lnTo>
                  <a:lnTo>
                    <a:pt x="1537" y="476"/>
                  </a:lnTo>
                  <a:lnTo>
                    <a:pt x="1534" y="476"/>
                  </a:lnTo>
                  <a:lnTo>
                    <a:pt x="1532" y="476"/>
                  </a:lnTo>
                  <a:lnTo>
                    <a:pt x="1529" y="478"/>
                  </a:lnTo>
                  <a:lnTo>
                    <a:pt x="1527" y="478"/>
                  </a:lnTo>
                  <a:lnTo>
                    <a:pt x="1525" y="478"/>
                  </a:lnTo>
                  <a:lnTo>
                    <a:pt x="1520" y="478"/>
                  </a:lnTo>
                  <a:lnTo>
                    <a:pt x="1518" y="478"/>
                  </a:lnTo>
                  <a:lnTo>
                    <a:pt x="1515" y="478"/>
                  </a:lnTo>
                  <a:lnTo>
                    <a:pt x="1515" y="478"/>
                  </a:lnTo>
                  <a:lnTo>
                    <a:pt x="1513" y="478"/>
                  </a:lnTo>
                  <a:lnTo>
                    <a:pt x="1511" y="480"/>
                  </a:lnTo>
                  <a:lnTo>
                    <a:pt x="1508" y="483"/>
                  </a:lnTo>
                  <a:lnTo>
                    <a:pt x="1504" y="483"/>
                  </a:lnTo>
                  <a:lnTo>
                    <a:pt x="1504" y="483"/>
                  </a:lnTo>
                  <a:lnTo>
                    <a:pt x="1504" y="483"/>
                  </a:lnTo>
                  <a:lnTo>
                    <a:pt x="1504" y="483"/>
                  </a:lnTo>
                  <a:lnTo>
                    <a:pt x="1504" y="483"/>
                  </a:lnTo>
                  <a:lnTo>
                    <a:pt x="1501" y="483"/>
                  </a:lnTo>
                  <a:lnTo>
                    <a:pt x="1501" y="483"/>
                  </a:lnTo>
                  <a:lnTo>
                    <a:pt x="1499" y="483"/>
                  </a:lnTo>
                  <a:lnTo>
                    <a:pt x="1499" y="480"/>
                  </a:lnTo>
                  <a:lnTo>
                    <a:pt x="1499" y="483"/>
                  </a:lnTo>
                  <a:lnTo>
                    <a:pt x="1496" y="483"/>
                  </a:lnTo>
                  <a:lnTo>
                    <a:pt x="1494" y="483"/>
                  </a:lnTo>
                  <a:lnTo>
                    <a:pt x="1494" y="483"/>
                  </a:lnTo>
                  <a:lnTo>
                    <a:pt x="1494" y="480"/>
                  </a:lnTo>
                  <a:lnTo>
                    <a:pt x="1494" y="480"/>
                  </a:lnTo>
                  <a:lnTo>
                    <a:pt x="1494" y="480"/>
                  </a:lnTo>
                  <a:lnTo>
                    <a:pt x="1492" y="478"/>
                  </a:lnTo>
                  <a:lnTo>
                    <a:pt x="1492" y="476"/>
                  </a:lnTo>
                  <a:lnTo>
                    <a:pt x="1492" y="476"/>
                  </a:lnTo>
                  <a:lnTo>
                    <a:pt x="1489" y="473"/>
                  </a:lnTo>
                  <a:lnTo>
                    <a:pt x="1489" y="473"/>
                  </a:lnTo>
                  <a:lnTo>
                    <a:pt x="1485" y="473"/>
                  </a:lnTo>
                  <a:lnTo>
                    <a:pt x="1485" y="473"/>
                  </a:lnTo>
                  <a:lnTo>
                    <a:pt x="1485" y="473"/>
                  </a:lnTo>
                  <a:lnTo>
                    <a:pt x="1480" y="476"/>
                  </a:lnTo>
                  <a:lnTo>
                    <a:pt x="1480" y="476"/>
                  </a:lnTo>
                  <a:lnTo>
                    <a:pt x="1480" y="476"/>
                  </a:lnTo>
                  <a:lnTo>
                    <a:pt x="1478" y="476"/>
                  </a:lnTo>
                  <a:lnTo>
                    <a:pt x="1478" y="476"/>
                  </a:lnTo>
                  <a:lnTo>
                    <a:pt x="1478" y="476"/>
                  </a:lnTo>
                  <a:lnTo>
                    <a:pt x="1478" y="476"/>
                  </a:lnTo>
                  <a:lnTo>
                    <a:pt x="1478" y="473"/>
                  </a:lnTo>
                  <a:lnTo>
                    <a:pt x="1480" y="473"/>
                  </a:lnTo>
                  <a:lnTo>
                    <a:pt x="1480" y="471"/>
                  </a:lnTo>
                  <a:lnTo>
                    <a:pt x="1480" y="471"/>
                  </a:lnTo>
                  <a:lnTo>
                    <a:pt x="1480" y="471"/>
                  </a:lnTo>
                  <a:lnTo>
                    <a:pt x="1480" y="471"/>
                  </a:lnTo>
                  <a:lnTo>
                    <a:pt x="1480" y="469"/>
                  </a:lnTo>
                  <a:lnTo>
                    <a:pt x="1480" y="469"/>
                  </a:lnTo>
                  <a:lnTo>
                    <a:pt x="1480" y="469"/>
                  </a:lnTo>
                  <a:lnTo>
                    <a:pt x="1480" y="469"/>
                  </a:lnTo>
                  <a:lnTo>
                    <a:pt x="1480" y="469"/>
                  </a:lnTo>
                  <a:lnTo>
                    <a:pt x="1480" y="466"/>
                  </a:lnTo>
                  <a:lnTo>
                    <a:pt x="1478" y="469"/>
                  </a:lnTo>
                  <a:lnTo>
                    <a:pt x="1475" y="469"/>
                  </a:lnTo>
                  <a:lnTo>
                    <a:pt x="1473" y="471"/>
                  </a:lnTo>
                  <a:lnTo>
                    <a:pt x="1473" y="471"/>
                  </a:lnTo>
                  <a:lnTo>
                    <a:pt x="1471" y="471"/>
                  </a:lnTo>
                  <a:lnTo>
                    <a:pt x="1471" y="471"/>
                  </a:lnTo>
                  <a:lnTo>
                    <a:pt x="1468" y="473"/>
                  </a:lnTo>
                  <a:lnTo>
                    <a:pt x="1466" y="473"/>
                  </a:lnTo>
                  <a:lnTo>
                    <a:pt x="1463" y="476"/>
                  </a:lnTo>
                  <a:lnTo>
                    <a:pt x="1461" y="476"/>
                  </a:lnTo>
                  <a:lnTo>
                    <a:pt x="1459" y="476"/>
                  </a:lnTo>
                  <a:lnTo>
                    <a:pt x="1454" y="476"/>
                  </a:lnTo>
                  <a:lnTo>
                    <a:pt x="1452" y="478"/>
                  </a:lnTo>
                  <a:lnTo>
                    <a:pt x="1449" y="480"/>
                  </a:lnTo>
                  <a:lnTo>
                    <a:pt x="1445" y="480"/>
                  </a:lnTo>
                  <a:lnTo>
                    <a:pt x="1442" y="480"/>
                  </a:lnTo>
                  <a:lnTo>
                    <a:pt x="1442" y="480"/>
                  </a:lnTo>
                  <a:lnTo>
                    <a:pt x="1440" y="480"/>
                  </a:lnTo>
                  <a:lnTo>
                    <a:pt x="1440" y="478"/>
                  </a:lnTo>
                  <a:lnTo>
                    <a:pt x="1440" y="478"/>
                  </a:lnTo>
                  <a:lnTo>
                    <a:pt x="1440" y="478"/>
                  </a:lnTo>
                  <a:lnTo>
                    <a:pt x="1440" y="478"/>
                  </a:lnTo>
                  <a:lnTo>
                    <a:pt x="1438" y="480"/>
                  </a:lnTo>
                  <a:lnTo>
                    <a:pt x="1435" y="480"/>
                  </a:lnTo>
                  <a:lnTo>
                    <a:pt x="1435" y="480"/>
                  </a:lnTo>
                  <a:lnTo>
                    <a:pt x="1438" y="478"/>
                  </a:lnTo>
                  <a:lnTo>
                    <a:pt x="1438" y="478"/>
                  </a:lnTo>
                  <a:lnTo>
                    <a:pt x="1438" y="478"/>
                  </a:lnTo>
                  <a:lnTo>
                    <a:pt x="1440" y="476"/>
                  </a:lnTo>
                  <a:lnTo>
                    <a:pt x="1440" y="476"/>
                  </a:lnTo>
                  <a:lnTo>
                    <a:pt x="1442" y="473"/>
                  </a:lnTo>
                  <a:lnTo>
                    <a:pt x="1442" y="473"/>
                  </a:lnTo>
                  <a:lnTo>
                    <a:pt x="1440" y="473"/>
                  </a:lnTo>
                  <a:lnTo>
                    <a:pt x="1440" y="473"/>
                  </a:lnTo>
                  <a:lnTo>
                    <a:pt x="1440" y="473"/>
                  </a:lnTo>
                  <a:lnTo>
                    <a:pt x="1435" y="476"/>
                  </a:lnTo>
                  <a:lnTo>
                    <a:pt x="1435" y="476"/>
                  </a:lnTo>
                  <a:lnTo>
                    <a:pt x="1433" y="473"/>
                  </a:lnTo>
                  <a:lnTo>
                    <a:pt x="1433" y="473"/>
                  </a:lnTo>
                  <a:lnTo>
                    <a:pt x="1430" y="476"/>
                  </a:lnTo>
                  <a:lnTo>
                    <a:pt x="1428" y="478"/>
                  </a:lnTo>
                  <a:lnTo>
                    <a:pt x="1421" y="478"/>
                  </a:lnTo>
                  <a:lnTo>
                    <a:pt x="1421" y="478"/>
                  </a:lnTo>
                  <a:lnTo>
                    <a:pt x="1419" y="478"/>
                  </a:lnTo>
                  <a:lnTo>
                    <a:pt x="1419" y="478"/>
                  </a:lnTo>
                  <a:lnTo>
                    <a:pt x="1419" y="478"/>
                  </a:lnTo>
                  <a:lnTo>
                    <a:pt x="1419" y="476"/>
                  </a:lnTo>
                  <a:lnTo>
                    <a:pt x="1419" y="476"/>
                  </a:lnTo>
                  <a:lnTo>
                    <a:pt x="1428" y="471"/>
                  </a:lnTo>
                  <a:lnTo>
                    <a:pt x="1435" y="469"/>
                  </a:lnTo>
                  <a:lnTo>
                    <a:pt x="1445" y="462"/>
                  </a:lnTo>
                  <a:lnTo>
                    <a:pt x="1447" y="459"/>
                  </a:lnTo>
                  <a:lnTo>
                    <a:pt x="1452" y="457"/>
                  </a:lnTo>
                  <a:lnTo>
                    <a:pt x="1459" y="457"/>
                  </a:lnTo>
                  <a:lnTo>
                    <a:pt x="1463" y="454"/>
                  </a:lnTo>
                  <a:lnTo>
                    <a:pt x="1468" y="454"/>
                  </a:lnTo>
                  <a:lnTo>
                    <a:pt x="1471" y="452"/>
                  </a:lnTo>
                  <a:lnTo>
                    <a:pt x="1471" y="452"/>
                  </a:lnTo>
                  <a:lnTo>
                    <a:pt x="1471" y="452"/>
                  </a:lnTo>
                  <a:lnTo>
                    <a:pt x="1473" y="452"/>
                  </a:lnTo>
                  <a:lnTo>
                    <a:pt x="1473" y="452"/>
                  </a:lnTo>
                  <a:lnTo>
                    <a:pt x="1468" y="452"/>
                  </a:lnTo>
                  <a:lnTo>
                    <a:pt x="1466" y="452"/>
                  </a:lnTo>
                  <a:lnTo>
                    <a:pt x="1466" y="452"/>
                  </a:lnTo>
                  <a:lnTo>
                    <a:pt x="1466" y="450"/>
                  </a:lnTo>
                  <a:lnTo>
                    <a:pt x="1466" y="450"/>
                  </a:lnTo>
                  <a:lnTo>
                    <a:pt x="1461" y="450"/>
                  </a:lnTo>
                  <a:lnTo>
                    <a:pt x="1456" y="450"/>
                  </a:lnTo>
                  <a:lnTo>
                    <a:pt x="1454" y="450"/>
                  </a:lnTo>
                  <a:lnTo>
                    <a:pt x="1454" y="450"/>
                  </a:lnTo>
                  <a:lnTo>
                    <a:pt x="1454" y="447"/>
                  </a:lnTo>
                  <a:lnTo>
                    <a:pt x="1452" y="447"/>
                  </a:lnTo>
                  <a:lnTo>
                    <a:pt x="1449" y="447"/>
                  </a:lnTo>
                  <a:lnTo>
                    <a:pt x="1447" y="450"/>
                  </a:lnTo>
                  <a:lnTo>
                    <a:pt x="1442" y="450"/>
                  </a:lnTo>
                  <a:lnTo>
                    <a:pt x="1442" y="450"/>
                  </a:lnTo>
                  <a:lnTo>
                    <a:pt x="1440" y="450"/>
                  </a:lnTo>
                  <a:lnTo>
                    <a:pt x="1438" y="447"/>
                  </a:lnTo>
                  <a:lnTo>
                    <a:pt x="1435" y="445"/>
                  </a:lnTo>
                  <a:lnTo>
                    <a:pt x="1433" y="445"/>
                  </a:lnTo>
                  <a:lnTo>
                    <a:pt x="1430" y="445"/>
                  </a:lnTo>
                  <a:lnTo>
                    <a:pt x="1430" y="445"/>
                  </a:lnTo>
                  <a:lnTo>
                    <a:pt x="1428" y="445"/>
                  </a:lnTo>
                  <a:lnTo>
                    <a:pt x="1428" y="445"/>
                  </a:lnTo>
                  <a:lnTo>
                    <a:pt x="1428" y="443"/>
                  </a:lnTo>
                  <a:lnTo>
                    <a:pt x="1428" y="443"/>
                  </a:lnTo>
                  <a:lnTo>
                    <a:pt x="1426" y="440"/>
                  </a:lnTo>
                  <a:lnTo>
                    <a:pt x="1426" y="440"/>
                  </a:lnTo>
                  <a:lnTo>
                    <a:pt x="1423" y="438"/>
                  </a:lnTo>
                  <a:lnTo>
                    <a:pt x="1423" y="438"/>
                  </a:lnTo>
                  <a:lnTo>
                    <a:pt x="1421" y="438"/>
                  </a:lnTo>
                  <a:lnTo>
                    <a:pt x="1419" y="438"/>
                  </a:lnTo>
                  <a:lnTo>
                    <a:pt x="1416" y="438"/>
                  </a:lnTo>
                  <a:lnTo>
                    <a:pt x="1414" y="440"/>
                  </a:lnTo>
                  <a:lnTo>
                    <a:pt x="1414" y="440"/>
                  </a:lnTo>
                  <a:lnTo>
                    <a:pt x="1412" y="440"/>
                  </a:lnTo>
                  <a:lnTo>
                    <a:pt x="1409" y="440"/>
                  </a:lnTo>
                  <a:lnTo>
                    <a:pt x="1409" y="438"/>
                  </a:lnTo>
                  <a:lnTo>
                    <a:pt x="1407" y="438"/>
                  </a:lnTo>
                  <a:lnTo>
                    <a:pt x="1402" y="438"/>
                  </a:lnTo>
                  <a:lnTo>
                    <a:pt x="1397" y="435"/>
                  </a:lnTo>
                  <a:lnTo>
                    <a:pt x="1397" y="435"/>
                  </a:lnTo>
                  <a:lnTo>
                    <a:pt x="1397" y="435"/>
                  </a:lnTo>
                  <a:lnTo>
                    <a:pt x="1397" y="433"/>
                  </a:lnTo>
                  <a:lnTo>
                    <a:pt x="1397" y="433"/>
                  </a:lnTo>
                  <a:lnTo>
                    <a:pt x="1397" y="431"/>
                  </a:lnTo>
                  <a:lnTo>
                    <a:pt x="1400" y="428"/>
                  </a:lnTo>
                  <a:lnTo>
                    <a:pt x="1400" y="426"/>
                  </a:lnTo>
                  <a:lnTo>
                    <a:pt x="1400" y="424"/>
                  </a:lnTo>
                  <a:lnTo>
                    <a:pt x="1400" y="424"/>
                  </a:lnTo>
                  <a:lnTo>
                    <a:pt x="1400" y="424"/>
                  </a:lnTo>
                  <a:lnTo>
                    <a:pt x="1397" y="424"/>
                  </a:lnTo>
                  <a:lnTo>
                    <a:pt x="1395" y="426"/>
                  </a:lnTo>
                  <a:lnTo>
                    <a:pt x="1393" y="431"/>
                  </a:lnTo>
                  <a:lnTo>
                    <a:pt x="1388" y="431"/>
                  </a:lnTo>
                  <a:lnTo>
                    <a:pt x="1334" y="431"/>
                  </a:lnTo>
                  <a:lnTo>
                    <a:pt x="1327" y="431"/>
                  </a:lnTo>
                  <a:lnTo>
                    <a:pt x="1167" y="431"/>
                  </a:lnTo>
                  <a:lnTo>
                    <a:pt x="1159" y="431"/>
                  </a:lnTo>
                  <a:lnTo>
                    <a:pt x="1002" y="431"/>
                  </a:lnTo>
                  <a:lnTo>
                    <a:pt x="994" y="431"/>
                  </a:lnTo>
                  <a:lnTo>
                    <a:pt x="943" y="431"/>
                  </a:lnTo>
                  <a:lnTo>
                    <a:pt x="943" y="433"/>
                  </a:lnTo>
                  <a:lnTo>
                    <a:pt x="943" y="435"/>
                  </a:lnTo>
                  <a:lnTo>
                    <a:pt x="943" y="435"/>
                  </a:lnTo>
                  <a:lnTo>
                    <a:pt x="943" y="435"/>
                  </a:lnTo>
                  <a:lnTo>
                    <a:pt x="943" y="435"/>
                  </a:lnTo>
                  <a:lnTo>
                    <a:pt x="945" y="435"/>
                  </a:lnTo>
                  <a:lnTo>
                    <a:pt x="945" y="435"/>
                  </a:lnTo>
                  <a:lnTo>
                    <a:pt x="943" y="438"/>
                  </a:lnTo>
                  <a:lnTo>
                    <a:pt x="943" y="440"/>
                  </a:lnTo>
                  <a:lnTo>
                    <a:pt x="943" y="440"/>
                  </a:lnTo>
                  <a:lnTo>
                    <a:pt x="940" y="440"/>
                  </a:lnTo>
                  <a:lnTo>
                    <a:pt x="940" y="440"/>
                  </a:lnTo>
                  <a:lnTo>
                    <a:pt x="938" y="440"/>
                  </a:lnTo>
                  <a:lnTo>
                    <a:pt x="938" y="440"/>
                  </a:lnTo>
                  <a:lnTo>
                    <a:pt x="938" y="443"/>
                  </a:lnTo>
                  <a:lnTo>
                    <a:pt x="938" y="443"/>
                  </a:lnTo>
                  <a:lnTo>
                    <a:pt x="938" y="443"/>
                  </a:lnTo>
                  <a:lnTo>
                    <a:pt x="938" y="443"/>
                  </a:lnTo>
                  <a:lnTo>
                    <a:pt x="938" y="443"/>
                  </a:lnTo>
                  <a:lnTo>
                    <a:pt x="940" y="443"/>
                  </a:lnTo>
                  <a:lnTo>
                    <a:pt x="940" y="445"/>
                  </a:lnTo>
                  <a:lnTo>
                    <a:pt x="940" y="445"/>
                  </a:lnTo>
                  <a:lnTo>
                    <a:pt x="938" y="447"/>
                  </a:lnTo>
                  <a:lnTo>
                    <a:pt x="938" y="447"/>
                  </a:lnTo>
                  <a:lnTo>
                    <a:pt x="936" y="447"/>
                  </a:lnTo>
                  <a:lnTo>
                    <a:pt x="936" y="447"/>
                  </a:lnTo>
                  <a:lnTo>
                    <a:pt x="936" y="450"/>
                  </a:lnTo>
                  <a:lnTo>
                    <a:pt x="938" y="450"/>
                  </a:lnTo>
                  <a:lnTo>
                    <a:pt x="938" y="450"/>
                  </a:lnTo>
                  <a:lnTo>
                    <a:pt x="938" y="447"/>
                  </a:lnTo>
                  <a:lnTo>
                    <a:pt x="938" y="447"/>
                  </a:lnTo>
                  <a:lnTo>
                    <a:pt x="938" y="447"/>
                  </a:lnTo>
                  <a:lnTo>
                    <a:pt x="938" y="450"/>
                  </a:lnTo>
                  <a:lnTo>
                    <a:pt x="938" y="450"/>
                  </a:lnTo>
                  <a:lnTo>
                    <a:pt x="938" y="450"/>
                  </a:lnTo>
                  <a:lnTo>
                    <a:pt x="938" y="452"/>
                  </a:lnTo>
                  <a:lnTo>
                    <a:pt x="936" y="452"/>
                  </a:lnTo>
                  <a:lnTo>
                    <a:pt x="936" y="454"/>
                  </a:lnTo>
                  <a:lnTo>
                    <a:pt x="933" y="454"/>
                  </a:lnTo>
                  <a:lnTo>
                    <a:pt x="933" y="457"/>
                  </a:lnTo>
                  <a:lnTo>
                    <a:pt x="933" y="457"/>
                  </a:lnTo>
                  <a:lnTo>
                    <a:pt x="931" y="457"/>
                  </a:lnTo>
                  <a:lnTo>
                    <a:pt x="931" y="459"/>
                  </a:lnTo>
                  <a:lnTo>
                    <a:pt x="931" y="459"/>
                  </a:lnTo>
                  <a:lnTo>
                    <a:pt x="931" y="459"/>
                  </a:lnTo>
                  <a:lnTo>
                    <a:pt x="931" y="459"/>
                  </a:lnTo>
                  <a:lnTo>
                    <a:pt x="928" y="462"/>
                  </a:lnTo>
                  <a:lnTo>
                    <a:pt x="928" y="464"/>
                  </a:lnTo>
                  <a:lnTo>
                    <a:pt x="928" y="464"/>
                  </a:lnTo>
                  <a:lnTo>
                    <a:pt x="926" y="466"/>
                  </a:lnTo>
                  <a:lnTo>
                    <a:pt x="924" y="466"/>
                  </a:lnTo>
                  <a:lnTo>
                    <a:pt x="924" y="466"/>
                  </a:lnTo>
                  <a:lnTo>
                    <a:pt x="924" y="466"/>
                  </a:lnTo>
                  <a:lnTo>
                    <a:pt x="921" y="469"/>
                  </a:lnTo>
                  <a:lnTo>
                    <a:pt x="919" y="469"/>
                  </a:lnTo>
                  <a:lnTo>
                    <a:pt x="919" y="471"/>
                  </a:lnTo>
                  <a:lnTo>
                    <a:pt x="917" y="471"/>
                  </a:lnTo>
                  <a:lnTo>
                    <a:pt x="917" y="469"/>
                  </a:lnTo>
                  <a:lnTo>
                    <a:pt x="914" y="469"/>
                  </a:lnTo>
                  <a:lnTo>
                    <a:pt x="912" y="469"/>
                  </a:lnTo>
                  <a:lnTo>
                    <a:pt x="914" y="469"/>
                  </a:lnTo>
                  <a:lnTo>
                    <a:pt x="917" y="466"/>
                  </a:lnTo>
                  <a:lnTo>
                    <a:pt x="917" y="466"/>
                  </a:lnTo>
                  <a:lnTo>
                    <a:pt x="919" y="466"/>
                  </a:lnTo>
                  <a:lnTo>
                    <a:pt x="919" y="466"/>
                  </a:lnTo>
                  <a:lnTo>
                    <a:pt x="919" y="469"/>
                  </a:lnTo>
                  <a:lnTo>
                    <a:pt x="919" y="469"/>
                  </a:lnTo>
                  <a:lnTo>
                    <a:pt x="921" y="466"/>
                  </a:lnTo>
                  <a:lnTo>
                    <a:pt x="921" y="466"/>
                  </a:lnTo>
                  <a:lnTo>
                    <a:pt x="921" y="466"/>
                  </a:lnTo>
                  <a:lnTo>
                    <a:pt x="921" y="466"/>
                  </a:lnTo>
                  <a:lnTo>
                    <a:pt x="924" y="466"/>
                  </a:lnTo>
                  <a:lnTo>
                    <a:pt x="924" y="464"/>
                  </a:lnTo>
                  <a:lnTo>
                    <a:pt x="926" y="462"/>
                  </a:lnTo>
                  <a:lnTo>
                    <a:pt x="926" y="462"/>
                  </a:lnTo>
                  <a:lnTo>
                    <a:pt x="926" y="459"/>
                  </a:lnTo>
                  <a:lnTo>
                    <a:pt x="926" y="459"/>
                  </a:lnTo>
                  <a:lnTo>
                    <a:pt x="926" y="459"/>
                  </a:lnTo>
                  <a:lnTo>
                    <a:pt x="926" y="459"/>
                  </a:lnTo>
                  <a:lnTo>
                    <a:pt x="928" y="457"/>
                  </a:lnTo>
                  <a:lnTo>
                    <a:pt x="928" y="457"/>
                  </a:lnTo>
                  <a:lnTo>
                    <a:pt x="931" y="457"/>
                  </a:lnTo>
                  <a:lnTo>
                    <a:pt x="931" y="454"/>
                  </a:lnTo>
                  <a:lnTo>
                    <a:pt x="933" y="452"/>
                  </a:lnTo>
                  <a:lnTo>
                    <a:pt x="931" y="452"/>
                  </a:lnTo>
                  <a:lnTo>
                    <a:pt x="931" y="452"/>
                  </a:lnTo>
                  <a:lnTo>
                    <a:pt x="931" y="454"/>
                  </a:lnTo>
                  <a:lnTo>
                    <a:pt x="931" y="454"/>
                  </a:lnTo>
                  <a:lnTo>
                    <a:pt x="926" y="457"/>
                  </a:lnTo>
                  <a:lnTo>
                    <a:pt x="926" y="457"/>
                  </a:lnTo>
                  <a:lnTo>
                    <a:pt x="924" y="459"/>
                  </a:lnTo>
                  <a:lnTo>
                    <a:pt x="921" y="459"/>
                  </a:lnTo>
                  <a:lnTo>
                    <a:pt x="919" y="462"/>
                  </a:lnTo>
                  <a:lnTo>
                    <a:pt x="917" y="462"/>
                  </a:lnTo>
                  <a:lnTo>
                    <a:pt x="917" y="464"/>
                  </a:lnTo>
                  <a:lnTo>
                    <a:pt x="917" y="464"/>
                  </a:lnTo>
                  <a:lnTo>
                    <a:pt x="917" y="464"/>
                  </a:lnTo>
                  <a:lnTo>
                    <a:pt x="919" y="464"/>
                  </a:lnTo>
                  <a:lnTo>
                    <a:pt x="919" y="464"/>
                  </a:lnTo>
                  <a:lnTo>
                    <a:pt x="917" y="464"/>
                  </a:lnTo>
                  <a:lnTo>
                    <a:pt x="914" y="464"/>
                  </a:lnTo>
                  <a:lnTo>
                    <a:pt x="914" y="464"/>
                  </a:lnTo>
                  <a:lnTo>
                    <a:pt x="914" y="464"/>
                  </a:lnTo>
                  <a:lnTo>
                    <a:pt x="917" y="464"/>
                  </a:lnTo>
                  <a:lnTo>
                    <a:pt x="919" y="462"/>
                  </a:lnTo>
                  <a:lnTo>
                    <a:pt x="926" y="457"/>
                  </a:lnTo>
                  <a:lnTo>
                    <a:pt x="926" y="457"/>
                  </a:lnTo>
                  <a:lnTo>
                    <a:pt x="926" y="457"/>
                  </a:lnTo>
                  <a:lnTo>
                    <a:pt x="926" y="457"/>
                  </a:lnTo>
                  <a:lnTo>
                    <a:pt x="928" y="454"/>
                  </a:lnTo>
                  <a:lnTo>
                    <a:pt x="931" y="452"/>
                  </a:lnTo>
                  <a:lnTo>
                    <a:pt x="931" y="452"/>
                  </a:lnTo>
                  <a:lnTo>
                    <a:pt x="931" y="450"/>
                  </a:lnTo>
                  <a:lnTo>
                    <a:pt x="931" y="450"/>
                  </a:lnTo>
                  <a:lnTo>
                    <a:pt x="931" y="450"/>
                  </a:lnTo>
                  <a:lnTo>
                    <a:pt x="928" y="450"/>
                  </a:lnTo>
                  <a:lnTo>
                    <a:pt x="928" y="450"/>
                  </a:lnTo>
                  <a:lnTo>
                    <a:pt x="926" y="450"/>
                  </a:lnTo>
                  <a:lnTo>
                    <a:pt x="926" y="450"/>
                  </a:lnTo>
                  <a:lnTo>
                    <a:pt x="926" y="447"/>
                  </a:lnTo>
                  <a:lnTo>
                    <a:pt x="926" y="447"/>
                  </a:lnTo>
                  <a:lnTo>
                    <a:pt x="924" y="450"/>
                  </a:lnTo>
                  <a:lnTo>
                    <a:pt x="921" y="450"/>
                  </a:lnTo>
                  <a:lnTo>
                    <a:pt x="912" y="447"/>
                  </a:lnTo>
                  <a:lnTo>
                    <a:pt x="910" y="447"/>
                  </a:lnTo>
                  <a:lnTo>
                    <a:pt x="910" y="447"/>
                  </a:lnTo>
                  <a:lnTo>
                    <a:pt x="907" y="445"/>
                  </a:lnTo>
                  <a:lnTo>
                    <a:pt x="905" y="443"/>
                  </a:lnTo>
                  <a:lnTo>
                    <a:pt x="903" y="443"/>
                  </a:lnTo>
                  <a:lnTo>
                    <a:pt x="903" y="445"/>
                  </a:lnTo>
                  <a:lnTo>
                    <a:pt x="900" y="447"/>
                  </a:lnTo>
                  <a:lnTo>
                    <a:pt x="898" y="452"/>
                  </a:lnTo>
                  <a:lnTo>
                    <a:pt x="898" y="454"/>
                  </a:lnTo>
                  <a:lnTo>
                    <a:pt x="898" y="457"/>
                  </a:lnTo>
                  <a:lnTo>
                    <a:pt x="898" y="459"/>
                  </a:lnTo>
                  <a:lnTo>
                    <a:pt x="895" y="464"/>
                  </a:lnTo>
                  <a:lnTo>
                    <a:pt x="895" y="469"/>
                  </a:lnTo>
                  <a:lnTo>
                    <a:pt x="893" y="471"/>
                  </a:lnTo>
                  <a:lnTo>
                    <a:pt x="893" y="471"/>
                  </a:lnTo>
                  <a:lnTo>
                    <a:pt x="893" y="473"/>
                  </a:lnTo>
                  <a:lnTo>
                    <a:pt x="893" y="471"/>
                  </a:lnTo>
                  <a:lnTo>
                    <a:pt x="893" y="471"/>
                  </a:lnTo>
                  <a:lnTo>
                    <a:pt x="895" y="471"/>
                  </a:lnTo>
                  <a:lnTo>
                    <a:pt x="895" y="473"/>
                  </a:lnTo>
                  <a:lnTo>
                    <a:pt x="898" y="473"/>
                  </a:lnTo>
                  <a:lnTo>
                    <a:pt x="891" y="476"/>
                  </a:lnTo>
                  <a:lnTo>
                    <a:pt x="891" y="478"/>
                  </a:lnTo>
                  <a:lnTo>
                    <a:pt x="891" y="478"/>
                  </a:lnTo>
                  <a:lnTo>
                    <a:pt x="893" y="478"/>
                  </a:lnTo>
                  <a:lnTo>
                    <a:pt x="891" y="483"/>
                  </a:lnTo>
                  <a:lnTo>
                    <a:pt x="888" y="483"/>
                  </a:lnTo>
                  <a:lnTo>
                    <a:pt x="888" y="483"/>
                  </a:lnTo>
                  <a:lnTo>
                    <a:pt x="888" y="480"/>
                  </a:lnTo>
                  <a:lnTo>
                    <a:pt x="888" y="483"/>
                  </a:lnTo>
                  <a:lnTo>
                    <a:pt x="886" y="485"/>
                  </a:lnTo>
                  <a:lnTo>
                    <a:pt x="884" y="488"/>
                  </a:lnTo>
                  <a:lnTo>
                    <a:pt x="886" y="488"/>
                  </a:lnTo>
                  <a:lnTo>
                    <a:pt x="886" y="488"/>
                  </a:lnTo>
                  <a:lnTo>
                    <a:pt x="891" y="488"/>
                  </a:lnTo>
                  <a:lnTo>
                    <a:pt x="891" y="488"/>
                  </a:lnTo>
                  <a:lnTo>
                    <a:pt x="893" y="488"/>
                  </a:lnTo>
                  <a:lnTo>
                    <a:pt x="893" y="488"/>
                  </a:lnTo>
                  <a:lnTo>
                    <a:pt x="895" y="490"/>
                  </a:lnTo>
                  <a:lnTo>
                    <a:pt x="895" y="490"/>
                  </a:lnTo>
                  <a:lnTo>
                    <a:pt x="895" y="490"/>
                  </a:lnTo>
                  <a:lnTo>
                    <a:pt x="895" y="490"/>
                  </a:lnTo>
                  <a:lnTo>
                    <a:pt x="893" y="490"/>
                  </a:lnTo>
                  <a:lnTo>
                    <a:pt x="893" y="488"/>
                  </a:lnTo>
                  <a:lnTo>
                    <a:pt x="893" y="488"/>
                  </a:lnTo>
                  <a:lnTo>
                    <a:pt x="888" y="490"/>
                  </a:lnTo>
                  <a:lnTo>
                    <a:pt x="886" y="490"/>
                  </a:lnTo>
                  <a:lnTo>
                    <a:pt x="886" y="488"/>
                  </a:lnTo>
                  <a:lnTo>
                    <a:pt x="884" y="488"/>
                  </a:lnTo>
                  <a:lnTo>
                    <a:pt x="884" y="490"/>
                  </a:lnTo>
                  <a:lnTo>
                    <a:pt x="884" y="490"/>
                  </a:lnTo>
                  <a:lnTo>
                    <a:pt x="879" y="497"/>
                  </a:lnTo>
                  <a:lnTo>
                    <a:pt x="877" y="502"/>
                  </a:lnTo>
                  <a:lnTo>
                    <a:pt x="874" y="504"/>
                  </a:lnTo>
                  <a:lnTo>
                    <a:pt x="874" y="504"/>
                  </a:lnTo>
                  <a:lnTo>
                    <a:pt x="865" y="521"/>
                  </a:lnTo>
                  <a:lnTo>
                    <a:pt x="863" y="523"/>
                  </a:lnTo>
                  <a:lnTo>
                    <a:pt x="860" y="525"/>
                  </a:lnTo>
                  <a:lnTo>
                    <a:pt x="860" y="528"/>
                  </a:lnTo>
                  <a:lnTo>
                    <a:pt x="858" y="528"/>
                  </a:lnTo>
                  <a:lnTo>
                    <a:pt x="853" y="535"/>
                  </a:lnTo>
                  <a:lnTo>
                    <a:pt x="848" y="542"/>
                  </a:lnTo>
                  <a:lnTo>
                    <a:pt x="846" y="542"/>
                  </a:lnTo>
                  <a:lnTo>
                    <a:pt x="844" y="544"/>
                  </a:lnTo>
                  <a:lnTo>
                    <a:pt x="841" y="547"/>
                  </a:lnTo>
                  <a:lnTo>
                    <a:pt x="844" y="547"/>
                  </a:lnTo>
                  <a:lnTo>
                    <a:pt x="844" y="547"/>
                  </a:lnTo>
                  <a:lnTo>
                    <a:pt x="841" y="549"/>
                  </a:lnTo>
                  <a:lnTo>
                    <a:pt x="841" y="549"/>
                  </a:lnTo>
                  <a:lnTo>
                    <a:pt x="839" y="549"/>
                  </a:lnTo>
                  <a:lnTo>
                    <a:pt x="834" y="556"/>
                  </a:lnTo>
                  <a:lnTo>
                    <a:pt x="832" y="556"/>
                  </a:lnTo>
                  <a:lnTo>
                    <a:pt x="830" y="561"/>
                  </a:lnTo>
                  <a:lnTo>
                    <a:pt x="830" y="563"/>
                  </a:lnTo>
                  <a:lnTo>
                    <a:pt x="830" y="563"/>
                  </a:lnTo>
                  <a:lnTo>
                    <a:pt x="827" y="568"/>
                  </a:lnTo>
                  <a:lnTo>
                    <a:pt x="825" y="570"/>
                  </a:lnTo>
                  <a:lnTo>
                    <a:pt x="825" y="573"/>
                  </a:lnTo>
                  <a:lnTo>
                    <a:pt x="825" y="577"/>
                  </a:lnTo>
                  <a:lnTo>
                    <a:pt x="822" y="577"/>
                  </a:lnTo>
                  <a:lnTo>
                    <a:pt x="822" y="580"/>
                  </a:lnTo>
                  <a:lnTo>
                    <a:pt x="822" y="582"/>
                  </a:lnTo>
                  <a:lnTo>
                    <a:pt x="822" y="584"/>
                  </a:lnTo>
                  <a:lnTo>
                    <a:pt x="820" y="587"/>
                  </a:lnTo>
                  <a:lnTo>
                    <a:pt x="820" y="589"/>
                  </a:lnTo>
                  <a:lnTo>
                    <a:pt x="815" y="594"/>
                  </a:lnTo>
                  <a:lnTo>
                    <a:pt x="813" y="596"/>
                  </a:lnTo>
                  <a:lnTo>
                    <a:pt x="811" y="601"/>
                  </a:lnTo>
                  <a:lnTo>
                    <a:pt x="811" y="601"/>
                  </a:lnTo>
                  <a:lnTo>
                    <a:pt x="811" y="601"/>
                  </a:lnTo>
                  <a:lnTo>
                    <a:pt x="811" y="601"/>
                  </a:lnTo>
                  <a:lnTo>
                    <a:pt x="808" y="601"/>
                  </a:lnTo>
                  <a:lnTo>
                    <a:pt x="808" y="603"/>
                  </a:lnTo>
                  <a:lnTo>
                    <a:pt x="808" y="603"/>
                  </a:lnTo>
                  <a:lnTo>
                    <a:pt x="808" y="603"/>
                  </a:lnTo>
                  <a:lnTo>
                    <a:pt x="808" y="603"/>
                  </a:lnTo>
                  <a:lnTo>
                    <a:pt x="808" y="603"/>
                  </a:lnTo>
                  <a:lnTo>
                    <a:pt x="806" y="606"/>
                  </a:lnTo>
                  <a:lnTo>
                    <a:pt x="804" y="608"/>
                  </a:lnTo>
                  <a:lnTo>
                    <a:pt x="801" y="610"/>
                  </a:lnTo>
                  <a:lnTo>
                    <a:pt x="801" y="613"/>
                  </a:lnTo>
                  <a:lnTo>
                    <a:pt x="804" y="615"/>
                  </a:lnTo>
                  <a:lnTo>
                    <a:pt x="804" y="620"/>
                  </a:lnTo>
                  <a:lnTo>
                    <a:pt x="804" y="620"/>
                  </a:lnTo>
                  <a:lnTo>
                    <a:pt x="804" y="625"/>
                  </a:lnTo>
                  <a:lnTo>
                    <a:pt x="801" y="627"/>
                  </a:lnTo>
                  <a:lnTo>
                    <a:pt x="799" y="629"/>
                  </a:lnTo>
                  <a:lnTo>
                    <a:pt x="799" y="634"/>
                  </a:lnTo>
                  <a:lnTo>
                    <a:pt x="797" y="639"/>
                  </a:lnTo>
                  <a:lnTo>
                    <a:pt x="799" y="644"/>
                  </a:lnTo>
                  <a:lnTo>
                    <a:pt x="799" y="646"/>
                  </a:lnTo>
                  <a:lnTo>
                    <a:pt x="801" y="648"/>
                  </a:lnTo>
                  <a:lnTo>
                    <a:pt x="801" y="653"/>
                  </a:lnTo>
                  <a:lnTo>
                    <a:pt x="801" y="653"/>
                  </a:lnTo>
                  <a:lnTo>
                    <a:pt x="804" y="655"/>
                  </a:lnTo>
                  <a:lnTo>
                    <a:pt x="801" y="655"/>
                  </a:lnTo>
                  <a:lnTo>
                    <a:pt x="801" y="653"/>
                  </a:lnTo>
                  <a:lnTo>
                    <a:pt x="801" y="655"/>
                  </a:lnTo>
                  <a:lnTo>
                    <a:pt x="799" y="658"/>
                  </a:lnTo>
                  <a:lnTo>
                    <a:pt x="799" y="658"/>
                  </a:lnTo>
                  <a:lnTo>
                    <a:pt x="801" y="658"/>
                  </a:lnTo>
                  <a:lnTo>
                    <a:pt x="801" y="658"/>
                  </a:lnTo>
                  <a:lnTo>
                    <a:pt x="804" y="660"/>
                  </a:lnTo>
                  <a:lnTo>
                    <a:pt x="804" y="660"/>
                  </a:lnTo>
                  <a:lnTo>
                    <a:pt x="804" y="660"/>
                  </a:lnTo>
                  <a:lnTo>
                    <a:pt x="806" y="662"/>
                  </a:lnTo>
                  <a:lnTo>
                    <a:pt x="806" y="662"/>
                  </a:lnTo>
                  <a:lnTo>
                    <a:pt x="808" y="660"/>
                  </a:lnTo>
                  <a:lnTo>
                    <a:pt x="808" y="655"/>
                  </a:lnTo>
                  <a:lnTo>
                    <a:pt x="811" y="655"/>
                  </a:lnTo>
                  <a:lnTo>
                    <a:pt x="811" y="655"/>
                  </a:lnTo>
                  <a:lnTo>
                    <a:pt x="813" y="658"/>
                  </a:lnTo>
                  <a:lnTo>
                    <a:pt x="815" y="658"/>
                  </a:lnTo>
                  <a:lnTo>
                    <a:pt x="818" y="655"/>
                  </a:lnTo>
                  <a:lnTo>
                    <a:pt x="818" y="655"/>
                  </a:lnTo>
                  <a:lnTo>
                    <a:pt x="818" y="658"/>
                  </a:lnTo>
                  <a:lnTo>
                    <a:pt x="820" y="658"/>
                  </a:lnTo>
                  <a:lnTo>
                    <a:pt x="822" y="658"/>
                  </a:lnTo>
                  <a:lnTo>
                    <a:pt x="822" y="658"/>
                  </a:lnTo>
                  <a:lnTo>
                    <a:pt x="822" y="658"/>
                  </a:lnTo>
                  <a:lnTo>
                    <a:pt x="825" y="658"/>
                  </a:lnTo>
                  <a:lnTo>
                    <a:pt x="825" y="658"/>
                  </a:lnTo>
                  <a:lnTo>
                    <a:pt x="822" y="658"/>
                  </a:lnTo>
                  <a:lnTo>
                    <a:pt x="822" y="658"/>
                  </a:lnTo>
                  <a:lnTo>
                    <a:pt x="815" y="658"/>
                  </a:lnTo>
                  <a:lnTo>
                    <a:pt x="813" y="658"/>
                  </a:lnTo>
                  <a:lnTo>
                    <a:pt x="811" y="658"/>
                  </a:lnTo>
                  <a:lnTo>
                    <a:pt x="808" y="660"/>
                  </a:lnTo>
                  <a:lnTo>
                    <a:pt x="808" y="660"/>
                  </a:lnTo>
                  <a:lnTo>
                    <a:pt x="808" y="660"/>
                  </a:lnTo>
                  <a:lnTo>
                    <a:pt x="808" y="662"/>
                  </a:lnTo>
                  <a:lnTo>
                    <a:pt x="811" y="665"/>
                  </a:lnTo>
                  <a:lnTo>
                    <a:pt x="811" y="667"/>
                  </a:lnTo>
                  <a:lnTo>
                    <a:pt x="808" y="667"/>
                  </a:lnTo>
                  <a:lnTo>
                    <a:pt x="808" y="670"/>
                  </a:lnTo>
                  <a:lnTo>
                    <a:pt x="811" y="670"/>
                  </a:lnTo>
                  <a:lnTo>
                    <a:pt x="808" y="670"/>
                  </a:lnTo>
                  <a:lnTo>
                    <a:pt x="808" y="670"/>
                  </a:lnTo>
                  <a:lnTo>
                    <a:pt x="808" y="667"/>
                  </a:lnTo>
                  <a:lnTo>
                    <a:pt x="806" y="667"/>
                  </a:lnTo>
                  <a:lnTo>
                    <a:pt x="806" y="665"/>
                  </a:lnTo>
                  <a:lnTo>
                    <a:pt x="806" y="665"/>
                  </a:lnTo>
                  <a:lnTo>
                    <a:pt x="808" y="662"/>
                  </a:lnTo>
                  <a:lnTo>
                    <a:pt x="806" y="662"/>
                  </a:lnTo>
                  <a:lnTo>
                    <a:pt x="806" y="662"/>
                  </a:lnTo>
                  <a:lnTo>
                    <a:pt x="804" y="665"/>
                  </a:lnTo>
                  <a:lnTo>
                    <a:pt x="804" y="667"/>
                  </a:lnTo>
                  <a:lnTo>
                    <a:pt x="804" y="672"/>
                  </a:lnTo>
                  <a:lnTo>
                    <a:pt x="801" y="674"/>
                  </a:lnTo>
                  <a:lnTo>
                    <a:pt x="804" y="679"/>
                  </a:lnTo>
                  <a:lnTo>
                    <a:pt x="808" y="681"/>
                  </a:lnTo>
                  <a:lnTo>
                    <a:pt x="808" y="684"/>
                  </a:lnTo>
                  <a:lnTo>
                    <a:pt x="808" y="684"/>
                  </a:lnTo>
                  <a:lnTo>
                    <a:pt x="806" y="686"/>
                  </a:lnTo>
                  <a:lnTo>
                    <a:pt x="806" y="686"/>
                  </a:lnTo>
                  <a:lnTo>
                    <a:pt x="804" y="688"/>
                  </a:lnTo>
                  <a:lnTo>
                    <a:pt x="801" y="693"/>
                  </a:lnTo>
                  <a:lnTo>
                    <a:pt x="801" y="693"/>
                  </a:lnTo>
                  <a:lnTo>
                    <a:pt x="804" y="698"/>
                  </a:lnTo>
                  <a:lnTo>
                    <a:pt x="804" y="703"/>
                  </a:lnTo>
                  <a:lnTo>
                    <a:pt x="804" y="705"/>
                  </a:lnTo>
                  <a:lnTo>
                    <a:pt x="806" y="705"/>
                  </a:lnTo>
                  <a:lnTo>
                    <a:pt x="806" y="707"/>
                  </a:lnTo>
                  <a:lnTo>
                    <a:pt x="806" y="710"/>
                  </a:lnTo>
                  <a:lnTo>
                    <a:pt x="808" y="712"/>
                  </a:lnTo>
                  <a:lnTo>
                    <a:pt x="808" y="714"/>
                  </a:lnTo>
                  <a:lnTo>
                    <a:pt x="811" y="714"/>
                  </a:lnTo>
                  <a:lnTo>
                    <a:pt x="808" y="717"/>
                  </a:lnTo>
                  <a:lnTo>
                    <a:pt x="808" y="719"/>
                  </a:lnTo>
                  <a:lnTo>
                    <a:pt x="811" y="719"/>
                  </a:lnTo>
                  <a:lnTo>
                    <a:pt x="811" y="719"/>
                  </a:lnTo>
                  <a:lnTo>
                    <a:pt x="811" y="722"/>
                  </a:lnTo>
                  <a:lnTo>
                    <a:pt x="808" y="724"/>
                  </a:lnTo>
                  <a:lnTo>
                    <a:pt x="808" y="726"/>
                  </a:lnTo>
                  <a:lnTo>
                    <a:pt x="808" y="729"/>
                  </a:lnTo>
                  <a:lnTo>
                    <a:pt x="808" y="731"/>
                  </a:lnTo>
                  <a:lnTo>
                    <a:pt x="806" y="731"/>
                  </a:lnTo>
                  <a:lnTo>
                    <a:pt x="808" y="733"/>
                  </a:lnTo>
                  <a:lnTo>
                    <a:pt x="808" y="733"/>
                  </a:lnTo>
                  <a:lnTo>
                    <a:pt x="808" y="733"/>
                  </a:lnTo>
                  <a:lnTo>
                    <a:pt x="813" y="733"/>
                  </a:lnTo>
                  <a:lnTo>
                    <a:pt x="815" y="733"/>
                  </a:lnTo>
                  <a:lnTo>
                    <a:pt x="818" y="736"/>
                  </a:lnTo>
                  <a:lnTo>
                    <a:pt x="820" y="736"/>
                  </a:lnTo>
                  <a:lnTo>
                    <a:pt x="822" y="736"/>
                  </a:lnTo>
                  <a:lnTo>
                    <a:pt x="825" y="738"/>
                  </a:lnTo>
                  <a:lnTo>
                    <a:pt x="827" y="738"/>
                  </a:lnTo>
                  <a:lnTo>
                    <a:pt x="827" y="741"/>
                  </a:lnTo>
                  <a:lnTo>
                    <a:pt x="827" y="743"/>
                  </a:lnTo>
                  <a:lnTo>
                    <a:pt x="832" y="743"/>
                  </a:lnTo>
                  <a:lnTo>
                    <a:pt x="837" y="743"/>
                  </a:lnTo>
                  <a:lnTo>
                    <a:pt x="839" y="743"/>
                  </a:lnTo>
                  <a:lnTo>
                    <a:pt x="839" y="748"/>
                  </a:lnTo>
                  <a:lnTo>
                    <a:pt x="839" y="750"/>
                  </a:lnTo>
                  <a:lnTo>
                    <a:pt x="839" y="750"/>
                  </a:lnTo>
                  <a:lnTo>
                    <a:pt x="841" y="750"/>
                  </a:lnTo>
                  <a:lnTo>
                    <a:pt x="841" y="750"/>
                  </a:lnTo>
                  <a:lnTo>
                    <a:pt x="844" y="750"/>
                  </a:lnTo>
                  <a:lnTo>
                    <a:pt x="844" y="752"/>
                  </a:lnTo>
                  <a:lnTo>
                    <a:pt x="846" y="755"/>
                  </a:lnTo>
                  <a:lnTo>
                    <a:pt x="851" y="759"/>
                  </a:lnTo>
                  <a:lnTo>
                    <a:pt x="851" y="764"/>
                  </a:lnTo>
                  <a:lnTo>
                    <a:pt x="851" y="767"/>
                  </a:lnTo>
                  <a:lnTo>
                    <a:pt x="851" y="769"/>
                  </a:lnTo>
                  <a:lnTo>
                    <a:pt x="851" y="769"/>
                  </a:lnTo>
                  <a:lnTo>
                    <a:pt x="848" y="771"/>
                  </a:lnTo>
                  <a:lnTo>
                    <a:pt x="851" y="771"/>
                  </a:lnTo>
                  <a:lnTo>
                    <a:pt x="851" y="774"/>
                  </a:lnTo>
                  <a:lnTo>
                    <a:pt x="851" y="776"/>
                  </a:lnTo>
                  <a:lnTo>
                    <a:pt x="851" y="776"/>
                  </a:lnTo>
                  <a:lnTo>
                    <a:pt x="855" y="774"/>
                  </a:lnTo>
                  <a:lnTo>
                    <a:pt x="860" y="774"/>
                  </a:lnTo>
                  <a:lnTo>
                    <a:pt x="865" y="774"/>
                  </a:lnTo>
                  <a:lnTo>
                    <a:pt x="872" y="774"/>
                  </a:lnTo>
                  <a:lnTo>
                    <a:pt x="877" y="774"/>
                  </a:lnTo>
                  <a:lnTo>
                    <a:pt x="881" y="774"/>
                  </a:lnTo>
                  <a:lnTo>
                    <a:pt x="886" y="771"/>
                  </a:lnTo>
                  <a:lnTo>
                    <a:pt x="893" y="771"/>
                  </a:lnTo>
                  <a:lnTo>
                    <a:pt x="893" y="771"/>
                  </a:lnTo>
                  <a:lnTo>
                    <a:pt x="891" y="774"/>
                  </a:lnTo>
                  <a:lnTo>
                    <a:pt x="891" y="776"/>
                  </a:lnTo>
                  <a:lnTo>
                    <a:pt x="898" y="778"/>
                  </a:lnTo>
                  <a:lnTo>
                    <a:pt x="905" y="783"/>
                  </a:lnTo>
                  <a:lnTo>
                    <a:pt x="912" y="785"/>
                  </a:lnTo>
                  <a:lnTo>
                    <a:pt x="919" y="788"/>
                  </a:lnTo>
                  <a:lnTo>
                    <a:pt x="926" y="790"/>
                  </a:lnTo>
                  <a:lnTo>
                    <a:pt x="933" y="795"/>
                  </a:lnTo>
                  <a:lnTo>
                    <a:pt x="940" y="797"/>
                  </a:lnTo>
                  <a:lnTo>
                    <a:pt x="947" y="800"/>
                  </a:lnTo>
                  <a:lnTo>
                    <a:pt x="954" y="800"/>
                  </a:lnTo>
                  <a:lnTo>
                    <a:pt x="961" y="800"/>
                  </a:lnTo>
                  <a:lnTo>
                    <a:pt x="966" y="800"/>
                  </a:lnTo>
                  <a:lnTo>
                    <a:pt x="973" y="800"/>
                  </a:lnTo>
                  <a:lnTo>
                    <a:pt x="980" y="800"/>
                  </a:lnTo>
                  <a:lnTo>
                    <a:pt x="985" y="800"/>
                  </a:lnTo>
                  <a:lnTo>
                    <a:pt x="992" y="800"/>
                  </a:lnTo>
                  <a:lnTo>
                    <a:pt x="999" y="800"/>
                  </a:lnTo>
                  <a:lnTo>
                    <a:pt x="999" y="797"/>
                  </a:lnTo>
                  <a:lnTo>
                    <a:pt x="1002" y="795"/>
                  </a:lnTo>
                  <a:lnTo>
                    <a:pt x="1002" y="793"/>
                  </a:lnTo>
                  <a:lnTo>
                    <a:pt x="1002" y="790"/>
                  </a:lnTo>
                  <a:lnTo>
                    <a:pt x="1006" y="790"/>
                  </a:lnTo>
                  <a:lnTo>
                    <a:pt x="1011" y="790"/>
                  </a:lnTo>
                  <a:lnTo>
                    <a:pt x="1013" y="790"/>
                  </a:lnTo>
                  <a:lnTo>
                    <a:pt x="1018" y="790"/>
                  </a:lnTo>
                  <a:lnTo>
                    <a:pt x="1023" y="790"/>
                  </a:lnTo>
                  <a:lnTo>
                    <a:pt x="1025" y="790"/>
                  </a:lnTo>
                  <a:lnTo>
                    <a:pt x="1030" y="790"/>
                  </a:lnTo>
                  <a:lnTo>
                    <a:pt x="1032" y="790"/>
                  </a:lnTo>
                  <a:lnTo>
                    <a:pt x="1035" y="790"/>
                  </a:lnTo>
                  <a:lnTo>
                    <a:pt x="1035" y="790"/>
                  </a:lnTo>
                  <a:lnTo>
                    <a:pt x="1035" y="793"/>
                  </a:lnTo>
                  <a:lnTo>
                    <a:pt x="1035" y="795"/>
                  </a:lnTo>
                  <a:lnTo>
                    <a:pt x="1037" y="797"/>
                  </a:lnTo>
                  <a:lnTo>
                    <a:pt x="1039" y="800"/>
                  </a:lnTo>
                  <a:lnTo>
                    <a:pt x="1042" y="802"/>
                  </a:lnTo>
                  <a:lnTo>
                    <a:pt x="1044" y="807"/>
                  </a:lnTo>
                  <a:lnTo>
                    <a:pt x="1046" y="811"/>
                  </a:lnTo>
                  <a:lnTo>
                    <a:pt x="1051" y="814"/>
                  </a:lnTo>
                  <a:lnTo>
                    <a:pt x="1051" y="814"/>
                  </a:lnTo>
                  <a:lnTo>
                    <a:pt x="1051" y="816"/>
                  </a:lnTo>
                  <a:lnTo>
                    <a:pt x="1053" y="819"/>
                  </a:lnTo>
                  <a:lnTo>
                    <a:pt x="1053" y="826"/>
                  </a:lnTo>
                  <a:lnTo>
                    <a:pt x="1053" y="828"/>
                  </a:lnTo>
                  <a:lnTo>
                    <a:pt x="1053" y="830"/>
                  </a:lnTo>
                  <a:lnTo>
                    <a:pt x="1053" y="835"/>
                  </a:lnTo>
                  <a:lnTo>
                    <a:pt x="1056" y="837"/>
                  </a:lnTo>
                  <a:lnTo>
                    <a:pt x="1056" y="837"/>
                  </a:lnTo>
                  <a:lnTo>
                    <a:pt x="1058" y="840"/>
                  </a:lnTo>
                  <a:lnTo>
                    <a:pt x="1058" y="842"/>
                  </a:lnTo>
                  <a:lnTo>
                    <a:pt x="1060" y="842"/>
                  </a:lnTo>
                  <a:lnTo>
                    <a:pt x="1063" y="842"/>
                  </a:lnTo>
                  <a:lnTo>
                    <a:pt x="1065" y="845"/>
                  </a:lnTo>
                  <a:lnTo>
                    <a:pt x="1070" y="847"/>
                  </a:lnTo>
                  <a:lnTo>
                    <a:pt x="1072" y="849"/>
                  </a:lnTo>
                  <a:lnTo>
                    <a:pt x="1072" y="849"/>
                  </a:lnTo>
                  <a:lnTo>
                    <a:pt x="1075" y="849"/>
                  </a:lnTo>
                  <a:lnTo>
                    <a:pt x="1077" y="847"/>
                  </a:lnTo>
                  <a:lnTo>
                    <a:pt x="1079" y="845"/>
                  </a:lnTo>
                  <a:lnTo>
                    <a:pt x="1079" y="845"/>
                  </a:lnTo>
                  <a:lnTo>
                    <a:pt x="1079" y="845"/>
                  </a:lnTo>
                  <a:lnTo>
                    <a:pt x="1079" y="842"/>
                  </a:lnTo>
                  <a:lnTo>
                    <a:pt x="1082" y="840"/>
                  </a:lnTo>
                  <a:lnTo>
                    <a:pt x="1084" y="835"/>
                  </a:lnTo>
                  <a:lnTo>
                    <a:pt x="1089" y="833"/>
                  </a:lnTo>
                  <a:lnTo>
                    <a:pt x="1091" y="833"/>
                  </a:lnTo>
                  <a:lnTo>
                    <a:pt x="1091" y="833"/>
                  </a:lnTo>
                  <a:lnTo>
                    <a:pt x="1093" y="830"/>
                  </a:lnTo>
                  <a:lnTo>
                    <a:pt x="1096" y="830"/>
                  </a:lnTo>
                  <a:lnTo>
                    <a:pt x="1096" y="833"/>
                  </a:lnTo>
                  <a:lnTo>
                    <a:pt x="1098" y="833"/>
                  </a:lnTo>
                  <a:lnTo>
                    <a:pt x="1103" y="833"/>
                  </a:lnTo>
                  <a:lnTo>
                    <a:pt x="1105" y="833"/>
                  </a:lnTo>
                  <a:lnTo>
                    <a:pt x="1108" y="833"/>
                  </a:lnTo>
                  <a:lnTo>
                    <a:pt x="1108" y="833"/>
                  </a:lnTo>
                  <a:lnTo>
                    <a:pt x="1108" y="833"/>
                  </a:lnTo>
                  <a:lnTo>
                    <a:pt x="1108" y="833"/>
                  </a:lnTo>
                  <a:lnTo>
                    <a:pt x="1110" y="833"/>
                  </a:lnTo>
                  <a:lnTo>
                    <a:pt x="1110" y="833"/>
                  </a:lnTo>
                  <a:lnTo>
                    <a:pt x="1110" y="835"/>
                  </a:lnTo>
                  <a:lnTo>
                    <a:pt x="1115" y="840"/>
                  </a:lnTo>
                  <a:lnTo>
                    <a:pt x="1115" y="840"/>
                  </a:lnTo>
                  <a:lnTo>
                    <a:pt x="1115" y="842"/>
                  </a:lnTo>
                  <a:lnTo>
                    <a:pt x="1115" y="842"/>
                  </a:lnTo>
                  <a:lnTo>
                    <a:pt x="1117" y="845"/>
                  </a:lnTo>
                  <a:lnTo>
                    <a:pt x="1119" y="847"/>
                  </a:lnTo>
                  <a:lnTo>
                    <a:pt x="1119" y="849"/>
                  </a:lnTo>
                  <a:lnTo>
                    <a:pt x="1119" y="854"/>
                  </a:lnTo>
                  <a:lnTo>
                    <a:pt x="1119" y="859"/>
                  </a:lnTo>
                  <a:lnTo>
                    <a:pt x="1122" y="861"/>
                  </a:lnTo>
                  <a:lnTo>
                    <a:pt x="1122" y="861"/>
                  </a:lnTo>
                  <a:lnTo>
                    <a:pt x="1122" y="861"/>
                  </a:lnTo>
                  <a:lnTo>
                    <a:pt x="1122" y="863"/>
                  </a:lnTo>
                  <a:lnTo>
                    <a:pt x="1122" y="866"/>
                  </a:lnTo>
                  <a:lnTo>
                    <a:pt x="1124" y="866"/>
                  </a:lnTo>
                  <a:lnTo>
                    <a:pt x="1124" y="871"/>
                  </a:lnTo>
                  <a:lnTo>
                    <a:pt x="1126" y="873"/>
                  </a:lnTo>
                  <a:lnTo>
                    <a:pt x="1126" y="875"/>
                  </a:lnTo>
                  <a:lnTo>
                    <a:pt x="1129" y="878"/>
                  </a:lnTo>
                  <a:lnTo>
                    <a:pt x="1131" y="880"/>
                  </a:lnTo>
                  <a:lnTo>
                    <a:pt x="1131" y="882"/>
                  </a:lnTo>
                  <a:lnTo>
                    <a:pt x="1131" y="882"/>
                  </a:lnTo>
                  <a:lnTo>
                    <a:pt x="1129" y="885"/>
                  </a:lnTo>
                  <a:lnTo>
                    <a:pt x="1129" y="885"/>
                  </a:lnTo>
                  <a:lnTo>
                    <a:pt x="1129" y="887"/>
                  </a:lnTo>
                  <a:lnTo>
                    <a:pt x="1129" y="887"/>
                  </a:lnTo>
                  <a:lnTo>
                    <a:pt x="1129" y="889"/>
                  </a:lnTo>
                  <a:lnTo>
                    <a:pt x="1129" y="889"/>
                  </a:lnTo>
                  <a:lnTo>
                    <a:pt x="1129" y="889"/>
                  </a:lnTo>
                  <a:lnTo>
                    <a:pt x="1129" y="892"/>
                  </a:lnTo>
                  <a:lnTo>
                    <a:pt x="1131" y="894"/>
                  </a:lnTo>
                  <a:lnTo>
                    <a:pt x="1131" y="897"/>
                  </a:lnTo>
                  <a:lnTo>
                    <a:pt x="1131" y="901"/>
                  </a:lnTo>
                  <a:lnTo>
                    <a:pt x="1131" y="901"/>
                  </a:lnTo>
                  <a:lnTo>
                    <a:pt x="1131" y="904"/>
                  </a:lnTo>
                  <a:lnTo>
                    <a:pt x="1134" y="904"/>
                  </a:lnTo>
                  <a:lnTo>
                    <a:pt x="1136" y="904"/>
                  </a:lnTo>
                  <a:lnTo>
                    <a:pt x="1138" y="906"/>
                  </a:lnTo>
                  <a:lnTo>
                    <a:pt x="1138" y="906"/>
                  </a:lnTo>
                  <a:lnTo>
                    <a:pt x="1141" y="908"/>
                  </a:lnTo>
                  <a:lnTo>
                    <a:pt x="1143" y="908"/>
                  </a:lnTo>
                  <a:lnTo>
                    <a:pt x="1143" y="908"/>
                  </a:lnTo>
                  <a:lnTo>
                    <a:pt x="1145" y="911"/>
                  </a:lnTo>
                  <a:lnTo>
                    <a:pt x="1148" y="911"/>
                  </a:lnTo>
                  <a:lnTo>
                    <a:pt x="1155" y="913"/>
                  </a:lnTo>
                  <a:lnTo>
                    <a:pt x="1157" y="913"/>
                  </a:lnTo>
                  <a:lnTo>
                    <a:pt x="1159" y="915"/>
                  </a:lnTo>
                  <a:lnTo>
                    <a:pt x="1159" y="915"/>
                  </a:lnTo>
                  <a:lnTo>
                    <a:pt x="1162" y="915"/>
                  </a:lnTo>
                  <a:lnTo>
                    <a:pt x="1162" y="915"/>
                  </a:lnTo>
                  <a:lnTo>
                    <a:pt x="1162" y="915"/>
                  </a:lnTo>
                  <a:lnTo>
                    <a:pt x="1162" y="913"/>
                  </a:lnTo>
                  <a:lnTo>
                    <a:pt x="1164" y="913"/>
                  </a:lnTo>
                  <a:lnTo>
                    <a:pt x="1167" y="913"/>
                  </a:lnTo>
                  <a:lnTo>
                    <a:pt x="1167" y="911"/>
                  </a:lnTo>
                  <a:lnTo>
                    <a:pt x="1164" y="911"/>
                  </a:lnTo>
                  <a:lnTo>
                    <a:pt x="1162" y="904"/>
                  </a:lnTo>
                  <a:lnTo>
                    <a:pt x="1162" y="904"/>
                  </a:lnTo>
                  <a:lnTo>
                    <a:pt x="1162" y="899"/>
                  </a:lnTo>
                  <a:lnTo>
                    <a:pt x="1162" y="897"/>
                  </a:lnTo>
                  <a:lnTo>
                    <a:pt x="1162" y="894"/>
                  </a:lnTo>
                  <a:lnTo>
                    <a:pt x="1162" y="892"/>
                  </a:lnTo>
                  <a:lnTo>
                    <a:pt x="1164" y="889"/>
                  </a:lnTo>
                  <a:lnTo>
                    <a:pt x="1164" y="889"/>
                  </a:lnTo>
                  <a:lnTo>
                    <a:pt x="1164" y="887"/>
                  </a:lnTo>
                  <a:lnTo>
                    <a:pt x="1164" y="887"/>
                  </a:lnTo>
                  <a:lnTo>
                    <a:pt x="1162" y="885"/>
                  </a:lnTo>
                  <a:lnTo>
                    <a:pt x="1162" y="882"/>
                  </a:lnTo>
                  <a:lnTo>
                    <a:pt x="1162" y="882"/>
                  </a:lnTo>
                  <a:lnTo>
                    <a:pt x="1164" y="885"/>
                  </a:lnTo>
                  <a:lnTo>
                    <a:pt x="1167" y="885"/>
                  </a:lnTo>
                  <a:lnTo>
                    <a:pt x="1167" y="885"/>
                  </a:lnTo>
                  <a:lnTo>
                    <a:pt x="1169" y="882"/>
                  </a:lnTo>
                  <a:lnTo>
                    <a:pt x="1171" y="878"/>
                  </a:lnTo>
                  <a:lnTo>
                    <a:pt x="1169" y="873"/>
                  </a:lnTo>
                  <a:lnTo>
                    <a:pt x="1169" y="873"/>
                  </a:lnTo>
                  <a:lnTo>
                    <a:pt x="1171" y="873"/>
                  </a:lnTo>
                  <a:lnTo>
                    <a:pt x="1174" y="873"/>
                  </a:lnTo>
                  <a:lnTo>
                    <a:pt x="1174" y="873"/>
                  </a:lnTo>
                  <a:lnTo>
                    <a:pt x="1176" y="871"/>
                  </a:lnTo>
                  <a:lnTo>
                    <a:pt x="1178" y="868"/>
                  </a:lnTo>
                  <a:lnTo>
                    <a:pt x="1176" y="868"/>
                  </a:lnTo>
                  <a:lnTo>
                    <a:pt x="1176" y="868"/>
                  </a:lnTo>
                  <a:lnTo>
                    <a:pt x="1176" y="868"/>
                  </a:lnTo>
                  <a:lnTo>
                    <a:pt x="1178" y="868"/>
                  </a:lnTo>
                  <a:lnTo>
                    <a:pt x="1178" y="868"/>
                  </a:lnTo>
                  <a:lnTo>
                    <a:pt x="1181" y="866"/>
                  </a:lnTo>
                  <a:lnTo>
                    <a:pt x="1181" y="866"/>
                  </a:lnTo>
                  <a:lnTo>
                    <a:pt x="1181" y="866"/>
                  </a:lnTo>
                  <a:lnTo>
                    <a:pt x="1181" y="868"/>
                  </a:lnTo>
                  <a:lnTo>
                    <a:pt x="1183" y="866"/>
                  </a:lnTo>
                  <a:lnTo>
                    <a:pt x="1183" y="866"/>
                  </a:lnTo>
                  <a:lnTo>
                    <a:pt x="1183" y="863"/>
                  </a:lnTo>
                  <a:lnTo>
                    <a:pt x="1185" y="861"/>
                  </a:lnTo>
                  <a:lnTo>
                    <a:pt x="1185" y="863"/>
                  </a:lnTo>
                  <a:lnTo>
                    <a:pt x="1188" y="863"/>
                  </a:lnTo>
                  <a:lnTo>
                    <a:pt x="1190" y="861"/>
                  </a:lnTo>
                  <a:lnTo>
                    <a:pt x="1190" y="861"/>
                  </a:lnTo>
                  <a:lnTo>
                    <a:pt x="1190" y="861"/>
                  </a:lnTo>
                  <a:lnTo>
                    <a:pt x="1190" y="861"/>
                  </a:lnTo>
                  <a:lnTo>
                    <a:pt x="1188" y="856"/>
                  </a:lnTo>
                  <a:lnTo>
                    <a:pt x="1190" y="856"/>
                  </a:lnTo>
                  <a:lnTo>
                    <a:pt x="1190" y="856"/>
                  </a:lnTo>
                  <a:lnTo>
                    <a:pt x="1190" y="856"/>
                  </a:lnTo>
                  <a:lnTo>
                    <a:pt x="1190" y="856"/>
                  </a:lnTo>
                  <a:lnTo>
                    <a:pt x="1190" y="859"/>
                  </a:lnTo>
                  <a:lnTo>
                    <a:pt x="1192" y="856"/>
                  </a:lnTo>
                  <a:lnTo>
                    <a:pt x="1192" y="856"/>
                  </a:lnTo>
                  <a:lnTo>
                    <a:pt x="1195" y="856"/>
                  </a:lnTo>
                  <a:lnTo>
                    <a:pt x="1197" y="856"/>
                  </a:lnTo>
                  <a:lnTo>
                    <a:pt x="1200" y="856"/>
                  </a:lnTo>
                  <a:lnTo>
                    <a:pt x="1197" y="859"/>
                  </a:lnTo>
                  <a:lnTo>
                    <a:pt x="1195" y="861"/>
                  </a:lnTo>
                  <a:lnTo>
                    <a:pt x="1195" y="861"/>
                  </a:lnTo>
                  <a:lnTo>
                    <a:pt x="1200" y="859"/>
                  </a:lnTo>
                  <a:lnTo>
                    <a:pt x="1202" y="856"/>
                  </a:lnTo>
                  <a:lnTo>
                    <a:pt x="1204" y="856"/>
                  </a:lnTo>
                  <a:lnTo>
                    <a:pt x="1207" y="854"/>
                  </a:lnTo>
                  <a:lnTo>
                    <a:pt x="1211" y="852"/>
                  </a:lnTo>
                  <a:lnTo>
                    <a:pt x="1214" y="849"/>
                  </a:lnTo>
                  <a:lnTo>
                    <a:pt x="1216" y="847"/>
                  </a:lnTo>
                  <a:lnTo>
                    <a:pt x="1218" y="847"/>
                  </a:lnTo>
                  <a:lnTo>
                    <a:pt x="1221" y="845"/>
                  </a:lnTo>
                  <a:lnTo>
                    <a:pt x="1223" y="842"/>
                  </a:lnTo>
                  <a:lnTo>
                    <a:pt x="1223" y="840"/>
                  </a:lnTo>
                  <a:lnTo>
                    <a:pt x="1223" y="837"/>
                  </a:lnTo>
                  <a:lnTo>
                    <a:pt x="1223" y="835"/>
                  </a:lnTo>
                  <a:lnTo>
                    <a:pt x="1223" y="835"/>
                  </a:lnTo>
                  <a:lnTo>
                    <a:pt x="1225" y="835"/>
                  </a:lnTo>
                  <a:lnTo>
                    <a:pt x="1225" y="835"/>
                  </a:lnTo>
                  <a:lnTo>
                    <a:pt x="1228" y="833"/>
                  </a:lnTo>
                  <a:lnTo>
                    <a:pt x="1228" y="833"/>
                  </a:lnTo>
                  <a:lnTo>
                    <a:pt x="1228" y="835"/>
                  </a:lnTo>
                  <a:lnTo>
                    <a:pt x="1225" y="837"/>
                  </a:lnTo>
                  <a:lnTo>
                    <a:pt x="1228" y="837"/>
                  </a:lnTo>
                  <a:lnTo>
                    <a:pt x="1230" y="837"/>
                  </a:lnTo>
                  <a:lnTo>
                    <a:pt x="1230" y="837"/>
                  </a:lnTo>
                  <a:lnTo>
                    <a:pt x="1225" y="840"/>
                  </a:lnTo>
                  <a:lnTo>
                    <a:pt x="1225" y="842"/>
                  </a:lnTo>
                  <a:lnTo>
                    <a:pt x="1230" y="840"/>
                  </a:lnTo>
                  <a:lnTo>
                    <a:pt x="1240" y="835"/>
                  </a:lnTo>
                  <a:lnTo>
                    <a:pt x="1244" y="835"/>
                  </a:lnTo>
                  <a:lnTo>
                    <a:pt x="1244" y="835"/>
                  </a:lnTo>
                  <a:lnTo>
                    <a:pt x="1242" y="833"/>
                  </a:lnTo>
                  <a:lnTo>
                    <a:pt x="1247" y="828"/>
                  </a:lnTo>
                  <a:lnTo>
                    <a:pt x="1247" y="828"/>
                  </a:lnTo>
                  <a:lnTo>
                    <a:pt x="1247" y="830"/>
                  </a:lnTo>
                  <a:lnTo>
                    <a:pt x="1247" y="830"/>
                  </a:lnTo>
                  <a:lnTo>
                    <a:pt x="1247" y="833"/>
                  </a:lnTo>
                  <a:lnTo>
                    <a:pt x="1244" y="833"/>
                  </a:lnTo>
                  <a:lnTo>
                    <a:pt x="1244" y="833"/>
                  </a:lnTo>
                  <a:lnTo>
                    <a:pt x="1244" y="833"/>
                  </a:lnTo>
                  <a:lnTo>
                    <a:pt x="1244" y="835"/>
                  </a:lnTo>
                  <a:lnTo>
                    <a:pt x="1247" y="833"/>
                  </a:lnTo>
                  <a:lnTo>
                    <a:pt x="1247" y="833"/>
                  </a:lnTo>
                  <a:lnTo>
                    <a:pt x="1254" y="833"/>
                  </a:lnTo>
                  <a:lnTo>
                    <a:pt x="1254" y="833"/>
                  </a:lnTo>
                  <a:lnTo>
                    <a:pt x="1256" y="833"/>
                  </a:lnTo>
                  <a:lnTo>
                    <a:pt x="1261" y="835"/>
                  </a:lnTo>
                  <a:lnTo>
                    <a:pt x="1263" y="835"/>
                  </a:lnTo>
                  <a:lnTo>
                    <a:pt x="1266" y="837"/>
                  </a:lnTo>
                  <a:lnTo>
                    <a:pt x="1273" y="837"/>
                  </a:lnTo>
                  <a:lnTo>
                    <a:pt x="1275" y="837"/>
                  </a:lnTo>
                  <a:lnTo>
                    <a:pt x="1275" y="837"/>
                  </a:lnTo>
                  <a:lnTo>
                    <a:pt x="1275" y="835"/>
                  </a:lnTo>
                  <a:lnTo>
                    <a:pt x="1275" y="835"/>
                  </a:lnTo>
                  <a:lnTo>
                    <a:pt x="1275" y="833"/>
                  </a:lnTo>
                  <a:lnTo>
                    <a:pt x="1277" y="833"/>
                  </a:lnTo>
                  <a:lnTo>
                    <a:pt x="1280" y="833"/>
                  </a:lnTo>
                  <a:lnTo>
                    <a:pt x="1280" y="833"/>
                  </a:lnTo>
                  <a:lnTo>
                    <a:pt x="1284" y="833"/>
                  </a:lnTo>
                  <a:lnTo>
                    <a:pt x="1284" y="837"/>
                  </a:lnTo>
                  <a:lnTo>
                    <a:pt x="1284" y="837"/>
                  </a:lnTo>
                  <a:lnTo>
                    <a:pt x="1289" y="840"/>
                  </a:lnTo>
                  <a:lnTo>
                    <a:pt x="1289" y="837"/>
                  </a:lnTo>
                  <a:lnTo>
                    <a:pt x="1289" y="837"/>
                  </a:lnTo>
                  <a:lnTo>
                    <a:pt x="1289" y="840"/>
                  </a:lnTo>
                  <a:lnTo>
                    <a:pt x="1289" y="840"/>
                  </a:lnTo>
                  <a:lnTo>
                    <a:pt x="1289" y="842"/>
                  </a:lnTo>
                  <a:lnTo>
                    <a:pt x="1289" y="842"/>
                  </a:lnTo>
                  <a:lnTo>
                    <a:pt x="1289" y="842"/>
                  </a:lnTo>
                  <a:lnTo>
                    <a:pt x="1287" y="842"/>
                  </a:lnTo>
                  <a:lnTo>
                    <a:pt x="1287" y="845"/>
                  </a:lnTo>
                  <a:lnTo>
                    <a:pt x="1291" y="845"/>
                  </a:lnTo>
                  <a:lnTo>
                    <a:pt x="1296" y="847"/>
                  </a:lnTo>
                  <a:lnTo>
                    <a:pt x="1299" y="847"/>
                  </a:lnTo>
                  <a:lnTo>
                    <a:pt x="1301" y="845"/>
                  </a:lnTo>
                  <a:lnTo>
                    <a:pt x="1301" y="842"/>
                  </a:lnTo>
                  <a:lnTo>
                    <a:pt x="1303" y="842"/>
                  </a:lnTo>
                  <a:lnTo>
                    <a:pt x="1306" y="845"/>
                  </a:lnTo>
                  <a:lnTo>
                    <a:pt x="1306" y="847"/>
                  </a:lnTo>
                  <a:lnTo>
                    <a:pt x="1306" y="847"/>
                  </a:lnTo>
                  <a:lnTo>
                    <a:pt x="1308" y="847"/>
                  </a:lnTo>
                  <a:lnTo>
                    <a:pt x="1308" y="845"/>
                  </a:lnTo>
                  <a:lnTo>
                    <a:pt x="1308" y="845"/>
                  </a:lnTo>
                  <a:lnTo>
                    <a:pt x="1310" y="842"/>
                  </a:lnTo>
                  <a:lnTo>
                    <a:pt x="1310" y="842"/>
                  </a:lnTo>
                  <a:lnTo>
                    <a:pt x="1310" y="840"/>
                  </a:lnTo>
                  <a:lnTo>
                    <a:pt x="1310" y="840"/>
                  </a:lnTo>
                  <a:lnTo>
                    <a:pt x="1308" y="840"/>
                  </a:lnTo>
                  <a:lnTo>
                    <a:pt x="1308" y="840"/>
                  </a:lnTo>
                  <a:lnTo>
                    <a:pt x="1308" y="837"/>
                  </a:lnTo>
                  <a:lnTo>
                    <a:pt x="1313" y="840"/>
                  </a:lnTo>
                  <a:lnTo>
                    <a:pt x="1315" y="840"/>
                  </a:lnTo>
                  <a:lnTo>
                    <a:pt x="1315" y="842"/>
                  </a:lnTo>
                  <a:lnTo>
                    <a:pt x="1315" y="842"/>
                  </a:lnTo>
                  <a:lnTo>
                    <a:pt x="1315" y="842"/>
                  </a:lnTo>
                  <a:lnTo>
                    <a:pt x="1317" y="842"/>
                  </a:lnTo>
                  <a:lnTo>
                    <a:pt x="1317" y="842"/>
                  </a:lnTo>
                  <a:lnTo>
                    <a:pt x="1317" y="845"/>
                  </a:lnTo>
                  <a:lnTo>
                    <a:pt x="1320" y="845"/>
                  </a:lnTo>
                  <a:lnTo>
                    <a:pt x="1320" y="845"/>
                  </a:lnTo>
                  <a:lnTo>
                    <a:pt x="1320" y="847"/>
                  </a:lnTo>
                  <a:lnTo>
                    <a:pt x="1322" y="847"/>
                  </a:lnTo>
                  <a:lnTo>
                    <a:pt x="1320" y="849"/>
                  </a:lnTo>
                  <a:lnTo>
                    <a:pt x="1322" y="849"/>
                  </a:lnTo>
                  <a:lnTo>
                    <a:pt x="1322" y="847"/>
                  </a:lnTo>
                  <a:lnTo>
                    <a:pt x="1324" y="849"/>
                  </a:lnTo>
                  <a:lnTo>
                    <a:pt x="1324" y="849"/>
                  </a:lnTo>
                  <a:lnTo>
                    <a:pt x="1324" y="849"/>
                  </a:lnTo>
                  <a:lnTo>
                    <a:pt x="1324" y="847"/>
                  </a:lnTo>
                  <a:lnTo>
                    <a:pt x="1327" y="847"/>
                  </a:lnTo>
                  <a:lnTo>
                    <a:pt x="1327" y="845"/>
                  </a:lnTo>
                  <a:lnTo>
                    <a:pt x="1327" y="845"/>
                  </a:lnTo>
                  <a:lnTo>
                    <a:pt x="1327" y="845"/>
                  </a:lnTo>
                  <a:lnTo>
                    <a:pt x="1324" y="842"/>
                  </a:lnTo>
                  <a:lnTo>
                    <a:pt x="1324" y="842"/>
                  </a:lnTo>
                  <a:lnTo>
                    <a:pt x="1320" y="840"/>
                  </a:lnTo>
                  <a:lnTo>
                    <a:pt x="1320" y="840"/>
                  </a:lnTo>
                  <a:lnTo>
                    <a:pt x="1317" y="837"/>
                  </a:lnTo>
                  <a:lnTo>
                    <a:pt x="1317" y="837"/>
                  </a:lnTo>
                  <a:lnTo>
                    <a:pt x="1317" y="835"/>
                  </a:lnTo>
                  <a:lnTo>
                    <a:pt x="1317" y="835"/>
                  </a:lnTo>
                  <a:lnTo>
                    <a:pt x="1320" y="835"/>
                  </a:lnTo>
                  <a:lnTo>
                    <a:pt x="1320" y="835"/>
                  </a:lnTo>
                  <a:lnTo>
                    <a:pt x="1320" y="835"/>
                  </a:lnTo>
                  <a:lnTo>
                    <a:pt x="1320" y="835"/>
                  </a:lnTo>
                  <a:lnTo>
                    <a:pt x="1322" y="833"/>
                  </a:lnTo>
                  <a:lnTo>
                    <a:pt x="1322" y="833"/>
                  </a:lnTo>
                  <a:lnTo>
                    <a:pt x="1324" y="833"/>
                  </a:lnTo>
                  <a:lnTo>
                    <a:pt x="1324" y="833"/>
                  </a:lnTo>
                  <a:lnTo>
                    <a:pt x="1324" y="830"/>
                  </a:lnTo>
                  <a:lnTo>
                    <a:pt x="1324" y="828"/>
                  </a:lnTo>
                  <a:lnTo>
                    <a:pt x="1324" y="828"/>
                  </a:lnTo>
                  <a:lnTo>
                    <a:pt x="1324" y="828"/>
                  </a:lnTo>
                  <a:lnTo>
                    <a:pt x="1324" y="828"/>
                  </a:lnTo>
                  <a:lnTo>
                    <a:pt x="1322" y="828"/>
                  </a:lnTo>
                  <a:lnTo>
                    <a:pt x="1322" y="830"/>
                  </a:lnTo>
                  <a:lnTo>
                    <a:pt x="1320" y="830"/>
                  </a:lnTo>
                  <a:lnTo>
                    <a:pt x="1320" y="830"/>
                  </a:lnTo>
                  <a:lnTo>
                    <a:pt x="1317" y="828"/>
                  </a:lnTo>
                  <a:lnTo>
                    <a:pt x="1320" y="828"/>
                  </a:lnTo>
                  <a:lnTo>
                    <a:pt x="1320" y="826"/>
                  </a:lnTo>
                  <a:lnTo>
                    <a:pt x="1322" y="826"/>
                  </a:lnTo>
                  <a:lnTo>
                    <a:pt x="1322" y="826"/>
                  </a:lnTo>
                  <a:lnTo>
                    <a:pt x="1320" y="826"/>
                  </a:lnTo>
                  <a:lnTo>
                    <a:pt x="1320" y="826"/>
                  </a:lnTo>
                  <a:lnTo>
                    <a:pt x="1320" y="826"/>
                  </a:lnTo>
                  <a:lnTo>
                    <a:pt x="1317" y="826"/>
                  </a:lnTo>
                  <a:lnTo>
                    <a:pt x="1315" y="828"/>
                  </a:lnTo>
                  <a:lnTo>
                    <a:pt x="1313" y="828"/>
                  </a:lnTo>
                  <a:lnTo>
                    <a:pt x="1310" y="828"/>
                  </a:lnTo>
                  <a:lnTo>
                    <a:pt x="1308" y="826"/>
                  </a:lnTo>
                  <a:lnTo>
                    <a:pt x="1310" y="823"/>
                  </a:lnTo>
                  <a:lnTo>
                    <a:pt x="1313" y="821"/>
                  </a:lnTo>
                  <a:lnTo>
                    <a:pt x="1315" y="821"/>
                  </a:lnTo>
                  <a:lnTo>
                    <a:pt x="1315" y="821"/>
                  </a:lnTo>
                  <a:lnTo>
                    <a:pt x="1317" y="823"/>
                  </a:lnTo>
                  <a:lnTo>
                    <a:pt x="1322" y="826"/>
                  </a:lnTo>
                  <a:lnTo>
                    <a:pt x="1327" y="823"/>
                  </a:lnTo>
                  <a:lnTo>
                    <a:pt x="1329" y="821"/>
                  </a:lnTo>
                  <a:lnTo>
                    <a:pt x="1329" y="821"/>
                  </a:lnTo>
                  <a:lnTo>
                    <a:pt x="1329" y="821"/>
                  </a:lnTo>
                  <a:lnTo>
                    <a:pt x="1334" y="821"/>
                  </a:lnTo>
                  <a:lnTo>
                    <a:pt x="1336" y="819"/>
                  </a:lnTo>
                  <a:lnTo>
                    <a:pt x="1336" y="819"/>
                  </a:lnTo>
                  <a:lnTo>
                    <a:pt x="1339" y="821"/>
                  </a:lnTo>
                  <a:lnTo>
                    <a:pt x="1341" y="821"/>
                  </a:lnTo>
                  <a:lnTo>
                    <a:pt x="1346" y="821"/>
                  </a:lnTo>
                  <a:lnTo>
                    <a:pt x="1348" y="821"/>
                  </a:lnTo>
                  <a:lnTo>
                    <a:pt x="1350" y="821"/>
                  </a:lnTo>
                  <a:lnTo>
                    <a:pt x="1350" y="819"/>
                  </a:lnTo>
                  <a:lnTo>
                    <a:pt x="1353" y="816"/>
                  </a:lnTo>
                  <a:lnTo>
                    <a:pt x="1353" y="814"/>
                  </a:lnTo>
                  <a:lnTo>
                    <a:pt x="1355" y="814"/>
                  </a:lnTo>
                  <a:lnTo>
                    <a:pt x="1355" y="816"/>
                  </a:lnTo>
                  <a:lnTo>
                    <a:pt x="1355" y="816"/>
                  </a:lnTo>
                  <a:lnTo>
                    <a:pt x="1355" y="819"/>
                  </a:lnTo>
                  <a:lnTo>
                    <a:pt x="1355" y="819"/>
                  </a:lnTo>
                  <a:lnTo>
                    <a:pt x="1355" y="821"/>
                  </a:lnTo>
                  <a:lnTo>
                    <a:pt x="1355" y="821"/>
                  </a:lnTo>
                  <a:lnTo>
                    <a:pt x="1355" y="823"/>
                  </a:lnTo>
                  <a:lnTo>
                    <a:pt x="1353" y="823"/>
                  </a:lnTo>
                  <a:lnTo>
                    <a:pt x="1353" y="823"/>
                  </a:lnTo>
                  <a:lnTo>
                    <a:pt x="1350" y="823"/>
                  </a:lnTo>
                  <a:lnTo>
                    <a:pt x="1357" y="823"/>
                  </a:lnTo>
                  <a:lnTo>
                    <a:pt x="1362" y="821"/>
                  </a:lnTo>
                  <a:lnTo>
                    <a:pt x="1362" y="821"/>
                  </a:lnTo>
                  <a:lnTo>
                    <a:pt x="1362" y="821"/>
                  </a:lnTo>
                  <a:lnTo>
                    <a:pt x="1360" y="821"/>
                  </a:lnTo>
                  <a:lnTo>
                    <a:pt x="1362" y="823"/>
                  </a:lnTo>
                  <a:lnTo>
                    <a:pt x="1365" y="821"/>
                  </a:lnTo>
                  <a:lnTo>
                    <a:pt x="1367" y="821"/>
                  </a:lnTo>
                  <a:lnTo>
                    <a:pt x="1367" y="819"/>
                  </a:lnTo>
                  <a:lnTo>
                    <a:pt x="1369" y="816"/>
                  </a:lnTo>
                  <a:lnTo>
                    <a:pt x="1369" y="816"/>
                  </a:lnTo>
                  <a:lnTo>
                    <a:pt x="1369" y="819"/>
                  </a:lnTo>
                  <a:lnTo>
                    <a:pt x="1372" y="816"/>
                  </a:lnTo>
                  <a:lnTo>
                    <a:pt x="1372" y="816"/>
                  </a:lnTo>
                  <a:lnTo>
                    <a:pt x="1372" y="819"/>
                  </a:lnTo>
                  <a:lnTo>
                    <a:pt x="1372" y="819"/>
                  </a:lnTo>
                  <a:lnTo>
                    <a:pt x="1369" y="821"/>
                  </a:lnTo>
                  <a:lnTo>
                    <a:pt x="1367" y="821"/>
                  </a:lnTo>
                  <a:lnTo>
                    <a:pt x="1367" y="821"/>
                  </a:lnTo>
                  <a:lnTo>
                    <a:pt x="1372" y="821"/>
                  </a:lnTo>
                  <a:lnTo>
                    <a:pt x="1376" y="821"/>
                  </a:lnTo>
                  <a:lnTo>
                    <a:pt x="1379" y="819"/>
                  </a:lnTo>
                  <a:lnTo>
                    <a:pt x="1379" y="819"/>
                  </a:lnTo>
                  <a:lnTo>
                    <a:pt x="1381" y="819"/>
                  </a:lnTo>
                  <a:lnTo>
                    <a:pt x="1381" y="819"/>
                  </a:lnTo>
                  <a:lnTo>
                    <a:pt x="1383" y="819"/>
                  </a:lnTo>
                  <a:lnTo>
                    <a:pt x="1386" y="819"/>
                  </a:lnTo>
                  <a:lnTo>
                    <a:pt x="1386" y="819"/>
                  </a:lnTo>
                  <a:lnTo>
                    <a:pt x="1386" y="821"/>
                  </a:lnTo>
                  <a:lnTo>
                    <a:pt x="1383" y="819"/>
                  </a:lnTo>
                  <a:lnTo>
                    <a:pt x="1381" y="821"/>
                  </a:lnTo>
                  <a:lnTo>
                    <a:pt x="1386" y="821"/>
                  </a:lnTo>
                  <a:lnTo>
                    <a:pt x="1390" y="823"/>
                  </a:lnTo>
                  <a:lnTo>
                    <a:pt x="1390" y="826"/>
                  </a:lnTo>
                  <a:lnTo>
                    <a:pt x="1390" y="826"/>
                  </a:lnTo>
                  <a:lnTo>
                    <a:pt x="1393" y="823"/>
                  </a:lnTo>
                  <a:lnTo>
                    <a:pt x="1393" y="823"/>
                  </a:lnTo>
                  <a:lnTo>
                    <a:pt x="1393" y="823"/>
                  </a:lnTo>
                  <a:lnTo>
                    <a:pt x="1395" y="823"/>
                  </a:lnTo>
                  <a:lnTo>
                    <a:pt x="1393" y="823"/>
                  </a:lnTo>
                  <a:lnTo>
                    <a:pt x="1393" y="823"/>
                  </a:lnTo>
                  <a:lnTo>
                    <a:pt x="1393" y="826"/>
                  </a:lnTo>
                  <a:lnTo>
                    <a:pt x="1393" y="826"/>
                  </a:lnTo>
                  <a:lnTo>
                    <a:pt x="1393" y="826"/>
                  </a:lnTo>
                  <a:lnTo>
                    <a:pt x="1395" y="828"/>
                  </a:lnTo>
                  <a:lnTo>
                    <a:pt x="1397" y="830"/>
                  </a:lnTo>
                  <a:lnTo>
                    <a:pt x="1397" y="833"/>
                  </a:lnTo>
                  <a:lnTo>
                    <a:pt x="1397" y="833"/>
                  </a:lnTo>
                  <a:lnTo>
                    <a:pt x="1397" y="833"/>
                  </a:lnTo>
                  <a:lnTo>
                    <a:pt x="1395" y="833"/>
                  </a:lnTo>
                  <a:lnTo>
                    <a:pt x="1395" y="833"/>
                  </a:lnTo>
                  <a:lnTo>
                    <a:pt x="1395" y="833"/>
                  </a:lnTo>
                  <a:lnTo>
                    <a:pt x="1395" y="835"/>
                  </a:lnTo>
                  <a:lnTo>
                    <a:pt x="1397" y="835"/>
                  </a:lnTo>
                  <a:lnTo>
                    <a:pt x="1400" y="835"/>
                  </a:lnTo>
                  <a:lnTo>
                    <a:pt x="1402" y="835"/>
                  </a:lnTo>
                  <a:lnTo>
                    <a:pt x="1402" y="833"/>
                  </a:lnTo>
                  <a:lnTo>
                    <a:pt x="1405" y="833"/>
                  </a:lnTo>
                  <a:lnTo>
                    <a:pt x="1407" y="833"/>
                  </a:lnTo>
                  <a:lnTo>
                    <a:pt x="1412" y="830"/>
                  </a:lnTo>
                  <a:lnTo>
                    <a:pt x="1414" y="830"/>
                  </a:lnTo>
                  <a:lnTo>
                    <a:pt x="1414" y="830"/>
                  </a:lnTo>
                  <a:lnTo>
                    <a:pt x="1414" y="830"/>
                  </a:lnTo>
                  <a:lnTo>
                    <a:pt x="1414" y="828"/>
                  </a:lnTo>
                  <a:lnTo>
                    <a:pt x="1416" y="828"/>
                  </a:lnTo>
                  <a:lnTo>
                    <a:pt x="1416" y="828"/>
                  </a:lnTo>
                  <a:lnTo>
                    <a:pt x="1421" y="826"/>
                  </a:lnTo>
                  <a:lnTo>
                    <a:pt x="1426" y="830"/>
                  </a:lnTo>
                  <a:lnTo>
                    <a:pt x="1430" y="840"/>
                  </a:lnTo>
                  <a:lnTo>
                    <a:pt x="1438" y="849"/>
                  </a:lnTo>
                  <a:lnTo>
                    <a:pt x="1440" y="852"/>
                  </a:lnTo>
                  <a:lnTo>
                    <a:pt x="1440" y="854"/>
                  </a:lnTo>
                  <a:lnTo>
                    <a:pt x="1440" y="854"/>
                  </a:lnTo>
                  <a:lnTo>
                    <a:pt x="1438" y="861"/>
                  </a:lnTo>
                  <a:lnTo>
                    <a:pt x="1435" y="866"/>
                  </a:lnTo>
                  <a:lnTo>
                    <a:pt x="1430" y="873"/>
                  </a:lnTo>
                  <a:lnTo>
                    <a:pt x="1433" y="875"/>
                  </a:lnTo>
                  <a:lnTo>
                    <a:pt x="1433" y="875"/>
                  </a:lnTo>
                  <a:lnTo>
                    <a:pt x="1433" y="878"/>
                  </a:lnTo>
                  <a:lnTo>
                    <a:pt x="1433" y="875"/>
                  </a:lnTo>
                  <a:lnTo>
                    <a:pt x="1435" y="878"/>
                  </a:lnTo>
                  <a:lnTo>
                    <a:pt x="1435" y="875"/>
                  </a:lnTo>
                  <a:lnTo>
                    <a:pt x="1435" y="875"/>
                  </a:lnTo>
                  <a:lnTo>
                    <a:pt x="1435" y="873"/>
                  </a:lnTo>
                  <a:lnTo>
                    <a:pt x="1435" y="873"/>
                  </a:lnTo>
                  <a:lnTo>
                    <a:pt x="1435" y="871"/>
                  </a:lnTo>
                  <a:lnTo>
                    <a:pt x="1435" y="871"/>
                  </a:lnTo>
                  <a:lnTo>
                    <a:pt x="1438" y="871"/>
                  </a:lnTo>
                  <a:lnTo>
                    <a:pt x="1438" y="873"/>
                  </a:lnTo>
                  <a:lnTo>
                    <a:pt x="1438" y="873"/>
                  </a:lnTo>
                  <a:lnTo>
                    <a:pt x="1440" y="873"/>
                  </a:lnTo>
                  <a:lnTo>
                    <a:pt x="1440" y="873"/>
                  </a:lnTo>
                  <a:lnTo>
                    <a:pt x="1440" y="873"/>
                  </a:lnTo>
                  <a:lnTo>
                    <a:pt x="1438" y="875"/>
                  </a:lnTo>
                  <a:lnTo>
                    <a:pt x="1438" y="878"/>
                  </a:lnTo>
                  <a:lnTo>
                    <a:pt x="1433" y="880"/>
                  </a:lnTo>
                  <a:lnTo>
                    <a:pt x="1433" y="880"/>
                  </a:lnTo>
                  <a:lnTo>
                    <a:pt x="1433" y="880"/>
                  </a:lnTo>
                  <a:lnTo>
                    <a:pt x="1433" y="882"/>
                  </a:lnTo>
                  <a:lnTo>
                    <a:pt x="1433" y="882"/>
                  </a:lnTo>
                  <a:lnTo>
                    <a:pt x="1435" y="889"/>
                  </a:lnTo>
                  <a:lnTo>
                    <a:pt x="1435" y="894"/>
                  </a:lnTo>
                  <a:lnTo>
                    <a:pt x="1438" y="894"/>
                  </a:lnTo>
                  <a:lnTo>
                    <a:pt x="1438" y="894"/>
                  </a:lnTo>
                  <a:lnTo>
                    <a:pt x="1440" y="894"/>
                  </a:lnTo>
                  <a:lnTo>
                    <a:pt x="1440" y="894"/>
                  </a:lnTo>
                  <a:lnTo>
                    <a:pt x="1440" y="894"/>
                  </a:lnTo>
                  <a:lnTo>
                    <a:pt x="1440" y="892"/>
                  </a:lnTo>
                  <a:lnTo>
                    <a:pt x="1442" y="892"/>
                  </a:lnTo>
                  <a:lnTo>
                    <a:pt x="1442" y="894"/>
                  </a:lnTo>
                  <a:lnTo>
                    <a:pt x="1440" y="899"/>
                  </a:lnTo>
                  <a:lnTo>
                    <a:pt x="1440" y="901"/>
                  </a:lnTo>
                  <a:lnTo>
                    <a:pt x="1440" y="901"/>
                  </a:lnTo>
                  <a:lnTo>
                    <a:pt x="1442" y="901"/>
                  </a:lnTo>
                  <a:lnTo>
                    <a:pt x="1442" y="899"/>
                  </a:lnTo>
                  <a:lnTo>
                    <a:pt x="1445" y="899"/>
                  </a:lnTo>
                  <a:lnTo>
                    <a:pt x="1445" y="899"/>
                  </a:lnTo>
                  <a:lnTo>
                    <a:pt x="1442" y="901"/>
                  </a:lnTo>
                  <a:lnTo>
                    <a:pt x="1442" y="904"/>
                  </a:lnTo>
                  <a:lnTo>
                    <a:pt x="1442" y="904"/>
                  </a:lnTo>
                  <a:lnTo>
                    <a:pt x="1442" y="904"/>
                  </a:lnTo>
                  <a:lnTo>
                    <a:pt x="1442" y="911"/>
                  </a:lnTo>
                  <a:lnTo>
                    <a:pt x="1445" y="913"/>
                  </a:lnTo>
                  <a:lnTo>
                    <a:pt x="1447" y="915"/>
                  </a:lnTo>
                  <a:lnTo>
                    <a:pt x="1449" y="915"/>
                  </a:lnTo>
                  <a:lnTo>
                    <a:pt x="1449" y="918"/>
                  </a:lnTo>
                  <a:lnTo>
                    <a:pt x="1452" y="923"/>
                  </a:lnTo>
                  <a:lnTo>
                    <a:pt x="1452" y="927"/>
                  </a:lnTo>
                  <a:lnTo>
                    <a:pt x="1454" y="927"/>
                  </a:lnTo>
                  <a:lnTo>
                    <a:pt x="1454" y="927"/>
                  </a:lnTo>
                  <a:lnTo>
                    <a:pt x="1454" y="927"/>
                  </a:lnTo>
                  <a:lnTo>
                    <a:pt x="1454" y="930"/>
                  </a:lnTo>
                  <a:lnTo>
                    <a:pt x="1452" y="927"/>
                  </a:lnTo>
                  <a:lnTo>
                    <a:pt x="1452" y="927"/>
                  </a:lnTo>
                  <a:lnTo>
                    <a:pt x="1452" y="927"/>
                  </a:lnTo>
                  <a:lnTo>
                    <a:pt x="1452" y="930"/>
                  </a:lnTo>
                  <a:lnTo>
                    <a:pt x="1452" y="932"/>
                  </a:lnTo>
                  <a:lnTo>
                    <a:pt x="1454" y="932"/>
                  </a:lnTo>
                  <a:lnTo>
                    <a:pt x="1456" y="930"/>
                  </a:lnTo>
                  <a:lnTo>
                    <a:pt x="1459" y="930"/>
                  </a:lnTo>
                  <a:lnTo>
                    <a:pt x="1461" y="930"/>
                  </a:lnTo>
                  <a:lnTo>
                    <a:pt x="1463" y="930"/>
                  </a:lnTo>
                  <a:lnTo>
                    <a:pt x="1466" y="927"/>
                  </a:lnTo>
                  <a:lnTo>
                    <a:pt x="1466" y="925"/>
                  </a:lnTo>
                  <a:lnTo>
                    <a:pt x="1468" y="920"/>
                  </a:lnTo>
                  <a:lnTo>
                    <a:pt x="1471" y="918"/>
                  </a:lnTo>
                  <a:lnTo>
                    <a:pt x="1471" y="915"/>
                  </a:lnTo>
                  <a:lnTo>
                    <a:pt x="1473" y="915"/>
                  </a:lnTo>
                  <a:lnTo>
                    <a:pt x="1473" y="915"/>
                  </a:lnTo>
                  <a:lnTo>
                    <a:pt x="1473" y="915"/>
                  </a:lnTo>
                  <a:lnTo>
                    <a:pt x="1473" y="911"/>
                  </a:lnTo>
                  <a:lnTo>
                    <a:pt x="1475" y="901"/>
                  </a:lnTo>
                  <a:lnTo>
                    <a:pt x="1478" y="897"/>
                  </a:lnTo>
                  <a:lnTo>
                    <a:pt x="1478" y="892"/>
                  </a:lnTo>
                  <a:lnTo>
                    <a:pt x="1478" y="889"/>
                  </a:lnTo>
                  <a:lnTo>
                    <a:pt x="1475" y="887"/>
                  </a:lnTo>
                  <a:lnTo>
                    <a:pt x="1473" y="866"/>
                  </a:lnTo>
                  <a:lnTo>
                    <a:pt x="1473" y="866"/>
                  </a:lnTo>
                  <a:lnTo>
                    <a:pt x="1471" y="863"/>
                  </a:lnTo>
                  <a:lnTo>
                    <a:pt x="1473" y="859"/>
                  </a:lnTo>
                  <a:lnTo>
                    <a:pt x="1471" y="856"/>
                  </a:lnTo>
                  <a:lnTo>
                    <a:pt x="1473" y="854"/>
                  </a:lnTo>
                  <a:lnTo>
                    <a:pt x="1473" y="854"/>
                  </a:lnTo>
                  <a:lnTo>
                    <a:pt x="1473" y="854"/>
                  </a:lnTo>
                  <a:lnTo>
                    <a:pt x="1473" y="856"/>
                  </a:lnTo>
                  <a:lnTo>
                    <a:pt x="1473" y="856"/>
                  </a:lnTo>
                  <a:lnTo>
                    <a:pt x="1473" y="859"/>
                  </a:lnTo>
                  <a:lnTo>
                    <a:pt x="1473" y="859"/>
                  </a:lnTo>
                  <a:lnTo>
                    <a:pt x="1473" y="859"/>
                  </a:lnTo>
                  <a:lnTo>
                    <a:pt x="1473" y="861"/>
                  </a:lnTo>
                  <a:lnTo>
                    <a:pt x="1473" y="863"/>
                  </a:lnTo>
                  <a:lnTo>
                    <a:pt x="1473" y="863"/>
                  </a:lnTo>
                  <a:lnTo>
                    <a:pt x="1473" y="861"/>
                  </a:lnTo>
                  <a:lnTo>
                    <a:pt x="1475" y="859"/>
                  </a:lnTo>
                  <a:lnTo>
                    <a:pt x="1475" y="859"/>
                  </a:lnTo>
                  <a:lnTo>
                    <a:pt x="1473" y="863"/>
                  </a:lnTo>
                  <a:lnTo>
                    <a:pt x="1473" y="866"/>
                  </a:lnTo>
                  <a:lnTo>
                    <a:pt x="1473" y="873"/>
                  </a:lnTo>
                  <a:lnTo>
                    <a:pt x="1475" y="873"/>
                  </a:lnTo>
                  <a:lnTo>
                    <a:pt x="1473" y="868"/>
                  </a:lnTo>
                  <a:lnTo>
                    <a:pt x="1473" y="866"/>
                  </a:lnTo>
                  <a:lnTo>
                    <a:pt x="1473" y="866"/>
                  </a:lnTo>
                  <a:lnTo>
                    <a:pt x="1475" y="863"/>
                  </a:lnTo>
                  <a:lnTo>
                    <a:pt x="1475" y="861"/>
                  </a:lnTo>
                  <a:lnTo>
                    <a:pt x="1475" y="861"/>
                  </a:lnTo>
                  <a:lnTo>
                    <a:pt x="1475" y="859"/>
                  </a:lnTo>
                  <a:lnTo>
                    <a:pt x="1473" y="849"/>
                  </a:lnTo>
                  <a:lnTo>
                    <a:pt x="1471" y="840"/>
                  </a:lnTo>
                  <a:lnTo>
                    <a:pt x="1471" y="833"/>
                  </a:lnTo>
                  <a:lnTo>
                    <a:pt x="1471" y="826"/>
                  </a:lnTo>
                  <a:lnTo>
                    <a:pt x="1471" y="823"/>
                  </a:lnTo>
                  <a:lnTo>
                    <a:pt x="1471" y="814"/>
                  </a:lnTo>
                  <a:lnTo>
                    <a:pt x="1471" y="814"/>
                  </a:lnTo>
                  <a:lnTo>
                    <a:pt x="1471" y="811"/>
                  </a:lnTo>
                  <a:lnTo>
                    <a:pt x="1471" y="809"/>
                  </a:lnTo>
                  <a:lnTo>
                    <a:pt x="1471" y="809"/>
                  </a:lnTo>
                  <a:lnTo>
                    <a:pt x="1473" y="807"/>
                  </a:lnTo>
                  <a:lnTo>
                    <a:pt x="1473" y="807"/>
                  </a:lnTo>
                  <a:lnTo>
                    <a:pt x="1473" y="804"/>
                  </a:lnTo>
                  <a:lnTo>
                    <a:pt x="1473" y="804"/>
                  </a:lnTo>
                  <a:lnTo>
                    <a:pt x="1475" y="804"/>
                  </a:lnTo>
                  <a:lnTo>
                    <a:pt x="1475" y="804"/>
                  </a:lnTo>
                  <a:lnTo>
                    <a:pt x="1478" y="802"/>
                  </a:lnTo>
                  <a:lnTo>
                    <a:pt x="1478" y="800"/>
                  </a:lnTo>
                  <a:lnTo>
                    <a:pt x="1475" y="800"/>
                  </a:lnTo>
                  <a:lnTo>
                    <a:pt x="1475" y="800"/>
                  </a:lnTo>
                  <a:lnTo>
                    <a:pt x="1478" y="800"/>
                  </a:lnTo>
                  <a:lnTo>
                    <a:pt x="1478" y="797"/>
                  </a:lnTo>
                  <a:lnTo>
                    <a:pt x="1480" y="797"/>
                  </a:lnTo>
                  <a:lnTo>
                    <a:pt x="1480" y="797"/>
                  </a:lnTo>
                  <a:lnTo>
                    <a:pt x="1480" y="795"/>
                  </a:lnTo>
                  <a:lnTo>
                    <a:pt x="1480" y="797"/>
                  </a:lnTo>
                  <a:lnTo>
                    <a:pt x="1480" y="795"/>
                  </a:lnTo>
                  <a:lnTo>
                    <a:pt x="1480" y="795"/>
                  </a:lnTo>
                  <a:lnTo>
                    <a:pt x="1480" y="795"/>
                  </a:lnTo>
                  <a:lnTo>
                    <a:pt x="1482" y="795"/>
                  </a:lnTo>
                  <a:lnTo>
                    <a:pt x="1480" y="793"/>
                  </a:lnTo>
                  <a:lnTo>
                    <a:pt x="1480" y="793"/>
                  </a:lnTo>
                  <a:lnTo>
                    <a:pt x="1482" y="793"/>
                  </a:lnTo>
                  <a:lnTo>
                    <a:pt x="1482" y="793"/>
                  </a:lnTo>
                  <a:lnTo>
                    <a:pt x="1485" y="790"/>
                  </a:lnTo>
                  <a:lnTo>
                    <a:pt x="1485" y="790"/>
                  </a:lnTo>
                  <a:lnTo>
                    <a:pt x="1485" y="790"/>
                  </a:lnTo>
                  <a:lnTo>
                    <a:pt x="1482" y="788"/>
                  </a:lnTo>
                  <a:lnTo>
                    <a:pt x="1485" y="788"/>
                  </a:lnTo>
                  <a:lnTo>
                    <a:pt x="1485" y="788"/>
                  </a:lnTo>
                  <a:lnTo>
                    <a:pt x="1487" y="788"/>
                  </a:lnTo>
                  <a:lnTo>
                    <a:pt x="1489" y="785"/>
                  </a:lnTo>
                  <a:lnTo>
                    <a:pt x="1489" y="785"/>
                  </a:lnTo>
                  <a:lnTo>
                    <a:pt x="1489" y="783"/>
                  </a:lnTo>
                  <a:lnTo>
                    <a:pt x="1492" y="783"/>
                  </a:lnTo>
                  <a:lnTo>
                    <a:pt x="1492" y="783"/>
                  </a:lnTo>
                  <a:lnTo>
                    <a:pt x="1492" y="781"/>
                  </a:lnTo>
                  <a:lnTo>
                    <a:pt x="1492" y="781"/>
                  </a:lnTo>
                  <a:lnTo>
                    <a:pt x="1492" y="781"/>
                  </a:lnTo>
                  <a:lnTo>
                    <a:pt x="1492" y="781"/>
                  </a:lnTo>
                  <a:lnTo>
                    <a:pt x="1492" y="778"/>
                  </a:lnTo>
                  <a:lnTo>
                    <a:pt x="1492" y="776"/>
                  </a:lnTo>
                  <a:lnTo>
                    <a:pt x="1494" y="778"/>
                  </a:lnTo>
                  <a:lnTo>
                    <a:pt x="1494" y="778"/>
                  </a:lnTo>
                  <a:lnTo>
                    <a:pt x="1494" y="778"/>
                  </a:lnTo>
                  <a:lnTo>
                    <a:pt x="1494" y="778"/>
                  </a:lnTo>
                  <a:lnTo>
                    <a:pt x="1494" y="778"/>
                  </a:lnTo>
                  <a:lnTo>
                    <a:pt x="1494" y="781"/>
                  </a:lnTo>
                  <a:lnTo>
                    <a:pt x="1496" y="781"/>
                  </a:lnTo>
                  <a:lnTo>
                    <a:pt x="1496" y="781"/>
                  </a:lnTo>
                  <a:lnTo>
                    <a:pt x="1496" y="778"/>
                  </a:lnTo>
                  <a:lnTo>
                    <a:pt x="1499" y="778"/>
                  </a:lnTo>
                  <a:lnTo>
                    <a:pt x="1496" y="776"/>
                  </a:lnTo>
                  <a:lnTo>
                    <a:pt x="1496" y="776"/>
                  </a:lnTo>
                  <a:lnTo>
                    <a:pt x="1496" y="776"/>
                  </a:lnTo>
                  <a:lnTo>
                    <a:pt x="1499" y="776"/>
                  </a:lnTo>
                  <a:lnTo>
                    <a:pt x="1501" y="776"/>
                  </a:lnTo>
                  <a:lnTo>
                    <a:pt x="1501" y="776"/>
                  </a:lnTo>
                  <a:lnTo>
                    <a:pt x="1504" y="774"/>
                  </a:lnTo>
                  <a:lnTo>
                    <a:pt x="1504" y="774"/>
                  </a:lnTo>
                  <a:lnTo>
                    <a:pt x="1506" y="774"/>
                  </a:lnTo>
                  <a:lnTo>
                    <a:pt x="1508" y="774"/>
                  </a:lnTo>
                  <a:lnTo>
                    <a:pt x="1508" y="771"/>
                  </a:lnTo>
                  <a:lnTo>
                    <a:pt x="1511" y="771"/>
                  </a:lnTo>
                  <a:lnTo>
                    <a:pt x="1511" y="769"/>
                  </a:lnTo>
                  <a:lnTo>
                    <a:pt x="1513" y="769"/>
                  </a:lnTo>
                  <a:lnTo>
                    <a:pt x="1513" y="769"/>
                  </a:lnTo>
                  <a:lnTo>
                    <a:pt x="1515" y="767"/>
                  </a:lnTo>
                  <a:lnTo>
                    <a:pt x="1518" y="764"/>
                  </a:lnTo>
                  <a:lnTo>
                    <a:pt x="1518" y="764"/>
                  </a:lnTo>
                  <a:lnTo>
                    <a:pt x="1520" y="764"/>
                  </a:lnTo>
                  <a:lnTo>
                    <a:pt x="1522" y="762"/>
                  </a:lnTo>
                  <a:lnTo>
                    <a:pt x="1525" y="762"/>
                  </a:lnTo>
                  <a:lnTo>
                    <a:pt x="1525" y="759"/>
                  </a:lnTo>
                  <a:lnTo>
                    <a:pt x="1525" y="757"/>
                  </a:lnTo>
                  <a:lnTo>
                    <a:pt x="1525" y="757"/>
                  </a:lnTo>
                  <a:lnTo>
                    <a:pt x="1525" y="759"/>
                  </a:lnTo>
                  <a:lnTo>
                    <a:pt x="1525" y="759"/>
                  </a:lnTo>
                  <a:lnTo>
                    <a:pt x="1527" y="757"/>
                  </a:lnTo>
                  <a:lnTo>
                    <a:pt x="1532" y="752"/>
                  </a:lnTo>
                  <a:lnTo>
                    <a:pt x="1534" y="750"/>
                  </a:lnTo>
                  <a:lnTo>
                    <a:pt x="1541" y="748"/>
                  </a:lnTo>
                  <a:lnTo>
                    <a:pt x="1544" y="745"/>
                  </a:lnTo>
                  <a:lnTo>
                    <a:pt x="1551" y="745"/>
                  </a:lnTo>
                  <a:lnTo>
                    <a:pt x="1551" y="745"/>
                  </a:lnTo>
                  <a:lnTo>
                    <a:pt x="1553" y="741"/>
                  </a:lnTo>
                  <a:lnTo>
                    <a:pt x="1553" y="743"/>
                  </a:lnTo>
                  <a:lnTo>
                    <a:pt x="1553" y="745"/>
                  </a:lnTo>
                  <a:lnTo>
                    <a:pt x="1553" y="745"/>
                  </a:lnTo>
                  <a:lnTo>
                    <a:pt x="1553" y="743"/>
                  </a:lnTo>
                  <a:lnTo>
                    <a:pt x="1555" y="741"/>
                  </a:lnTo>
                  <a:lnTo>
                    <a:pt x="1558" y="738"/>
                  </a:lnTo>
                  <a:lnTo>
                    <a:pt x="1558" y="738"/>
                  </a:lnTo>
                  <a:lnTo>
                    <a:pt x="1560" y="736"/>
                  </a:lnTo>
                  <a:lnTo>
                    <a:pt x="1562" y="733"/>
                  </a:lnTo>
                  <a:lnTo>
                    <a:pt x="1565" y="733"/>
                  </a:lnTo>
                  <a:lnTo>
                    <a:pt x="1565" y="733"/>
                  </a:lnTo>
                  <a:lnTo>
                    <a:pt x="1565" y="731"/>
                  </a:lnTo>
                  <a:lnTo>
                    <a:pt x="1565" y="729"/>
                  </a:lnTo>
                  <a:lnTo>
                    <a:pt x="1567" y="729"/>
                  </a:lnTo>
                  <a:lnTo>
                    <a:pt x="1567" y="731"/>
                  </a:lnTo>
                  <a:lnTo>
                    <a:pt x="1567" y="731"/>
                  </a:lnTo>
                  <a:lnTo>
                    <a:pt x="1567" y="731"/>
                  </a:lnTo>
                  <a:lnTo>
                    <a:pt x="1570" y="729"/>
                  </a:lnTo>
                  <a:lnTo>
                    <a:pt x="1572" y="729"/>
                  </a:lnTo>
                  <a:lnTo>
                    <a:pt x="1574" y="729"/>
                  </a:lnTo>
                  <a:lnTo>
                    <a:pt x="1577" y="729"/>
                  </a:lnTo>
                  <a:lnTo>
                    <a:pt x="1577" y="729"/>
                  </a:lnTo>
                  <a:lnTo>
                    <a:pt x="1579" y="729"/>
                  </a:lnTo>
                  <a:lnTo>
                    <a:pt x="1581" y="729"/>
                  </a:lnTo>
                  <a:lnTo>
                    <a:pt x="1581" y="729"/>
                  </a:lnTo>
                  <a:lnTo>
                    <a:pt x="1584" y="726"/>
                  </a:lnTo>
                  <a:lnTo>
                    <a:pt x="1586" y="724"/>
                  </a:lnTo>
                  <a:lnTo>
                    <a:pt x="1584" y="724"/>
                  </a:lnTo>
                  <a:lnTo>
                    <a:pt x="1579" y="724"/>
                  </a:lnTo>
                  <a:lnTo>
                    <a:pt x="1577" y="724"/>
                  </a:lnTo>
                  <a:lnTo>
                    <a:pt x="1577" y="722"/>
                  </a:lnTo>
                  <a:lnTo>
                    <a:pt x="1574" y="719"/>
                  </a:lnTo>
                  <a:lnTo>
                    <a:pt x="1577" y="722"/>
                  </a:lnTo>
                  <a:lnTo>
                    <a:pt x="1579" y="724"/>
                  </a:lnTo>
                  <a:lnTo>
                    <a:pt x="1581" y="722"/>
                  </a:lnTo>
                  <a:lnTo>
                    <a:pt x="1581" y="722"/>
                  </a:lnTo>
                  <a:lnTo>
                    <a:pt x="1584" y="719"/>
                  </a:lnTo>
                  <a:lnTo>
                    <a:pt x="1584" y="719"/>
                  </a:lnTo>
                  <a:lnTo>
                    <a:pt x="1586" y="717"/>
                  </a:lnTo>
                  <a:lnTo>
                    <a:pt x="1584" y="717"/>
                  </a:lnTo>
                  <a:lnTo>
                    <a:pt x="1584" y="717"/>
                  </a:lnTo>
                  <a:lnTo>
                    <a:pt x="1579" y="712"/>
                  </a:lnTo>
                  <a:lnTo>
                    <a:pt x="1577" y="712"/>
                  </a:lnTo>
                  <a:lnTo>
                    <a:pt x="1579" y="712"/>
                  </a:lnTo>
                  <a:lnTo>
                    <a:pt x="1581" y="714"/>
                  </a:lnTo>
                  <a:lnTo>
                    <a:pt x="1584" y="712"/>
                  </a:lnTo>
                  <a:lnTo>
                    <a:pt x="1586" y="712"/>
                  </a:lnTo>
                  <a:lnTo>
                    <a:pt x="1586" y="712"/>
                  </a:lnTo>
                  <a:lnTo>
                    <a:pt x="1586" y="712"/>
                  </a:lnTo>
                  <a:lnTo>
                    <a:pt x="1586" y="714"/>
                  </a:lnTo>
                  <a:lnTo>
                    <a:pt x="1586" y="714"/>
                  </a:lnTo>
                  <a:lnTo>
                    <a:pt x="1586" y="714"/>
                  </a:lnTo>
                  <a:lnTo>
                    <a:pt x="1588" y="714"/>
                  </a:lnTo>
                  <a:lnTo>
                    <a:pt x="1591" y="714"/>
                  </a:lnTo>
                  <a:lnTo>
                    <a:pt x="1591" y="714"/>
                  </a:lnTo>
                  <a:lnTo>
                    <a:pt x="1593" y="714"/>
                  </a:lnTo>
                  <a:lnTo>
                    <a:pt x="1595" y="712"/>
                  </a:lnTo>
                  <a:lnTo>
                    <a:pt x="1600" y="710"/>
                  </a:lnTo>
                  <a:lnTo>
                    <a:pt x="1603" y="707"/>
                  </a:lnTo>
                  <a:lnTo>
                    <a:pt x="1603" y="705"/>
                  </a:lnTo>
                  <a:lnTo>
                    <a:pt x="1603" y="703"/>
                  </a:lnTo>
                  <a:lnTo>
                    <a:pt x="1603" y="703"/>
                  </a:lnTo>
                  <a:lnTo>
                    <a:pt x="1600" y="703"/>
                  </a:lnTo>
                  <a:lnTo>
                    <a:pt x="1598" y="703"/>
                  </a:lnTo>
                  <a:lnTo>
                    <a:pt x="1598" y="707"/>
                  </a:lnTo>
                  <a:lnTo>
                    <a:pt x="1595" y="707"/>
                  </a:lnTo>
                  <a:lnTo>
                    <a:pt x="1595" y="707"/>
                  </a:lnTo>
                  <a:lnTo>
                    <a:pt x="1595" y="705"/>
                  </a:lnTo>
                  <a:lnTo>
                    <a:pt x="1598" y="705"/>
                  </a:lnTo>
                  <a:lnTo>
                    <a:pt x="1598" y="703"/>
                  </a:lnTo>
                  <a:lnTo>
                    <a:pt x="1595" y="703"/>
                  </a:lnTo>
                  <a:lnTo>
                    <a:pt x="1593" y="703"/>
                  </a:lnTo>
                  <a:lnTo>
                    <a:pt x="1593" y="703"/>
                  </a:lnTo>
                  <a:lnTo>
                    <a:pt x="1591" y="703"/>
                  </a:lnTo>
                  <a:lnTo>
                    <a:pt x="1588" y="703"/>
                  </a:lnTo>
                  <a:lnTo>
                    <a:pt x="1586" y="703"/>
                  </a:lnTo>
                  <a:lnTo>
                    <a:pt x="1586" y="700"/>
                  </a:lnTo>
                  <a:lnTo>
                    <a:pt x="1586" y="698"/>
                  </a:lnTo>
                  <a:lnTo>
                    <a:pt x="1588" y="696"/>
                  </a:lnTo>
                  <a:lnTo>
                    <a:pt x="1586" y="698"/>
                  </a:lnTo>
                  <a:lnTo>
                    <a:pt x="1588" y="700"/>
                  </a:lnTo>
                  <a:lnTo>
                    <a:pt x="1588" y="700"/>
                  </a:lnTo>
                  <a:lnTo>
                    <a:pt x="1591" y="700"/>
                  </a:lnTo>
                  <a:lnTo>
                    <a:pt x="1591" y="700"/>
                  </a:lnTo>
                  <a:lnTo>
                    <a:pt x="1593" y="698"/>
                  </a:lnTo>
                  <a:lnTo>
                    <a:pt x="1593" y="698"/>
                  </a:lnTo>
                  <a:lnTo>
                    <a:pt x="1595" y="698"/>
                  </a:lnTo>
                  <a:lnTo>
                    <a:pt x="1595" y="698"/>
                  </a:lnTo>
                  <a:lnTo>
                    <a:pt x="1595" y="698"/>
                  </a:lnTo>
                  <a:lnTo>
                    <a:pt x="1598" y="698"/>
                  </a:lnTo>
                  <a:lnTo>
                    <a:pt x="1598" y="698"/>
                  </a:lnTo>
                  <a:lnTo>
                    <a:pt x="1598" y="696"/>
                  </a:lnTo>
                  <a:lnTo>
                    <a:pt x="1600" y="696"/>
                  </a:lnTo>
                  <a:lnTo>
                    <a:pt x="1600" y="698"/>
                  </a:lnTo>
                  <a:lnTo>
                    <a:pt x="1603" y="698"/>
                  </a:lnTo>
                  <a:lnTo>
                    <a:pt x="1603" y="698"/>
                  </a:lnTo>
                  <a:lnTo>
                    <a:pt x="1603" y="696"/>
                  </a:lnTo>
                  <a:lnTo>
                    <a:pt x="1603" y="693"/>
                  </a:lnTo>
                  <a:lnTo>
                    <a:pt x="1603" y="693"/>
                  </a:lnTo>
                  <a:lnTo>
                    <a:pt x="1603" y="691"/>
                  </a:lnTo>
                  <a:lnTo>
                    <a:pt x="1603" y="688"/>
                  </a:lnTo>
                  <a:lnTo>
                    <a:pt x="1603" y="688"/>
                  </a:lnTo>
                  <a:lnTo>
                    <a:pt x="1603" y="688"/>
                  </a:lnTo>
                  <a:lnTo>
                    <a:pt x="1605" y="686"/>
                  </a:lnTo>
                  <a:lnTo>
                    <a:pt x="1605" y="688"/>
                  </a:lnTo>
                  <a:lnTo>
                    <a:pt x="1605" y="688"/>
                  </a:lnTo>
                  <a:lnTo>
                    <a:pt x="1605" y="696"/>
                  </a:lnTo>
                  <a:lnTo>
                    <a:pt x="1605" y="700"/>
                  </a:lnTo>
                  <a:lnTo>
                    <a:pt x="1605" y="705"/>
                  </a:lnTo>
                  <a:lnTo>
                    <a:pt x="1605" y="705"/>
                  </a:lnTo>
                  <a:lnTo>
                    <a:pt x="1605" y="705"/>
                  </a:lnTo>
                  <a:lnTo>
                    <a:pt x="1605" y="696"/>
                  </a:lnTo>
                  <a:lnTo>
                    <a:pt x="1605" y="686"/>
                  </a:lnTo>
                  <a:lnTo>
                    <a:pt x="1605" y="686"/>
                  </a:lnTo>
                  <a:lnTo>
                    <a:pt x="1605" y="684"/>
                  </a:lnTo>
                  <a:lnTo>
                    <a:pt x="1605" y="681"/>
                  </a:lnTo>
                  <a:lnTo>
                    <a:pt x="1603" y="681"/>
                  </a:lnTo>
                  <a:lnTo>
                    <a:pt x="1600" y="681"/>
                  </a:lnTo>
                  <a:lnTo>
                    <a:pt x="1598" y="681"/>
                  </a:lnTo>
                  <a:lnTo>
                    <a:pt x="1595" y="681"/>
                  </a:lnTo>
                  <a:lnTo>
                    <a:pt x="1595" y="681"/>
                  </a:lnTo>
                  <a:lnTo>
                    <a:pt x="1595" y="679"/>
                  </a:lnTo>
                  <a:lnTo>
                    <a:pt x="1595" y="677"/>
                  </a:lnTo>
                  <a:lnTo>
                    <a:pt x="1593" y="677"/>
                  </a:lnTo>
                  <a:lnTo>
                    <a:pt x="1591" y="674"/>
                  </a:lnTo>
                  <a:lnTo>
                    <a:pt x="1591" y="674"/>
                  </a:lnTo>
                  <a:lnTo>
                    <a:pt x="1586" y="674"/>
                  </a:lnTo>
                  <a:lnTo>
                    <a:pt x="1586" y="674"/>
                  </a:lnTo>
                  <a:lnTo>
                    <a:pt x="1586" y="672"/>
                  </a:lnTo>
                  <a:lnTo>
                    <a:pt x="1591" y="672"/>
                  </a:lnTo>
                  <a:lnTo>
                    <a:pt x="1595" y="674"/>
                  </a:lnTo>
                  <a:lnTo>
                    <a:pt x="1595" y="674"/>
                  </a:lnTo>
                  <a:lnTo>
                    <a:pt x="1595" y="677"/>
                  </a:lnTo>
                  <a:lnTo>
                    <a:pt x="1598" y="679"/>
                  </a:lnTo>
                  <a:lnTo>
                    <a:pt x="1598" y="679"/>
                  </a:lnTo>
                  <a:lnTo>
                    <a:pt x="1598" y="679"/>
                  </a:lnTo>
                  <a:lnTo>
                    <a:pt x="1600" y="679"/>
                  </a:lnTo>
                  <a:lnTo>
                    <a:pt x="1600" y="679"/>
                  </a:lnTo>
                  <a:lnTo>
                    <a:pt x="1600" y="677"/>
                  </a:lnTo>
                  <a:lnTo>
                    <a:pt x="1600" y="677"/>
                  </a:lnTo>
                  <a:lnTo>
                    <a:pt x="1600" y="674"/>
                  </a:lnTo>
                  <a:lnTo>
                    <a:pt x="1598" y="674"/>
                  </a:lnTo>
                  <a:lnTo>
                    <a:pt x="1598" y="672"/>
                  </a:lnTo>
                  <a:lnTo>
                    <a:pt x="1595" y="670"/>
                  </a:lnTo>
                  <a:lnTo>
                    <a:pt x="1595" y="670"/>
                  </a:lnTo>
                  <a:lnTo>
                    <a:pt x="1595" y="670"/>
                  </a:lnTo>
                  <a:lnTo>
                    <a:pt x="1598" y="674"/>
                  </a:lnTo>
                  <a:lnTo>
                    <a:pt x="1600" y="674"/>
                  </a:lnTo>
                  <a:lnTo>
                    <a:pt x="1600" y="674"/>
                  </a:lnTo>
                  <a:lnTo>
                    <a:pt x="1600" y="672"/>
                  </a:lnTo>
                  <a:lnTo>
                    <a:pt x="1600" y="672"/>
                  </a:lnTo>
                  <a:lnTo>
                    <a:pt x="1603" y="672"/>
                  </a:lnTo>
                  <a:lnTo>
                    <a:pt x="1605" y="670"/>
                  </a:lnTo>
                  <a:lnTo>
                    <a:pt x="1605" y="670"/>
                  </a:lnTo>
                  <a:lnTo>
                    <a:pt x="1603" y="670"/>
                  </a:lnTo>
                  <a:lnTo>
                    <a:pt x="1605" y="667"/>
                  </a:lnTo>
                  <a:lnTo>
                    <a:pt x="1600" y="667"/>
                  </a:lnTo>
                  <a:lnTo>
                    <a:pt x="1600" y="665"/>
                  </a:lnTo>
                  <a:lnTo>
                    <a:pt x="1600" y="665"/>
                  </a:lnTo>
                  <a:lnTo>
                    <a:pt x="1598" y="662"/>
                  </a:lnTo>
                  <a:lnTo>
                    <a:pt x="1598" y="660"/>
                  </a:lnTo>
                  <a:lnTo>
                    <a:pt x="1595" y="658"/>
                  </a:lnTo>
                  <a:lnTo>
                    <a:pt x="1593" y="655"/>
                  </a:lnTo>
                  <a:lnTo>
                    <a:pt x="1595" y="655"/>
                  </a:lnTo>
                  <a:lnTo>
                    <a:pt x="1595" y="655"/>
                  </a:lnTo>
                  <a:lnTo>
                    <a:pt x="1598" y="660"/>
                  </a:lnTo>
                  <a:lnTo>
                    <a:pt x="1598" y="660"/>
                  </a:lnTo>
                  <a:lnTo>
                    <a:pt x="1600" y="665"/>
                  </a:lnTo>
                  <a:lnTo>
                    <a:pt x="1603" y="665"/>
                  </a:lnTo>
                  <a:lnTo>
                    <a:pt x="1605" y="665"/>
                  </a:lnTo>
                  <a:lnTo>
                    <a:pt x="1605" y="665"/>
                  </a:lnTo>
                  <a:lnTo>
                    <a:pt x="1605" y="662"/>
                  </a:lnTo>
                  <a:lnTo>
                    <a:pt x="1607" y="662"/>
                  </a:lnTo>
                  <a:lnTo>
                    <a:pt x="1607" y="660"/>
                  </a:lnTo>
                  <a:lnTo>
                    <a:pt x="1605" y="660"/>
                  </a:lnTo>
                  <a:lnTo>
                    <a:pt x="1605" y="658"/>
                  </a:lnTo>
                  <a:lnTo>
                    <a:pt x="1603" y="655"/>
                  </a:lnTo>
                  <a:lnTo>
                    <a:pt x="1603" y="655"/>
                  </a:lnTo>
                  <a:lnTo>
                    <a:pt x="1598" y="655"/>
                  </a:lnTo>
                  <a:lnTo>
                    <a:pt x="1595" y="651"/>
                  </a:lnTo>
                  <a:lnTo>
                    <a:pt x="1595" y="651"/>
                  </a:lnTo>
                  <a:lnTo>
                    <a:pt x="1593" y="651"/>
                  </a:lnTo>
                  <a:lnTo>
                    <a:pt x="1593" y="651"/>
                  </a:lnTo>
                  <a:lnTo>
                    <a:pt x="1593" y="651"/>
                  </a:lnTo>
                  <a:lnTo>
                    <a:pt x="1593" y="646"/>
                  </a:lnTo>
                  <a:lnTo>
                    <a:pt x="1595" y="646"/>
                  </a:lnTo>
                  <a:lnTo>
                    <a:pt x="1598" y="644"/>
                  </a:lnTo>
                  <a:lnTo>
                    <a:pt x="1598" y="644"/>
                  </a:lnTo>
                  <a:lnTo>
                    <a:pt x="1600" y="641"/>
                  </a:lnTo>
                  <a:lnTo>
                    <a:pt x="1600" y="639"/>
                  </a:lnTo>
                  <a:lnTo>
                    <a:pt x="1600" y="641"/>
                  </a:lnTo>
                  <a:lnTo>
                    <a:pt x="1598" y="644"/>
                  </a:lnTo>
                  <a:lnTo>
                    <a:pt x="1598" y="644"/>
                  </a:lnTo>
                  <a:lnTo>
                    <a:pt x="1595" y="646"/>
                  </a:lnTo>
                  <a:lnTo>
                    <a:pt x="1593" y="648"/>
                  </a:lnTo>
                  <a:lnTo>
                    <a:pt x="1593" y="651"/>
                  </a:lnTo>
                  <a:lnTo>
                    <a:pt x="1595" y="651"/>
                  </a:lnTo>
                  <a:lnTo>
                    <a:pt x="1595" y="648"/>
                  </a:lnTo>
                  <a:lnTo>
                    <a:pt x="1598" y="648"/>
                  </a:lnTo>
                  <a:lnTo>
                    <a:pt x="1598" y="651"/>
                  </a:lnTo>
                  <a:lnTo>
                    <a:pt x="1598" y="651"/>
                  </a:lnTo>
                  <a:lnTo>
                    <a:pt x="1598" y="653"/>
                  </a:lnTo>
                  <a:lnTo>
                    <a:pt x="1600" y="651"/>
                  </a:lnTo>
                  <a:lnTo>
                    <a:pt x="1600" y="651"/>
                  </a:lnTo>
                  <a:lnTo>
                    <a:pt x="1600" y="653"/>
                  </a:lnTo>
                  <a:lnTo>
                    <a:pt x="1603" y="653"/>
                  </a:lnTo>
                  <a:lnTo>
                    <a:pt x="1605" y="655"/>
                  </a:lnTo>
                  <a:lnTo>
                    <a:pt x="1605" y="655"/>
                  </a:lnTo>
                  <a:lnTo>
                    <a:pt x="1607" y="655"/>
                  </a:lnTo>
                  <a:lnTo>
                    <a:pt x="1607" y="655"/>
                  </a:lnTo>
                  <a:lnTo>
                    <a:pt x="1607" y="655"/>
                  </a:lnTo>
                  <a:lnTo>
                    <a:pt x="1607" y="653"/>
                  </a:lnTo>
                  <a:lnTo>
                    <a:pt x="1605" y="648"/>
                  </a:lnTo>
                  <a:lnTo>
                    <a:pt x="1605" y="646"/>
                  </a:lnTo>
                  <a:lnTo>
                    <a:pt x="1605" y="646"/>
                  </a:lnTo>
                  <a:lnTo>
                    <a:pt x="1605" y="646"/>
                  </a:lnTo>
                  <a:lnTo>
                    <a:pt x="1605" y="646"/>
                  </a:lnTo>
                  <a:lnTo>
                    <a:pt x="1605" y="648"/>
                  </a:lnTo>
                  <a:lnTo>
                    <a:pt x="1607" y="651"/>
                  </a:lnTo>
                  <a:lnTo>
                    <a:pt x="1607" y="651"/>
                  </a:lnTo>
                  <a:lnTo>
                    <a:pt x="1607" y="651"/>
                  </a:lnTo>
                  <a:lnTo>
                    <a:pt x="1607" y="648"/>
                  </a:lnTo>
                  <a:lnTo>
                    <a:pt x="1607" y="648"/>
                  </a:lnTo>
                  <a:lnTo>
                    <a:pt x="1607" y="646"/>
                  </a:lnTo>
                  <a:lnTo>
                    <a:pt x="1607" y="644"/>
                  </a:lnTo>
                  <a:lnTo>
                    <a:pt x="1610" y="641"/>
                  </a:lnTo>
                  <a:lnTo>
                    <a:pt x="1610" y="641"/>
                  </a:lnTo>
                  <a:lnTo>
                    <a:pt x="1610" y="639"/>
                  </a:lnTo>
                  <a:lnTo>
                    <a:pt x="1610" y="639"/>
                  </a:lnTo>
                  <a:lnTo>
                    <a:pt x="1610" y="636"/>
                  </a:lnTo>
                  <a:lnTo>
                    <a:pt x="1610" y="636"/>
                  </a:lnTo>
                  <a:lnTo>
                    <a:pt x="1610" y="636"/>
                  </a:lnTo>
                  <a:lnTo>
                    <a:pt x="1612" y="636"/>
                  </a:lnTo>
                  <a:lnTo>
                    <a:pt x="1612" y="636"/>
                  </a:lnTo>
                  <a:lnTo>
                    <a:pt x="1612" y="634"/>
                  </a:lnTo>
                  <a:lnTo>
                    <a:pt x="1612" y="634"/>
                  </a:lnTo>
                  <a:lnTo>
                    <a:pt x="1612" y="632"/>
                  </a:lnTo>
                  <a:lnTo>
                    <a:pt x="1612" y="632"/>
                  </a:lnTo>
                  <a:lnTo>
                    <a:pt x="1614" y="632"/>
                  </a:lnTo>
                  <a:lnTo>
                    <a:pt x="1614" y="632"/>
                  </a:lnTo>
                  <a:lnTo>
                    <a:pt x="1614" y="632"/>
                  </a:lnTo>
                  <a:lnTo>
                    <a:pt x="1614" y="629"/>
                  </a:lnTo>
                  <a:lnTo>
                    <a:pt x="1617" y="629"/>
                  </a:lnTo>
                  <a:lnTo>
                    <a:pt x="1617" y="629"/>
                  </a:lnTo>
                  <a:lnTo>
                    <a:pt x="1617" y="629"/>
                  </a:lnTo>
                  <a:lnTo>
                    <a:pt x="1617" y="629"/>
                  </a:lnTo>
                  <a:lnTo>
                    <a:pt x="1617" y="629"/>
                  </a:lnTo>
                  <a:lnTo>
                    <a:pt x="1619" y="627"/>
                  </a:lnTo>
                  <a:lnTo>
                    <a:pt x="1619" y="627"/>
                  </a:lnTo>
                  <a:lnTo>
                    <a:pt x="1619" y="629"/>
                  </a:lnTo>
                  <a:lnTo>
                    <a:pt x="1619" y="629"/>
                  </a:lnTo>
                  <a:lnTo>
                    <a:pt x="1621" y="627"/>
                  </a:lnTo>
                  <a:lnTo>
                    <a:pt x="1621" y="627"/>
                  </a:lnTo>
                  <a:lnTo>
                    <a:pt x="1621" y="627"/>
                  </a:lnTo>
                  <a:lnTo>
                    <a:pt x="1621" y="625"/>
                  </a:lnTo>
                  <a:lnTo>
                    <a:pt x="1624" y="625"/>
                  </a:lnTo>
                  <a:lnTo>
                    <a:pt x="1624" y="625"/>
                  </a:lnTo>
                  <a:lnTo>
                    <a:pt x="1624" y="627"/>
                  </a:lnTo>
                  <a:lnTo>
                    <a:pt x="1626" y="627"/>
                  </a:lnTo>
                  <a:lnTo>
                    <a:pt x="1624" y="627"/>
                  </a:lnTo>
                  <a:lnTo>
                    <a:pt x="1624" y="627"/>
                  </a:lnTo>
                  <a:lnTo>
                    <a:pt x="1621" y="629"/>
                  </a:lnTo>
                  <a:lnTo>
                    <a:pt x="1624" y="629"/>
                  </a:lnTo>
                  <a:lnTo>
                    <a:pt x="1624" y="629"/>
                  </a:lnTo>
                  <a:lnTo>
                    <a:pt x="1621" y="629"/>
                  </a:lnTo>
                  <a:lnTo>
                    <a:pt x="1621" y="629"/>
                  </a:lnTo>
                  <a:lnTo>
                    <a:pt x="1619" y="629"/>
                  </a:lnTo>
                  <a:lnTo>
                    <a:pt x="1617" y="634"/>
                  </a:lnTo>
                  <a:lnTo>
                    <a:pt x="1617" y="636"/>
                  </a:lnTo>
                  <a:lnTo>
                    <a:pt x="1617" y="634"/>
                  </a:lnTo>
                  <a:lnTo>
                    <a:pt x="1617" y="636"/>
                  </a:lnTo>
                  <a:lnTo>
                    <a:pt x="1617" y="636"/>
                  </a:lnTo>
                  <a:lnTo>
                    <a:pt x="1614" y="636"/>
                  </a:lnTo>
                  <a:lnTo>
                    <a:pt x="1614" y="636"/>
                  </a:lnTo>
                  <a:lnTo>
                    <a:pt x="1612" y="639"/>
                  </a:lnTo>
                  <a:lnTo>
                    <a:pt x="1612" y="639"/>
                  </a:lnTo>
                  <a:lnTo>
                    <a:pt x="1614" y="639"/>
                  </a:lnTo>
                  <a:lnTo>
                    <a:pt x="1614" y="639"/>
                  </a:lnTo>
                  <a:lnTo>
                    <a:pt x="1614" y="641"/>
                  </a:lnTo>
                  <a:lnTo>
                    <a:pt x="1614" y="641"/>
                  </a:lnTo>
                  <a:lnTo>
                    <a:pt x="1612" y="641"/>
                  </a:lnTo>
                  <a:lnTo>
                    <a:pt x="1612" y="644"/>
                  </a:lnTo>
                  <a:lnTo>
                    <a:pt x="1612" y="644"/>
                  </a:lnTo>
                  <a:lnTo>
                    <a:pt x="1612" y="641"/>
                  </a:lnTo>
                  <a:lnTo>
                    <a:pt x="1614" y="641"/>
                  </a:lnTo>
                  <a:lnTo>
                    <a:pt x="1614" y="644"/>
                  </a:lnTo>
                  <a:lnTo>
                    <a:pt x="1614" y="646"/>
                  </a:lnTo>
                  <a:lnTo>
                    <a:pt x="1617" y="646"/>
                  </a:lnTo>
                  <a:lnTo>
                    <a:pt x="1617" y="646"/>
                  </a:lnTo>
                  <a:lnTo>
                    <a:pt x="1614" y="646"/>
                  </a:lnTo>
                  <a:lnTo>
                    <a:pt x="1612" y="646"/>
                  </a:lnTo>
                  <a:lnTo>
                    <a:pt x="1612" y="646"/>
                  </a:lnTo>
                  <a:lnTo>
                    <a:pt x="1610" y="648"/>
                  </a:lnTo>
                  <a:lnTo>
                    <a:pt x="1610" y="648"/>
                  </a:lnTo>
                  <a:lnTo>
                    <a:pt x="1612" y="651"/>
                  </a:lnTo>
                  <a:lnTo>
                    <a:pt x="1612" y="651"/>
                  </a:lnTo>
                  <a:lnTo>
                    <a:pt x="1612" y="653"/>
                  </a:lnTo>
                  <a:lnTo>
                    <a:pt x="1614" y="653"/>
                  </a:lnTo>
                  <a:lnTo>
                    <a:pt x="1614" y="651"/>
                  </a:lnTo>
                  <a:lnTo>
                    <a:pt x="1614" y="651"/>
                  </a:lnTo>
                  <a:lnTo>
                    <a:pt x="1614" y="653"/>
                  </a:lnTo>
                  <a:lnTo>
                    <a:pt x="1614" y="651"/>
                  </a:lnTo>
                  <a:lnTo>
                    <a:pt x="1617" y="651"/>
                  </a:lnTo>
                  <a:lnTo>
                    <a:pt x="1617" y="651"/>
                  </a:lnTo>
                  <a:lnTo>
                    <a:pt x="1617" y="651"/>
                  </a:lnTo>
                  <a:lnTo>
                    <a:pt x="1617" y="653"/>
                  </a:lnTo>
                  <a:lnTo>
                    <a:pt x="1617" y="653"/>
                  </a:lnTo>
                  <a:lnTo>
                    <a:pt x="1614" y="655"/>
                  </a:lnTo>
                  <a:lnTo>
                    <a:pt x="1614" y="655"/>
                  </a:lnTo>
                  <a:lnTo>
                    <a:pt x="1617" y="655"/>
                  </a:lnTo>
                  <a:lnTo>
                    <a:pt x="1617" y="658"/>
                  </a:lnTo>
                  <a:lnTo>
                    <a:pt x="1614" y="658"/>
                  </a:lnTo>
                  <a:lnTo>
                    <a:pt x="1614" y="660"/>
                  </a:lnTo>
                  <a:lnTo>
                    <a:pt x="1617" y="660"/>
                  </a:lnTo>
                  <a:lnTo>
                    <a:pt x="1617" y="660"/>
                  </a:lnTo>
                  <a:lnTo>
                    <a:pt x="1617" y="662"/>
                  </a:lnTo>
                  <a:lnTo>
                    <a:pt x="1614" y="662"/>
                  </a:lnTo>
                  <a:lnTo>
                    <a:pt x="1612" y="667"/>
                  </a:lnTo>
                  <a:lnTo>
                    <a:pt x="1607" y="672"/>
                  </a:lnTo>
                  <a:lnTo>
                    <a:pt x="1607" y="674"/>
                  </a:lnTo>
                  <a:lnTo>
                    <a:pt x="1607" y="674"/>
                  </a:lnTo>
                  <a:lnTo>
                    <a:pt x="1607" y="677"/>
                  </a:lnTo>
                  <a:lnTo>
                    <a:pt x="1610" y="674"/>
                  </a:lnTo>
                  <a:lnTo>
                    <a:pt x="1612" y="672"/>
                  </a:lnTo>
                  <a:lnTo>
                    <a:pt x="1612" y="670"/>
                  </a:lnTo>
                  <a:lnTo>
                    <a:pt x="1614" y="670"/>
                  </a:lnTo>
                  <a:lnTo>
                    <a:pt x="1614" y="670"/>
                  </a:lnTo>
                  <a:lnTo>
                    <a:pt x="1617" y="667"/>
                  </a:lnTo>
                  <a:lnTo>
                    <a:pt x="1617" y="667"/>
                  </a:lnTo>
                  <a:lnTo>
                    <a:pt x="1624" y="658"/>
                  </a:lnTo>
                  <a:lnTo>
                    <a:pt x="1626" y="655"/>
                  </a:lnTo>
                  <a:lnTo>
                    <a:pt x="1626" y="653"/>
                  </a:lnTo>
                  <a:lnTo>
                    <a:pt x="1628" y="653"/>
                  </a:lnTo>
                  <a:lnTo>
                    <a:pt x="1628" y="653"/>
                  </a:lnTo>
                  <a:lnTo>
                    <a:pt x="1631" y="651"/>
                  </a:lnTo>
                  <a:lnTo>
                    <a:pt x="1631" y="651"/>
                  </a:lnTo>
                  <a:lnTo>
                    <a:pt x="1631" y="648"/>
                  </a:lnTo>
                  <a:lnTo>
                    <a:pt x="1631" y="651"/>
                  </a:lnTo>
                  <a:lnTo>
                    <a:pt x="1631" y="651"/>
                  </a:lnTo>
                  <a:lnTo>
                    <a:pt x="1631" y="651"/>
                  </a:lnTo>
                  <a:lnTo>
                    <a:pt x="1631" y="648"/>
                  </a:lnTo>
                  <a:lnTo>
                    <a:pt x="1633" y="648"/>
                  </a:lnTo>
                  <a:lnTo>
                    <a:pt x="1633" y="646"/>
                  </a:lnTo>
                  <a:lnTo>
                    <a:pt x="1631" y="646"/>
                  </a:lnTo>
                  <a:lnTo>
                    <a:pt x="1631" y="646"/>
                  </a:lnTo>
                  <a:lnTo>
                    <a:pt x="1631" y="646"/>
                  </a:lnTo>
                  <a:lnTo>
                    <a:pt x="1633" y="644"/>
                  </a:lnTo>
                  <a:lnTo>
                    <a:pt x="1633" y="641"/>
                  </a:lnTo>
                  <a:lnTo>
                    <a:pt x="1631" y="641"/>
                  </a:lnTo>
                  <a:lnTo>
                    <a:pt x="1631" y="639"/>
                  </a:lnTo>
                  <a:lnTo>
                    <a:pt x="1631" y="634"/>
                  </a:lnTo>
                  <a:lnTo>
                    <a:pt x="1631" y="632"/>
                  </a:lnTo>
                  <a:lnTo>
                    <a:pt x="1631" y="629"/>
                  </a:lnTo>
                  <a:lnTo>
                    <a:pt x="1631" y="627"/>
                  </a:lnTo>
                  <a:lnTo>
                    <a:pt x="1631" y="625"/>
                  </a:lnTo>
                  <a:lnTo>
                    <a:pt x="1631" y="625"/>
                  </a:lnTo>
                  <a:lnTo>
                    <a:pt x="1631" y="625"/>
                  </a:lnTo>
                  <a:lnTo>
                    <a:pt x="1633" y="622"/>
                  </a:lnTo>
                  <a:lnTo>
                    <a:pt x="1633" y="620"/>
                  </a:lnTo>
                  <a:lnTo>
                    <a:pt x="1636" y="620"/>
                  </a:lnTo>
                  <a:lnTo>
                    <a:pt x="1638" y="620"/>
                  </a:lnTo>
                  <a:lnTo>
                    <a:pt x="1640" y="618"/>
                  </a:lnTo>
                  <a:lnTo>
                    <a:pt x="1643" y="615"/>
                  </a:lnTo>
                  <a:lnTo>
                    <a:pt x="1640" y="618"/>
                  </a:lnTo>
                  <a:lnTo>
                    <a:pt x="1640" y="618"/>
                  </a:lnTo>
                  <a:lnTo>
                    <a:pt x="1636" y="620"/>
                  </a:lnTo>
                  <a:lnTo>
                    <a:pt x="1636" y="620"/>
                  </a:lnTo>
                  <a:lnTo>
                    <a:pt x="1633" y="622"/>
                  </a:lnTo>
                  <a:lnTo>
                    <a:pt x="1631" y="625"/>
                  </a:lnTo>
                  <a:lnTo>
                    <a:pt x="1631" y="625"/>
                  </a:lnTo>
                  <a:lnTo>
                    <a:pt x="1631" y="627"/>
                  </a:lnTo>
                  <a:lnTo>
                    <a:pt x="1633" y="629"/>
                  </a:lnTo>
                  <a:lnTo>
                    <a:pt x="1636" y="632"/>
                  </a:lnTo>
                  <a:lnTo>
                    <a:pt x="1636" y="632"/>
                  </a:lnTo>
                  <a:lnTo>
                    <a:pt x="1638" y="632"/>
                  </a:lnTo>
                  <a:lnTo>
                    <a:pt x="1638" y="634"/>
                  </a:lnTo>
                  <a:lnTo>
                    <a:pt x="1640" y="634"/>
                  </a:lnTo>
                  <a:lnTo>
                    <a:pt x="1638" y="636"/>
                  </a:lnTo>
                  <a:lnTo>
                    <a:pt x="1638" y="639"/>
                  </a:lnTo>
                  <a:lnTo>
                    <a:pt x="1638" y="639"/>
                  </a:lnTo>
                  <a:lnTo>
                    <a:pt x="1640" y="636"/>
                  </a:lnTo>
                  <a:lnTo>
                    <a:pt x="1645" y="632"/>
                  </a:lnTo>
                  <a:lnTo>
                    <a:pt x="1645" y="632"/>
                  </a:lnTo>
                  <a:lnTo>
                    <a:pt x="1645" y="632"/>
                  </a:lnTo>
                  <a:lnTo>
                    <a:pt x="1645" y="629"/>
                  </a:lnTo>
                  <a:lnTo>
                    <a:pt x="1647" y="629"/>
                  </a:lnTo>
                  <a:lnTo>
                    <a:pt x="1647" y="629"/>
                  </a:lnTo>
                  <a:lnTo>
                    <a:pt x="1650" y="629"/>
                  </a:lnTo>
                  <a:lnTo>
                    <a:pt x="1650" y="627"/>
                  </a:lnTo>
                  <a:lnTo>
                    <a:pt x="1650" y="627"/>
                  </a:lnTo>
                  <a:lnTo>
                    <a:pt x="1650" y="625"/>
                  </a:lnTo>
                  <a:lnTo>
                    <a:pt x="1652" y="625"/>
                  </a:lnTo>
                  <a:lnTo>
                    <a:pt x="1654" y="625"/>
                  </a:lnTo>
                  <a:lnTo>
                    <a:pt x="1657" y="622"/>
                  </a:lnTo>
                  <a:lnTo>
                    <a:pt x="1659" y="618"/>
                  </a:lnTo>
                  <a:lnTo>
                    <a:pt x="1659" y="618"/>
                  </a:lnTo>
                  <a:lnTo>
                    <a:pt x="1659" y="615"/>
                  </a:lnTo>
                  <a:lnTo>
                    <a:pt x="1659" y="620"/>
                  </a:lnTo>
                  <a:lnTo>
                    <a:pt x="1657" y="620"/>
                  </a:lnTo>
                  <a:lnTo>
                    <a:pt x="1659" y="618"/>
                  </a:lnTo>
                  <a:lnTo>
                    <a:pt x="1661" y="615"/>
                  </a:lnTo>
                  <a:lnTo>
                    <a:pt x="1661" y="615"/>
                  </a:lnTo>
                  <a:lnTo>
                    <a:pt x="1664" y="613"/>
                  </a:lnTo>
                  <a:lnTo>
                    <a:pt x="1664" y="610"/>
                  </a:lnTo>
                  <a:lnTo>
                    <a:pt x="1664" y="610"/>
                  </a:lnTo>
                  <a:lnTo>
                    <a:pt x="1664" y="608"/>
                  </a:lnTo>
                  <a:lnTo>
                    <a:pt x="1664" y="608"/>
                  </a:lnTo>
                  <a:lnTo>
                    <a:pt x="1659" y="608"/>
                  </a:lnTo>
                  <a:lnTo>
                    <a:pt x="1659" y="606"/>
                  </a:lnTo>
                  <a:lnTo>
                    <a:pt x="1661" y="606"/>
                  </a:lnTo>
                  <a:lnTo>
                    <a:pt x="1661" y="603"/>
                  </a:lnTo>
                  <a:lnTo>
                    <a:pt x="1664" y="603"/>
                  </a:lnTo>
                  <a:lnTo>
                    <a:pt x="1664" y="603"/>
                  </a:lnTo>
                  <a:lnTo>
                    <a:pt x="1666" y="603"/>
                  </a:lnTo>
                  <a:lnTo>
                    <a:pt x="1666" y="601"/>
                  </a:lnTo>
                  <a:lnTo>
                    <a:pt x="1669" y="599"/>
                  </a:lnTo>
                  <a:lnTo>
                    <a:pt x="1671" y="596"/>
                  </a:lnTo>
                  <a:lnTo>
                    <a:pt x="1671" y="594"/>
                  </a:lnTo>
                  <a:lnTo>
                    <a:pt x="1671" y="592"/>
                  </a:lnTo>
                  <a:lnTo>
                    <a:pt x="1671" y="592"/>
                  </a:lnTo>
                  <a:lnTo>
                    <a:pt x="1671" y="594"/>
                  </a:lnTo>
                  <a:lnTo>
                    <a:pt x="1671" y="596"/>
                  </a:lnTo>
                  <a:lnTo>
                    <a:pt x="1669" y="599"/>
                  </a:lnTo>
                  <a:lnTo>
                    <a:pt x="1669" y="601"/>
                  </a:lnTo>
                  <a:lnTo>
                    <a:pt x="1666" y="601"/>
                  </a:lnTo>
                  <a:lnTo>
                    <a:pt x="1669" y="601"/>
                  </a:lnTo>
                  <a:lnTo>
                    <a:pt x="1669" y="601"/>
                  </a:lnTo>
                  <a:lnTo>
                    <a:pt x="1669" y="601"/>
                  </a:lnTo>
                  <a:lnTo>
                    <a:pt x="1671" y="599"/>
                  </a:lnTo>
                  <a:lnTo>
                    <a:pt x="1673" y="599"/>
                  </a:lnTo>
                  <a:lnTo>
                    <a:pt x="1676" y="596"/>
                  </a:lnTo>
                  <a:lnTo>
                    <a:pt x="1683" y="594"/>
                  </a:lnTo>
                  <a:lnTo>
                    <a:pt x="1687" y="592"/>
                  </a:lnTo>
                  <a:lnTo>
                    <a:pt x="1690" y="592"/>
                  </a:lnTo>
                  <a:lnTo>
                    <a:pt x="1690" y="592"/>
                  </a:lnTo>
                  <a:lnTo>
                    <a:pt x="1697" y="592"/>
                  </a:lnTo>
                  <a:lnTo>
                    <a:pt x="1699" y="592"/>
                  </a:lnTo>
                  <a:lnTo>
                    <a:pt x="1699" y="592"/>
                  </a:lnTo>
                  <a:lnTo>
                    <a:pt x="1704" y="589"/>
                  </a:lnTo>
                  <a:lnTo>
                    <a:pt x="1706" y="589"/>
                  </a:lnTo>
                  <a:lnTo>
                    <a:pt x="1709" y="589"/>
                  </a:lnTo>
                  <a:lnTo>
                    <a:pt x="1713" y="589"/>
                  </a:lnTo>
                  <a:lnTo>
                    <a:pt x="1716" y="587"/>
                  </a:lnTo>
                  <a:lnTo>
                    <a:pt x="1718" y="584"/>
                  </a:lnTo>
                  <a:lnTo>
                    <a:pt x="1718" y="582"/>
                  </a:lnTo>
                  <a:lnTo>
                    <a:pt x="1718" y="580"/>
                  </a:lnTo>
                  <a:lnTo>
                    <a:pt x="1720" y="580"/>
                  </a:lnTo>
                  <a:lnTo>
                    <a:pt x="1720" y="582"/>
                  </a:lnTo>
                  <a:lnTo>
                    <a:pt x="1720" y="582"/>
                  </a:lnTo>
                  <a:lnTo>
                    <a:pt x="1720" y="582"/>
                  </a:lnTo>
                  <a:lnTo>
                    <a:pt x="1723" y="582"/>
                  </a:lnTo>
                  <a:lnTo>
                    <a:pt x="1723" y="582"/>
                  </a:lnTo>
                  <a:lnTo>
                    <a:pt x="1720" y="584"/>
                  </a:lnTo>
                  <a:lnTo>
                    <a:pt x="1720" y="587"/>
                  </a:lnTo>
                  <a:lnTo>
                    <a:pt x="1720" y="587"/>
                  </a:lnTo>
                  <a:lnTo>
                    <a:pt x="1723" y="587"/>
                  </a:lnTo>
                  <a:lnTo>
                    <a:pt x="1725" y="584"/>
                  </a:lnTo>
                  <a:lnTo>
                    <a:pt x="1730" y="582"/>
                  </a:lnTo>
                  <a:lnTo>
                    <a:pt x="1730" y="582"/>
                  </a:lnTo>
                  <a:lnTo>
                    <a:pt x="1730" y="584"/>
                  </a:lnTo>
                  <a:lnTo>
                    <a:pt x="1730" y="584"/>
                  </a:lnTo>
                  <a:lnTo>
                    <a:pt x="1730" y="587"/>
                  </a:lnTo>
                  <a:lnTo>
                    <a:pt x="1732" y="584"/>
                  </a:lnTo>
                  <a:lnTo>
                    <a:pt x="1735" y="584"/>
                  </a:lnTo>
                  <a:lnTo>
                    <a:pt x="1742" y="582"/>
                  </a:lnTo>
                  <a:lnTo>
                    <a:pt x="1742" y="582"/>
                  </a:lnTo>
                  <a:lnTo>
                    <a:pt x="1742" y="582"/>
                  </a:lnTo>
                  <a:lnTo>
                    <a:pt x="1744" y="582"/>
                  </a:lnTo>
                  <a:lnTo>
                    <a:pt x="1744" y="580"/>
                  </a:lnTo>
                  <a:lnTo>
                    <a:pt x="1744" y="577"/>
                  </a:lnTo>
                  <a:lnTo>
                    <a:pt x="1744" y="575"/>
                  </a:lnTo>
                  <a:lnTo>
                    <a:pt x="1742" y="575"/>
                  </a:lnTo>
                  <a:lnTo>
                    <a:pt x="1742" y="575"/>
                  </a:lnTo>
                  <a:lnTo>
                    <a:pt x="1742" y="575"/>
                  </a:lnTo>
                  <a:lnTo>
                    <a:pt x="1742" y="575"/>
                  </a:lnTo>
                  <a:lnTo>
                    <a:pt x="1742" y="575"/>
                  </a:lnTo>
                  <a:lnTo>
                    <a:pt x="1742" y="575"/>
                  </a:lnTo>
                  <a:lnTo>
                    <a:pt x="1742" y="575"/>
                  </a:lnTo>
                  <a:lnTo>
                    <a:pt x="1742" y="577"/>
                  </a:lnTo>
                  <a:lnTo>
                    <a:pt x="1744" y="580"/>
                  </a:lnTo>
                  <a:lnTo>
                    <a:pt x="1742" y="580"/>
                  </a:lnTo>
                  <a:lnTo>
                    <a:pt x="1739" y="582"/>
                  </a:lnTo>
                  <a:lnTo>
                    <a:pt x="1737" y="582"/>
                  </a:lnTo>
                  <a:lnTo>
                    <a:pt x="1735" y="582"/>
                  </a:lnTo>
                  <a:lnTo>
                    <a:pt x="1735" y="580"/>
                  </a:lnTo>
                  <a:lnTo>
                    <a:pt x="1735" y="577"/>
                  </a:lnTo>
                  <a:lnTo>
                    <a:pt x="1732" y="577"/>
                  </a:lnTo>
                  <a:lnTo>
                    <a:pt x="1732" y="575"/>
                  </a:lnTo>
                  <a:lnTo>
                    <a:pt x="1735" y="575"/>
                  </a:lnTo>
                  <a:lnTo>
                    <a:pt x="1732" y="573"/>
                  </a:lnTo>
                  <a:lnTo>
                    <a:pt x="1732" y="570"/>
                  </a:lnTo>
                  <a:lnTo>
                    <a:pt x="1730" y="570"/>
                  </a:lnTo>
                  <a:lnTo>
                    <a:pt x="1730" y="570"/>
                  </a:lnTo>
                  <a:lnTo>
                    <a:pt x="1732" y="568"/>
                  </a:lnTo>
                  <a:lnTo>
                    <a:pt x="1732" y="566"/>
                  </a:lnTo>
                  <a:lnTo>
                    <a:pt x="1735" y="566"/>
                  </a:lnTo>
                  <a:lnTo>
                    <a:pt x="1735" y="566"/>
                  </a:lnTo>
                  <a:lnTo>
                    <a:pt x="1737" y="563"/>
                  </a:lnTo>
                  <a:lnTo>
                    <a:pt x="1739" y="563"/>
                  </a:lnTo>
                  <a:lnTo>
                    <a:pt x="1739" y="563"/>
                  </a:lnTo>
                  <a:lnTo>
                    <a:pt x="1739" y="563"/>
                  </a:lnTo>
                  <a:lnTo>
                    <a:pt x="1739" y="563"/>
                  </a:lnTo>
                  <a:lnTo>
                    <a:pt x="1737" y="563"/>
                  </a:lnTo>
                  <a:lnTo>
                    <a:pt x="1737" y="563"/>
                  </a:lnTo>
                  <a:lnTo>
                    <a:pt x="1737" y="561"/>
                  </a:lnTo>
                  <a:lnTo>
                    <a:pt x="1737" y="561"/>
                  </a:lnTo>
                  <a:lnTo>
                    <a:pt x="1737" y="558"/>
                  </a:lnTo>
                  <a:lnTo>
                    <a:pt x="1739" y="556"/>
                  </a:lnTo>
                  <a:lnTo>
                    <a:pt x="1739" y="554"/>
                  </a:lnTo>
                  <a:lnTo>
                    <a:pt x="1742" y="554"/>
                  </a:lnTo>
                  <a:lnTo>
                    <a:pt x="1742" y="554"/>
                  </a:lnTo>
                  <a:lnTo>
                    <a:pt x="1746" y="549"/>
                  </a:lnTo>
                  <a:lnTo>
                    <a:pt x="1749" y="547"/>
                  </a:lnTo>
                  <a:lnTo>
                    <a:pt x="1753" y="542"/>
                  </a:lnTo>
                  <a:lnTo>
                    <a:pt x="1753" y="542"/>
                  </a:lnTo>
                  <a:lnTo>
                    <a:pt x="1753" y="542"/>
                  </a:lnTo>
                  <a:lnTo>
                    <a:pt x="1756" y="540"/>
                  </a:lnTo>
                  <a:lnTo>
                    <a:pt x="1758" y="540"/>
                  </a:lnTo>
                  <a:lnTo>
                    <a:pt x="1758" y="540"/>
                  </a:lnTo>
                  <a:lnTo>
                    <a:pt x="1758" y="540"/>
                  </a:lnTo>
                  <a:lnTo>
                    <a:pt x="1758" y="540"/>
                  </a:lnTo>
                  <a:lnTo>
                    <a:pt x="1758" y="540"/>
                  </a:lnTo>
                  <a:lnTo>
                    <a:pt x="1760" y="540"/>
                  </a:lnTo>
                  <a:lnTo>
                    <a:pt x="1760" y="540"/>
                  </a:lnTo>
                  <a:lnTo>
                    <a:pt x="1760" y="540"/>
                  </a:lnTo>
                  <a:lnTo>
                    <a:pt x="1760" y="540"/>
                  </a:lnTo>
                  <a:lnTo>
                    <a:pt x="1763" y="537"/>
                  </a:lnTo>
                  <a:lnTo>
                    <a:pt x="1763" y="537"/>
                  </a:lnTo>
                  <a:lnTo>
                    <a:pt x="1763" y="537"/>
                  </a:lnTo>
                  <a:lnTo>
                    <a:pt x="1763" y="537"/>
                  </a:lnTo>
                  <a:lnTo>
                    <a:pt x="1763" y="540"/>
                  </a:lnTo>
                  <a:lnTo>
                    <a:pt x="1765" y="537"/>
                  </a:lnTo>
                  <a:lnTo>
                    <a:pt x="1765" y="535"/>
                  </a:lnTo>
                  <a:lnTo>
                    <a:pt x="1765" y="537"/>
                  </a:lnTo>
                  <a:lnTo>
                    <a:pt x="1765" y="537"/>
                  </a:lnTo>
                  <a:lnTo>
                    <a:pt x="1765" y="537"/>
                  </a:lnTo>
                  <a:lnTo>
                    <a:pt x="1768" y="535"/>
                  </a:lnTo>
                  <a:lnTo>
                    <a:pt x="1768" y="537"/>
                  </a:lnTo>
                  <a:lnTo>
                    <a:pt x="1768" y="537"/>
                  </a:lnTo>
                  <a:lnTo>
                    <a:pt x="1768" y="537"/>
                  </a:lnTo>
                  <a:lnTo>
                    <a:pt x="1770" y="537"/>
                  </a:lnTo>
                  <a:lnTo>
                    <a:pt x="1770" y="535"/>
                  </a:lnTo>
                  <a:lnTo>
                    <a:pt x="1772" y="535"/>
                  </a:lnTo>
                  <a:lnTo>
                    <a:pt x="1775" y="535"/>
                  </a:lnTo>
                  <a:lnTo>
                    <a:pt x="1777" y="532"/>
                  </a:lnTo>
                  <a:lnTo>
                    <a:pt x="1777" y="532"/>
                  </a:lnTo>
                  <a:lnTo>
                    <a:pt x="1779" y="528"/>
                  </a:lnTo>
                  <a:lnTo>
                    <a:pt x="1779" y="528"/>
                  </a:lnTo>
                  <a:lnTo>
                    <a:pt x="1782" y="525"/>
                  </a:lnTo>
                  <a:lnTo>
                    <a:pt x="1784" y="525"/>
                  </a:lnTo>
                  <a:lnTo>
                    <a:pt x="1784" y="523"/>
                  </a:lnTo>
                  <a:lnTo>
                    <a:pt x="1784" y="525"/>
                  </a:lnTo>
                  <a:lnTo>
                    <a:pt x="1784" y="525"/>
                  </a:lnTo>
                  <a:lnTo>
                    <a:pt x="1784" y="525"/>
                  </a:lnTo>
                  <a:lnTo>
                    <a:pt x="1784" y="525"/>
                  </a:lnTo>
                  <a:lnTo>
                    <a:pt x="1784" y="525"/>
                  </a:lnTo>
                  <a:lnTo>
                    <a:pt x="1782" y="528"/>
                  </a:lnTo>
                  <a:lnTo>
                    <a:pt x="1782" y="528"/>
                  </a:lnTo>
                  <a:lnTo>
                    <a:pt x="1784" y="528"/>
                  </a:lnTo>
                  <a:lnTo>
                    <a:pt x="1786" y="530"/>
                  </a:lnTo>
                  <a:lnTo>
                    <a:pt x="1786" y="530"/>
                  </a:lnTo>
                  <a:lnTo>
                    <a:pt x="1786" y="530"/>
                  </a:lnTo>
                  <a:lnTo>
                    <a:pt x="1786" y="530"/>
                  </a:lnTo>
                  <a:lnTo>
                    <a:pt x="1786" y="528"/>
                  </a:lnTo>
                  <a:lnTo>
                    <a:pt x="1789" y="525"/>
                  </a:lnTo>
                  <a:lnTo>
                    <a:pt x="1789" y="525"/>
                  </a:lnTo>
                  <a:lnTo>
                    <a:pt x="1789" y="525"/>
                  </a:lnTo>
                  <a:lnTo>
                    <a:pt x="1791" y="525"/>
                  </a:lnTo>
                  <a:lnTo>
                    <a:pt x="1791" y="525"/>
                  </a:lnTo>
                  <a:lnTo>
                    <a:pt x="1793" y="525"/>
                  </a:lnTo>
                  <a:lnTo>
                    <a:pt x="1793" y="525"/>
                  </a:lnTo>
                  <a:lnTo>
                    <a:pt x="1793" y="525"/>
                  </a:lnTo>
                  <a:lnTo>
                    <a:pt x="1793" y="525"/>
                  </a:lnTo>
                  <a:lnTo>
                    <a:pt x="1796" y="525"/>
                  </a:lnTo>
                  <a:lnTo>
                    <a:pt x="1796" y="525"/>
                  </a:lnTo>
                  <a:lnTo>
                    <a:pt x="1796" y="528"/>
                  </a:lnTo>
                  <a:lnTo>
                    <a:pt x="1796" y="528"/>
                  </a:lnTo>
                  <a:lnTo>
                    <a:pt x="1796" y="528"/>
                  </a:lnTo>
                  <a:lnTo>
                    <a:pt x="1798" y="525"/>
                  </a:lnTo>
                  <a:lnTo>
                    <a:pt x="1798" y="525"/>
                  </a:lnTo>
                  <a:lnTo>
                    <a:pt x="1801" y="523"/>
                  </a:lnTo>
                  <a:lnTo>
                    <a:pt x="1801" y="523"/>
                  </a:lnTo>
                  <a:lnTo>
                    <a:pt x="1803" y="523"/>
                  </a:lnTo>
                  <a:lnTo>
                    <a:pt x="1803" y="523"/>
                  </a:lnTo>
                  <a:lnTo>
                    <a:pt x="1805" y="523"/>
                  </a:lnTo>
                  <a:lnTo>
                    <a:pt x="1805" y="523"/>
                  </a:lnTo>
                  <a:lnTo>
                    <a:pt x="1808" y="523"/>
                  </a:lnTo>
                  <a:lnTo>
                    <a:pt x="1810" y="521"/>
                  </a:lnTo>
                  <a:lnTo>
                    <a:pt x="1812" y="521"/>
                  </a:lnTo>
                  <a:lnTo>
                    <a:pt x="1817" y="518"/>
                  </a:lnTo>
                  <a:lnTo>
                    <a:pt x="1817" y="518"/>
                  </a:lnTo>
                  <a:lnTo>
                    <a:pt x="1817" y="518"/>
                  </a:lnTo>
                  <a:lnTo>
                    <a:pt x="1815" y="518"/>
                  </a:lnTo>
                  <a:lnTo>
                    <a:pt x="1815" y="516"/>
                  </a:lnTo>
                  <a:lnTo>
                    <a:pt x="1817" y="516"/>
                  </a:lnTo>
                  <a:lnTo>
                    <a:pt x="1817" y="511"/>
                  </a:lnTo>
                  <a:lnTo>
                    <a:pt x="1817" y="511"/>
                  </a:lnTo>
                  <a:lnTo>
                    <a:pt x="1817" y="509"/>
                  </a:lnTo>
                  <a:lnTo>
                    <a:pt x="1817" y="509"/>
                  </a:lnTo>
                  <a:lnTo>
                    <a:pt x="1815" y="509"/>
                  </a:lnTo>
                  <a:lnTo>
                    <a:pt x="1815" y="509"/>
                  </a:lnTo>
                  <a:lnTo>
                    <a:pt x="1815" y="509"/>
                  </a:lnTo>
                  <a:lnTo>
                    <a:pt x="1815" y="509"/>
                  </a:lnTo>
                  <a:lnTo>
                    <a:pt x="1815" y="511"/>
                  </a:lnTo>
                  <a:lnTo>
                    <a:pt x="1812" y="509"/>
                  </a:lnTo>
                  <a:lnTo>
                    <a:pt x="1812" y="509"/>
                  </a:lnTo>
                  <a:lnTo>
                    <a:pt x="1812" y="509"/>
                  </a:lnTo>
                  <a:lnTo>
                    <a:pt x="1812" y="509"/>
                  </a:lnTo>
                  <a:lnTo>
                    <a:pt x="1812" y="506"/>
                  </a:lnTo>
                  <a:lnTo>
                    <a:pt x="1812" y="506"/>
                  </a:lnTo>
                  <a:lnTo>
                    <a:pt x="1812" y="506"/>
                  </a:lnTo>
                  <a:lnTo>
                    <a:pt x="1812" y="504"/>
                  </a:lnTo>
                  <a:lnTo>
                    <a:pt x="1812" y="504"/>
                  </a:lnTo>
                  <a:lnTo>
                    <a:pt x="1812" y="504"/>
                  </a:lnTo>
                  <a:lnTo>
                    <a:pt x="1812" y="504"/>
                  </a:lnTo>
                  <a:lnTo>
                    <a:pt x="1815" y="502"/>
                  </a:lnTo>
                  <a:lnTo>
                    <a:pt x="1815" y="502"/>
                  </a:lnTo>
                  <a:lnTo>
                    <a:pt x="1815" y="502"/>
                  </a:lnTo>
                  <a:lnTo>
                    <a:pt x="1815" y="502"/>
                  </a:lnTo>
                  <a:lnTo>
                    <a:pt x="1815" y="502"/>
                  </a:lnTo>
                  <a:lnTo>
                    <a:pt x="1815" y="502"/>
                  </a:lnTo>
                  <a:lnTo>
                    <a:pt x="1812" y="502"/>
                  </a:lnTo>
                  <a:lnTo>
                    <a:pt x="1812" y="499"/>
                  </a:lnTo>
                  <a:lnTo>
                    <a:pt x="1812" y="499"/>
                  </a:lnTo>
                  <a:lnTo>
                    <a:pt x="1810" y="499"/>
                  </a:lnTo>
                  <a:lnTo>
                    <a:pt x="1810" y="499"/>
                  </a:lnTo>
                  <a:lnTo>
                    <a:pt x="1810" y="499"/>
                  </a:lnTo>
                  <a:lnTo>
                    <a:pt x="1810" y="499"/>
                  </a:lnTo>
                  <a:lnTo>
                    <a:pt x="1810" y="497"/>
                  </a:lnTo>
                  <a:lnTo>
                    <a:pt x="1810" y="497"/>
                  </a:lnTo>
                  <a:lnTo>
                    <a:pt x="1812" y="497"/>
                  </a:lnTo>
                  <a:lnTo>
                    <a:pt x="1812" y="497"/>
                  </a:lnTo>
                  <a:lnTo>
                    <a:pt x="1812" y="495"/>
                  </a:lnTo>
                  <a:lnTo>
                    <a:pt x="1812" y="495"/>
                  </a:lnTo>
                  <a:lnTo>
                    <a:pt x="1812" y="495"/>
                  </a:lnTo>
                  <a:lnTo>
                    <a:pt x="1812" y="495"/>
                  </a:lnTo>
                  <a:lnTo>
                    <a:pt x="1812" y="495"/>
                  </a:lnTo>
                  <a:lnTo>
                    <a:pt x="1812" y="492"/>
                  </a:lnTo>
                  <a:lnTo>
                    <a:pt x="1815" y="488"/>
                  </a:lnTo>
                  <a:lnTo>
                    <a:pt x="1815" y="485"/>
                  </a:lnTo>
                  <a:lnTo>
                    <a:pt x="1817" y="483"/>
                  </a:lnTo>
                  <a:lnTo>
                    <a:pt x="1817" y="480"/>
                  </a:lnTo>
                  <a:lnTo>
                    <a:pt x="1819" y="476"/>
                  </a:lnTo>
                  <a:lnTo>
                    <a:pt x="1819" y="473"/>
                  </a:lnTo>
                  <a:lnTo>
                    <a:pt x="1822" y="471"/>
                  </a:lnTo>
                  <a:lnTo>
                    <a:pt x="1819" y="469"/>
                  </a:lnTo>
                  <a:lnTo>
                    <a:pt x="1817" y="466"/>
                  </a:lnTo>
                  <a:close/>
                  <a:moveTo>
                    <a:pt x="1784" y="530"/>
                  </a:moveTo>
                  <a:lnTo>
                    <a:pt x="1784" y="530"/>
                  </a:lnTo>
                  <a:lnTo>
                    <a:pt x="1784" y="530"/>
                  </a:lnTo>
                  <a:lnTo>
                    <a:pt x="1782" y="532"/>
                  </a:lnTo>
                  <a:lnTo>
                    <a:pt x="1784" y="532"/>
                  </a:lnTo>
                  <a:lnTo>
                    <a:pt x="1784" y="532"/>
                  </a:lnTo>
                  <a:lnTo>
                    <a:pt x="1784" y="530"/>
                  </a:lnTo>
                  <a:lnTo>
                    <a:pt x="1784" y="530"/>
                  </a:lnTo>
                  <a:close/>
                  <a:moveTo>
                    <a:pt x="1720" y="584"/>
                  </a:moveTo>
                  <a:lnTo>
                    <a:pt x="1720" y="584"/>
                  </a:lnTo>
                  <a:lnTo>
                    <a:pt x="1718" y="584"/>
                  </a:lnTo>
                  <a:lnTo>
                    <a:pt x="1718" y="587"/>
                  </a:lnTo>
                  <a:lnTo>
                    <a:pt x="1718" y="587"/>
                  </a:lnTo>
                  <a:lnTo>
                    <a:pt x="1718" y="587"/>
                  </a:lnTo>
                  <a:lnTo>
                    <a:pt x="1718" y="587"/>
                  </a:lnTo>
                  <a:lnTo>
                    <a:pt x="1720" y="584"/>
                  </a:lnTo>
                  <a:lnTo>
                    <a:pt x="1720" y="584"/>
                  </a:lnTo>
                  <a:close/>
                  <a:moveTo>
                    <a:pt x="5706" y="149"/>
                  </a:moveTo>
                  <a:lnTo>
                    <a:pt x="5706" y="149"/>
                  </a:lnTo>
                  <a:lnTo>
                    <a:pt x="5706" y="147"/>
                  </a:lnTo>
                  <a:lnTo>
                    <a:pt x="5703" y="147"/>
                  </a:lnTo>
                  <a:lnTo>
                    <a:pt x="5701" y="147"/>
                  </a:lnTo>
                  <a:lnTo>
                    <a:pt x="5699" y="147"/>
                  </a:lnTo>
                  <a:lnTo>
                    <a:pt x="5696" y="147"/>
                  </a:lnTo>
                  <a:lnTo>
                    <a:pt x="5694" y="147"/>
                  </a:lnTo>
                  <a:lnTo>
                    <a:pt x="5694" y="147"/>
                  </a:lnTo>
                  <a:lnTo>
                    <a:pt x="5692" y="145"/>
                  </a:lnTo>
                  <a:lnTo>
                    <a:pt x="5689" y="145"/>
                  </a:lnTo>
                  <a:lnTo>
                    <a:pt x="5685" y="145"/>
                  </a:lnTo>
                  <a:lnTo>
                    <a:pt x="5685" y="145"/>
                  </a:lnTo>
                  <a:lnTo>
                    <a:pt x="5682" y="142"/>
                  </a:lnTo>
                  <a:lnTo>
                    <a:pt x="5680" y="142"/>
                  </a:lnTo>
                  <a:lnTo>
                    <a:pt x="5680" y="142"/>
                  </a:lnTo>
                  <a:lnTo>
                    <a:pt x="5675" y="140"/>
                  </a:lnTo>
                  <a:lnTo>
                    <a:pt x="5673" y="140"/>
                  </a:lnTo>
                  <a:lnTo>
                    <a:pt x="5673" y="140"/>
                  </a:lnTo>
                  <a:lnTo>
                    <a:pt x="5670" y="142"/>
                  </a:lnTo>
                  <a:lnTo>
                    <a:pt x="5670" y="142"/>
                  </a:lnTo>
                  <a:lnTo>
                    <a:pt x="5668" y="142"/>
                  </a:lnTo>
                  <a:lnTo>
                    <a:pt x="5666" y="142"/>
                  </a:lnTo>
                  <a:lnTo>
                    <a:pt x="5663" y="142"/>
                  </a:lnTo>
                  <a:lnTo>
                    <a:pt x="5661" y="142"/>
                  </a:lnTo>
                  <a:lnTo>
                    <a:pt x="5661" y="142"/>
                  </a:lnTo>
                  <a:lnTo>
                    <a:pt x="5656" y="140"/>
                  </a:lnTo>
                  <a:lnTo>
                    <a:pt x="5654" y="140"/>
                  </a:lnTo>
                  <a:lnTo>
                    <a:pt x="5656" y="142"/>
                  </a:lnTo>
                  <a:lnTo>
                    <a:pt x="5659" y="145"/>
                  </a:lnTo>
                  <a:lnTo>
                    <a:pt x="5659" y="145"/>
                  </a:lnTo>
                  <a:lnTo>
                    <a:pt x="5661" y="145"/>
                  </a:lnTo>
                  <a:lnTo>
                    <a:pt x="5663" y="147"/>
                  </a:lnTo>
                  <a:lnTo>
                    <a:pt x="5666" y="147"/>
                  </a:lnTo>
                  <a:lnTo>
                    <a:pt x="5668" y="147"/>
                  </a:lnTo>
                  <a:lnTo>
                    <a:pt x="5670" y="147"/>
                  </a:lnTo>
                  <a:lnTo>
                    <a:pt x="5670" y="147"/>
                  </a:lnTo>
                  <a:lnTo>
                    <a:pt x="5670" y="147"/>
                  </a:lnTo>
                  <a:lnTo>
                    <a:pt x="5670" y="145"/>
                  </a:lnTo>
                  <a:lnTo>
                    <a:pt x="5673" y="145"/>
                  </a:lnTo>
                  <a:lnTo>
                    <a:pt x="5675" y="145"/>
                  </a:lnTo>
                  <a:lnTo>
                    <a:pt x="5680" y="147"/>
                  </a:lnTo>
                  <a:lnTo>
                    <a:pt x="5682" y="147"/>
                  </a:lnTo>
                  <a:lnTo>
                    <a:pt x="5685" y="147"/>
                  </a:lnTo>
                  <a:lnTo>
                    <a:pt x="5687" y="149"/>
                  </a:lnTo>
                  <a:lnTo>
                    <a:pt x="5689" y="149"/>
                  </a:lnTo>
                  <a:lnTo>
                    <a:pt x="5692" y="149"/>
                  </a:lnTo>
                  <a:lnTo>
                    <a:pt x="5692" y="149"/>
                  </a:lnTo>
                  <a:lnTo>
                    <a:pt x="5694" y="149"/>
                  </a:lnTo>
                  <a:lnTo>
                    <a:pt x="5696" y="152"/>
                  </a:lnTo>
                  <a:lnTo>
                    <a:pt x="5699" y="152"/>
                  </a:lnTo>
                  <a:lnTo>
                    <a:pt x="5699" y="152"/>
                  </a:lnTo>
                  <a:lnTo>
                    <a:pt x="5703" y="154"/>
                  </a:lnTo>
                  <a:lnTo>
                    <a:pt x="5703" y="154"/>
                  </a:lnTo>
                  <a:lnTo>
                    <a:pt x="5703" y="154"/>
                  </a:lnTo>
                  <a:lnTo>
                    <a:pt x="5703" y="154"/>
                  </a:lnTo>
                  <a:lnTo>
                    <a:pt x="5703" y="152"/>
                  </a:lnTo>
                  <a:lnTo>
                    <a:pt x="5703" y="152"/>
                  </a:lnTo>
                  <a:lnTo>
                    <a:pt x="5703" y="149"/>
                  </a:lnTo>
                  <a:lnTo>
                    <a:pt x="5706" y="149"/>
                  </a:lnTo>
                  <a:close/>
                  <a:moveTo>
                    <a:pt x="1471" y="811"/>
                  </a:moveTo>
                  <a:lnTo>
                    <a:pt x="1471" y="814"/>
                  </a:lnTo>
                  <a:lnTo>
                    <a:pt x="1473" y="809"/>
                  </a:lnTo>
                  <a:lnTo>
                    <a:pt x="1473" y="809"/>
                  </a:lnTo>
                  <a:lnTo>
                    <a:pt x="1471" y="809"/>
                  </a:lnTo>
                  <a:lnTo>
                    <a:pt x="1471" y="811"/>
                  </a:lnTo>
                  <a:close/>
                  <a:moveTo>
                    <a:pt x="1327" y="826"/>
                  </a:moveTo>
                  <a:lnTo>
                    <a:pt x="1327" y="826"/>
                  </a:lnTo>
                  <a:lnTo>
                    <a:pt x="1327" y="828"/>
                  </a:lnTo>
                  <a:lnTo>
                    <a:pt x="1327" y="828"/>
                  </a:lnTo>
                  <a:lnTo>
                    <a:pt x="1329" y="828"/>
                  </a:lnTo>
                  <a:lnTo>
                    <a:pt x="1329" y="826"/>
                  </a:lnTo>
                  <a:lnTo>
                    <a:pt x="1329" y="826"/>
                  </a:lnTo>
                  <a:lnTo>
                    <a:pt x="1329" y="826"/>
                  </a:lnTo>
                  <a:lnTo>
                    <a:pt x="1329" y="826"/>
                  </a:lnTo>
                  <a:lnTo>
                    <a:pt x="1327" y="826"/>
                  </a:lnTo>
                  <a:close/>
                  <a:moveTo>
                    <a:pt x="1280" y="837"/>
                  </a:moveTo>
                  <a:lnTo>
                    <a:pt x="1280" y="835"/>
                  </a:lnTo>
                  <a:lnTo>
                    <a:pt x="1277" y="835"/>
                  </a:lnTo>
                  <a:lnTo>
                    <a:pt x="1277" y="837"/>
                  </a:lnTo>
                  <a:lnTo>
                    <a:pt x="1277" y="837"/>
                  </a:lnTo>
                  <a:lnTo>
                    <a:pt x="1280" y="840"/>
                  </a:lnTo>
                  <a:lnTo>
                    <a:pt x="1280" y="840"/>
                  </a:lnTo>
                  <a:lnTo>
                    <a:pt x="1280" y="837"/>
                  </a:lnTo>
                  <a:lnTo>
                    <a:pt x="1280" y="837"/>
                  </a:lnTo>
                  <a:lnTo>
                    <a:pt x="1280" y="837"/>
                  </a:lnTo>
                  <a:lnTo>
                    <a:pt x="1280" y="837"/>
                  </a:lnTo>
                  <a:close/>
                  <a:moveTo>
                    <a:pt x="1223" y="845"/>
                  </a:moveTo>
                  <a:lnTo>
                    <a:pt x="1218" y="847"/>
                  </a:lnTo>
                  <a:lnTo>
                    <a:pt x="1221" y="847"/>
                  </a:lnTo>
                  <a:lnTo>
                    <a:pt x="1223" y="845"/>
                  </a:lnTo>
                  <a:lnTo>
                    <a:pt x="1225" y="842"/>
                  </a:lnTo>
                  <a:lnTo>
                    <a:pt x="1225" y="842"/>
                  </a:lnTo>
                  <a:lnTo>
                    <a:pt x="1223" y="845"/>
                  </a:lnTo>
                  <a:close/>
                  <a:moveTo>
                    <a:pt x="1336" y="830"/>
                  </a:moveTo>
                  <a:lnTo>
                    <a:pt x="1334" y="833"/>
                  </a:lnTo>
                  <a:lnTo>
                    <a:pt x="1334" y="833"/>
                  </a:lnTo>
                  <a:lnTo>
                    <a:pt x="1336" y="830"/>
                  </a:lnTo>
                  <a:lnTo>
                    <a:pt x="1336" y="828"/>
                  </a:lnTo>
                  <a:lnTo>
                    <a:pt x="1336" y="828"/>
                  </a:lnTo>
                  <a:lnTo>
                    <a:pt x="1336" y="830"/>
                  </a:lnTo>
                  <a:close/>
                  <a:moveTo>
                    <a:pt x="1339" y="823"/>
                  </a:moveTo>
                  <a:lnTo>
                    <a:pt x="1339" y="823"/>
                  </a:lnTo>
                  <a:lnTo>
                    <a:pt x="1341" y="823"/>
                  </a:lnTo>
                  <a:lnTo>
                    <a:pt x="1341" y="823"/>
                  </a:lnTo>
                  <a:lnTo>
                    <a:pt x="1341" y="823"/>
                  </a:lnTo>
                  <a:lnTo>
                    <a:pt x="1341" y="823"/>
                  </a:lnTo>
                  <a:lnTo>
                    <a:pt x="1339" y="823"/>
                  </a:lnTo>
                  <a:close/>
                  <a:moveTo>
                    <a:pt x="1348" y="823"/>
                  </a:moveTo>
                  <a:lnTo>
                    <a:pt x="1346" y="823"/>
                  </a:lnTo>
                  <a:lnTo>
                    <a:pt x="1346" y="823"/>
                  </a:lnTo>
                  <a:lnTo>
                    <a:pt x="1348" y="823"/>
                  </a:lnTo>
                  <a:lnTo>
                    <a:pt x="1350" y="823"/>
                  </a:lnTo>
                  <a:lnTo>
                    <a:pt x="1350" y="823"/>
                  </a:lnTo>
                  <a:lnTo>
                    <a:pt x="1348" y="823"/>
                  </a:lnTo>
                  <a:close/>
                  <a:moveTo>
                    <a:pt x="1332" y="835"/>
                  </a:moveTo>
                  <a:lnTo>
                    <a:pt x="1332" y="835"/>
                  </a:lnTo>
                  <a:lnTo>
                    <a:pt x="1334" y="835"/>
                  </a:lnTo>
                  <a:lnTo>
                    <a:pt x="1334" y="833"/>
                  </a:lnTo>
                  <a:lnTo>
                    <a:pt x="1332" y="835"/>
                  </a:lnTo>
                  <a:lnTo>
                    <a:pt x="1332" y="835"/>
                  </a:lnTo>
                  <a:close/>
                  <a:moveTo>
                    <a:pt x="1190" y="863"/>
                  </a:moveTo>
                  <a:lnTo>
                    <a:pt x="1188" y="863"/>
                  </a:lnTo>
                  <a:lnTo>
                    <a:pt x="1185" y="866"/>
                  </a:lnTo>
                  <a:lnTo>
                    <a:pt x="1183" y="866"/>
                  </a:lnTo>
                  <a:lnTo>
                    <a:pt x="1183" y="868"/>
                  </a:lnTo>
                  <a:lnTo>
                    <a:pt x="1183" y="868"/>
                  </a:lnTo>
                  <a:lnTo>
                    <a:pt x="1188" y="866"/>
                  </a:lnTo>
                  <a:lnTo>
                    <a:pt x="1190" y="863"/>
                  </a:lnTo>
                  <a:lnTo>
                    <a:pt x="1190" y="863"/>
                  </a:lnTo>
                  <a:lnTo>
                    <a:pt x="1190" y="863"/>
                  </a:lnTo>
                  <a:lnTo>
                    <a:pt x="1190" y="863"/>
                  </a:lnTo>
                  <a:close/>
                  <a:moveTo>
                    <a:pt x="1171" y="880"/>
                  </a:moveTo>
                  <a:lnTo>
                    <a:pt x="1169" y="885"/>
                  </a:lnTo>
                  <a:lnTo>
                    <a:pt x="1167" y="887"/>
                  </a:lnTo>
                  <a:lnTo>
                    <a:pt x="1169" y="885"/>
                  </a:lnTo>
                  <a:lnTo>
                    <a:pt x="1171" y="880"/>
                  </a:lnTo>
                  <a:lnTo>
                    <a:pt x="1176" y="875"/>
                  </a:lnTo>
                  <a:lnTo>
                    <a:pt x="1174" y="875"/>
                  </a:lnTo>
                  <a:lnTo>
                    <a:pt x="1171" y="880"/>
                  </a:lnTo>
                  <a:close/>
                  <a:moveTo>
                    <a:pt x="1181" y="868"/>
                  </a:moveTo>
                  <a:lnTo>
                    <a:pt x="1178" y="871"/>
                  </a:lnTo>
                  <a:lnTo>
                    <a:pt x="1178" y="871"/>
                  </a:lnTo>
                  <a:lnTo>
                    <a:pt x="1176" y="873"/>
                  </a:lnTo>
                  <a:lnTo>
                    <a:pt x="1178" y="873"/>
                  </a:lnTo>
                  <a:lnTo>
                    <a:pt x="1181" y="871"/>
                  </a:lnTo>
                  <a:lnTo>
                    <a:pt x="1181" y="868"/>
                  </a:lnTo>
                  <a:lnTo>
                    <a:pt x="1181" y="868"/>
                  </a:lnTo>
                  <a:lnTo>
                    <a:pt x="1181" y="868"/>
                  </a:lnTo>
                  <a:close/>
                  <a:moveTo>
                    <a:pt x="1167" y="889"/>
                  </a:moveTo>
                  <a:lnTo>
                    <a:pt x="1164" y="897"/>
                  </a:lnTo>
                  <a:lnTo>
                    <a:pt x="1164" y="906"/>
                  </a:lnTo>
                  <a:lnTo>
                    <a:pt x="1164" y="911"/>
                  </a:lnTo>
                  <a:lnTo>
                    <a:pt x="1167" y="908"/>
                  </a:lnTo>
                  <a:lnTo>
                    <a:pt x="1167" y="906"/>
                  </a:lnTo>
                  <a:lnTo>
                    <a:pt x="1167" y="897"/>
                  </a:lnTo>
                  <a:lnTo>
                    <a:pt x="1167" y="887"/>
                  </a:lnTo>
                  <a:lnTo>
                    <a:pt x="1167" y="889"/>
                  </a:lnTo>
                  <a:close/>
                  <a:moveTo>
                    <a:pt x="1579" y="729"/>
                  </a:moveTo>
                  <a:lnTo>
                    <a:pt x="1579" y="729"/>
                  </a:lnTo>
                  <a:lnTo>
                    <a:pt x="1579" y="731"/>
                  </a:lnTo>
                  <a:lnTo>
                    <a:pt x="1581" y="731"/>
                  </a:lnTo>
                  <a:lnTo>
                    <a:pt x="1581" y="731"/>
                  </a:lnTo>
                  <a:lnTo>
                    <a:pt x="1579" y="729"/>
                  </a:lnTo>
                  <a:lnTo>
                    <a:pt x="1579" y="729"/>
                  </a:lnTo>
                  <a:close/>
                  <a:moveTo>
                    <a:pt x="1605" y="705"/>
                  </a:moveTo>
                  <a:lnTo>
                    <a:pt x="1605" y="703"/>
                  </a:lnTo>
                  <a:lnTo>
                    <a:pt x="1603" y="703"/>
                  </a:lnTo>
                  <a:lnTo>
                    <a:pt x="1605" y="705"/>
                  </a:lnTo>
                  <a:lnTo>
                    <a:pt x="1605" y="705"/>
                  </a:lnTo>
                  <a:lnTo>
                    <a:pt x="1605" y="705"/>
                  </a:lnTo>
                  <a:close/>
                  <a:moveTo>
                    <a:pt x="1626" y="658"/>
                  </a:moveTo>
                  <a:lnTo>
                    <a:pt x="1621" y="660"/>
                  </a:lnTo>
                  <a:lnTo>
                    <a:pt x="1624" y="660"/>
                  </a:lnTo>
                  <a:lnTo>
                    <a:pt x="1626" y="658"/>
                  </a:lnTo>
                  <a:lnTo>
                    <a:pt x="1628" y="655"/>
                  </a:lnTo>
                  <a:lnTo>
                    <a:pt x="1631" y="653"/>
                  </a:lnTo>
                  <a:lnTo>
                    <a:pt x="1628" y="653"/>
                  </a:lnTo>
                  <a:lnTo>
                    <a:pt x="1626" y="658"/>
                  </a:lnTo>
                  <a:close/>
                  <a:moveTo>
                    <a:pt x="1405" y="835"/>
                  </a:moveTo>
                  <a:lnTo>
                    <a:pt x="1402" y="835"/>
                  </a:lnTo>
                  <a:lnTo>
                    <a:pt x="1400" y="835"/>
                  </a:lnTo>
                  <a:lnTo>
                    <a:pt x="1400" y="835"/>
                  </a:lnTo>
                  <a:lnTo>
                    <a:pt x="1402" y="837"/>
                  </a:lnTo>
                  <a:lnTo>
                    <a:pt x="1405" y="835"/>
                  </a:lnTo>
                  <a:lnTo>
                    <a:pt x="1407" y="835"/>
                  </a:lnTo>
                  <a:lnTo>
                    <a:pt x="1405" y="835"/>
                  </a:lnTo>
                  <a:lnTo>
                    <a:pt x="1405" y="8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8" name="Freeform 214"/>
            <p:cNvSpPr>
              <a:spLocks noEditPoints="1"/>
            </p:cNvSpPr>
            <p:nvPr userDrawn="1"/>
          </p:nvSpPr>
          <p:spPr bwMode="auto">
            <a:xfrm>
              <a:off x="3559" y="1583"/>
              <a:ext cx="153" cy="172"/>
            </a:xfrm>
            <a:custGeom>
              <a:avLst/>
              <a:gdLst>
                <a:gd name="T0" fmla="*/ 101 w 153"/>
                <a:gd name="T1" fmla="*/ 158 h 172"/>
                <a:gd name="T2" fmla="*/ 56 w 153"/>
                <a:gd name="T3" fmla="*/ 109 h 172"/>
                <a:gd name="T4" fmla="*/ 37 w 153"/>
                <a:gd name="T5" fmla="*/ 80 h 172"/>
                <a:gd name="T6" fmla="*/ 37 w 153"/>
                <a:gd name="T7" fmla="*/ 78 h 172"/>
                <a:gd name="T8" fmla="*/ 21 w 153"/>
                <a:gd name="T9" fmla="*/ 68 h 172"/>
                <a:gd name="T10" fmla="*/ 7 w 153"/>
                <a:gd name="T11" fmla="*/ 78 h 172"/>
                <a:gd name="T12" fmla="*/ 0 w 153"/>
                <a:gd name="T13" fmla="*/ 85 h 172"/>
                <a:gd name="T14" fmla="*/ 14 w 153"/>
                <a:gd name="T15" fmla="*/ 87 h 172"/>
                <a:gd name="T16" fmla="*/ 21 w 153"/>
                <a:gd name="T17" fmla="*/ 90 h 172"/>
                <a:gd name="T18" fmla="*/ 49 w 153"/>
                <a:gd name="T19" fmla="*/ 61 h 172"/>
                <a:gd name="T20" fmla="*/ 35 w 153"/>
                <a:gd name="T21" fmla="*/ 59 h 172"/>
                <a:gd name="T22" fmla="*/ 28 w 153"/>
                <a:gd name="T23" fmla="*/ 59 h 172"/>
                <a:gd name="T24" fmla="*/ 35 w 153"/>
                <a:gd name="T25" fmla="*/ 57 h 172"/>
                <a:gd name="T26" fmla="*/ 40 w 153"/>
                <a:gd name="T27" fmla="*/ 42 h 172"/>
                <a:gd name="T28" fmla="*/ 33 w 153"/>
                <a:gd name="T29" fmla="*/ 47 h 172"/>
                <a:gd name="T30" fmla="*/ 21 w 153"/>
                <a:gd name="T31" fmla="*/ 31 h 172"/>
                <a:gd name="T32" fmla="*/ 42 w 153"/>
                <a:gd name="T33" fmla="*/ 28 h 172"/>
                <a:gd name="T34" fmla="*/ 30 w 153"/>
                <a:gd name="T35" fmla="*/ 21 h 172"/>
                <a:gd name="T36" fmla="*/ 35 w 153"/>
                <a:gd name="T37" fmla="*/ 28 h 172"/>
                <a:gd name="T38" fmla="*/ 19 w 153"/>
                <a:gd name="T39" fmla="*/ 19 h 172"/>
                <a:gd name="T40" fmla="*/ 28 w 153"/>
                <a:gd name="T41" fmla="*/ 16 h 172"/>
                <a:gd name="T42" fmla="*/ 40 w 153"/>
                <a:gd name="T43" fmla="*/ 5 h 172"/>
                <a:gd name="T44" fmla="*/ 26 w 153"/>
                <a:gd name="T45" fmla="*/ 9 h 172"/>
                <a:gd name="T46" fmla="*/ 28 w 153"/>
                <a:gd name="T47" fmla="*/ 14 h 172"/>
                <a:gd name="T48" fmla="*/ 132 w 153"/>
                <a:gd name="T49" fmla="*/ 116 h 172"/>
                <a:gd name="T50" fmla="*/ 115 w 153"/>
                <a:gd name="T51" fmla="*/ 97 h 172"/>
                <a:gd name="T52" fmla="*/ 122 w 153"/>
                <a:gd name="T53" fmla="*/ 92 h 172"/>
                <a:gd name="T54" fmla="*/ 103 w 153"/>
                <a:gd name="T55" fmla="*/ 61 h 172"/>
                <a:gd name="T56" fmla="*/ 73 w 153"/>
                <a:gd name="T57" fmla="*/ 52 h 172"/>
                <a:gd name="T58" fmla="*/ 80 w 153"/>
                <a:gd name="T59" fmla="*/ 45 h 172"/>
                <a:gd name="T60" fmla="*/ 101 w 153"/>
                <a:gd name="T61" fmla="*/ 26 h 172"/>
                <a:gd name="T62" fmla="*/ 80 w 153"/>
                <a:gd name="T63" fmla="*/ 19 h 172"/>
                <a:gd name="T64" fmla="*/ 80 w 153"/>
                <a:gd name="T65" fmla="*/ 9 h 172"/>
                <a:gd name="T66" fmla="*/ 70 w 153"/>
                <a:gd name="T67" fmla="*/ 2 h 172"/>
                <a:gd name="T68" fmla="*/ 56 w 153"/>
                <a:gd name="T69" fmla="*/ 5 h 172"/>
                <a:gd name="T70" fmla="*/ 54 w 153"/>
                <a:gd name="T71" fmla="*/ 14 h 172"/>
                <a:gd name="T72" fmla="*/ 44 w 153"/>
                <a:gd name="T73" fmla="*/ 24 h 172"/>
                <a:gd name="T74" fmla="*/ 40 w 153"/>
                <a:gd name="T75" fmla="*/ 38 h 172"/>
                <a:gd name="T76" fmla="*/ 49 w 153"/>
                <a:gd name="T77" fmla="*/ 38 h 172"/>
                <a:gd name="T78" fmla="*/ 44 w 153"/>
                <a:gd name="T79" fmla="*/ 57 h 172"/>
                <a:gd name="T80" fmla="*/ 47 w 153"/>
                <a:gd name="T81" fmla="*/ 57 h 172"/>
                <a:gd name="T82" fmla="*/ 49 w 153"/>
                <a:gd name="T83" fmla="*/ 54 h 172"/>
                <a:gd name="T84" fmla="*/ 59 w 153"/>
                <a:gd name="T85" fmla="*/ 54 h 172"/>
                <a:gd name="T86" fmla="*/ 49 w 153"/>
                <a:gd name="T87" fmla="*/ 73 h 172"/>
                <a:gd name="T88" fmla="*/ 61 w 153"/>
                <a:gd name="T89" fmla="*/ 76 h 172"/>
                <a:gd name="T90" fmla="*/ 80 w 153"/>
                <a:gd name="T91" fmla="*/ 73 h 172"/>
                <a:gd name="T92" fmla="*/ 82 w 153"/>
                <a:gd name="T93" fmla="*/ 90 h 172"/>
                <a:gd name="T94" fmla="*/ 80 w 153"/>
                <a:gd name="T95" fmla="*/ 106 h 172"/>
                <a:gd name="T96" fmla="*/ 66 w 153"/>
                <a:gd name="T97" fmla="*/ 106 h 172"/>
                <a:gd name="T98" fmla="*/ 59 w 153"/>
                <a:gd name="T99" fmla="*/ 113 h 172"/>
                <a:gd name="T100" fmla="*/ 56 w 153"/>
                <a:gd name="T101" fmla="*/ 128 h 172"/>
                <a:gd name="T102" fmla="*/ 49 w 153"/>
                <a:gd name="T103" fmla="*/ 137 h 172"/>
                <a:gd name="T104" fmla="*/ 66 w 153"/>
                <a:gd name="T105" fmla="*/ 144 h 172"/>
                <a:gd name="T106" fmla="*/ 73 w 153"/>
                <a:gd name="T107" fmla="*/ 149 h 172"/>
                <a:gd name="T108" fmla="*/ 44 w 153"/>
                <a:gd name="T109" fmla="*/ 161 h 172"/>
                <a:gd name="T110" fmla="*/ 35 w 153"/>
                <a:gd name="T111" fmla="*/ 172 h 172"/>
                <a:gd name="T112" fmla="*/ 56 w 153"/>
                <a:gd name="T113" fmla="*/ 165 h 172"/>
                <a:gd name="T114" fmla="*/ 82 w 153"/>
                <a:gd name="T115" fmla="*/ 161 h 172"/>
                <a:gd name="T116" fmla="*/ 99 w 153"/>
                <a:gd name="T117" fmla="*/ 156 h 172"/>
                <a:gd name="T118" fmla="*/ 134 w 153"/>
                <a:gd name="T119" fmla="*/ 154 h 172"/>
                <a:gd name="T120" fmla="*/ 134 w 153"/>
                <a:gd name="T121" fmla="*/ 144 h 172"/>
                <a:gd name="T122" fmla="*/ 141 w 153"/>
                <a:gd name="T123" fmla="*/ 137 h 172"/>
                <a:gd name="T124" fmla="*/ 150 w 153"/>
                <a:gd name="T125" fmla="*/ 12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 h="172">
                  <a:moveTo>
                    <a:pt x="101" y="158"/>
                  </a:moveTo>
                  <a:lnTo>
                    <a:pt x="99" y="158"/>
                  </a:lnTo>
                  <a:lnTo>
                    <a:pt x="96" y="158"/>
                  </a:lnTo>
                  <a:lnTo>
                    <a:pt x="96" y="161"/>
                  </a:lnTo>
                  <a:lnTo>
                    <a:pt x="96" y="161"/>
                  </a:lnTo>
                  <a:lnTo>
                    <a:pt x="101" y="161"/>
                  </a:lnTo>
                  <a:lnTo>
                    <a:pt x="101" y="161"/>
                  </a:lnTo>
                  <a:lnTo>
                    <a:pt x="103" y="161"/>
                  </a:lnTo>
                  <a:lnTo>
                    <a:pt x="103" y="161"/>
                  </a:lnTo>
                  <a:lnTo>
                    <a:pt x="103" y="161"/>
                  </a:lnTo>
                  <a:lnTo>
                    <a:pt x="106" y="158"/>
                  </a:lnTo>
                  <a:lnTo>
                    <a:pt x="103" y="158"/>
                  </a:lnTo>
                  <a:lnTo>
                    <a:pt x="101" y="158"/>
                  </a:lnTo>
                  <a:close/>
                  <a:moveTo>
                    <a:pt x="56" y="109"/>
                  </a:moveTo>
                  <a:lnTo>
                    <a:pt x="59" y="109"/>
                  </a:lnTo>
                  <a:lnTo>
                    <a:pt x="59" y="109"/>
                  </a:lnTo>
                  <a:lnTo>
                    <a:pt x="61" y="106"/>
                  </a:lnTo>
                  <a:lnTo>
                    <a:pt x="61" y="106"/>
                  </a:lnTo>
                  <a:lnTo>
                    <a:pt x="59" y="106"/>
                  </a:lnTo>
                  <a:lnTo>
                    <a:pt x="59" y="106"/>
                  </a:lnTo>
                  <a:lnTo>
                    <a:pt x="59" y="104"/>
                  </a:lnTo>
                  <a:lnTo>
                    <a:pt x="56" y="104"/>
                  </a:lnTo>
                  <a:lnTo>
                    <a:pt x="54" y="104"/>
                  </a:lnTo>
                  <a:lnTo>
                    <a:pt x="54" y="106"/>
                  </a:lnTo>
                  <a:lnTo>
                    <a:pt x="54" y="109"/>
                  </a:lnTo>
                  <a:lnTo>
                    <a:pt x="56" y="109"/>
                  </a:lnTo>
                  <a:lnTo>
                    <a:pt x="56" y="109"/>
                  </a:lnTo>
                  <a:close/>
                  <a:moveTo>
                    <a:pt x="33" y="92"/>
                  </a:moveTo>
                  <a:lnTo>
                    <a:pt x="33" y="90"/>
                  </a:lnTo>
                  <a:lnTo>
                    <a:pt x="35" y="90"/>
                  </a:lnTo>
                  <a:lnTo>
                    <a:pt x="35" y="87"/>
                  </a:lnTo>
                  <a:lnTo>
                    <a:pt x="35" y="87"/>
                  </a:lnTo>
                  <a:lnTo>
                    <a:pt x="37" y="87"/>
                  </a:lnTo>
                  <a:lnTo>
                    <a:pt x="40" y="87"/>
                  </a:lnTo>
                  <a:lnTo>
                    <a:pt x="40" y="85"/>
                  </a:lnTo>
                  <a:lnTo>
                    <a:pt x="40" y="85"/>
                  </a:lnTo>
                  <a:lnTo>
                    <a:pt x="37" y="85"/>
                  </a:lnTo>
                  <a:lnTo>
                    <a:pt x="40" y="83"/>
                  </a:lnTo>
                  <a:lnTo>
                    <a:pt x="37" y="80"/>
                  </a:lnTo>
                  <a:lnTo>
                    <a:pt x="40" y="83"/>
                  </a:lnTo>
                  <a:lnTo>
                    <a:pt x="40" y="83"/>
                  </a:lnTo>
                  <a:lnTo>
                    <a:pt x="40" y="83"/>
                  </a:lnTo>
                  <a:lnTo>
                    <a:pt x="42" y="83"/>
                  </a:lnTo>
                  <a:lnTo>
                    <a:pt x="42" y="83"/>
                  </a:lnTo>
                  <a:lnTo>
                    <a:pt x="42" y="80"/>
                  </a:lnTo>
                  <a:lnTo>
                    <a:pt x="40" y="80"/>
                  </a:lnTo>
                  <a:lnTo>
                    <a:pt x="40" y="78"/>
                  </a:lnTo>
                  <a:lnTo>
                    <a:pt x="37" y="78"/>
                  </a:lnTo>
                  <a:lnTo>
                    <a:pt x="37" y="78"/>
                  </a:lnTo>
                  <a:lnTo>
                    <a:pt x="35" y="80"/>
                  </a:lnTo>
                  <a:lnTo>
                    <a:pt x="35" y="78"/>
                  </a:lnTo>
                  <a:lnTo>
                    <a:pt x="37" y="78"/>
                  </a:lnTo>
                  <a:lnTo>
                    <a:pt x="37" y="78"/>
                  </a:lnTo>
                  <a:lnTo>
                    <a:pt x="37" y="76"/>
                  </a:lnTo>
                  <a:lnTo>
                    <a:pt x="37" y="73"/>
                  </a:lnTo>
                  <a:lnTo>
                    <a:pt x="35" y="71"/>
                  </a:lnTo>
                  <a:lnTo>
                    <a:pt x="35" y="68"/>
                  </a:lnTo>
                  <a:lnTo>
                    <a:pt x="33" y="68"/>
                  </a:lnTo>
                  <a:lnTo>
                    <a:pt x="30" y="68"/>
                  </a:lnTo>
                  <a:lnTo>
                    <a:pt x="28" y="68"/>
                  </a:lnTo>
                  <a:lnTo>
                    <a:pt x="28" y="68"/>
                  </a:lnTo>
                  <a:lnTo>
                    <a:pt x="23" y="68"/>
                  </a:lnTo>
                  <a:lnTo>
                    <a:pt x="21" y="68"/>
                  </a:lnTo>
                  <a:lnTo>
                    <a:pt x="21" y="68"/>
                  </a:lnTo>
                  <a:lnTo>
                    <a:pt x="21" y="68"/>
                  </a:lnTo>
                  <a:lnTo>
                    <a:pt x="19" y="71"/>
                  </a:lnTo>
                  <a:lnTo>
                    <a:pt x="19" y="71"/>
                  </a:lnTo>
                  <a:lnTo>
                    <a:pt x="16" y="71"/>
                  </a:lnTo>
                  <a:lnTo>
                    <a:pt x="16" y="71"/>
                  </a:lnTo>
                  <a:lnTo>
                    <a:pt x="14" y="71"/>
                  </a:lnTo>
                  <a:lnTo>
                    <a:pt x="14" y="73"/>
                  </a:lnTo>
                  <a:lnTo>
                    <a:pt x="11" y="73"/>
                  </a:lnTo>
                  <a:lnTo>
                    <a:pt x="11" y="76"/>
                  </a:lnTo>
                  <a:lnTo>
                    <a:pt x="11" y="76"/>
                  </a:lnTo>
                  <a:lnTo>
                    <a:pt x="9" y="78"/>
                  </a:lnTo>
                  <a:lnTo>
                    <a:pt x="9" y="78"/>
                  </a:lnTo>
                  <a:lnTo>
                    <a:pt x="7" y="78"/>
                  </a:lnTo>
                  <a:lnTo>
                    <a:pt x="7" y="78"/>
                  </a:lnTo>
                  <a:lnTo>
                    <a:pt x="7" y="78"/>
                  </a:lnTo>
                  <a:lnTo>
                    <a:pt x="4" y="78"/>
                  </a:lnTo>
                  <a:lnTo>
                    <a:pt x="4" y="78"/>
                  </a:lnTo>
                  <a:lnTo>
                    <a:pt x="4" y="78"/>
                  </a:lnTo>
                  <a:lnTo>
                    <a:pt x="4" y="78"/>
                  </a:lnTo>
                  <a:lnTo>
                    <a:pt x="4" y="80"/>
                  </a:lnTo>
                  <a:lnTo>
                    <a:pt x="7" y="80"/>
                  </a:lnTo>
                  <a:lnTo>
                    <a:pt x="7" y="80"/>
                  </a:lnTo>
                  <a:lnTo>
                    <a:pt x="4" y="80"/>
                  </a:lnTo>
                  <a:lnTo>
                    <a:pt x="2" y="83"/>
                  </a:lnTo>
                  <a:lnTo>
                    <a:pt x="0" y="83"/>
                  </a:lnTo>
                  <a:lnTo>
                    <a:pt x="0" y="83"/>
                  </a:lnTo>
                  <a:lnTo>
                    <a:pt x="0" y="85"/>
                  </a:lnTo>
                  <a:lnTo>
                    <a:pt x="2" y="87"/>
                  </a:lnTo>
                  <a:lnTo>
                    <a:pt x="4" y="87"/>
                  </a:lnTo>
                  <a:lnTo>
                    <a:pt x="4" y="87"/>
                  </a:lnTo>
                  <a:lnTo>
                    <a:pt x="7" y="90"/>
                  </a:lnTo>
                  <a:lnTo>
                    <a:pt x="7" y="90"/>
                  </a:lnTo>
                  <a:lnTo>
                    <a:pt x="9" y="90"/>
                  </a:lnTo>
                  <a:lnTo>
                    <a:pt x="11" y="90"/>
                  </a:lnTo>
                  <a:lnTo>
                    <a:pt x="11" y="90"/>
                  </a:lnTo>
                  <a:lnTo>
                    <a:pt x="11" y="90"/>
                  </a:lnTo>
                  <a:lnTo>
                    <a:pt x="11" y="90"/>
                  </a:lnTo>
                  <a:lnTo>
                    <a:pt x="14" y="87"/>
                  </a:lnTo>
                  <a:lnTo>
                    <a:pt x="14" y="87"/>
                  </a:lnTo>
                  <a:lnTo>
                    <a:pt x="14" y="87"/>
                  </a:lnTo>
                  <a:lnTo>
                    <a:pt x="14" y="87"/>
                  </a:lnTo>
                  <a:lnTo>
                    <a:pt x="16" y="85"/>
                  </a:lnTo>
                  <a:lnTo>
                    <a:pt x="16" y="85"/>
                  </a:lnTo>
                  <a:lnTo>
                    <a:pt x="19" y="85"/>
                  </a:lnTo>
                  <a:lnTo>
                    <a:pt x="19" y="85"/>
                  </a:lnTo>
                  <a:lnTo>
                    <a:pt x="19" y="85"/>
                  </a:lnTo>
                  <a:lnTo>
                    <a:pt x="19" y="87"/>
                  </a:lnTo>
                  <a:lnTo>
                    <a:pt x="19" y="87"/>
                  </a:lnTo>
                  <a:lnTo>
                    <a:pt x="21" y="87"/>
                  </a:lnTo>
                  <a:lnTo>
                    <a:pt x="21" y="87"/>
                  </a:lnTo>
                  <a:lnTo>
                    <a:pt x="23" y="90"/>
                  </a:lnTo>
                  <a:lnTo>
                    <a:pt x="23" y="90"/>
                  </a:lnTo>
                  <a:lnTo>
                    <a:pt x="21" y="90"/>
                  </a:lnTo>
                  <a:lnTo>
                    <a:pt x="23" y="92"/>
                  </a:lnTo>
                  <a:lnTo>
                    <a:pt x="23" y="92"/>
                  </a:lnTo>
                  <a:lnTo>
                    <a:pt x="26" y="92"/>
                  </a:lnTo>
                  <a:lnTo>
                    <a:pt x="26" y="92"/>
                  </a:lnTo>
                  <a:lnTo>
                    <a:pt x="26" y="90"/>
                  </a:lnTo>
                  <a:lnTo>
                    <a:pt x="28" y="90"/>
                  </a:lnTo>
                  <a:lnTo>
                    <a:pt x="28" y="90"/>
                  </a:lnTo>
                  <a:lnTo>
                    <a:pt x="30" y="92"/>
                  </a:lnTo>
                  <a:lnTo>
                    <a:pt x="33" y="92"/>
                  </a:lnTo>
                  <a:close/>
                  <a:moveTo>
                    <a:pt x="47" y="64"/>
                  </a:moveTo>
                  <a:lnTo>
                    <a:pt x="49" y="64"/>
                  </a:lnTo>
                  <a:lnTo>
                    <a:pt x="49" y="61"/>
                  </a:lnTo>
                  <a:lnTo>
                    <a:pt x="49" y="61"/>
                  </a:lnTo>
                  <a:lnTo>
                    <a:pt x="49" y="59"/>
                  </a:lnTo>
                  <a:lnTo>
                    <a:pt x="49" y="59"/>
                  </a:lnTo>
                  <a:lnTo>
                    <a:pt x="47" y="59"/>
                  </a:lnTo>
                  <a:lnTo>
                    <a:pt x="47" y="59"/>
                  </a:lnTo>
                  <a:lnTo>
                    <a:pt x="47" y="59"/>
                  </a:lnTo>
                  <a:lnTo>
                    <a:pt x="44" y="59"/>
                  </a:lnTo>
                  <a:lnTo>
                    <a:pt x="44" y="59"/>
                  </a:lnTo>
                  <a:lnTo>
                    <a:pt x="47" y="64"/>
                  </a:lnTo>
                  <a:lnTo>
                    <a:pt x="47" y="64"/>
                  </a:lnTo>
                  <a:lnTo>
                    <a:pt x="47" y="64"/>
                  </a:lnTo>
                  <a:close/>
                  <a:moveTo>
                    <a:pt x="30" y="61"/>
                  </a:moveTo>
                  <a:lnTo>
                    <a:pt x="33" y="61"/>
                  </a:lnTo>
                  <a:lnTo>
                    <a:pt x="35" y="59"/>
                  </a:lnTo>
                  <a:lnTo>
                    <a:pt x="35" y="59"/>
                  </a:lnTo>
                  <a:lnTo>
                    <a:pt x="35" y="59"/>
                  </a:lnTo>
                  <a:lnTo>
                    <a:pt x="35" y="57"/>
                  </a:lnTo>
                  <a:lnTo>
                    <a:pt x="35" y="54"/>
                  </a:lnTo>
                  <a:lnTo>
                    <a:pt x="33" y="54"/>
                  </a:lnTo>
                  <a:lnTo>
                    <a:pt x="33" y="54"/>
                  </a:lnTo>
                  <a:lnTo>
                    <a:pt x="30" y="54"/>
                  </a:lnTo>
                  <a:lnTo>
                    <a:pt x="30" y="54"/>
                  </a:lnTo>
                  <a:lnTo>
                    <a:pt x="30" y="54"/>
                  </a:lnTo>
                  <a:lnTo>
                    <a:pt x="30" y="57"/>
                  </a:lnTo>
                  <a:lnTo>
                    <a:pt x="28" y="57"/>
                  </a:lnTo>
                  <a:lnTo>
                    <a:pt x="28" y="57"/>
                  </a:lnTo>
                  <a:lnTo>
                    <a:pt x="28" y="59"/>
                  </a:lnTo>
                  <a:lnTo>
                    <a:pt x="28" y="59"/>
                  </a:lnTo>
                  <a:lnTo>
                    <a:pt x="28" y="59"/>
                  </a:lnTo>
                  <a:lnTo>
                    <a:pt x="30" y="57"/>
                  </a:lnTo>
                  <a:lnTo>
                    <a:pt x="30" y="57"/>
                  </a:lnTo>
                  <a:lnTo>
                    <a:pt x="33" y="57"/>
                  </a:lnTo>
                  <a:lnTo>
                    <a:pt x="30" y="59"/>
                  </a:lnTo>
                  <a:lnTo>
                    <a:pt x="33" y="59"/>
                  </a:lnTo>
                  <a:lnTo>
                    <a:pt x="30" y="59"/>
                  </a:lnTo>
                  <a:lnTo>
                    <a:pt x="30" y="61"/>
                  </a:lnTo>
                  <a:close/>
                  <a:moveTo>
                    <a:pt x="35" y="54"/>
                  </a:moveTo>
                  <a:lnTo>
                    <a:pt x="35" y="57"/>
                  </a:lnTo>
                  <a:lnTo>
                    <a:pt x="35" y="57"/>
                  </a:lnTo>
                  <a:lnTo>
                    <a:pt x="35" y="57"/>
                  </a:lnTo>
                  <a:lnTo>
                    <a:pt x="37" y="57"/>
                  </a:lnTo>
                  <a:lnTo>
                    <a:pt x="37" y="57"/>
                  </a:lnTo>
                  <a:lnTo>
                    <a:pt x="40" y="52"/>
                  </a:lnTo>
                  <a:lnTo>
                    <a:pt x="42" y="50"/>
                  </a:lnTo>
                  <a:lnTo>
                    <a:pt x="40" y="50"/>
                  </a:lnTo>
                  <a:lnTo>
                    <a:pt x="40" y="50"/>
                  </a:lnTo>
                  <a:lnTo>
                    <a:pt x="37" y="52"/>
                  </a:lnTo>
                  <a:lnTo>
                    <a:pt x="37" y="52"/>
                  </a:lnTo>
                  <a:lnTo>
                    <a:pt x="37" y="52"/>
                  </a:lnTo>
                  <a:lnTo>
                    <a:pt x="37" y="52"/>
                  </a:lnTo>
                  <a:lnTo>
                    <a:pt x="35" y="54"/>
                  </a:lnTo>
                  <a:lnTo>
                    <a:pt x="35" y="54"/>
                  </a:lnTo>
                  <a:close/>
                  <a:moveTo>
                    <a:pt x="40" y="42"/>
                  </a:moveTo>
                  <a:lnTo>
                    <a:pt x="40" y="42"/>
                  </a:lnTo>
                  <a:lnTo>
                    <a:pt x="37" y="40"/>
                  </a:lnTo>
                  <a:lnTo>
                    <a:pt x="37" y="40"/>
                  </a:lnTo>
                  <a:lnTo>
                    <a:pt x="35" y="40"/>
                  </a:lnTo>
                  <a:lnTo>
                    <a:pt x="35" y="40"/>
                  </a:lnTo>
                  <a:lnTo>
                    <a:pt x="33" y="40"/>
                  </a:lnTo>
                  <a:lnTo>
                    <a:pt x="33" y="40"/>
                  </a:lnTo>
                  <a:lnTo>
                    <a:pt x="33" y="40"/>
                  </a:lnTo>
                  <a:lnTo>
                    <a:pt x="33" y="42"/>
                  </a:lnTo>
                  <a:lnTo>
                    <a:pt x="35" y="42"/>
                  </a:lnTo>
                  <a:lnTo>
                    <a:pt x="35" y="45"/>
                  </a:lnTo>
                  <a:lnTo>
                    <a:pt x="33" y="45"/>
                  </a:lnTo>
                  <a:lnTo>
                    <a:pt x="33" y="47"/>
                  </a:lnTo>
                  <a:lnTo>
                    <a:pt x="33" y="47"/>
                  </a:lnTo>
                  <a:lnTo>
                    <a:pt x="35" y="47"/>
                  </a:lnTo>
                  <a:lnTo>
                    <a:pt x="40" y="45"/>
                  </a:lnTo>
                  <a:lnTo>
                    <a:pt x="42" y="42"/>
                  </a:lnTo>
                  <a:lnTo>
                    <a:pt x="40" y="42"/>
                  </a:lnTo>
                  <a:close/>
                  <a:moveTo>
                    <a:pt x="19" y="26"/>
                  </a:moveTo>
                  <a:lnTo>
                    <a:pt x="19" y="26"/>
                  </a:lnTo>
                  <a:lnTo>
                    <a:pt x="19" y="28"/>
                  </a:lnTo>
                  <a:lnTo>
                    <a:pt x="19" y="28"/>
                  </a:lnTo>
                  <a:lnTo>
                    <a:pt x="19" y="31"/>
                  </a:lnTo>
                  <a:lnTo>
                    <a:pt x="19" y="31"/>
                  </a:lnTo>
                  <a:lnTo>
                    <a:pt x="19" y="31"/>
                  </a:lnTo>
                  <a:lnTo>
                    <a:pt x="21" y="31"/>
                  </a:lnTo>
                  <a:lnTo>
                    <a:pt x="21" y="31"/>
                  </a:lnTo>
                  <a:lnTo>
                    <a:pt x="21" y="26"/>
                  </a:lnTo>
                  <a:lnTo>
                    <a:pt x="21" y="26"/>
                  </a:lnTo>
                  <a:lnTo>
                    <a:pt x="19" y="26"/>
                  </a:lnTo>
                  <a:close/>
                  <a:moveTo>
                    <a:pt x="40" y="33"/>
                  </a:moveTo>
                  <a:lnTo>
                    <a:pt x="40" y="33"/>
                  </a:lnTo>
                  <a:lnTo>
                    <a:pt x="40" y="31"/>
                  </a:lnTo>
                  <a:lnTo>
                    <a:pt x="42" y="31"/>
                  </a:lnTo>
                  <a:lnTo>
                    <a:pt x="44" y="28"/>
                  </a:lnTo>
                  <a:lnTo>
                    <a:pt x="44" y="28"/>
                  </a:lnTo>
                  <a:lnTo>
                    <a:pt x="44" y="28"/>
                  </a:lnTo>
                  <a:lnTo>
                    <a:pt x="44" y="28"/>
                  </a:lnTo>
                  <a:lnTo>
                    <a:pt x="42" y="28"/>
                  </a:lnTo>
                  <a:lnTo>
                    <a:pt x="37" y="28"/>
                  </a:lnTo>
                  <a:lnTo>
                    <a:pt x="37" y="26"/>
                  </a:lnTo>
                  <a:lnTo>
                    <a:pt x="37" y="26"/>
                  </a:lnTo>
                  <a:lnTo>
                    <a:pt x="37" y="26"/>
                  </a:lnTo>
                  <a:lnTo>
                    <a:pt x="37" y="24"/>
                  </a:lnTo>
                  <a:lnTo>
                    <a:pt x="37" y="24"/>
                  </a:lnTo>
                  <a:lnTo>
                    <a:pt x="37" y="24"/>
                  </a:lnTo>
                  <a:lnTo>
                    <a:pt x="37" y="21"/>
                  </a:lnTo>
                  <a:lnTo>
                    <a:pt x="37" y="19"/>
                  </a:lnTo>
                  <a:lnTo>
                    <a:pt x="35" y="19"/>
                  </a:lnTo>
                  <a:lnTo>
                    <a:pt x="35" y="19"/>
                  </a:lnTo>
                  <a:lnTo>
                    <a:pt x="35" y="21"/>
                  </a:lnTo>
                  <a:lnTo>
                    <a:pt x="30" y="21"/>
                  </a:lnTo>
                  <a:lnTo>
                    <a:pt x="30" y="21"/>
                  </a:lnTo>
                  <a:lnTo>
                    <a:pt x="30" y="24"/>
                  </a:lnTo>
                  <a:lnTo>
                    <a:pt x="30" y="24"/>
                  </a:lnTo>
                  <a:lnTo>
                    <a:pt x="30" y="24"/>
                  </a:lnTo>
                  <a:lnTo>
                    <a:pt x="30" y="24"/>
                  </a:lnTo>
                  <a:lnTo>
                    <a:pt x="30" y="24"/>
                  </a:lnTo>
                  <a:lnTo>
                    <a:pt x="28" y="24"/>
                  </a:lnTo>
                  <a:lnTo>
                    <a:pt x="28" y="24"/>
                  </a:lnTo>
                  <a:lnTo>
                    <a:pt x="28" y="24"/>
                  </a:lnTo>
                  <a:lnTo>
                    <a:pt x="30" y="26"/>
                  </a:lnTo>
                  <a:lnTo>
                    <a:pt x="33" y="26"/>
                  </a:lnTo>
                  <a:lnTo>
                    <a:pt x="35" y="28"/>
                  </a:lnTo>
                  <a:lnTo>
                    <a:pt x="35" y="28"/>
                  </a:lnTo>
                  <a:lnTo>
                    <a:pt x="35" y="28"/>
                  </a:lnTo>
                  <a:lnTo>
                    <a:pt x="37" y="28"/>
                  </a:lnTo>
                  <a:lnTo>
                    <a:pt x="40" y="28"/>
                  </a:lnTo>
                  <a:lnTo>
                    <a:pt x="40" y="31"/>
                  </a:lnTo>
                  <a:lnTo>
                    <a:pt x="40" y="33"/>
                  </a:lnTo>
                  <a:close/>
                  <a:moveTo>
                    <a:pt x="23" y="21"/>
                  </a:moveTo>
                  <a:lnTo>
                    <a:pt x="23" y="21"/>
                  </a:lnTo>
                  <a:lnTo>
                    <a:pt x="23" y="19"/>
                  </a:lnTo>
                  <a:lnTo>
                    <a:pt x="21" y="19"/>
                  </a:lnTo>
                  <a:lnTo>
                    <a:pt x="21" y="19"/>
                  </a:lnTo>
                  <a:lnTo>
                    <a:pt x="19" y="21"/>
                  </a:lnTo>
                  <a:lnTo>
                    <a:pt x="19" y="19"/>
                  </a:lnTo>
                  <a:lnTo>
                    <a:pt x="19" y="19"/>
                  </a:lnTo>
                  <a:lnTo>
                    <a:pt x="19" y="21"/>
                  </a:lnTo>
                  <a:lnTo>
                    <a:pt x="16" y="21"/>
                  </a:lnTo>
                  <a:lnTo>
                    <a:pt x="16" y="21"/>
                  </a:lnTo>
                  <a:lnTo>
                    <a:pt x="21" y="21"/>
                  </a:lnTo>
                  <a:lnTo>
                    <a:pt x="23" y="21"/>
                  </a:lnTo>
                  <a:close/>
                  <a:moveTo>
                    <a:pt x="26" y="16"/>
                  </a:moveTo>
                  <a:lnTo>
                    <a:pt x="23" y="16"/>
                  </a:lnTo>
                  <a:lnTo>
                    <a:pt x="26" y="19"/>
                  </a:lnTo>
                  <a:lnTo>
                    <a:pt x="26" y="19"/>
                  </a:lnTo>
                  <a:lnTo>
                    <a:pt x="26" y="19"/>
                  </a:lnTo>
                  <a:lnTo>
                    <a:pt x="28" y="16"/>
                  </a:lnTo>
                  <a:lnTo>
                    <a:pt x="28" y="16"/>
                  </a:lnTo>
                  <a:lnTo>
                    <a:pt x="28" y="16"/>
                  </a:lnTo>
                  <a:lnTo>
                    <a:pt x="30" y="14"/>
                  </a:lnTo>
                  <a:lnTo>
                    <a:pt x="33" y="14"/>
                  </a:lnTo>
                  <a:lnTo>
                    <a:pt x="35" y="12"/>
                  </a:lnTo>
                  <a:lnTo>
                    <a:pt x="35" y="12"/>
                  </a:lnTo>
                  <a:lnTo>
                    <a:pt x="35" y="12"/>
                  </a:lnTo>
                  <a:lnTo>
                    <a:pt x="35" y="12"/>
                  </a:lnTo>
                  <a:lnTo>
                    <a:pt x="33" y="12"/>
                  </a:lnTo>
                  <a:lnTo>
                    <a:pt x="35" y="9"/>
                  </a:lnTo>
                  <a:lnTo>
                    <a:pt x="35" y="9"/>
                  </a:lnTo>
                  <a:lnTo>
                    <a:pt x="37" y="9"/>
                  </a:lnTo>
                  <a:lnTo>
                    <a:pt x="40" y="7"/>
                  </a:lnTo>
                  <a:lnTo>
                    <a:pt x="40" y="5"/>
                  </a:lnTo>
                  <a:lnTo>
                    <a:pt x="40" y="5"/>
                  </a:lnTo>
                  <a:lnTo>
                    <a:pt x="40" y="2"/>
                  </a:lnTo>
                  <a:lnTo>
                    <a:pt x="37" y="5"/>
                  </a:lnTo>
                  <a:lnTo>
                    <a:pt x="35" y="5"/>
                  </a:lnTo>
                  <a:lnTo>
                    <a:pt x="30" y="7"/>
                  </a:lnTo>
                  <a:lnTo>
                    <a:pt x="30" y="7"/>
                  </a:lnTo>
                  <a:lnTo>
                    <a:pt x="30" y="7"/>
                  </a:lnTo>
                  <a:lnTo>
                    <a:pt x="30" y="9"/>
                  </a:lnTo>
                  <a:lnTo>
                    <a:pt x="30" y="9"/>
                  </a:lnTo>
                  <a:lnTo>
                    <a:pt x="30" y="9"/>
                  </a:lnTo>
                  <a:lnTo>
                    <a:pt x="28" y="9"/>
                  </a:lnTo>
                  <a:lnTo>
                    <a:pt x="28" y="9"/>
                  </a:lnTo>
                  <a:lnTo>
                    <a:pt x="26" y="9"/>
                  </a:lnTo>
                  <a:lnTo>
                    <a:pt x="26" y="9"/>
                  </a:lnTo>
                  <a:lnTo>
                    <a:pt x="26" y="9"/>
                  </a:lnTo>
                  <a:lnTo>
                    <a:pt x="26" y="9"/>
                  </a:lnTo>
                  <a:lnTo>
                    <a:pt x="26" y="9"/>
                  </a:lnTo>
                  <a:lnTo>
                    <a:pt x="26" y="12"/>
                  </a:lnTo>
                  <a:lnTo>
                    <a:pt x="26" y="12"/>
                  </a:lnTo>
                  <a:lnTo>
                    <a:pt x="26" y="12"/>
                  </a:lnTo>
                  <a:lnTo>
                    <a:pt x="26" y="12"/>
                  </a:lnTo>
                  <a:lnTo>
                    <a:pt x="26" y="12"/>
                  </a:lnTo>
                  <a:lnTo>
                    <a:pt x="26" y="12"/>
                  </a:lnTo>
                  <a:lnTo>
                    <a:pt x="26" y="14"/>
                  </a:lnTo>
                  <a:lnTo>
                    <a:pt x="26" y="14"/>
                  </a:lnTo>
                  <a:lnTo>
                    <a:pt x="28" y="14"/>
                  </a:lnTo>
                  <a:lnTo>
                    <a:pt x="28" y="14"/>
                  </a:lnTo>
                  <a:lnTo>
                    <a:pt x="26" y="14"/>
                  </a:lnTo>
                  <a:lnTo>
                    <a:pt x="26" y="16"/>
                  </a:lnTo>
                  <a:close/>
                  <a:moveTo>
                    <a:pt x="150" y="118"/>
                  </a:moveTo>
                  <a:lnTo>
                    <a:pt x="150" y="118"/>
                  </a:lnTo>
                  <a:lnTo>
                    <a:pt x="146" y="113"/>
                  </a:lnTo>
                  <a:lnTo>
                    <a:pt x="146" y="113"/>
                  </a:lnTo>
                  <a:lnTo>
                    <a:pt x="141" y="113"/>
                  </a:lnTo>
                  <a:lnTo>
                    <a:pt x="139" y="113"/>
                  </a:lnTo>
                  <a:lnTo>
                    <a:pt x="139" y="113"/>
                  </a:lnTo>
                  <a:lnTo>
                    <a:pt x="136" y="113"/>
                  </a:lnTo>
                  <a:lnTo>
                    <a:pt x="134" y="113"/>
                  </a:lnTo>
                  <a:lnTo>
                    <a:pt x="132" y="113"/>
                  </a:lnTo>
                  <a:lnTo>
                    <a:pt x="132" y="116"/>
                  </a:lnTo>
                  <a:lnTo>
                    <a:pt x="132" y="116"/>
                  </a:lnTo>
                  <a:lnTo>
                    <a:pt x="129" y="116"/>
                  </a:lnTo>
                  <a:lnTo>
                    <a:pt x="129" y="116"/>
                  </a:lnTo>
                  <a:lnTo>
                    <a:pt x="125" y="113"/>
                  </a:lnTo>
                  <a:lnTo>
                    <a:pt x="127" y="113"/>
                  </a:lnTo>
                  <a:lnTo>
                    <a:pt x="127" y="111"/>
                  </a:lnTo>
                  <a:lnTo>
                    <a:pt x="129" y="111"/>
                  </a:lnTo>
                  <a:lnTo>
                    <a:pt x="132" y="109"/>
                  </a:lnTo>
                  <a:lnTo>
                    <a:pt x="129" y="106"/>
                  </a:lnTo>
                  <a:lnTo>
                    <a:pt x="127" y="104"/>
                  </a:lnTo>
                  <a:lnTo>
                    <a:pt x="122" y="99"/>
                  </a:lnTo>
                  <a:lnTo>
                    <a:pt x="117" y="99"/>
                  </a:lnTo>
                  <a:lnTo>
                    <a:pt x="115" y="97"/>
                  </a:lnTo>
                  <a:lnTo>
                    <a:pt x="117" y="97"/>
                  </a:lnTo>
                  <a:lnTo>
                    <a:pt x="117" y="97"/>
                  </a:lnTo>
                  <a:lnTo>
                    <a:pt x="122" y="97"/>
                  </a:lnTo>
                  <a:lnTo>
                    <a:pt x="122" y="99"/>
                  </a:lnTo>
                  <a:lnTo>
                    <a:pt x="125" y="99"/>
                  </a:lnTo>
                  <a:lnTo>
                    <a:pt x="125" y="99"/>
                  </a:lnTo>
                  <a:lnTo>
                    <a:pt x="127" y="99"/>
                  </a:lnTo>
                  <a:lnTo>
                    <a:pt x="127" y="99"/>
                  </a:lnTo>
                  <a:lnTo>
                    <a:pt x="127" y="99"/>
                  </a:lnTo>
                  <a:lnTo>
                    <a:pt x="127" y="97"/>
                  </a:lnTo>
                  <a:lnTo>
                    <a:pt x="125" y="94"/>
                  </a:lnTo>
                  <a:lnTo>
                    <a:pt x="125" y="94"/>
                  </a:lnTo>
                  <a:lnTo>
                    <a:pt x="122" y="92"/>
                  </a:lnTo>
                  <a:lnTo>
                    <a:pt x="125" y="90"/>
                  </a:lnTo>
                  <a:lnTo>
                    <a:pt x="125" y="90"/>
                  </a:lnTo>
                  <a:lnTo>
                    <a:pt x="122" y="87"/>
                  </a:lnTo>
                  <a:lnTo>
                    <a:pt x="120" y="87"/>
                  </a:lnTo>
                  <a:lnTo>
                    <a:pt x="117" y="85"/>
                  </a:lnTo>
                  <a:lnTo>
                    <a:pt x="117" y="83"/>
                  </a:lnTo>
                  <a:lnTo>
                    <a:pt x="115" y="83"/>
                  </a:lnTo>
                  <a:lnTo>
                    <a:pt x="108" y="80"/>
                  </a:lnTo>
                  <a:lnTo>
                    <a:pt x="108" y="78"/>
                  </a:lnTo>
                  <a:lnTo>
                    <a:pt x="108" y="78"/>
                  </a:lnTo>
                  <a:lnTo>
                    <a:pt x="106" y="71"/>
                  </a:lnTo>
                  <a:lnTo>
                    <a:pt x="103" y="66"/>
                  </a:lnTo>
                  <a:lnTo>
                    <a:pt x="103" y="61"/>
                  </a:lnTo>
                  <a:lnTo>
                    <a:pt x="103" y="61"/>
                  </a:lnTo>
                  <a:lnTo>
                    <a:pt x="101" y="59"/>
                  </a:lnTo>
                  <a:lnTo>
                    <a:pt x="101" y="59"/>
                  </a:lnTo>
                  <a:lnTo>
                    <a:pt x="99" y="57"/>
                  </a:lnTo>
                  <a:lnTo>
                    <a:pt x="96" y="54"/>
                  </a:lnTo>
                  <a:lnTo>
                    <a:pt x="89" y="52"/>
                  </a:lnTo>
                  <a:lnTo>
                    <a:pt x="84" y="52"/>
                  </a:lnTo>
                  <a:lnTo>
                    <a:pt x="82" y="54"/>
                  </a:lnTo>
                  <a:lnTo>
                    <a:pt x="82" y="54"/>
                  </a:lnTo>
                  <a:lnTo>
                    <a:pt x="73" y="52"/>
                  </a:lnTo>
                  <a:lnTo>
                    <a:pt x="73" y="52"/>
                  </a:lnTo>
                  <a:lnTo>
                    <a:pt x="70" y="50"/>
                  </a:lnTo>
                  <a:lnTo>
                    <a:pt x="73" y="52"/>
                  </a:lnTo>
                  <a:lnTo>
                    <a:pt x="75" y="52"/>
                  </a:lnTo>
                  <a:lnTo>
                    <a:pt x="77" y="52"/>
                  </a:lnTo>
                  <a:lnTo>
                    <a:pt x="80" y="52"/>
                  </a:lnTo>
                  <a:lnTo>
                    <a:pt x="80" y="52"/>
                  </a:lnTo>
                  <a:lnTo>
                    <a:pt x="84" y="50"/>
                  </a:lnTo>
                  <a:lnTo>
                    <a:pt x="87" y="50"/>
                  </a:lnTo>
                  <a:lnTo>
                    <a:pt x="89" y="47"/>
                  </a:lnTo>
                  <a:lnTo>
                    <a:pt x="89" y="47"/>
                  </a:lnTo>
                  <a:lnTo>
                    <a:pt x="84" y="45"/>
                  </a:lnTo>
                  <a:lnTo>
                    <a:pt x="82" y="45"/>
                  </a:lnTo>
                  <a:lnTo>
                    <a:pt x="80" y="45"/>
                  </a:lnTo>
                  <a:lnTo>
                    <a:pt x="80" y="45"/>
                  </a:lnTo>
                  <a:lnTo>
                    <a:pt x="80" y="45"/>
                  </a:lnTo>
                  <a:lnTo>
                    <a:pt x="82" y="45"/>
                  </a:lnTo>
                  <a:lnTo>
                    <a:pt x="82" y="42"/>
                  </a:lnTo>
                  <a:lnTo>
                    <a:pt x="87" y="42"/>
                  </a:lnTo>
                  <a:lnTo>
                    <a:pt x="89" y="42"/>
                  </a:lnTo>
                  <a:lnTo>
                    <a:pt x="89" y="42"/>
                  </a:lnTo>
                  <a:lnTo>
                    <a:pt x="92" y="40"/>
                  </a:lnTo>
                  <a:lnTo>
                    <a:pt x="94" y="38"/>
                  </a:lnTo>
                  <a:lnTo>
                    <a:pt x="96" y="35"/>
                  </a:lnTo>
                  <a:lnTo>
                    <a:pt x="99" y="31"/>
                  </a:lnTo>
                  <a:lnTo>
                    <a:pt x="99" y="31"/>
                  </a:lnTo>
                  <a:lnTo>
                    <a:pt x="99" y="28"/>
                  </a:lnTo>
                  <a:lnTo>
                    <a:pt x="101" y="28"/>
                  </a:lnTo>
                  <a:lnTo>
                    <a:pt x="101" y="26"/>
                  </a:lnTo>
                  <a:lnTo>
                    <a:pt x="103" y="24"/>
                  </a:lnTo>
                  <a:lnTo>
                    <a:pt x="103" y="24"/>
                  </a:lnTo>
                  <a:lnTo>
                    <a:pt x="103" y="24"/>
                  </a:lnTo>
                  <a:lnTo>
                    <a:pt x="103" y="21"/>
                  </a:lnTo>
                  <a:lnTo>
                    <a:pt x="101" y="19"/>
                  </a:lnTo>
                  <a:lnTo>
                    <a:pt x="101" y="19"/>
                  </a:lnTo>
                  <a:lnTo>
                    <a:pt x="96" y="19"/>
                  </a:lnTo>
                  <a:lnTo>
                    <a:pt x="89" y="19"/>
                  </a:lnTo>
                  <a:lnTo>
                    <a:pt x="87" y="19"/>
                  </a:lnTo>
                  <a:lnTo>
                    <a:pt x="84" y="19"/>
                  </a:lnTo>
                  <a:lnTo>
                    <a:pt x="84" y="19"/>
                  </a:lnTo>
                  <a:lnTo>
                    <a:pt x="82" y="19"/>
                  </a:lnTo>
                  <a:lnTo>
                    <a:pt x="80" y="19"/>
                  </a:lnTo>
                  <a:lnTo>
                    <a:pt x="77" y="19"/>
                  </a:lnTo>
                  <a:lnTo>
                    <a:pt x="73" y="21"/>
                  </a:lnTo>
                  <a:lnTo>
                    <a:pt x="70" y="21"/>
                  </a:lnTo>
                  <a:lnTo>
                    <a:pt x="68" y="21"/>
                  </a:lnTo>
                  <a:lnTo>
                    <a:pt x="70" y="19"/>
                  </a:lnTo>
                  <a:lnTo>
                    <a:pt x="73" y="16"/>
                  </a:lnTo>
                  <a:lnTo>
                    <a:pt x="73" y="16"/>
                  </a:lnTo>
                  <a:lnTo>
                    <a:pt x="73" y="16"/>
                  </a:lnTo>
                  <a:lnTo>
                    <a:pt x="70" y="16"/>
                  </a:lnTo>
                  <a:lnTo>
                    <a:pt x="70" y="14"/>
                  </a:lnTo>
                  <a:lnTo>
                    <a:pt x="70" y="14"/>
                  </a:lnTo>
                  <a:lnTo>
                    <a:pt x="75" y="12"/>
                  </a:lnTo>
                  <a:lnTo>
                    <a:pt x="80" y="9"/>
                  </a:lnTo>
                  <a:lnTo>
                    <a:pt x="84" y="7"/>
                  </a:lnTo>
                  <a:lnTo>
                    <a:pt x="84" y="5"/>
                  </a:lnTo>
                  <a:lnTo>
                    <a:pt x="84" y="5"/>
                  </a:lnTo>
                  <a:lnTo>
                    <a:pt x="87" y="5"/>
                  </a:lnTo>
                  <a:lnTo>
                    <a:pt x="87" y="2"/>
                  </a:lnTo>
                  <a:lnTo>
                    <a:pt x="87" y="2"/>
                  </a:lnTo>
                  <a:lnTo>
                    <a:pt x="87" y="0"/>
                  </a:lnTo>
                  <a:lnTo>
                    <a:pt x="87" y="0"/>
                  </a:lnTo>
                  <a:lnTo>
                    <a:pt x="84" y="0"/>
                  </a:lnTo>
                  <a:lnTo>
                    <a:pt x="80" y="0"/>
                  </a:lnTo>
                  <a:lnTo>
                    <a:pt x="77" y="2"/>
                  </a:lnTo>
                  <a:lnTo>
                    <a:pt x="75" y="2"/>
                  </a:lnTo>
                  <a:lnTo>
                    <a:pt x="70" y="2"/>
                  </a:lnTo>
                  <a:lnTo>
                    <a:pt x="66" y="2"/>
                  </a:lnTo>
                  <a:lnTo>
                    <a:pt x="66" y="2"/>
                  </a:lnTo>
                  <a:lnTo>
                    <a:pt x="66" y="2"/>
                  </a:lnTo>
                  <a:lnTo>
                    <a:pt x="63" y="2"/>
                  </a:lnTo>
                  <a:lnTo>
                    <a:pt x="61" y="2"/>
                  </a:lnTo>
                  <a:lnTo>
                    <a:pt x="61" y="2"/>
                  </a:lnTo>
                  <a:lnTo>
                    <a:pt x="61" y="2"/>
                  </a:lnTo>
                  <a:lnTo>
                    <a:pt x="59" y="2"/>
                  </a:lnTo>
                  <a:lnTo>
                    <a:pt x="59" y="2"/>
                  </a:lnTo>
                  <a:lnTo>
                    <a:pt x="56" y="2"/>
                  </a:lnTo>
                  <a:lnTo>
                    <a:pt x="56" y="2"/>
                  </a:lnTo>
                  <a:lnTo>
                    <a:pt x="56" y="5"/>
                  </a:lnTo>
                  <a:lnTo>
                    <a:pt x="56" y="5"/>
                  </a:lnTo>
                  <a:lnTo>
                    <a:pt x="56" y="5"/>
                  </a:lnTo>
                  <a:lnTo>
                    <a:pt x="56" y="7"/>
                  </a:lnTo>
                  <a:lnTo>
                    <a:pt x="56" y="7"/>
                  </a:lnTo>
                  <a:lnTo>
                    <a:pt x="56" y="7"/>
                  </a:lnTo>
                  <a:lnTo>
                    <a:pt x="56" y="7"/>
                  </a:lnTo>
                  <a:lnTo>
                    <a:pt x="54" y="7"/>
                  </a:lnTo>
                  <a:lnTo>
                    <a:pt x="52" y="9"/>
                  </a:lnTo>
                  <a:lnTo>
                    <a:pt x="52" y="9"/>
                  </a:lnTo>
                  <a:lnTo>
                    <a:pt x="52" y="9"/>
                  </a:lnTo>
                  <a:lnTo>
                    <a:pt x="52" y="9"/>
                  </a:lnTo>
                  <a:lnTo>
                    <a:pt x="49" y="12"/>
                  </a:lnTo>
                  <a:lnTo>
                    <a:pt x="52" y="12"/>
                  </a:lnTo>
                  <a:lnTo>
                    <a:pt x="54" y="14"/>
                  </a:lnTo>
                  <a:lnTo>
                    <a:pt x="54" y="16"/>
                  </a:lnTo>
                  <a:lnTo>
                    <a:pt x="52" y="14"/>
                  </a:lnTo>
                  <a:lnTo>
                    <a:pt x="52" y="14"/>
                  </a:lnTo>
                  <a:lnTo>
                    <a:pt x="52" y="16"/>
                  </a:lnTo>
                  <a:lnTo>
                    <a:pt x="47" y="16"/>
                  </a:lnTo>
                  <a:lnTo>
                    <a:pt x="47" y="16"/>
                  </a:lnTo>
                  <a:lnTo>
                    <a:pt x="44" y="16"/>
                  </a:lnTo>
                  <a:lnTo>
                    <a:pt x="44" y="19"/>
                  </a:lnTo>
                  <a:lnTo>
                    <a:pt x="44" y="21"/>
                  </a:lnTo>
                  <a:lnTo>
                    <a:pt x="44" y="21"/>
                  </a:lnTo>
                  <a:lnTo>
                    <a:pt x="44" y="21"/>
                  </a:lnTo>
                  <a:lnTo>
                    <a:pt x="47" y="21"/>
                  </a:lnTo>
                  <a:lnTo>
                    <a:pt x="44" y="24"/>
                  </a:lnTo>
                  <a:lnTo>
                    <a:pt x="44" y="24"/>
                  </a:lnTo>
                  <a:lnTo>
                    <a:pt x="42" y="24"/>
                  </a:lnTo>
                  <a:lnTo>
                    <a:pt x="42" y="24"/>
                  </a:lnTo>
                  <a:lnTo>
                    <a:pt x="42" y="26"/>
                  </a:lnTo>
                  <a:lnTo>
                    <a:pt x="44" y="26"/>
                  </a:lnTo>
                  <a:lnTo>
                    <a:pt x="44" y="26"/>
                  </a:lnTo>
                  <a:lnTo>
                    <a:pt x="47" y="28"/>
                  </a:lnTo>
                  <a:lnTo>
                    <a:pt x="44" y="31"/>
                  </a:lnTo>
                  <a:lnTo>
                    <a:pt x="42" y="33"/>
                  </a:lnTo>
                  <a:lnTo>
                    <a:pt x="42" y="35"/>
                  </a:lnTo>
                  <a:lnTo>
                    <a:pt x="40" y="35"/>
                  </a:lnTo>
                  <a:lnTo>
                    <a:pt x="42" y="35"/>
                  </a:lnTo>
                  <a:lnTo>
                    <a:pt x="40" y="38"/>
                  </a:lnTo>
                  <a:lnTo>
                    <a:pt x="37" y="38"/>
                  </a:lnTo>
                  <a:lnTo>
                    <a:pt x="37" y="38"/>
                  </a:lnTo>
                  <a:lnTo>
                    <a:pt x="35" y="38"/>
                  </a:lnTo>
                  <a:lnTo>
                    <a:pt x="37" y="38"/>
                  </a:lnTo>
                  <a:lnTo>
                    <a:pt x="40" y="38"/>
                  </a:lnTo>
                  <a:lnTo>
                    <a:pt x="40" y="40"/>
                  </a:lnTo>
                  <a:lnTo>
                    <a:pt x="40" y="42"/>
                  </a:lnTo>
                  <a:lnTo>
                    <a:pt x="42" y="42"/>
                  </a:lnTo>
                  <a:lnTo>
                    <a:pt x="42" y="42"/>
                  </a:lnTo>
                  <a:lnTo>
                    <a:pt x="44" y="42"/>
                  </a:lnTo>
                  <a:lnTo>
                    <a:pt x="49" y="38"/>
                  </a:lnTo>
                  <a:lnTo>
                    <a:pt x="52" y="38"/>
                  </a:lnTo>
                  <a:lnTo>
                    <a:pt x="49" y="38"/>
                  </a:lnTo>
                  <a:lnTo>
                    <a:pt x="49" y="40"/>
                  </a:lnTo>
                  <a:lnTo>
                    <a:pt x="49" y="42"/>
                  </a:lnTo>
                  <a:lnTo>
                    <a:pt x="47" y="42"/>
                  </a:lnTo>
                  <a:lnTo>
                    <a:pt x="47" y="45"/>
                  </a:lnTo>
                  <a:lnTo>
                    <a:pt x="44" y="45"/>
                  </a:lnTo>
                  <a:lnTo>
                    <a:pt x="44" y="47"/>
                  </a:lnTo>
                  <a:lnTo>
                    <a:pt x="44" y="50"/>
                  </a:lnTo>
                  <a:lnTo>
                    <a:pt x="42" y="52"/>
                  </a:lnTo>
                  <a:lnTo>
                    <a:pt x="42" y="57"/>
                  </a:lnTo>
                  <a:lnTo>
                    <a:pt x="42" y="57"/>
                  </a:lnTo>
                  <a:lnTo>
                    <a:pt x="42" y="57"/>
                  </a:lnTo>
                  <a:lnTo>
                    <a:pt x="44" y="57"/>
                  </a:lnTo>
                  <a:lnTo>
                    <a:pt x="44" y="57"/>
                  </a:lnTo>
                  <a:lnTo>
                    <a:pt x="42" y="59"/>
                  </a:lnTo>
                  <a:lnTo>
                    <a:pt x="42" y="59"/>
                  </a:lnTo>
                  <a:lnTo>
                    <a:pt x="40" y="59"/>
                  </a:lnTo>
                  <a:lnTo>
                    <a:pt x="40" y="64"/>
                  </a:lnTo>
                  <a:lnTo>
                    <a:pt x="40" y="64"/>
                  </a:lnTo>
                  <a:lnTo>
                    <a:pt x="40" y="66"/>
                  </a:lnTo>
                  <a:lnTo>
                    <a:pt x="40" y="66"/>
                  </a:lnTo>
                  <a:lnTo>
                    <a:pt x="40" y="66"/>
                  </a:lnTo>
                  <a:lnTo>
                    <a:pt x="42" y="66"/>
                  </a:lnTo>
                  <a:lnTo>
                    <a:pt x="42" y="66"/>
                  </a:lnTo>
                  <a:lnTo>
                    <a:pt x="42" y="64"/>
                  </a:lnTo>
                  <a:lnTo>
                    <a:pt x="44" y="57"/>
                  </a:lnTo>
                  <a:lnTo>
                    <a:pt x="47" y="57"/>
                  </a:lnTo>
                  <a:lnTo>
                    <a:pt x="44" y="54"/>
                  </a:lnTo>
                  <a:lnTo>
                    <a:pt x="44" y="52"/>
                  </a:lnTo>
                  <a:lnTo>
                    <a:pt x="47" y="52"/>
                  </a:lnTo>
                  <a:lnTo>
                    <a:pt x="47" y="52"/>
                  </a:lnTo>
                  <a:lnTo>
                    <a:pt x="47" y="50"/>
                  </a:lnTo>
                  <a:lnTo>
                    <a:pt x="52" y="50"/>
                  </a:lnTo>
                  <a:lnTo>
                    <a:pt x="52" y="47"/>
                  </a:lnTo>
                  <a:lnTo>
                    <a:pt x="49" y="50"/>
                  </a:lnTo>
                  <a:lnTo>
                    <a:pt x="49" y="52"/>
                  </a:lnTo>
                  <a:lnTo>
                    <a:pt x="49" y="52"/>
                  </a:lnTo>
                  <a:lnTo>
                    <a:pt x="49" y="54"/>
                  </a:lnTo>
                  <a:lnTo>
                    <a:pt x="49" y="54"/>
                  </a:lnTo>
                  <a:lnTo>
                    <a:pt x="49" y="54"/>
                  </a:lnTo>
                  <a:lnTo>
                    <a:pt x="49" y="54"/>
                  </a:lnTo>
                  <a:lnTo>
                    <a:pt x="49" y="54"/>
                  </a:lnTo>
                  <a:lnTo>
                    <a:pt x="49" y="54"/>
                  </a:lnTo>
                  <a:lnTo>
                    <a:pt x="52" y="52"/>
                  </a:lnTo>
                  <a:lnTo>
                    <a:pt x="52" y="52"/>
                  </a:lnTo>
                  <a:lnTo>
                    <a:pt x="54" y="52"/>
                  </a:lnTo>
                  <a:lnTo>
                    <a:pt x="54" y="50"/>
                  </a:lnTo>
                  <a:lnTo>
                    <a:pt x="56" y="50"/>
                  </a:lnTo>
                  <a:lnTo>
                    <a:pt x="56" y="50"/>
                  </a:lnTo>
                  <a:lnTo>
                    <a:pt x="54" y="52"/>
                  </a:lnTo>
                  <a:lnTo>
                    <a:pt x="54" y="52"/>
                  </a:lnTo>
                  <a:lnTo>
                    <a:pt x="56" y="54"/>
                  </a:lnTo>
                  <a:lnTo>
                    <a:pt x="59" y="54"/>
                  </a:lnTo>
                  <a:lnTo>
                    <a:pt x="54" y="54"/>
                  </a:lnTo>
                  <a:lnTo>
                    <a:pt x="54" y="54"/>
                  </a:lnTo>
                  <a:lnTo>
                    <a:pt x="54" y="54"/>
                  </a:lnTo>
                  <a:lnTo>
                    <a:pt x="54" y="57"/>
                  </a:lnTo>
                  <a:lnTo>
                    <a:pt x="54" y="59"/>
                  </a:lnTo>
                  <a:lnTo>
                    <a:pt x="56" y="61"/>
                  </a:lnTo>
                  <a:lnTo>
                    <a:pt x="56" y="61"/>
                  </a:lnTo>
                  <a:lnTo>
                    <a:pt x="56" y="61"/>
                  </a:lnTo>
                  <a:lnTo>
                    <a:pt x="56" y="64"/>
                  </a:lnTo>
                  <a:lnTo>
                    <a:pt x="54" y="66"/>
                  </a:lnTo>
                  <a:lnTo>
                    <a:pt x="52" y="68"/>
                  </a:lnTo>
                  <a:lnTo>
                    <a:pt x="49" y="73"/>
                  </a:lnTo>
                  <a:lnTo>
                    <a:pt x="49" y="73"/>
                  </a:lnTo>
                  <a:lnTo>
                    <a:pt x="47" y="73"/>
                  </a:lnTo>
                  <a:lnTo>
                    <a:pt x="47" y="73"/>
                  </a:lnTo>
                  <a:lnTo>
                    <a:pt x="47" y="76"/>
                  </a:lnTo>
                  <a:lnTo>
                    <a:pt x="49" y="78"/>
                  </a:lnTo>
                  <a:lnTo>
                    <a:pt x="52" y="78"/>
                  </a:lnTo>
                  <a:lnTo>
                    <a:pt x="52" y="78"/>
                  </a:lnTo>
                  <a:lnTo>
                    <a:pt x="52" y="76"/>
                  </a:lnTo>
                  <a:lnTo>
                    <a:pt x="52" y="76"/>
                  </a:lnTo>
                  <a:lnTo>
                    <a:pt x="54" y="76"/>
                  </a:lnTo>
                  <a:lnTo>
                    <a:pt x="56" y="78"/>
                  </a:lnTo>
                  <a:lnTo>
                    <a:pt x="59" y="76"/>
                  </a:lnTo>
                  <a:lnTo>
                    <a:pt x="61" y="76"/>
                  </a:lnTo>
                  <a:lnTo>
                    <a:pt x="61" y="76"/>
                  </a:lnTo>
                  <a:lnTo>
                    <a:pt x="61" y="76"/>
                  </a:lnTo>
                  <a:lnTo>
                    <a:pt x="63" y="76"/>
                  </a:lnTo>
                  <a:lnTo>
                    <a:pt x="63" y="78"/>
                  </a:lnTo>
                  <a:lnTo>
                    <a:pt x="63" y="76"/>
                  </a:lnTo>
                  <a:lnTo>
                    <a:pt x="66" y="76"/>
                  </a:lnTo>
                  <a:lnTo>
                    <a:pt x="66" y="76"/>
                  </a:lnTo>
                  <a:lnTo>
                    <a:pt x="68" y="76"/>
                  </a:lnTo>
                  <a:lnTo>
                    <a:pt x="68" y="76"/>
                  </a:lnTo>
                  <a:lnTo>
                    <a:pt x="70" y="76"/>
                  </a:lnTo>
                  <a:lnTo>
                    <a:pt x="70" y="76"/>
                  </a:lnTo>
                  <a:lnTo>
                    <a:pt x="73" y="73"/>
                  </a:lnTo>
                  <a:lnTo>
                    <a:pt x="75" y="73"/>
                  </a:lnTo>
                  <a:lnTo>
                    <a:pt x="80" y="73"/>
                  </a:lnTo>
                  <a:lnTo>
                    <a:pt x="80" y="73"/>
                  </a:lnTo>
                  <a:lnTo>
                    <a:pt x="77" y="73"/>
                  </a:lnTo>
                  <a:lnTo>
                    <a:pt x="73" y="78"/>
                  </a:lnTo>
                  <a:lnTo>
                    <a:pt x="70" y="80"/>
                  </a:lnTo>
                  <a:lnTo>
                    <a:pt x="70" y="83"/>
                  </a:lnTo>
                  <a:lnTo>
                    <a:pt x="73" y="87"/>
                  </a:lnTo>
                  <a:lnTo>
                    <a:pt x="75" y="87"/>
                  </a:lnTo>
                  <a:lnTo>
                    <a:pt x="77" y="90"/>
                  </a:lnTo>
                  <a:lnTo>
                    <a:pt x="77" y="90"/>
                  </a:lnTo>
                  <a:lnTo>
                    <a:pt x="77" y="90"/>
                  </a:lnTo>
                  <a:lnTo>
                    <a:pt x="80" y="90"/>
                  </a:lnTo>
                  <a:lnTo>
                    <a:pt x="82" y="90"/>
                  </a:lnTo>
                  <a:lnTo>
                    <a:pt x="82" y="90"/>
                  </a:lnTo>
                  <a:lnTo>
                    <a:pt x="82" y="92"/>
                  </a:lnTo>
                  <a:lnTo>
                    <a:pt x="80" y="92"/>
                  </a:lnTo>
                  <a:lnTo>
                    <a:pt x="77" y="94"/>
                  </a:lnTo>
                  <a:lnTo>
                    <a:pt x="77" y="94"/>
                  </a:lnTo>
                  <a:lnTo>
                    <a:pt x="77" y="97"/>
                  </a:lnTo>
                  <a:lnTo>
                    <a:pt x="80" y="97"/>
                  </a:lnTo>
                  <a:lnTo>
                    <a:pt x="80" y="97"/>
                  </a:lnTo>
                  <a:lnTo>
                    <a:pt x="80" y="99"/>
                  </a:lnTo>
                  <a:lnTo>
                    <a:pt x="77" y="102"/>
                  </a:lnTo>
                  <a:lnTo>
                    <a:pt x="77" y="102"/>
                  </a:lnTo>
                  <a:lnTo>
                    <a:pt x="77" y="104"/>
                  </a:lnTo>
                  <a:lnTo>
                    <a:pt x="80" y="106"/>
                  </a:lnTo>
                  <a:lnTo>
                    <a:pt x="80" y="106"/>
                  </a:lnTo>
                  <a:lnTo>
                    <a:pt x="82" y="106"/>
                  </a:lnTo>
                  <a:lnTo>
                    <a:pt x="82" y="106"/>
                  </a:lnTo>
                  <a:lnTo>
                    <a:pt x="80" y="106"/>
                  </a:lnTo>
                  <a:lnTo>
                    <a:pt x="80" y="106"/>
                  </a:lnTo>
                  <a:lnTo>
                    <a:pt x="77" y="104"/>
                  </a:lnTo>
                  <a:lnTo>
                    <a:pt x="75" y="104"/>
                  </a:lnTo>
                  <a:lnTo>
                    <a:pt x="77" y="106"/>
                  </a:lnTo>
                  <a:lnTo>
                    <a:pt x="73" y="106"/>
                  </a:lnTo>
                  <a:lnTo>
                    <a:pt x="70" y="106"/>
                  </a:lnTo>
                  <a:lnTo>
                    <a:pt x="70" y="106"/>
                  </a:lnTo>
                  <a:lnTo>
                    <a:pt x="68" y="106"/>
                  </a:lnTo>
                  <a:lnTo>
                    <a:pt x="66" y="106"/>
                  </a:lnTo>
                  <a:lnTo>
                    <a:pt x="66" y="106"/>
                  </a:lnTo>
                  <a:lnTo>
                    <a:pt x="61" y="109"/>
                  </a:lnTo>
                  <a:lnTo>
                    <a:pt x="59" y="109"/>
                  </a:lnTo>
                  <a:lnTo>
                    <a:pt x="56" y="111"/>
                  </a:lnTo>
                  <a:lnTo>
                    <a:pt x="56" y="111"/>
                  </a:lnTo>
                  <a:lnTo>
                    <a:pt x="56" y="111"/>
                  </a:lnTo>
                  <a:lnTo>
                    <a:pt x="54" y="113"/>
                  </a:lnTo>
                  <a:lnTo>
                    <a:pt x="52" y="116"/>
                  </a:lnTo>
                  <a:lnTo>
                    <a:pt x="52" y="116"/>
                  </a:lnTo>
                  <a:lnTo>
                    <a:pt x="52" y="116"/>
                  </a:lnTo>
                  <a:lnTo>
                    <a:pt x="52" y="116"/>
                  </a:lnTo>
                  <a:lnTo>
                    <a:pt x="54" y="116"/>
                  </a:lnTo>
                  <a:lnTo>
                    <a:pt x="56" y="113"/>
                  </a:lnTo>
                  <a:lnTo>
                    <a:pt x="59" y="113"/>
                  </a:lnTo>
                  <a:lnTo>
                    <a:pt x="61" y="113"/>
                  </a:lnTo>
                  <a:lnTo>
                    <a:pt x="59" y="116"/>
                  </a:lnTo>
                  <a:lnTo>
                    <a:pt x="59" y="116"/>
                  </a:lnTo>
                  <a:lnTo>
                    <a:pt x="61" y="118"/>
                  </a:lnTo>
                  <a:lnTo>
                    <a:pt x="61" y="118"/>
                  </a:lnTo>
                  <a:lnTo>
                    <a:pt x="61" y="118"/>
                  </a:lnTo>
                  <a:lnTo>
                    <a:pt x="59" y="120"/>
                  </a:lnTo>
                  <a:lnTo>
                    <a:pt x="61" y="120"/>
                  </a:lnTo>
                  <a:lnTo>
                    <a:pt x="61" y="120"/>
                  </a:lnTo>
                  <a:lnTo>
                    <a:pt x="61" y="123"/>
                  </a:lnTo>
                  <a:lnTo>
                    <a:pt x="59" y="125"/>
                  </a:lnTo>
                  <a:lnTo>
                    <a:pt x="59" y="125"/>
                  </a:lnTo>
                  <a:lnTo>
                    <a:pt x="56" y="128"/>
                  </a:lnTo>
                  <a:lnTo>
                    <a:pt x="54" y="128"/>
                  </a:lnTo>
                  <a:lnTo>
                    <a:pt x="52" y="130"/>
                  </a:lnTo>
                  <a:lnTo>
                    <a:pt x="47" y="132"/>
                  </a:lnTo>
                  <a:lnTo>
                    <a:pt x="42" y="132"/>
                  </a:lnTo>
                  <a:lnTo>
                    <a:pt x="40" y="135"/>
                  </a:lnTo>
                  <a:lnTo>
                    <a:pt x="40" y="135"/>
                  </a:lnTo>
                  <a:lnTo>
                    <a:pt x="40" y="135"/>
                  </a:lnTo>
                  <a:lnTo>
                    <a:pt x="40" y="137"/>
                  </a:lnTo>
                  <a:lnTo>
                    <a:pt x="40" y="137"/>
                  </a:lnTo>
                  <a:lnTo>
                    <a:pt x="42" y="139"/>
                  </a:lnTo>
                  <a:lnTo>
                    <a:pt x="44" y="139"/>
                  </a:lnTo>
                  <a:lnTo>
                    <a:pt x="47" y="139"/>
                  </a:lnTo>
                  <a:lnTo>
                    <a:pt x="49" y="137"/>
                  </a:lnTo>
                  <a:lnTo>
                    <a:pt x="52" y="137"/>
                  </a:lnTo>
                  <a:lnTo>
                    <a:pt x="54" y="137"/>
                  </a:lnTo>
                  <a:lnTo>
                    <a:pt x="54" y="139"/>
                  </a:lnTo>
                  <a:lnTo>
                    <a:pt x="54" y="139"/>
                  </a:lnTo>
                  <a:lnTo>
                    <a:pt x="59" y="139"/>
                  </a:lnTo>
                  <a:lnTo>
                    <a:pt x="56" y="139"/>
                  </a:lnTo>
                  <a:lnTo>
                    <a:pt x="56" y="142"/>
                  </a:lnTo>
                  <a:lnTo>
                    <a:pt x="56" y="142"/>
                  </a:lnTo>
                  <a:lnTo>
                    <a:pt x="59" y="142"/>
                  </a:lnTo>
                  <a:lnTo>
                    <a:pt x="61" y="142"/>
                  </a:lnTo>
                  <a:lnTo>
                    <a:pt x="61" y="142"/>
                  </a:lnTo>
                  <a:lnTo>
                    <a:pt x="63" y="142"/>
                  </a:lnTo>
                  <a:lnTo>
                    <a:pt x="66" y="144"/>
                  </a:lnTo>
                  <a:lnTo>
                    <a:pt x="70" y="144"/>
                  </a:lnTo>
                  <a:lnTo>
                    <a:pt x="70" y="144"/>
                  </a:lnTo>
                  <a:lnTo>
                    <a:pt x="73" y="142"/>
                  </a:lnTo>
                  <a:lnTo>
                    <a:pt x="75" y="142"/>
                  </a:lnTo>
                  <a:lnTo>
                    <a:pt x="80" y="142"/>
                  </a:lnTo>
                  <a:lnTo>
                    <a:pt x="80" y="139"/>
                  </a:lnTo>
                  <a:lnTo>
                    <a:pt x="82" y="139"/>
                  </a:lnTo>
                  <a:lnTo>
                    <a:pt x="84" y="137"/>
                  </a:lnTo>
                  <a:lnTo>
                    <a:pt x="82" y="139"/>
                  </a:lnTo>
                  <a:lnTo>
                    <a:pt x="80" y="142"/>
                  </a:lnTo>
                  <a:lnTo>
                    <a:pt x="77" y="144"/>
                  </a:lnTo>
                  <a:lnTo>
                    <a:pt x="77" y="144"/>
                  </a:lnTo>
                  <a:lnTo>
                    <a:pt x="73" y="149"/>
                  </a:lnTo>
                  <a:lnTo>
                    <a:pt x="73" y="149"/>
                  </a:lnTo>
                  <a:lnTo>
                    <a:pt x="70" y="149"/>
                  </a:lnTo>
                  <a:lnTo>
                    <a:pt x="68" y="149"/>
                  </a:lnTo>
                  <a:lnTo>
                    <a:pt x="66" y="149"/>
                  </a:lnTo>
                  <a:lnTo>
                    <a:pt x="61" y="149"/>
                  </a:lnTo>
                  <a:lnTo>
                    <a:pt x="56" y="149"/>
                  </a:lnTo>
                  <a:lnTo>
                    <a:pt x="56" y="149"/>
                  </a:lnTo>
                  <a:lnTo>
                    <a:pt x="54" y="151"/>
                  </a:lnTo>
                  <a:lnTo>
                    <a:pt x="49" y="154"/>
                  </a:lnTo>
                  <a:lnTo>
                    <a:pt x="49" y="156"/>
                  </a:lnTo>
                  <a:lnTo>
                    <a:pt x="49" y="156"/>
                  </a:lnTo>
                  <a:lnTo>
                    <a:pt x="49" y="158"/>
                  </a:lnTo>
                  <a:lnTo>
                    <a:pt x="44" y="161"/>
                  </a:lnTo>
                  <a:lnTo>
                    <a:pt x="42" y="163"/>
                  </a:lnTo>
                  <a:lnTo>
                    <a:pt x="42" y="163"/>
                  </a:lnTo>
                  <a:lnTo>
                    <a:pt x="42" y="163"/>
                  </a:lnTo>
                  <a:lnTo>
                    <a:pt x="40" y="163"/>
                  </a:lnTo>
                  <a:lnTo>
                    <a:pt x="37" y="165"/>
                  </a:lnTo>
                  <a:lnTo>
                    <a:pt x="35" y="168"/>
                  </a:lnTo>
                  <a:lnTo>
                    <a:pt x="30" y="170"/>
                  </a:lnTo>
                  <a:lnTo>
                    <a:pt x="30" y="170"/>
                  </a:lnTo>
                  <a:lnTo>
                    <a:pt x="30" y="172"/>
                  </a:lnTo>
                  <a:lnTo>
                    <a:pt x="30" y="172"/>
                  </a:lnTo>
                  <a:lnTo>
                    <a:pt x="30" y="172"/>
                  </a:lnTo>
                  <a:lnTo>
                    <a:pt x="33" y="170"/>
                  </a:lnTo>
                  <a:lnTo>
                    <a:pt x="35" y="172"/>
                  </a:lnTo>
                  <a:lnTo>
                    <a:pt x="37" y="172"/>
                  </a:lnTo>
                  <a:lnTo>
                    <a:pt x="37" y="172"/>
                  </a:lnTo>
                  <a:lnTo>
                    <a:pt x="40" y="170"/>
                  </a:lnTo>
                  <a:lnTo>
                    <a:pt x="40" y="170"/>
                  </a:lnTo>
                  <a:lnTo>
                    <a:pt x="44" y="168"/>
                  </a:lnTo>
                  <a:lnTo>
                    <a:pt x="44" y="168"/>
                  </a:lnTo>
                  <a:lnTo>
                    <a:pt x="49" y="165"/>
                  </a:lnTo>
                  <a:lnTo>
                    <a:pt x="52" y="165"/>
                  </a:lnTo>
                  <a:lnTo>
                    <a:pt x="52" y="165"/>
                  </a:lnTo>
                  <a:lnTo>
                    <a:pt x="54" y="165"/>
                  </a:lnTo>
                  <a:lnTo>
                    <a:pt x="54" y="165"/>
                  </a:lnTo>
                  <a:lnTo>
                    <a:pt x="54" y="165"/>
                  </a:lnTo>
                  <a:lnTo>
                    <a:pt x="56" y="165"/>
                  </a:lnTo>
                  <a:lnTo>
                    <a:pt x="59" y="168"/>
                  </a:lnTo>
                  <a:lnTo>
                    <a:pt x="61" y="168"/>
                  </a:lnTo>
                  <a:lnTo>
                    <a:pt x="61" y="168"/>
                  </a:lnTo>
                  <a:lnTo>
                    <a:pt x="63" y="168"/>
                  </a:lnTo>
                  <a:lnTo>
                    <a:pt x="66" y="165"/>
                  </a:lnTo>
                  <a:lnTo>
                    <a:pt x="66" y="163"/>
                  </a:lnTo>
                  <a:lnTo>
                    <a:pt x="68" y="161"/>
                  </a:lnTo>
                  <a:lnTo>
                    <a:pt x="73" y="158"/>
                  </a:lnTo>
                  <a:lnTo>
                    <a:pt x="75" y="158"/>
                  </a:lnTo>
                  <a:lnTo>
                    <a:pt x="77" y="158"/>
                  </a:lnTo>
                  <a:lnTo>
                    <a:pt x="80" y="161"/>
                  </a:lnTo>
                  <a:lnTo>
                    <a:pt x="80" y="161"/>
                  </a:lnTo>
                  <a:lnTo>
                    <a:pt x="82" y="161"/>
                  </a:lnTo>
                  <a:lnTo>
                    <a:pt x="82" y="161"/>
                  </a:lnTo>
                  <a:lnTo>
                    <a:pt x="84" y="161"/>
                  </a:lnTo>
                  <a:lnTo>
                    <a:pt x="89" y="161"/>
                  </a:lnTo>
                  <a:lnTo>
                    <a:pt x="89" y="161"/>
                  </a:lnTo>
                  <a:lnTo>
                    <a:pt x="89" y="161"/>
                  </a:lnTo>
                  <a:lnTo>
                    <a:pt x="89" y="161"/>
                  </a:lnTo>
                  <a:lnTo>
                    <a:pt x="89" y="158"/>
                  </a:lnTo>
                  <a:lnTo>
                    <a:pt x="92" y="158"/>
                  </a:lnTo>
                  <a:lnTo>
                    <a:pt x="94" y="158"/>
                  </a:lnTo>
                  <a:lnTo>
                    <a:pt x="96" y="158"/>
                  </a:lnTo>
                  <a:lnTo>
                    <a:pt x="96" y="158"/>
                  </a:lnTo>
                  <a:lnTo>
                    <a:pt x="101" y="156"/>
                  </a:lnTo>
                  <a:lnTo>
                    <a:pt x="99" y="156"/>
                  </a:lnTo>
                  <a:lnTo>
                    <a:pt x="101" y="156"/>
                  </a:lnTo>
                  <a:lnTo>
                    <a:pt x="103" y="156"/>
                  </a:lnTo>
                  <a:lnTo>
                    <a:pt x="106" y="156"/>
                  </a:lnTo>
                  <a:lnTo>
                    <a:pt x="108" y="158"/>
                  </a:lnTo>
                  <a:lnTo>
                    <a:pt x="108" y="158"/>
                  </a:lnTo>
                  <a:lnTo>
                    <a:pt x="115" y="156"/>
                  </a:lnTo>
                  <a:lnTo>
                    <a:pt x="117" y="156"/>
                  </a:lnTo>
                  <a:lnTo>
                    <a:pt x="125" y="158"/>
                  </a:lnTo>
                  <a:lnTo>
                    <a:pt x="127" y="158"/>
                  </a:lnTo>
                  <a:lnTo>
                    <a:pt x="129" y="156"/>
                  </a:lnTo>
                  <a:lnTo>
                    <a:pt x="129" y="156"/>
                  </a:lnTo>
                  <a:lnTo>
                    <a:pt x="134" y="156"/>
                  </a:lnTo>
                  <a:lnTo>
                    <a:pt x="134" y="154"/>
                  </a:lnTo>
                  <a:lnTo>
                    <a:pt x="136" y="154"/>
                  </a:lnTo>
                  <a:lnTo>
                    <a:pt x="139" y="154"/>
                  </a:lnTo>
                  <a:lnTo>
                    <a:pt x="139" y="151"/>
                  </a:lnTo>
                  <a:lnTo>
                    <a:pt x="143" y="149"/>
                  </a:lnTo>
                  <a:lnTo>
                    <a:pt x="146" y="149"/>
                  </a:lnTo>
                  <a:lnTo>
                    <a:pt x="146" y="146"/>
                  </a:lnTo>
                  <a:lnTo>
                    <a:pt x="146" y="146"/>
                  </a:lnTo>
                  <a:lnTo>
                    <a:pt x="143" y="144"/>
                  </a:lnTo>
                  <a:lnTo>
                    <a:pt x="143" y="144"/>
                  </a:lnTo>
                  <a:lnTo>
                    <a:pt x="139" y="146"/>
                  </a:lnTo>
                  <a:lnTo>
                    <a:pt x="136" y="146"/>
                  </a:lnTo>
                  <a:lnTo>
                    <a:pt x="134" y="144"/>
                  </a:lnTo>
                  <a:lnTo>
                    <a:pt x="134" y="144"/>
                  </a:lnTo>
                  <a:lnTo>
                    <a:pt x="132" y="144"/>
                  </a:lnTo>
                  <a:lnTo>
                    <a:pt x="132" y="144"/>
                  </a:lnTo>
                  <a:lnTo>
                    <a:pt x="129" y="144"/>
                  </a:lnTo>
                  <a:lnTo>
                    <a:pt x="132" y="142"/>
                  </a:lnTo>
                  <a:lnTo>
                    <a:pt x="132" y="142"/>
                  </a:lnTo>
                  <a:lnTo>
                    <a:pt x="134" y="142"/>
                  </a:lnTo>
                  <a:lnTo>
                    <a:pt x="136" y="142"/>
                  </a:lnTo>
                  <a:lnTo>
                    <a:pt x="136" y="142"/>
                  </a:lnTo>
                  <a:lnTo>
                    <a:pt x="139" y="139"/>
                  </a:lnTo>
                  <a:lnTo>
                    <a:pt x="136" y="139"/>
                  </a:lnTo>
                  <a:lnTo>
                    <a:pt x="134" y="137"/>
                  </a:lnTo>
                  <a:lnTo>
                    <a:pt x="139" y="137"/>
                  </a:lnTo>
                  <a:lnTo>
                    <a:pt x="141" y="137"/>
                  </a:lnTo>
                  <a:lnTo>
                    <a:pt x="141" y="137"/>
                  </a:lnTo>
                  <a:lnTo>
                    <a:pt x="143" y="135"/>
                  </a:lnTo>
                  <a:lnTo>
                    <a:pt x="143" y="135"/>
                  </a:lnTo>
                  <a:lnTo>
                    <a:pt x="143" y="135"/>
                  </a:lnTo>
                  <a:lnTo>
                    <a:pt x="143" y="132"/>
                  </a:lnTo>
                  <a:lnTo>
                    <a:pt x="143" y="132"/>
                  </a:lnTo>
                  <a:lnTo>
                    <a:pt x="143" y="132"/>
                  </a:lnTo>
                  <a:lnTo>
                    <a:pt x="146" y="132"/>
                  </a:lnTo>
                  <a:lnTo>
                    <a:pt x="148" y="130"/>
                  </a:lnTo>
                  <a:lnTo>
                    <a:pt x="148" y="130"/>
                  </a:lnTo>
                  <a:lnTo>
                    <a:pt x="148" y="130"/>
                  </a:lnTo>
                  <a:lnTo>
                    <a:pt x="150" y="128"/>
                  </a:lnTo>
                  <a:lnTo>
                    <a:pt x="150" y="125"/>
                  </a:lnTo>
                  <a:lnTo>
                    <a:pt x="153" y="123"/>
                  </a:lnTo>
                  <a:lnTo>
                    <a:pt x="153" y="120"/>
                  </a:lnTo>
                  <a:lnTo>
                    <a:pt x="150" y="11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9" name="Freeform 215"/>
            <p:cNvSpPr>
              <a:spLocks noEditPoints="1"/>
            </p:cNvSpPr>
            <p:nvPr userDrawn="1"/>
          </p:nvSpPr>
          <p:spPr bwMode="auto">
            <a:xfrm>
              <a:off x="4593" y="2257"/>
              <a:ext cx="85" cy="73"/>
            </a:xfrm>
            <a:custGeom>
              <a:avLst/>
              <a:gdLst>
                <a:gd name="T0" fmla="*/ 83 w 85"/>
                <a:gd name="T1" fmla="*/ 9 h 73"/>
                <a:gd name="T2" fmla="*/ 80 w 85"/>
                <a:gd name="T3" fmla="*/ 9 h 73"/>
                <a:gd name="T4" fmla="*/ 80 w 85"/>
                <a:gd name="T5" fmla="*/ 4 h 73"/>
                <a:gd name="T6" fmla="*/ 78 w 85"/>
                <a:gd name="T7" fmla="*/ 0 h 73"/>
                <a:gd name="T8" fmla="*/ 78 w 85"/>
                <a:gd name="T9" fmla="*/ 4 h 73"/>
                <a:gd name="T10" fmla="*/ 66 w 85"/>
                <a:gd name="T11" fmla="*/ 14 h 73"/>
                <a:gd name="T12" fmla="*/ 62 w 85"/>
                <a:gd name="T13" fmla="*/ 21 h 73"/>
                <a:gd name="T14" fmla="*/ 54 w 85"/>
                <a:gd name="T15" fmla="*/ 30 h 73"/>
                <a:gd name="T16" fmla="*/ 52 w 85"/>
                <a:gd name="T17" fmla="*/ 35 h 73"/>
                <a:gd name="T18" fmla="*/ 50 w 85"/>
                <a:gd name="T19" fmla="*/ 38 h 73"/>
                <a:gd name="T20" fmla="*/ 40 w 85"/>
                <a:gd name="T21" fmla="*/ 42 h 73"/>
                <a:gd name="T22" fmla="*/ 19 w 85"/>
                <a:gd name="T23" fmla="*/ 40 h 73"/>
                <a:gd name="T24" fmla="*/ 10 w 85"/>
                <a:gd name="T25" fmla="*/ 45 h 73"/>
                <a:gd name="T26" fmla="*/ 3 w 85"/>
                <a:gd name="T27" fmla="*/ 42 h 73"/>
                <a:gd name="T28" fmla="*/ 0 w 85"/>
                <a:gd name="T29" fmla="*/ 40 h 73"/>
                <a:gd name="T30" fmla="*/ 0 w 85"/>
                <a:gd name="T31" fmla="*/ 38 h 73"/>
                <a:gd name="T32" fmla="*/ 0 w 85"/>
                <a:gd name="T33" fmla="*/ 42 h 73"/>
                <a:gd name="T34" fmla="*/ 3 w 85"/>
                <a:gd name="T35" fmla="*/ 47 h 73"/>
                <a:gd name="T36" fmla="*/ 7 w 85"/>
                <a:gd name="T37" fmla="*/ 49 h 73"/>
                <a:gd name="T38" fmla="*/ 10 w 85"/>
                <a:gd name="T39" fmla="*/ 54 h 73"/>
                <a:gd name="T40" fmla="*/ 12 w 85"/>
                <a:gd name="T41" fmla="*/ 59 h 73"/>
                <a:gd name="T42" fmla="*/ 17 w 85"/>
                <a:gd name="T43" fmla="*/ 64 h 73"/>
                <a:gd name="T44" fmla="*/ 22 w 85"/>
                <a:gd name="T45" fmla="*/ 66 h 73"/>
                <a:gd name="T46" fmla="*/ 24 w 85"/>
                <a:gd name="T47" fmla="*/ 68 h 73"/>
                <a:gd name="T48" fmla="*/ 36 w 85"/>
                <a:gd name="T49" fmla="*/ 68 h 73"/>
                <a:gd name="T50" fmla="*/ 47 w 85"/>
                <a:gd name="T51" fmla="*/ 71 h 73"/>
                <a:gd name="T52" fmla="*/ 57 w 85"/>
                <a:gd name="T53" fmla="*/ 73 h 73"/>
                <a:gd name="T54" fmla="*/ 64 w 85"/>
                <a:gd name="T55" fmla="*/ 73 h 73"/>
                <a:gd name="T56" fmla="*/ 66 w 85"/>
                <a:gd name="T57" fmla="*/ 73 h 73"/>
                <a:gd name="T58" fmla="*/ 66 w 85"/>
                <a:gd name="T59" fmla="*/ 66 h 73"/>
                <a:gd name="T60" fmla="*/ 69 w 85"/>
                <a:gd name="T61" fmla="*/ 56 h 73"/>
                <a:gd name="T62" fmla="*/ 71 w 85"/>
                <a:gd name="T63" fmla="*/ 49 h 73"/>
                <a:gd name="T64" fmla="*/ 71 w 85"/>
                <a:gd name="T65" fmla="*/ 47 h 73"/>
                <a:gd name="T66" fmla="*/ 76 w 85"/>
                <a:gd name="T67" fmla="*/ 45 h 73"/>
                <a:gd name="T68" fmla="*/ 80 w 85"/>
                <a:gd name="T69" fmla="*/ 42 h 73"/>
                <a:gd name="T70" fmla="*/ 78 w 85"/>
                <a:gd name="T71" fmla="*/ 40 h 73"/>
                <a:gd name="T72" fmla="*/ 76 w 85"/>
                <a:gd name="T73" fmla="*/ 38 h 73"/>
                <a:gd name="T74" fmla="*/ 76 w 85"/>
                <a:gd name="T75" fmla="*/ 33 h 73"/>
                <a:gd name="T76" fmla="*/ 76 w 85"/>
                <a:gd name="T77" fmla="*/ 30 h 73"/>
                <a:gd name="T78" fmla="*/ 76 w 85"/>
                <a:gd name="T79" fmla="*/ 26 h 73"/>
                <a:gd name="T80" fmla="*/ 78 w 85"/>
                <a:gd name="T81" fmla="*/ 23 h 73"/>
                <a:gd name="T82" fmla="*/ 78 w 85"/>
                <a:gd name="T83" fmla="*/ 26 h 73"/>
                <a:gd name="T84" fmla="*/ 78 w 85"/>
                <a:gd name="T85" fmla="*/ 28 h 73"/>
                <a:gd name="T86" fmla="*/ 80 w 85"/>
                <a:gd name="T87" fmla="*/ 28 h 73"/>
                <a:gd name="T88" fmla="*/ 85 w 85"/>
                <a:gd name="T89" fmla="*/ 23 h 73"/>
                <a:gd name="T90" fmla="*/ 85 w 85"/>
                <a:gd name="T91" fmla="*/ 23 h 73"/>
                <a:gd name="T92" fmla="*/ 83 w 85"/>
                <a:gd name="T93" fmla="*/ 19 h 73"/>
                <a:gd name="T94" fmla="*/ 83 w 85"/>
                <a:gd name="T95"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5" h="73">
                  <a:moveTo>
                    <a:pt x="85" y="23"/>
                  </a:moveTo>
                  <a:lnTo>
                    <a:pt x="83" y="12"/>
                  </a:lnTo>
                  <a:lnTo>
                    <a:pt x="83" y="9"/>
                  </a:lnTo>
                  <a:lnTo>
                    <a:pt x="83" y="9"/>
                  </a:lnTo>
                  <a:lnTo>
                    <a:pt x="83" y="9"/>
                  </a:lnTo>
                  <a:lnTo>
                    <a:pt x="80" y="9"/>
                  </a:lnTo>
                  <a:lnTo>
                    <a:pt x="80" y="9"/>
                  </a:lnTo>
                  <a:lnTo>
                    <a:pt x="80" y="7"/>
                  </a:lnTo>
                  <a:lnTo>
                    <a:pt x="80" y="4"/>
                  </a:lnTo>
                  <a:lnTo>
                    <a:pt x="80" y="2"/>
                  </a:lnTo>
                  <a:lnTo>
                    <a:pt x="80" y="0"/>
                  </a:lnTo>
                  <a:lnTo>
                    <a:pt x="78" y="0"/>
                  </a:lnTo>
                  <a:lnTo>
                    <a:pt x="78" y="0"/>
                  </a:lnTo>
                  <a:lnTo>
                    <a:pt x="78" y="0"/>
                  </a:lnTo>
                  <a:lnTo>
                    <a:pt x="78" y="4"/>
                  </a:lnTo>
                  <a:lnTo>
                    <a:pt x="76" y="7"/>
                  </a:lnTo>
                  <a:lnTo>
                    <a:pt x="69" y="12"/>
                  </a:lnTo>
                  <a:lnTo>
                    <a:pt x="66" y="14"/>
                  </a:lnTo>
                  <a:lnTo>
                    <a:pt x="66" y="16"/>
                  </a:lnTo>
                  <a:lnTo>
                    <a:pt x="66" y="19"/>
                  </a:lnTo>
                  <a:lnTo>
                    <a:pt x="62" y="21"/>
                  </a:lnTo>
                  <a:lnTo>
                    <a:pt x="57" y="28"/>
                  </a:lnTo>
                  <a:lnTo>
                    <a:pt x="54" y="28"/>
                  </a:lnTo>
                  <a:lnTo>
                    <a:pt x="54" y="30"/>
                  </a:lnTo>
                  <a:lnTo>
                    <a:pt x="54" y="33"/>
                  </a:lnTo>
                  <a:lnTo>
                    <a:pt x="52" y="33"/>
                  </a:lnTo>
                  <a:lnTo>
                    <a:pt x="52" y="35"/>
                  </a:lnTo>
                  <a:lnTo>
                    <a:pt x="52" y="38"/>
                  </a:lnTo>
                  <a:lnTo>
                    <a:pt x="50" y="38"/>
                  </a:lnTo>
                  <a:lnTo>
                    <a:pt x="50" y="38"/>
                  </a:lnTo>
                  <a:lnTo>
                    <a:pt x="47" y="40"/>
                  </a:lnTo>
                  <a:lnTo>
                    <a:pt x="43" y="42"/>
                  </a:lnTo>
                  <a:lnTo>
                    <a:pt x="40" y="42"/>
                  </a:lnTo>
                  <a:lnTo>
                    <a:pt x="31" y="42"/>
                  </a:lnTo>
                  <a:lnTo>
                    <a:pt x="26" y="40"/>
                  </a:lnTo>
                  <a:lnTo>
                    <a:pt x="19" y="40"/>
                  </a:lnTo>
                  <a:lnTo>
                    <a:pt x="17" y="42"/>
                  </a:lnTo>
                  <a:lnTo>
                    <a:pt x="12" y="45"/>
                  </a:lnTo>
                  <a:lnTo>
                    <a:pt x="10" y="45"/>
                  </a:lnTo>
                  <a:lnTo>
                    <a:pt x="5" y="45"/>
                  </a:lnTo>
                  <a:lnTo>
                    <a:pt x="5" y="45"/>
                  </a:lnTo>
                  <a:lnTo>
                    <a:pt x="3" y="42"/>
                  </a:lnTo>
                  <a:lnTo>
                    <a:pt x="3" y="38"/>
                  </a:lnTo>
                  <a:lnTo>
                    <a:pt x="3" y="38"/>
                  </a:lnTo>
                  <a:lnTo>
                    <a:pt x="0" y="40"/>
                  </a:lnTo>
                  <a:lnTo>
                    <a:pt x="0" y="38"/>
                  </a:lnTo>
                  <a:lnTo>
                    <a:pt x="0" y="38"/>
                  </a:lnTo>
                  <a:lnTo>
                    <a:pt x="0" y="38"/>
                  </a:lnTo>
                  <a:lnTo>
                    <a:pt x="0" y="38"/>
                  </a:lnTo>
                  <a:lnTo>
                    <a:pt x="0" y="42"/>
                  </a:lnTo>
                  <a:lnTo>
                    <a:pt x="0" y="42"/>
                  </a:lnTo>
                  <a:lnTo>
                    <a:pt x="0" y="42"/>
                  </a:lnTo>
                  <a:lnTo>
                    <a:pt x="3" y="45"/>
                  </a:lnTo>
                  <a:lnTo>
                    <a:pt x="3" y="47"/>
                  </a:lnTo>
                  <a:lnTo>
                    <a:pt x="5" y="47"/>
                  </a:lnTo>
                  <a:lnTo>
                    <a:pt x="5" y="49"/>
                  </a:lnTo>
                  <a:lnTo>
                    <a:pt x="7" y="49"/>
                  </a:lnTo>
                  <a:lnTo>
                    <a:pt x="7" y="52"/>
                  </a:lnTo>
                  <a:lnTo>
                    <a:pt x="7" y="54"/>
                  </a:lnTo>
                  <a:lnTo>
                    <a:pt x="10" y="54"/>
                  </a:lnTo>
                  <a:lnTo>
                    <a:pt x="10" y="56"/>
                  </a:lnTo>
                  <a:lnTo>
                    <a:pt x="12" y="56"/>
                  </a:lnTo>
                  <a:lnTo>
                    <a:pt x="12" y="59"/>
                  </a:lnTo>
                  <a:lnTo>
                    <a:pt x="14" y="61"/>
                  </a:lnTo>
                  <a:lnTo>
                    <a:pt x="17" y="64"/>
                  </a:lnTo>
                  <a:lnTo>
                    <a:pt x="17" y="64"/>
                  </a:lnTo>
                  <a:lnTo>
                    <a:pt x="19" y="66"/>
                  </a:lnTo>
                  <a:lnTo>
                    <a:pt x="19" y="66"/>
                  </a:lnTo>
                  <a:lnTo>
                    <a:pt x="22" y="66"/>
                  </a:lnTo>
                  <a:lnTo>
                    <a:pt x="22" y="66"/>
                  </a:lnTo>
                  <a:lnTo>
                    <a:pt x="22" y="66"/>
                  </a:lnTo>
                  <a:lnTo>
                    <a:pt x="24" y="68"/>
                  </a:lnTo>
                  <a:lnTo>
                    <a:pt x="29" y="68"/>
                  </a:lnTo>
                  <a:lnTo>
                    <a:pt x="31" y="68"/>
                  </a:lnTo>
                  <a:lnTo>
                    <a:pt x="36" y="68"/>
                  </a:lnTo>
                  <a:lnTo>
                    <a:pt x="38" y="68"/>
                  </a:lnTo>
                  <a:lnTo>
                    <a:pt x="43" y="71"/>
                  </a:lnTo>
                  <a:lnTo>
                    <a:pt x="47" y="71"/>
                  </a:lnTo>
                  <a:lnTo>
                    <a:pt x="50" y="71"/>
                  </a:lnTo>
                  <a:lnTo>
                    <a:pt x="54" y="71"/>
                  </a:lnTo>
                  <a:lnTo>
                    <a:pt x="57" y="73"/>
                  </a:lnTo>
                  <a:lnTo>
                    <a:pt x="62" y="73"/>
                  </a:lnTo>
                  <a:lnTo>
                    <a:pt x="62" y="73"/>
                  </a:lnTo>
                  <a:lnTo>
                    <a:pt x="64" y="73"/>
                  </a:lnTo>
                  <a:lnTo>
                    <a:pt x="64" y="73"/>
                  </a:lnTo>
                  <a:lnTo>
                    <a:pt x="66" y="73"/>
                  </a:lnTo>
                  <a:lnTo>
                    <a:pt x="66" y="73"/>
                  </a:lnTo>
                  <a:lnTo>
                    <a:pt x="66" y="71"/>
                  </a:lnTo>
                  <a:lnTo>
                    <a:pt x="66" y="68"/>
                  </a:lnTo>
                  <a:lnTo>
                    <a:pt x="66" y="66"/>
                  </a:lnTo>
                  <a:lnTo>
                    <a:pt x="66" y="64"/>
                  </a:lnTo>
                  <a:lnTo>
                    <a:pt x="69" y="61"/>
                  </a:lnTo>
                  <a:lnTo>
                    <a:pt x="69" y="56"/>
                  </a:lnTo>
                  <a:lnTo>
                    <a:pt x="71" y="54"/>
                  </a:lnTo>
                  <a:lnTo>
                    <a:pt x="71" y="52"/>
                  </a:lnTo>
                  <a:lnTo>
                    <a:pt x="71" y="49"/>
                  </a:lnTo>
                  <a:lnTo>
                    <a:pt x="71" y="47"/>
                  </a:lnTo>
                  <a:lnTo>
                    <a:pt x="71" y="47"/>
                  </a:lnTo>
                  <a:lnTo>
                    <a:pt x="71" y="47"/>
                  </a:lnTo>
                  <a:lnTo>
                    <a:pt x="71" y="45"/>
                  </a:lnTo>
                  <a:lnTo>
                    <a:pt x="71" y="45"/>
                  </a:lnTo>
                  <a:lnTo>
                    <a:pt x="76" y="45"/>
                  </a:lnTo>
                  <a:lnTo>
                    <a:pt x="76" y="45"/>
                  </a:lnTo>
                  <a:lnTo>
                    <a:pt x="78" y="42"/>
                  </a:lnTo>
                  <a:lnTo>
                    <a:pt x="80" y="42"/>
                  </a:lnTo>
                  <a:lnTo>
                    <a:pt x="80" y="42"/>
                  </a:lnTo>
                  <a:lnTo>
                    <a:pt x="80" y="40"/>
                  </a:lnTo>
                  <a:lnTo>
                    <a:pt x="78" y="40"/>
                  </a:lnTo>
                  <a:lnTo>
                    <a:pt x="76" y="40"/>
                  </a:lnTo>
                  <a:lnTo>
                    <a:pt x="76" y="40"/>
                  </a:lnTo>
                  <a:lnTo>
                    <a:pt x="76" y="38"/>
                  </a:lnTo>
                  <a:lnTo>
                    <a:pt x="76" y="35"/>
                  </a:lnTo>
                  <a:lnTo>
                    <a:pt x="76" y="35"/>
                  </a:lnTo>
                  <a:lnTo>
                    <a:pt x="76" y="33"/>
                  </a:lnTo>
                  <a:lnTo>
                    <a:pt x="76" y="33"/>
                  </a:lnTo>
                  <a:lnTo>
                    <a:pt x="76" y="30"/>
                  </a:lnTo>
                  <a:lnTo>
                    <a:pt x="76" y="30"/>
                  </a:lnTo>
                  <a:lnTo>
                    <a:pt x="76" y="28"/>
                  </a:lnTo>
                  <a:lnTo>
                    <a:pt x="76" y="26"/>
                  </a:lnTo>
                  <a:lnTo>
                    <a:pt x="76" y="26"/>
                  </a:lnTo>
                  <a:lnTo>
                    <a:pt x="76" y="23"/>
                  </a:lnTo>
                  <a:lnTo>
                    <a:pt x="78" y="23"/>
                  </a:lnTo>
                  <a:lnTo>
                    <a:pt x="78" y="23"/>
                  </a:lnTo>
                  <a:lnTo>
                    <a:pt x="78" y="23"/>
                  </a:lnTo>
                  <a:lnTo>
                    <a:pt x="78" y="26"/>
                  </a:lnTo>
                  <a:lnTo>
                    <a:pt x="78" y="26"/>
                  </a:lnTo>
                  <a:lnTo>
                    <a:pt x="78" y="26"/>
                  </a:lnTo>
                  <a:lnTo>
                    <a:pt x="78" y="26"/>
                  </a:lnTo>
                  <a:lnTo>
                    <a:pt x="78" y="28"/>
                  </a:lnTo>
                  <a:lnTo>
                    <a:pt x="80" y="28"/>
                  </a:lnTo>
                  <a:lnTo>
                    <a:pt x="80" y="28"/>
                  </a:lnTo>
                  <a:lnTo>
                    <a:pt x="80" y="28"/>
                  </a:lnTo>
                  <a:lnTo>
                    <a:pt x="83" y="26"/>
                  </a:lnTo>
                  <a:lnTo>
                    <a:pt x="83" y="26"/>
                  </a:lnTo>
                  <a:lnTo>
                    <a:pt x="85" y="23"/>
                  </a:lnTo>
                  <a:lnTo>
                    <a:pt x="85" y="23"/>
                  </a:lnTo>
                  <a:lnTo>
                    <a:pt x="85" y="23"/>
                  </a:lnTo>
                  <a:lnTo>
                    <a:pt x="85" y="23"/>
                  </a:lnTo>
                  <a:close/>
                  <a:moveTo>
                    <a:pt x="83" y="19"/>
                  </a:moveTo>
                  <a:lnTo>
                    <a:pt x="83" y="19"/>
                  </a:lnTo>
                  <a:lnTo>
                    <a:pt x="83" y="19"/>
                  </a:lnTo>
                  <a:lnTo>
                    <a:pt x="83" y="16"/>
                  </a:lnTo>
                  <a:lnTo>
                    <a:pt x="83" y="16"/>
                  </a:lnTo>
                  <a:lnTo>
                    <a:pt x="83" y="16"/>
                  </a:lnTo>
                  <a:lnTo>
                    <a:pt x="83" y="16"/>
                  </a:lnTo>
                  <a:lnTo>
                    <a:pt x="83"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0" name="Freeform 216"/>
            <p:cNvSpPr>
              <a:spLocks noEditPoints="1"/>
            </p:cNvSpPr>
            <p:nvPr userDrawn="1"/>
          </p:nvSpPr>
          <p:spPr bwMode="auto">
            <a:xfrm>
              <a:off x="4039" y="1708"/>
              <a:ext cx="290" cy="166"/>
            </a:xfrm>
            <a:custGeom>
              <a:avLst/>
              <a:gdLst>
                <a:gd name="T0" fmla="*/ 290 w 290"/>
                <a:gd name="T1" fmla="*/ 83 h 166"/>
                <a:gd name="T2" fmla="*/ 286 w 290"/>
                <a:gd name="T3" fmla="*/ 76 h 166"/>
                <a:gd name="T4" fmla="*/ 283 w 290"/>
                <a:gd name="T5" fmla="*/ 69 h 166"/>
                <a:gd name="T6" fmla="*/ 288 w 290"/>
                <a:gd name="T7" fmla="*/ 57 h 166"/>
                <a:gd name="T8" fmla="*/ 274 w 290"/>
                <a:gd name="T9" fmla="*/ 52 h 166"/>
                <a:gd name="T10" fmla="*/ 257 w 290"/>
                <a:gd name="T11" fmla="*/ 50 h 166"/>
                <a:gd name="T12" fmla="*/ 241 w 290"/>
                <a:gd name="T13" fmla="*/ 40 h 166"/>
                <a:gd name="T14" fmla="*/ 224 w 290"/>
                <a:gd name="T15" fmla="*/ 43 h 166"/>
                <a:gd name="T16" fmla="*/ 210 w 290"/>
                <a:gd name="T17" fmla="*/ 36 h 166"/>
                <a:gd name="T18" fmla="*/ 208 w 290"/>
                <a:gd name="T19" fmla="*/ 26 h 166"/>
                <a:gd name="T20" fmla="*/ 194 w 290"/>
                <a:gd name="T21" fmla="*/ 24 h 166"/>
                <a:gd name="T22" fmla="*/ 187 w 290"/>
                <a:gd name="T23" fmla="*/ 14 h 166"/>
                <a:gd name="T24" fmla="*/ 177 w 290"/>
                <a:gd name="T25" fmla="*/ 0 h 166"/>
                <a:gd name="T26" fmla="*/ 156 w 290"/>
                <a:gd name="T27" fmla="*/ 5 h 166"/>
                <a:gd name="T28" fmla="*/ 139 w 290"/>
                <a:gd name="T29" fmla="*/ 7 h 166"/>
                <a:gd name="T30" fmla="*/ 132 w 290"/>
                <a:gd name="T31" fmla="*/ 19 h 166"/>
                <a:gd name="T32" fmla="*/ 116 w 290"/>
                <a:gd name="T33" fmla="*/ 19 h 166"/>
                <a:gd name="T34" fmla="*/ 104 w 290"/>
                <a:gd name="T35" fmla="*/ 17 h 166"/>
                <a:gd name="T36" fmla="*/ 92 w 290"/>
                <a:gd name="T37" fmla="*/ 14 h 166"/>
                <a:gd name="T38" fmla="*/ 83 w 290"/>
                <a:gd name="T39" fmla="*/ 17 h 166"/>
                <a:gd name="T40" fmla="*/ 64 w 290"/>
                <a:gd name="T41" fmla="*/ 10 h 166"/>
                <a:gd name="T42" fmla="*/ 33 w 290"/>
                <a:gd name="T43" fmla="*/ 10 h 166"/>
                <a:gd name="T44" fmla="*/ 19 w 290"/>
                <a:gd name="T45" fmla="*/ 14 h 166"/>
                <a:gd name="T46" fmla="*/ 29 w 290"/>
                <a:gd name="T47" fmla="*/ 31 h 166"/>
                <a:gd name="T48" fmla="*/ 26 w 290"/>
                <a:gd name="T49" fmla="*/ 38 h 166"/>
                <a:gd name="T50" fmla="*/ 8 w 290"/>
                <a:gd name="T51" fmla="*/ 57 h 166"/>
                <a:gd name="T52" fmla="*/ 10 w 290"/>
                <a:gd name="T53" fmla="*/ 69 h 166"/>
                <a:gd name="T54" fmla="*/ 0 w 290"/>
                <a:gd name="T55" fmla="*/ 81 h 166"/>
                <a:gd name="T56" fmla="*/ 8 w 290"/>
                <a:gd name="T57" fmla="*/ 88 h 166"/>
                <a:gd name="T58" fmla="*/ 12 w 290"/>
                <a:gd name="T59" fmla="*/ 90 h 166"/>
                <a:gd name="T60" fmla="*/ 31 w 290"/>
                <a:gd name="T61" fmla="*/ 90 h 166"/>
                <a:gd name="T62" fmla="*/ 50 w 290"/>
                <a:gd name="T63" fmla="*/ 95 h 166"/>
                <a:gd name="T64" fmla="*/ 74 w 290"/>
                <a:gd name="T65" fmla="*/ 83 h 166"/>
                <a:gd name="T66" fmla="*/ 88 w 290"/>
                <a:gd name="T67" fmla="*/ 81 h 166"/>
                <a:gd name="T68" fmla="*/ 102 w 290"/>
                <a:gd name="T69" fmla="*/ 85 h 166"/>
                <a:gd name="T70" fmla="*/ 114 w 290"/>
                <a:gd name="T71" fmla="*/ 90 h 166"/>
                <a:gd name="T72" fmla="*/ 116 w 290"/>
                <a:gd name="T73" fmla="*/ 102 h 166"/>
                <a:gd name="T74" fmla="*/ 123 w 290"/>
                <a:gd name="T75" fmla="*/ 109 h 166"/>
                <a:gd name="T76" fmla="*/ 135 w 290"/>
                <a:gd name="T77" fmla="*/ 123 h 166"/>
                <a:gd name="T78" fmla="*/ 123 w 290"/>
                <a:gd name="T79" fmla="*/ 121 h 166"/>
                <a:gd name="T80" fmla="*/ 116 w 290"/>
                <a:gd name="T81" fmla="*/ 121 h 166"/>
                <a:gd name="T82" fmla="*/ 109 w 290"/>
                <a:gd name="T83" fmla="*/ 137 h 166"/>
                <a:gd name="T84" fmla="*/ 109 w 290"/>
                <a:gd name="T85" fmla="*/ 144 h 166"/>
                <a:gd name="T86" fmla="*/ 125 w 290"/>
                <a:gd name="T87" fmla="*/ 142 h 166"/>
                <a:gd name="T88" fmla="*/ 132 w 290"/>
                <a:gd name="T89" fmla="*/ 135 h 166"/>
                <a:gd name="T90" fmla="*/ 151 w 290"/>
                <a:gd name="T91" fmla="*/ 118 h 166"/>
                <a:gd name="T92" fmla="*/ 161 w 290"/>
                <a:gd name="T93" fmla="*/ 109 h 166"/>
                <a:gd name="T94" fmla="*/ 170 w 290"/>
                <a:gd name="T95" fmla="*/ 118 h 166"/>
                <a:gd name="T96" fmla="*/ 163 w 290"/>
                <a:gd name="T97" fmla="*/ 121 h 166"/>
                <a:gd name="T98" fmla="*/ 175 w 290"/>
                <a:gd name="T99" fmla="*/ 128 h 166"/>
                <a:gd name="T100" fmla="*/ 189 w 290"/>
                <a:gd name="T101" fmla="*/ 135 h 166"/>
                <a:gd name="T102" fmla="*/ 194 w 290"/>
                <a:gd name="T103" fmla="*/ 149 h 166"/>
                <a:gd name="T104" fmla="*/ 208 w 290"/>
                <a:gd name="T105" fmla="*/ 163 h 166"/>
                <a:gd name="T106" fmla="*/ 231 w 290"/>
                <a:gd name="T107" fmla="*/ 152 h 166"/>
                <a:gd name="T108" fmla="*/ 236 w 290"/>
                <a:gd name="T109" fmla="*/ 142 h 166"/>
                <a:gd name="T110" fmla="*/ 213 w 290"/>
                <a:gd name="T111" fmla="*/ 130 h 166"/>
                <a:gd name="T112" fmla="*/ 217 w 290"/>
                <a:gd name="T113" fmla="*/ 128 h 166"/>
                <a:gd name="T114" fmla="*/ 241 w 290"/>
                <a:gd name="T115" fmla="*/ 116 h 166"/>
                <a:gd name="T116" fmla="*/ 264 w 290"/>
                <a:gd name="T117" fmla="*/ 107 h 166"/>
                <a:gd name="T118" fmla="*/ 267 w 290"/>
                <a:gd name="T119" fmla="*/ 100 h 166"/>
                <a:gd name="T120" fmla="*/ 288 w 290"/>
                <a:gd name="T121" fmla="*/ 9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 h="166">
                  <a:moveTo>
                    <a:pt x="161" y="126"/>
                  </a:moveTo>
                  <a:lnTo>
                    <a:pt x="158" y="126"/>
                  </a:lnTo>
                  <a:lnTo>
                    <a:pt x="158" y="123"/>
                  </a:lnTo>
                  <a:lnTo>
                    <a:pt x="158" y="126"/>
                  </a:lnTo>
                  <a:lnTo>
                    <a:pt x="158" y="126"/>
                  </a:lnTo>
                  <a:lnTo>
                    <a:pt x="161" y="126"/>
                  </a:lnTo>
                  <a:lnTo>
                    <a:pt x="165" y="128"/>
                  </a:lnTo>
                  <a:lnTo>
                    <a:pt x="168" y="128"/>
                  </a:lnTo>
                  <a:lnTo>
                    <a:pt x="165" y="126"/>
                  </a:lnTo>
                  <a:lnTo>
                    <a:pt x="161" y="126"/>
                  </a:lnTo>
                  <a:close/>
                  <a:moveTo>
                    <a:pt x="290" y="83"/>
                  </a:moveTo>
                  <a:lnTo>
                    <a:pt x="290" y="83"/>
                  </a:lnTo>
                  <a:lnTo>
                    <a:pt x="290" y="83"/>
                  </a:lnTo>
                  <a:lnTo>
                    <a:pt x="290" y="83"/>
                  </a:lnTo>
                  <a:lnTo>
                    <a:pt x="288" y="83"/>
                  </a:lnTo>
                  <a:lnTo>
                    <a:pt x="290" y="83"/>
                  </a:lnTo>
                  <a:lnTo>
                    <a:pt x="290" y="81"/>
                  </a:lnTo>
                  <a:lnTo>
                    <a:pt x="288" y="81"/>
                  </a:lnTo>
                  <a:lnTo>
                    <a:pt x="288" y="78"/>
                  </a:lnTo>
                  <a:lnTo>
                    <a:pt x="288" y="78"/>
                  </a:lnTo>
                  <a:lnTo>
                    <a:pt x="286" y="78"/>
                  </a:lnTo>
                  <a:lnTo>
                    <a:pt x="286" y="76"/>
                  </a:lnTo>
                  <a:lnTo>
                    <a:pt x="286" y="73"/>
                  </a:lnTo>
                  <a:lnTo>
                    <a:pt x="286" y="73"/>
                  </a:lnTo>
                  <a:lnTo>
                    <a:pt x="286" y="73"/>
                  </a:lnTo>
                  <a:lnTo>
                    <a:pt x="288" y="73"/>
                  </a:lnTo>
                  <a:lnTo>
                    <a:pt x="290" y="73"/>
                  </a:lnTo>
                  <a:lnTo>
                    <a:pt x="290" y="73"/>
                  </a:lnTo>
                  <a:lnTo>
                    <a:pt x="290" y="71"/>
                  </a:lnTo>
                  <a:lnTo>
                    <a:pt x="288" y="71"/>
                  </a:lnTo>
                  <a:lnTo>
                    <a:pt x="286" y="71"/>
                  </a:lnTo>
                  <a:lnTo>
                    <a:pt x="286" y="69"/>
                  </a:lnTo>
                  <a:lnTo>
                    <a:pt x="283" y="69"/>
                  </a:lnTo>
                  <a:lnTo>
                    <a:pt x="286" y="69"/>
                  </a:lnTo>
                  <a:lnTo>
                    <a:pt x="288" y="66"/>
                  </a:lnTo>
                  <a:lnTo>
                    <a:pt x="288" y="66"/>
                  </a:lnTo>
                  <a:lnTo>
                    <a:pt x="290" y="64"/>
                  </a:lnTo>
                  <a:lnTo>
                    <a:pt x="290" y="64"/>
                  </a:lnTo>
                  <a:lnTo>
                    <a:pt x="290" y="62"/>
                  </a:lnTo>
                  <a:lnTo>
                    <a:pt x="290" y="62"/>
                  </a:lnTo>
                  <a:lnTo>
                    <a:pt x="288" y="59"/>
                  </a:lnTo>
                  <a:lnTo>
                    <a:pt x="288" y="59"/>
                  </a:lnTo>
                  <a:lnTo>
                    <a:pt x="290" y="57"/>
                  </a:lnTo>
                  <a:lnTo>
                    <a:pt x="288" y="57"/>
                  </a:lnTo>
                  <a:lnTo>
                    <a:pt x="288" y="57"/>
                  </a:lnTo>
                  <a:lnTo>
                    <a:pt x="288" y="57"/>
                  </a:lnTo>
                  <a:lnTo>
                    <a:pt x="286" y="57"/>
                  </a:lnTo>
                  <a:lnTo>
                    <a:pt x="283" y="57"/>
                  </a:lnTo>
                  <a:lnTo>
                    <a:pt x="281" y="55"/>
                  </a:lnTo>
                  <a:lnTo>
                    <a:pt x="279" y="55"/>
                  </a:lnTo>
                  <a:lnTo>
                    <a:pt x="276" y="55"/>
                  </a:lnTo>
                  <a:lnTo>
                    <a:pt x="276" y="55"/>
                  </a:lnTo>
                  <a:lnTo>
                    <a:pt x="274" y="52"/>
                  </a:lnTo>
                  <a:lnTo>
                    <a:pt x="274" y="52"/>
                  </a:lnTo>
                  <a:lnTo>
                    <a:pt x="274" y="52"/>
                  </a:lnTo>
                  <a:lnTo>
                    <a:pt x="271" y="52"/>
                  </a:lnTo>
                  <a:lnTo>
                    <a:pt x="271" y="52"/>
                  </a:lnTo>
                  <a:lnTo>
                    <a:pt x="269" y="52"/>
                  </a:lnTo>
                  <a:lnTo>
                    <a:pt x="267" y="50"/>
                  </a:lnTo>
                  <a:lnTo>
                    <a:pt x="264" y="50"/>
                  </a:lnTo>
                  <a:lnTo>
                    <a:pt x="262" y="50"/>
                  </a:lnTo>
                  <a:lnTo>
                    <a:pt x="262" y="50"/>
                  </a:lnTo>
                  <a:lnTo>
                    <a:pt x="257" y="47"/>
                  </a:lnTo>
                  <a:lnTo>
                    <a:pt x="257" y="47"/>
                  </a:lnTo>
                  <a:lnTo>
                    <a:pt x="257" y="47"/>
                  </a:lnTo>
                  <a:lnTo>
                    <a:pt x="257" y="50"/>
                  </a:lnTo>
                  <a:lnTo>
                    <a:pt x="257" y="50"/>
                  </a:lnTo>
                  <a:lnTo>
                    <a:pt x="255" y="50"/>
                  </a:lnTo>
                  <a:lnTo>
                    <a:pt x="255" y="50"/>
                  </a:lnTo>
                  <a:lnTo>
                    <a:pt x="253" y="50"/>
                  </a:lnTo>
                  <a:lnTo>
                    <a:pt x="248" y="45"/>
                  </a:lnTo>
                  <a:lnTo>
                    <a:pt x="248" y="43"/>
                  </a:lnTo>
                  <a:lnTo>
                    <a:pt x="246" y="43"/>
                  </a:lnTo>
                  <a:lnTo>
                    <a:pt x="246" y="40"/>
                  </a:lnTo>
                  <a:lnTo>
                    <a:pt x="243" y="40"/>
                  </a:lnTo>
                  <a:lnTo>
                    <a:pt x="243" y="40"/>
                  </a:lnTo>
                  <a:lnTo>
                    <a:pt x="241" y="40"/>
                  </a:lnTo>
                  <a:lnTo>
                    <a:pt x="238" y="40"/>
                  </a:lnTo>
                  <a:lnTo>
                    <a:pt x="238" y="40"/>
                  </a:lnTo>
                  <a:lnTo>
                    <a:pt x="236" y="40"/>
                  </a:lnTo>
                  <a:lnTo>
                    <a:pt x="234" y="43"/>
                  </a:lnTo>
                  <a:lnTo>
                    <a:pt x="231" y="43"/>
                  </a:lnTo>
                  <a:lnTo>
                    <a:pt x="231" y="45"/>
                  </a:lnTo>
                  <a:lnTo>
                    <a:pt x="229" y="43"/>
                  </a:lnTo>
                  <a:lnTo>
                    <a:pt x="229" y="43"/>
                  </a:lnTo>
                  <a:lnTo>
                    <a:pt x="227" y="43"/>
                  </a:lnTo>
                  <a:lnTo>
                    <a:pt x="227" y="43"/>
                  </a:lnTo>
                  <a:lnTo>
                    <a:pt x="224" y="43"/>
                  </a:lnTo>
                  <a:lnTo>
                    <a:pt x="224" y="40"/>
                  </a:lnTo>
                  <a:lnTo>
                    <a:pt x="222" y="40"/>
                  </a:lnTo>
                  <a:lnTo>
                    <a:pt x="220" y="40"/>
                  </a:lnTo>
                  <a:lnTo>
                    <a:pt x="220" y="40"/>
                  </a:lnTo>
                  <a:lnTo>
                    <a:pt x="217" y="40"/>
                  </a:lnTo>
                  <a:lnTo>
                    <a:pt x="215" y="40"/>
                  </a:lnTo>
                  <a:lnTo>
                    <a:pt x="215" y="40"/>
                  </a:lnTo>
                  <a:lnTo>
                    <a:pt x="213" y="40"/>
                  </a:lnTo>
                  <a:lnTo>
                    <a:pt x="213" y="38"/>
                  </a:lnTo>
                  <a:lnTo>
                    <a:pt x="210" y="38"/>
                  </a:lnTo>
                  <a:lnTo>
                    <a:pt x="210" y="36"/>
                  </a:lnTo>
                  <a:lnTo>
                    <a:pt x="210" y="36"/>
                  </a:lnTo>
                  <a:lnTo>
                    <a:pt x="210" y="33"/>
                  </a:lnTo>
                  <a:lnTo>
                    <a:pt x="210" y="33"/>
                  </a:lnTo>
                  <a:lnTo>
                    <a:pt x="210" y="33"/>
                  </a:lnTo>
                  <a:lnTo>
                    <a:pt x="210" y="31"/>
                  </a:lnTo>
                  <a:lnTo>
                    <a:pt x="208" y="31"/>
                  </a:lnTo>
                  <a:lnTo>
                    <a:pt x="208" y="29"/>
                  </a:lnTo>
                  <a:lnTo>
                    <a:pt x="208" y="29"/>
                  </a:lnTo>
                  <a:lnTo>
                    <a:pt x="208" y="29"/>
                  </a:lnTo>
                  <a:lnTo>
                    <a:pt x="208" y="26"/>
                  </a:lnTo>
                  <a:lnTo>
                    <a:pt x="208" y="26"/>
                  </a:lnTo>
                  <a:lnTo>
                    <a:pt x="205" y="26"/>
                  </a:lnTo>
                  <a:lnTo>
                    <a:pt x="205" y="26"/>
                  </a:lnTo>
                  <a:lnTo>
                    <a:pt x="205" y="26"/>
                  </a:lnTo>
                  <a:lnTo>
                    <a:pt x="203" y="24"/>
                  </a:lnTo>
                  <a:lnTo>
                    <a:pt x="203" y="24"/>
                  </a:lnTo>
                  <a:lnTo>
                    <a:pt x="203" y="24"/>
                  </a:lnTo>
                  <a:lnTo>
                    <a:pt x="201" y="24"/>
                  </a:lnTo>
                  <a:lnTo>
                    <a:pt x="198" y="24"/>
                  </a:lnTo>
                  <a:lnTo>
                    <a:pt x="198" y="24"/>
                  </a:lnTo>
                  <a:lnTo>
                    <a:pt x="196" y="24"/>
                  </a:lnTo>
                  <a:lnTo>
                    <a:pt x="194" y="24"/>
                  </a:lnTo>
                  <a:lnTo>
                    <a:pt x="189" y="24"/>
                  </a:lnTo>
                  <a:lnTo>
                    <a:pt x="189" y="24"/>
                  </a:lnTo>
                  <a:lnTo>
                    <a:pt x="189" y="21"/>
                  </a:lnTo>
                  <a:lnTo>
                    <a:pt x="191" y="21"/>
                  </a:lnTo>
                  <a:lnTo>
                    <a:pt x="191" y="21"/>
                  </a:lnTo>
                  <a:lnTo>
                    <a:pt x="189" y="21"/>
                  </a:lnTo>
                  <a:lnTo>
                    <a:pt x="189" y="19"/>
                  </a:lnTo>
                  <a:lnTo>
                    <a:pt x="189" y="19"/>
                  </a:lnTo>
                  <a:lnTo>
                    <a:pt x="189" y="17"/>
                  </a:lnTo>
                  <a:lnTo>
                    <a:pt x="187" y="14"/>
                  </a:lnTo>
                  <a:lnTo>
                    <a:pt x="187" y="14"/>
                  </a:lnTo>
                  <a:lnTo>
                    <a:pt x="187" y="14"/>
                  </a:lnTo>
                  <a:lnTo>
                    <a:pt x="189" y="14"/>
                  </a:lnTo>
                  <a:lnTo>
                    <a:pt x="191" y="14"/>
                  </a:lnTo>
                  <a:lnTo>
                    <a:pt x="191" y="12"/>
                  </a:lnTo>
                  <a:lnTo>
                    <a:pt x="191" y="12"/>
                  </a:lnTo>
                  <a:lnTo>
                    <a:pt x="187" y="7"/>
                  </a:lnTo>
                  <a:lnTo>
                    <a:pt x="184" y="5"/>
                  </a:lnTo>
                  <a:lnTo>
                    <a:pt x="182" y="3"/>
                  </a:lnTo>
                  <a:lnTo>
                    <a:pt x="180" y="0"/>
                  </a:lnTo>
                  <a:lnTo>
                    <a:pt x="180" y="0"/>
                  </a:lnTo>
                  <a:lnTo>
                    <a:pt x="177" y="0"/>
                  </a:lnTo>
                  <a:lnTo>
                    <a:pt x="175" y="0"/>
                  </a:lnTo>
                  <a:lnTo>
                    <a:pt x="172" y="0"/>
                  </a:lnTo>
                  <a:lnTo>
                    <a:pt x="170" y="0"/>
                  </a:lnTo>
                  <a:lnTo>
                    <a:pt x="165" y="3"/>
                  </a:lnTo>
                  <a:lnTo>
                    <a:pt x="165" y="3"/>
                  </a:lnTo>
                  <a:lnTo>
                    <a:pt x="161" y="3"/>
                  </a:lnTo>
                  <a:lnTo>
                    <a:pt x="158" y="0"/>
                  </a:lnTo>
                  <a:lnTo>
                    <a:pt x="158" y="0"/>
                  </a:lnTo>
                  <a:lnTo>
                    <a:pt x="158" y="3"/>
                  </a:lnTo>
                  <a:lnTo>
                    <a:pt x="158" y="3"/>
                  </a:lnTo>
                  <a:lnTo>
                    <a:pt x="156" y="5"/>
                  </a:lnTo>
                  <a:lnTo>
                    <a:pt x="156" y="5"/>
                  </a:lnTo>
                  <a:lnTo>
                    <a:pt x="154" y="7"/>
                  </a:lnTo>
                  <a:lnTo>
                    <a:pt x="154" y="7"/>
                  </a:lnTo>
                  <a:lnTo>
                    <a:pt x="151" y="7"/>
                  </a:lnTo>
                  <a:lnTo>
                    <a:pt x="149" y="7"/>
                  </a:lnTo>
                  <a:lnTo>
                    <a:pt x="149" y="5"/>
                  </a:lnTo>
                  <a:lnTo>
                    <a:pt x="149" y="5"/>
                  </a:lnTo>
                  <a:lnTo>
                    <a:pt x="144" y="5"/>
                  </a:lnTo>
                  <a:lnTo>
                    <a:pt x="142" y="5"/>
                  </a:lnTo>
                  <a:lnTo>
                    <a:pt x="139" y="7"/>
                  </a:lnTo>
                  <a:lnTo>
                    <a:pt x="139" y="7"/>
                  </a:lnTo>
                  <a:lnTo>
                    <a:pt x="137" y="5"/>
                  </a:lnTo>
                  <a:lnTo>
                    <a:pt x="135" y="7"/>
                  </a:lnTo>
                  <a:lnTo>
                    <a:pt x="135" y="10"/>
                  </a:lnTo>
                  <a:lnTo>
                    <a:pt x="132" y="10"/>
                  </a:lnTo>
                  <a:lnTo>
                    <a:pt x="132" y="12"/>
                  </a:lnTo>
                  <a:lnTo>
                    <a:pt x="130" y="12"/>
                  </a:lnTo>
                  <a:lnTo>
                    <a:pt x="130" y="14"/>
                  </a:lnTo>
                  <a:lnTo>
                    <a:pt x="130" y="17"/>
                  </a:lnTo>
                  <a:lnTo>
                    <a:pt x="130" y="17"/>
                  </a:lnTo>
                  <a:lnTo>
                    <a:pt x="132" y="19"/>
                  </a:lnTo>
                  <a:lnTo>
                    <a:pt x="132" y="19"/>
                  </a:lnTo>
                  <a:lnTo>
                    <a:pt x="132" y="21"/>
                  </a:lnTo>
                  <a:lnTo>
                    <a:pt x="130" y="21"/>
                  </a:lnTo>
                  <a:lnTo>
                    <a:pt x="130" y="21"/>
                  </a:lnTo>
                  <a:lnTo>
                    <a:pt x="130" y="21"/>
                  </a:lnTo>
                  <a:lnTo>
                    <a:pt x="128" y="21"/>
                  </a:lnTo>
                  <a:lnTo>
                    <a:pt x="128" y="19"/>
                  </a:lnTo>
                  <a:lnTo>
                    <a:pt x="125" y="19"/>
                  </a:lnTo>
                  <a:lnTo>
                    <a:pt x="125" y="19"/>
                  </a:lnTo>
                  <a:lnTo>
                    <a:pt x="123" y="19"/>
                  </a:lnTo>
                  <a:lnTo>
                    <a:pt x="121" y="19"/>
                  </a:lnTo>
                  <a:lnTo>
                    <a:pt x="116" y="19"/>
                  </a:lnTo>
                  <a:lnTo>
                    <a:pt x="114" y="19"/>
                  </a:lnTo>
                  <a:lnTo>
                    <a:pt x="114" y="19"/>
                  </a:lnTo>
                  <a:lnTo>
                    <a:pt x="111" y="19"/>
                  </a:lnTo>
                  <a:lnTo>
                    <a:pt x="111" y="19"/>
                  </a:lnTo>
                  <a:lnTo>
                    <a:pt x="109" y="17"/>
                  </a:lnTo>
                  <a:lnTo>
                    <a:pt x="109" y="17"/>
                  </a:lnTo>
                  <a:lnTo>
                    <a:pt x="106" y="14"/>
                  </a:lnTo>
                  <a:lnTo>
                    <a:pt x="106" y="14"/>
                  </a:lnTo>
                  <a:lnTo>
                    <a:pt x="106" y="14"/>
                  </a:lnTo>
                  <a:lnTo>
                    <a:pt x="106" y="17"/>
                  </a:lnTo>
                  <a:lnTo>
                    <a:pt x="104" y="17"/>
                  </a:lnTo>
                  <a:lnTo>
                    <a:pt x="104" y="17"/>
                  </a:lnTo>
                  <a:lnTo>
                    <a:pt x="104" y="17"/>
                  </a:lnTo>
                  <a:lnTo>
                    <a:pt x="102" y="17"/>
                  </a:lnTo>
                  <a:lnTo>
                    <a:pt x="102" y="19"/>
                  </a:lnTo>
                  <a:lnTo>
                    <a:pt x="102" y="19"/>
                  </a:lnTo>
                  <a:lnTo>
                    <a:pt x="99" y="19"/>
                  </a:lnTo>
                  <a:lnTo>
                    <a:pt x="99" y="17"/>
                  </a:lnTo>
                  <a:lnTo>
                    <a:pt x="97" y="17"/>
                  </a:lnTo>
                  <a:lnTo>
                    <a:pt x="97" y="17"/>
                  </a:lnTo>
                  <a:lnTo>
                    <a:pt x="95" y="17"/>
                  </a:lnTo>
                  <a:lnTo>
                    <a:pt x="92" y="14"/>
                  </a:lnTo>
                  <a:lnTo>
                    <a:pt x="92" y="17"/>
                  </a:lnTo>
                  <a:lnTo>
                    <a:pt x="90" y="17"/>
                  </a:lnTo>
                  <a:lnTo>
                    <a:pt x="90" y="17"/>
                  </a:lnTo>
                  <a:lnTo>
                    <a:pt x="88" y="17"/>
                  </a:lnTo>
                  <a:lnTo>
                    <a:pt x="88" y="17"/>
                  </a:lnTo>
                  <a:lnTo>
                    <a:pt x="85" y="17"/>
                  </a:lnTo>
                  <a:lnTo>
                    <a:pt x="85" y="19"/>
                  </a:lnTo>
                  <a:lnTo>
                    <a:pt x="85" y="19"/>
                  </a:lnTo>
                  <a:lnTo>
                    <a:pt x="85" y="17"/>
                  </a:lnTo>
                  <a:lnTo>
                    <a:pt x="85" y="17"/>
                  </a:lnTo>
                  <a:lnTo>
                    <a:pt x="83" y="17"/>
                  </a:lnTo>
                  <a:lnTo>
                    <a:pt x="81" y="14"/>
                  </a:lnTo>
                  <a:lnTo>
                    <a:pt x="78" y="17"/>
                  </a:lnTo>
                  <a:lnTo>
                    <a:pt x="78" y="17"/>
                  </a:lnTo>
                  <a:lnTo>
                    <a:pt x="78" y="14"/>
                  </a:lnTo>
                  <a:lnTo>
                    <a:pt x="76" y="12"/>
                  </a:lnTo>
                  <a:lnTo>
                    <a:pt x="74" y="12"/>
                  </a:lnTo>
                  <a:lnTo>
                    <a:pt x="74" y="12"/>
                  </a:lnTo>
                  <a:lnTo>
                    <a:pt x="69" y="12"/>
                  </a:lnTo>
                  <a:lnTo>
                    <a:pt x="66" y="12"/>
                  </a:lnTo>
                  <a:lnTo>
                    <a:pt x="64" y="12"/>
                  </a:lnTo>
                  <a:lnTo>
                    <a:pt x="64" y="10"/>
                  </a:lnTo>
                  <a:lnTo>
                    <a:pt x="62" y="10"/>
                  </a:lnTo>
                  <a:lnTo>
                    <a:pt x="55" y="10"/>
                  </a:lnTo>
                  <a:lnTo>
                    <a:pt x="55" y="10"/>
                  </a:lnTo>
                  <a:lnTo>
                    <a:pt x="50" y="10"/>
                  </a:lnTo>
                  <a:lnTo>
                    <a:pt x="45" y="10"/>
                  </a:lnTo>
                  <a:lnTo>
                    <a:pt x="43" y="10"/>
                  </a:lnTo>
                  <a:lnTo>
                    <a:pt x="41" y="10"/>
                  </a:lnTo>
                  <a:lnTo>
                    <a:pt x="38" y="10"/>
                  </a:lnTo>
                  <a:lnTo>
                    <a:pt x="36" y="10"/>
                  </a:lnTo>
                  <a:lnTo>
                    <a:pt x="36" y="10"/>
                  </a:lnTo>
                  <a:lnTo>
                    <a:pt x="33" y="10"/>
                  </a:lnTo>
                  <a:lnTo>
                    <a:pt x="31" y="10"/>
                  </a:lnTo>
                  <a:lnTo>
                    <a:pt x="31" y="12"/>
                  </a:lnTo>
                  <a:lnTo>
                    <a:pt x="29" y="12"/>
                  </a:lnTo>
                  <a:lnTo>
                    <a:pt x="29" y="14"/>
                  </a:lnTo>
                  <a:lnTo>
                    <a:pt x="26" y="17"/>
                  </a:lnTo>
                  <a:lnTo>
                    <a:pt x="24" y="17"/>
                  </a:lnTo>
                  <a:lnTo>
                    <a:pt x="24" y="14"/>
                  </a:lnTo>
                  <a:lnTo>
                    <a:pt x="22" y="14"/>
                  </a:lnTo>
                  <a:lnTo>
                    <a:pt x="22" y="14"/>
                  </a:lnTo>
                  <a:lnTo>
                    <a:pt x="19" y="14"/>
                  </a:lnTo>
                  <a:lnTo>
                    <a:pt x="19" y="14"/>
                  </a:lnTo>
                  <a:lnTo>
                    <a:pt x="19" y="17"/>
                  </a:lnTo>
                  <a:lnTo>
                    <a:pt x="19" y="17"/>
                  </a:lnTo>
                  <a:lnTo>
                    <a:pt x="19" y="19"/>
                  </a:lnTo>
                  <a:lnTo>
                    <a:pt x="22" y="19"/>
                  </a:lnTo>
                  <a:lnTo>
                    <a:pt x="22" y="21"/>
                  </a:lnTo>
                  <a:lnTo>
                    <a:pt x="22" y="21"/>
                  </a:lnTo>
                  <a:lnTo>
                    <a:pt x="22" y="21"/>
                  </a:lnTo>
                  <a:lnTo>
                    <a:pt x="24" y="26"/>
                  </a:lnTo>
                  <a:lnTo>
                    <a:pt x="26" y="29"/>
                  </a:lnTo>
                  <a:lnTo>
                    <a:pt x="26" y="29"/>
                  </a:lnTo>
                  <a:lnTo>
                    <a:pt x="29" y="31"/>
                  </a:lnTo>
                  <a:lnTo>
                    <a:pt x="29" y="31"/>
                  </a:lnTo>
                  <a:lnTo>
                    <a:pt x="29" y="31"/>
                  </a:lnTo>
                  <a:lnTo>
                    <a:pt x="26" y="31"/>
                  </a:lnTo>
                  <a:lnTo>
                    <a:pt x="26" y="31"/>
                  </a:lnTo>
                  <a:lnTo>
                    <a:pt x="26" y="33"/>
                  </a:lnTo>
                  <a:lnTo>
                    <a:pt x="26" y="33"/>
                  </a:lnTo>
                  <a:lnTo>
                    <a:pt x="29" y="33"/>
                  </a:lnTo>
                  <a:lnTo>
                    <a:pt x="29" y="36"/>
                  </a:lnTo>
                  <a:lnTo>
                    <a:pt x="29" y="38"/>
                  </a:lnTo>
                  <a:lnTo>
                    <a:pt x="29" y="38"/>
                  </a:lnTo>
                  <a:lnTo>
                    <a:pt x="26" y="38"/>
                  </a:lnTo>
                  <a:lnTo>
                    <a:pt x="26" y="40"/>
                  </a:lnTo>
                  <a:lnTo>
                    <a:pt x="24" y="40"/>
                  </a:lnTo>
                  <a:lnTo>
                    <a:pt x="22" y="43"/>
                  </a:lnTo>
                  <a:lnTo>
                    <a:pt x="19" y="43"/>
                  </a:lnTo>
                  <a:lnTo>
                    <a:pt x="19" y="45"/>
                  </a:lnTo>
                  <a:lnTo>
                    <a:pt x="17" y="47"/>
                  </a:lnTo>
                  <a:lnTo>
                    <a:pt x="12" y="50"/>
                  </a:lnTo>
                  <a:lnTo>
                    <a:pt x="12" y="52"/>
                  </a:lnTo>
                  <a:lnTo>
                    <a:pt x="10" y="52"/>
                  </a:lnTo>
                  <a:lnTo>
                    <a:pt x="8" y="57"/>
                  </a:lnTo>
                  <a:lnTo>
                    <a:pt x="8" y="57"/>
                  </a:lnTo>
                  <a:lnTo>
                    <a:pt x="8" y="59"/>
                  </a:lnTo>
                  <a:lnTo>
                    <a:pt x="8" y="62"/>
                  </a:lnTo>
                  <a:lnTo>
                    <a:pt x="8" y="62"/>
                  </a:lnTo>
                  <a:lnTo>
                    <a:pt x="8" y="64"/>
                  </a:lnTo>
                  <a:lnTo>
                    <a:pt x="8" y="64"/>
                  </a:lnTo>
                  <a:lnTo>
                    <a:pt x="8" y="66"/>
                  </a:lnTo>
                  <a:lnTo>
                    <a:pt x="10" y="66"/>
                  </a:lnTo>
                  <a:lnTo>
                    <a:pt x="10" y="66"/>
                  </a:lnTo>
                  <a:lnTo>
                    <a:pt x="10" y="66"/>
                  </a:lnTo>
                  <a:lnTo>
                    <a:pt x="10" y="69"/>
                  </a:lnTo>
                  <a:lnTo>
                    <a:pt x="10" y="69"/>
                  </a:lnTo>
                  <a:lnTo>
                    <a:pt x="8" y="69"/>
                  </a:lnTo>
                  <a:lnTo>
                    <a:pt x="8" y="66"/>
                  </a:lnTo>
                  <a:lnTo>
                    <a:pt x="5" y="66"/>
                  </a:lnTo>
                  <a:lnTo>
                    <a:pt x="5" y="69"/>
                  </a:lnTo>
                  <a:lnTo>
                    <a:pt x="5" y="69"/>
                  </a:lnTo>
                  <a:lnTo>
                    <a:pt x="5" y="71"/>
                  </a:lnTo>
                  <a:lnTo>
                    <a:pt x="3" y="71"/>
                  </a:lnTo>
                  <a:lnTo>
                    <a:pt x="3" y="73"/>
                  </a:lnTo>
                  <a:lnTo>
                    <a:pt x="3" y="76"/>
                  </a:lnTo>
                  <a:lnTo>
                    <a:pt x="0" y="78"/>
                  </a:lnTo>
                  <a:lnTo>
                    <a:pt x="0" y="81"/>
                  </a:lnTo>
                  <a:lnTo>
                    <a:pt x="0" y="81"/>
                  </a:lnTo>
                  <a:lnTo>
                    <a:pt x="0" y="81"/>
                  </a:lnTo>
                  <a:lnTo>
                    <a:pt x="3" y="81"/>
                  </a:lnTo>
                  <a:lnTo>
                    <a:pt x="3" y="83"/>
                  </a:lnTo>
                  <a:lnTo>
                    <a:pt x="3" y="83"/>
                  </a:lnTo>
                  <a:lnTo>
                    <a:pt x="3" y="83"/>
                  </a:lnTo>
                  <a:lnTo>
                    <a:pt x="3" y="83"/>
                  </a:lnTo>
                  <a:lnTo>
                    <a:pt x="3" y="85"/>
                  </a:lnTo>
                  <a:lnTo>
                    <a:pt x="5" y="85"/>
                  </a:lnTo>
                  <a:lnTo>
                    <a:pt x="8" y="85"/>
                  </a:lnTo>
                  <a:lnTo>
                    <a:pt x="8" y="88"/>
                  </a:lnTo>
                  <a:lnTo>
                    <a:pt x="10" y="88"/>
                  </a:lnTo>
                  <a:lnTo>
                    <a:pt x="10" y="88"/>
                  </a:lnTo>
                  <a:lnTo>
                    <a:pt x="10" y="88"/>
                  </a:lnTo>
                  <a:lnTo>
                    <a:pt x="10" y="88"/>
                  </a:lnTo>
                  <a:lnTo>
                    <a:pt x="10" y="88"/>
                  </a:lnTo>
                  <a:lnTo>
                    <a:pt x="12" y="88"/>
                  </a:lnTo>
                  <a:lnTo>
                    <a:pt x="12" y="90"/>
                  </a:lnTo>
                  <a:lnTo>
                    <a:pt x="12" y="90"/>
                  </a:lnTo>
                  <a:lnTo>
                    <a:pt x="12" y="90"/>
                  </a:lnTo>
                  <a:lnTo>
                    <a:pt x="12" y="90"/>
                  </a:lnTo>
                  <a:lnTo>
                    <a:pt x="12" y="90"/>
                  </a:lnTo>
                  <a:lnTo>
                    <a:pt x="15" y="90"/>
                  </a:lnTo>
                  <a:lnTo>
                    <a:pt x="17" y="88"/>
                  </a:lnTo>
                  <a:lnTo>
                    <a:pt x="17" y="88"/>
                  </a:lnTo>
                  <a:lnTo>
                    <a:pt x="17" y="88"/>
                  </a:lnTo>
                  <a:lnTo>
                    <a:pt x="22" y="90"/>
                  </a:lnTo>
                  <a:lnTo>
                    <a:pt x="24" y="90"/>
                  </a:lnTo>
                  <a:lnTo>
                    <a:pt x="26" y="90"/>
                  </a:lnTo>
                  <a:lnTo>
                    <a:pt x="26" y="90"/>
                  </a:lnTo>
                  <a:lnTo>
                    <a:pt x="26" y="90"/>
                  </a:lnTo>
                  <a:lnTo>
                    <a:pt x="31" y="90"/>
                  </a:lnTo>
                  <a:lnTo>
                    <a:pt x="31" y="90"/>
                  </a:lnTo>
                  <a:lnTo>
                    <a:pt x="31" y="90"/>
                  </a:lnTo>
                  <a:lnTo>
                    <a:pt x="33" y="92"/>
                  </a:lnTo>
                  <a:lnTo>
                    <a:pt x="36" y="92"/>
                  </a:lnTo>
                  <a:lnTo>
                    <a:pt x="38" y="90"/>
                  </a:lnTo>
                  <a:lnTo>
                    <a:pt x="38" y="90"/>
                  </a:lnTo>
                  <a:lnTo>
                    <a:pt x="41" y="90"/>
                  </a:lnTo>
                  <a:lnTo>
                    <a:pt x="43" y="92"/>
                  </a:lnTo>
                  <a:lnTo>
                    <a:pt x="45" y="95"/>
                  </a:lnTo>
                  <a:lnTo>
                    <a:pt x="45" y="95"/>
                  </a:lnTo>
                  <a:lnTo>
                    <a:pt x="48" y="95"/>
                  </a:lnTo>
                  <a:lnTo>
                    <a:pt x="50" y="95"/>
                  </a:lnTo>
                  <a:lnTo>
                    <a:pt x="50" y="92"/>
                  </a:lnTo>
                  <a:lnTo>
                    <a:pt x="55" y="92"/>
                  </a:lnTo>
                  <a:lnTo>
                    <a:pt x="59" y="90"/>
                  </a:lnTo>
                  <a:lnTo>
                    <a:pt x="62" y="90"/>
                  </a:lnTo>
                  <a:lnTo>
                    <a:pt x="66" y="90"/>
                  </a:lnTo>
                  <a:lnTo>
                    <a:pt x="66" y="88"/>
                  </a:lnTo>
                  <a:lnTo>
                    <a:pt x="69" y="88"/>
                  </a:lnTo>
                  <a:lnTo>
                    <a:pt x="69" y="85"/>
                  </a:lnTo>
                  <a:lnTo>
                    <a:pt x="71" y="85"/>
                  </a:lnTo>
                  <a:lnTo>
                    <a:pt x="74" y="85"/>
                  </a:lnTo>
                  <a:lnTo>
                    <a:pt x="74" y="83"/>
                  </a:lnTo>
                  <a:lnTo>
                    <a:pt x="74" y="83"/>
                  </a:lnTo>
                  <a:lnTo>
                    <a:pt x="76" y="81"/>
                  </a:lnTo>
                  <a:lnTo>
                    <a:pt x="78" y="83"/>
                  </a:lnTo>
                  <a:lnTo>
                    <a:pt x="81" y="83"/>
                  </a:lnTo>
                  <a:lnTo>
                    <a:pt x="83" y="83"/>
                  </a:lnTo>
                  <a:lnTo>
                    <a:pt x="85" y="81"/>
                  </a:lnTo>
                  <a:lnTo>
                    <a:pt x="85" y="81"/>
                  </a:lnTo>
                  <a:lnTo>
                    <a:pt x="88" y="81"/>
                  </a:lnTo>
                  <a:lnTo>
                    <a:pt x="88" y="81"/>
                  </a:lnTo>
                  <a:lnTo>
                    <a:pt x="88" y="81"/>
                  </a:lnTo>
                  <a:lnTo>
                    <a:pt x="88" y="81"/>
                  </a:lnTo>
                  <a:lnTo>
                    <a:pt x="90" y="81"/>
                  </a:lnTo>
                  <a:lnTo>
                    <a:pt x="92" y="81"/>
                  </a:lnTo>
                  <a:lnTo>
                    <a:pt x="95" y="83"/>
                  </a:lnTo>
                  <a:lnTo>
                    <a:pt x="95" y="83"/>
                  </a:lnTo>
                  <a:lnTo>
                    <a:pt x="97" y="83"/>
                  </a:lnTo>
                  <a:lnTo>
                    <a:pt x="97" y="83"/>
                  </a:lnTo>
                  <a:lnTo>
                    <a:pt x="97" y="85"/>
                  </a:lnTo>
                  <a:lnTo>
                    <a:pt x="99" y="85"/>
                  </a:lnTo>
                  <a:lnTo>
                    <a:pt x="102" y="85"/>
                  </a:lnTo>
                  <a:lnTo>
                    <a:pt x="102" y="85"/>
                  </a:lnTo>
                  <a:lnTo>
                    <a:pt x="102" y="85"/>
                  </a:lnTo>
                  <a:lnTo>
                    <a:pt x="102" y="85"/>
                  </a:lnTo>
                  <a:lnTo>
                    <a:pt x="102" y="85"/>
                  </a:lnTo>
                  <a:lnTo>
                    <a:pt x="104" y="85"/>
                  </a:lnTo>
                  <a:lnTo>
                    <a:pt x="104" y="88"/>
                  </a:lnTo>
                  <a:lnTo>
                    <a:pt x="104" y="88"/>
                  </a:lnTo>
                  <a:lnTo>
                    <a:pt x="104" y="85"/>
                  </a:lnTo>
                  <a:lnTo>
                    <a:pt x="106" y="85"/>
                  </a:lnTo>
                  <a:lnTo>
                    <a:pt x="109" y="88"/>
                  </a:lnTo>
                  <a:lnTo>
                    <a:pt x="111" y="90"/>
                  </a:lnTo>
                  <a:lnTo>
                    <a:pt x="111" y="90"/>
                  </a:lnTo>
                  <a:lnTo>
                    <a:pt x="114" y="90"/>
                  </a:lnTo>
                  <a:lnTo>
                    <a:pt x="114" y="90"/>
                  </a:lnTo>
                  <a:lnTo>
                    <a:pt x="114" y="90"/>
                  </a:lnTo>
                  <a:lnTo>
                    <a:pt x="116" y="90"/>
                  </a:lnTo>
                  <a:lnTo>
                    <a:pt x="116" y="92"/>
                  </a:lnTo>
                  <a:lnTo>
                    <a:pt x="116" y="95"/>
                  </a:lnTo>
                  <a:lnTo>
                    <a:pt x="116" y="95"/>
                  </a:lnTo>
                  <a:lnTo>
                    <a:pt x="116" y="97"/>
                  </a:lnTo>
                  <a:lnTo>
                    <a:pt x="116" y="97"/>
                  </a:lnTo>
                  <a:lnTo>
                    <a:pt x="116" y="100"/>
                  </a:lnTo>
                  <a:lnTo>
                    <a:pt x="116" y="100"/>
                  </a:lnTo>
                  <a:lnTo>
                    <a:pt x="116" y="102"/>
                  </a:lnTo>
                  <a:lnTo>
                    <a:pt x="116" y="102"/>
                  </a:lnTo>
                  <a:lnTo>
                    <a:pt x="118" y="102"/>
                  </a:lnTo>
                  <a:lnTo>
                    <a:pt x="121" y="104"/>
                  </a:lnTo>
                  <a:lnTo>
                    <a:pt x="121" y="104"/>
                  </a:lnTo>
                  <a:lnTo>
                    <a:pt x="123" y="104"/>
                  </a:lnTo>
                  <a:lnTo>
                    <a:pt x="123" y="104"/>
                  </a:lnTo>
                  <a:lnTo>
                    <a:pt x="123" y="104"/>
                  </a:lnTo>
                  <a:lnTo>
                    <a:pt x="123" y="107"/>
                  </a:lnTo>
                  <a:lnTo>
                    <a:pt x="123" y="107"/>
                  </a:lnTo>
                  <a:lnTo>
                    <a:pt x="123" y="109"/>
                  </a:lnTo>
                  <a:lnTo>
                    <a:pt x="123" y="109"/>
                  </a:lnTo>
                  <a:lnTo>
                    <a:pt x="123" y="111"/>
                  </a:lnTo>
                  <a:lnTo>
                    <a:pt x="123" y="111"/>
                  </a:lnTo>
                  <a:lnTo>
                    <a:pt x="125" y="111"/>
                  </a:lnTo>
                  <a:lnTo>
                    <a:pt x="128" y="114"/>
                  </a:lnTo>
                  <a:lnTo>
                    <a:pt x="130" y="114"/>
                  </a:lnTo>
                  <a:lnTo>
                    <a:pt x="130" y="114"/>
                  </a:lnTo>
                  <a:lnTo>
                    <a:pt x="130" y="116"/>
                  </a:lnTo>
                  <a:lnTo>
                    <a:pt x="130" y="118"/>
                  </a:lnTo>
                  <a:lnTo>
                    <a:pt x="130" y="121"/>
                  </a:lnTo>
                  <a:lnTo>
                    <a:pt x="135" y="123"/>
                  </a:lnTo>
                  <a:lnTo>
                    <a:pt x="135" y="123"/>
                  </a:lnTo>
                  <a:lnTo>
                    <a:pt x="132" y="123"/>
                  </a:lnTo>
                  <a:lnTo>
                    <a:pt x="130" y="123"/>
                  </a:lnTo>
                  <a:lnTo>
                    <a:pt x="130" y="123"/>
                  </a:lnTo>
                  <a:lnTo>
                    <a:pt x="128" y="121"/>
                  </a:lnTo>
                  <a:lnTo>
                    <a:pt x="128" y="121"/>
                  </a:lnTo>
                  <a:lnTo>
                    <a:pt x="128" y="123"/>
                  </a:lnTo>
                  <a:lnTo>
                    <a:pt x="125" y="123"/>
                  </a:lnTo>
                  <a:lnTo>
                    <a:pt x="125" y="123"/>
                  </a:lnTo>
                  <a:lnTo>
                    <a:pt x="123" y="121"/>
                  </a:lnTo>
                  <a:lnTo>
                    <a:pt x="123" y="121"/>
                  </a:lnTo>
                  <a:lnTo>
                    <a:pt x="123" y="121"/>
                  </a:lnTo>
                  <a:lnTo>
                    <a:pt x="123" y="121"/>
                  </a:lnTo>
                  <a:lnTo>
                    <a:pt x="121" y="121"/>
                  </a:lnTo>
                  <a:lnTo>
                    <a:pt x="121" y="121"/>
                  </a:lnTo>
                  <a:lnTo>
                    <a:pt x="121" y="123"/>
                  </a:lnTo>
                  <a:lnTo>
                    <a:pt x="118" y="123"/>
                  </a:lnTo>
                  <a:lnTo>
                    <a:pt x="118" y="123"/>
                  </a:lnTo>
                  <a:lnTo>
                    <a:pt x="118" y="121"/>
                  </a:lnTo>
                  <a:lnTo>
                    <a:pt x="118" y="121"/>
                  </a:lnTo>
                  <a:lnTo>
                    <a:pt x="118" y="121"/>
                  </a:lnTo>
                  <a:lnTo>
                    <a:pt x="116" y="121"/>
                  </a:lnTo>
                  <a:lnTo>
                    <a:pt x="116" y="121"/>
                  </a:lnTo>
                  <a:lnTo>
                    <a:pt x="114" y="123"/>
                  </a:lnTo>
                  <a:lnTo>
                    <a:pt x="114" y="123"/>
                  </a:lnTo>
                  <a:lnTo>
                    <a:pt x="116" y="126"/>
                  </a:lnTo>
                  <a:lnTo>
                    <a:pt x="116" y="128"/>
                  </a:lnTo>
                  <a:lnTo>
                    <a:pt x="116" y="128"/>
                  </a:lnTo>
                  <a:lnTo>
                    <a:pt x="116" y="130"/>
                  </a:lnTo>
                  <a:lnTo>
                    <a:pt x="114" y="130"/>
                  </a:lnTo>
                  <a:lnTo>
                    <a:pt x="111" y="133"/>
                  </a:lnTo>
                  <a:lnTo>
                    <a:pt x="111" y="135"/>
                  </a:lnTo>
                  <a:lnTo>
                    <a:pt x="111" y="135"/>
                  </a:lnTo>
                  <a:lnTo>
                    <a:pt x="109" y="137"/>
                  </a:lnTo>
                  <a:lnTo>
                    <a:pt x="109" y="137"/>
                  </a:lnTo>
                  <a:lnTo>
                    <a:pt x="109" y="140"/>
                  </a:lnTo>
                  <a:lnTo>
                    <a:pt x="109" y="140"/>
                  </a:lnTo>
                  <a:lnTo>
                    <a:pt x="109" y="140"/>
                  </a:lnTo>
                  <a:lnTo>
                    <a:pt x="109" y="140"/>
                  </a:lnTo>
                  <a:lnTo>
                    <a:pt x="109" y="142"/>
                  </a:lnTo>
                  <a:lnTo>
                    <a:pt x="106" y="142"/>
                  </a:lnTo>
                  <a:lnTo>
                    <a:pt x="104" y="142"/>
                  </a:lnTo>
                  <a:lnTo>
                    <a:pt x="104" y="142"/>
                  </a:lnTo>
                  <a:lnTo>
                    <a:pt x="106" y="144"/>
                  </a:lnTo>
                  <a:lnTo>
                    <a:pt x="109" y="144"/>
                  </a:lnTo>
                  <a:lnTo>
                    <a:pt x="114" y="147"/>
                  </a:lnTo>
                  <a:lnTo>
                    <a:pt x="114" y="147"/>
                  </a:lnTo>
                  <a:lnTo>
                    <a:pt x="114" y="147"/>
                  </a:lnTo>
                  <a:lnTo>
                    <a:pt x="114" y="147"/>
                  </a:lnTo>
                  <a:lnTo>
                    <a:pt x="114" y="144"/>
                  </a:lnTo>
                  <a:lnTo>
                    <a:pt x="114" y="144"/>
                  </a:lnTo>
                  <a:lnTo>
                    <a:pt x="116" y="144"/>
                  </a:lnTo>
                  <a:lnTo>
                    <a:pt x="116" y="144"/>
                  </a:lnTo>
                  <a:lnTo>
                    <a:pt x="118" y="144"/>
                  </a:lnTo>
                  <a:lnTo>
                    <a:pt x="121" y="142"/>
                  </a:lnTo>
                  <a:lnTo>
                    <a:pt x="125" y="142"/>
                  </a:lnTo>
                  <a:lnTo>
                    <a:pt x="128" y="144"/>
                  </a:lnTo>
                  <a:lnTo>
                    <a:pt x="128" y="144"/>
                  </a:lnTo>
                  <a:lnTo>
                    <a:pt x="130" y="147"/>
                  </a:lnTo>
                  <a:lnTo>
                    <a:pt x="130" y="144"/>
                  </a:lnTo>
                  <a:lnTo>
                    <a:pt x="128" y="140"/>
                  </a:lnTo>
                  <a:lnTo>
                    <a:pt x="128" y="140"/>
                  </a:lnTo>
                  <a:lnTo>
                    <a:pt x="128" y="137"/>
                  </a:lnTo>
                  <a:lnTo>
                    <a:pt x="128" y="137"/>
                  </a:lnTo>
                  <a:lnTo>
                    <a:pt x="128" y="135"/>
                  </a:lnTo>
                  <a:lnTo>
                    <a:pt x="130" y="137"/>
                  </a:lnTo>
                  <a:lnTo>
                    <a:pt x="132" y="135"/>
                  </a:lnTo>
                  <a:lnTo>
                    <a:pt x="132" y="135"/>
                  </a:lnTo>
                  <a:lnTo>
                    <a:pt x="137" y="135"/>
                  </a:lnTo>
                  <a:lnTo>
                    <a:pt x="137" y="133"/>
                  </a:lnTo>
                  <a:lnTo>
                    <a:pt x="142" y="128"/>
                  </a:lnTo>
                  <a:lnTo>
                    <a:pt x="142" y="128"/>
                  </a:lnTo>
                  <a:lnTo>
                    <a:pt x="144" y="126"/>
                  </a:lnTo>
                  <a:lnTo>
                    <a:pt x="144" y="126"/>
                  </a:lnTo>
                  <a:lnTo>
                    <a:pt x="144" y="123"/>
                  </a:lnTo>
                  <a:lnTo>
                    <a:pt x="144" y="121"/>
                  </a:lnTo>
                  <a:lnTo>
                    <a:pt x="144" y="118"/>
                  </a:lnTo>
                  <a:lnTo>
                    <a:pt x="151" y="118"/>
                  </a:lnTo>
                  <a:lnTo>
                    <a:pt x="154" y="118"/>
                  </a:lnTo>
                  <a:lnTo>
                    <a:pt x="156" y="118"/>
                  </a:lnTo>
                  <a:lnTo>
                    <a:pt x="156" y="116"/>
                  </a:lnTo>
                  <a:lnTo>
                    <a:pt x="158" y="114"/>
                  </a:lnTo>
                  <a:lnTo>
                    <a:pt x="156" y="116"/>
                  </a:lnTo>
                  <a:lnTo>
                    <a:pt x="158" y="118"/>
                  </a:lnTo>
                  <a:lnTo>
                    <a:pt x="161" y="118"/>
                  </a:lnTo>
                  <a:lnTo>
                    <a:pt x="163" y="118"/>
                  </a:lnTo>
                  <a:lnTo>
                    <a:pt x="163" y="116"/>
                  </a:lnTo>
                  <a:lnTo>
                    <a:pt x="163" y="111"/>
                  </a:lnTo>
                  <a:lnTo>
                    <a:pt x="161" y="109"/>
                  </a:lnTo>
                  <a:lnTo>
                    <a:pt x="161" y="109"/>
                  </a:lnTo>
                  <a:lnTo>
                    <a:pt x="161" y="107"/>
                  </a:lnTo>
                  <a:lnTo>
                    <a:pt x="161" y="107"/>
                  </a:lnTo>
                  <a:lnTo>
                    <a:pt x="161" y="109"/>
                  </a:lnTo>
                  <a:lnTo>
                    <a:pt x="163" y="111"/>
                  </a:lnTo>
                  <a:lnTo>
                    <a:pt x="163" y="114"/>
                  </a:lnTo>
                  <a:lnTo>
                    <a:pt x="163" y="114"/>
                  </a:lnTo>
                  <a:lnTo>
                    <a:pt x="163" y="116"/>
                  </a:lnTo>
                  <a:lnTo>
                    <a:pt x="165" y="118"/>
                  </a:lnTo>
                  <a:lnTo>
                    <a:pt x="168" y="118"/>
                  </a:lnTo>
                  <a:lnTo>
                    <a:pt x="170" y="118"/>
                  </a:lnTo>
                  <a:lnTo>
                    <a:pt x="175" y="118"/>
                  </a:lnTo>
                  <a:lnTo>
                    <a:pt x="175" y="118"/>
                  </a:lnTo>
                  <a:lnTo>
                    <a:pt x="172" y="121"/>
                  </a:lnTo>
                  <a:lnTo>
                    <a:pt x="170" y="121"/>
                  </a:lnTo>
                  <a:lnTo>
                    <a:pt x="168" y="121"/>
                  </a:lnTo>
                  <a:lnTo>
                    <a:pt x="163" y="121"/>
                  </a:lnTo>
                  <a:lnTo>
                    <a:pt x="161" y="118"/>
                  </a:lnTo>
                  <a:lnTo>
                    <a:pt x="158" y="118"/>
                  </a:lnTo>
                  <a:lnTo>
                    <a:pt x="158" y="121"/>
                  </a:lnTo>
                  <a:lnTo>
                    <a:pt x="161" y="121"/>
                  </a:lnTo>
                  <a:lnTo>
                    <a:pt x="163" y="121"/>
                  </a:lnTo>
                  <a:lnTo>
                    <a:pt x="165" y="121"/>
                  </a:lnTo>
                  <a:lnTo>
                    <a:pt x="165" y="123"/>
                  </a:lnTo>
                  <a:lnTo>
                    <a:pt x="165" y="123"/>
                  </a:lnTo>
                  <a:lnTo>
                    <a:pt x="163" y="123"/>
                  </a:lnTo>
                  <a:lnTo>
                    <a:pt x="163" y="123"/>
                  </a:lnTo>
                  <a:lnTo>
                    <a:pt x="161" y="123"/>
                  </a:lnTo>
                  <a:lnTo>
                    <a:pt x="163" y="126"/>
                  </a:lnTo>
                  <a:lnTo>
                    <a:pt x="165" y="126"/>
                  </a:lnTo>
                  <a:lnTo>
                    <a:pt x="165" y="126"/>
                  </a:lnTo>
                  <a:lnTo>
                    <a:pt x="170" y="128"/>
                  </a:lnTo>
                  <a:lnTo>
                    <a:pt x="175" y="128"/>
                  </a:lnTo>
                  <a:lnTo>
                    <a:pt x="180" y="128"/>
                  </a:lnTo>
                  <a:lnTo>
                    <a:pt x="182" y="128"/>
                  </a:lnTo>
                  <a:lnTo>
                    <a:pt x="187" y="128"/>
                  </a:lnTo>
                  <a:lnTo>
                    <a:pt x="187" y="128"/>
                  </a:lnTo>
                  <a:lnTo>
                    <a:pt x="189" y="130"/>
                  </a:lnTo>
                  <a:lnTo>
                    <a:pt x="191" y="130"/>
                  </a:lnTo>
                  <a:lnTo>
                    <a:pt x="191" y="128"/>
                  </a:lnTo>
                  <a:lnTo>
                    <a:pt x="194" y="130"/>
                  </a:lnTo>
                  <a:lnTo>
                    <a:pt x="194" y="133"/>
                  </a:lnTo>
                  <a:lnTo>
                    <a:pt x="191" y="135"/>
                  </a:lnTo>
                  <a:lnTo>
                    <a:pt x="189" y="135"/>
                  </a:lnTo>
                  <a:lnTo>
                    <a:pt x="187" y="135"/>
                  </a:lnTo>
                  <a:lnTo>
                    <a:pt x="180" y="140"/>
                  </a:lnTo>
                  <a:lnTo>
                    <a:pt x="175" y="142"/>
                  </a:lnTo>
                  <a:lnTo>
                    <a:pt x="177" y="144"/>
                  </a:lnTo>
                  <a:lnTo>
                    <a:pt x="177" y="144"/>
                  </a:lnTo>
                  <a:lnTo>
                    <a:pt x="180" y="144"/>
                  </a:lnTo>
                  <a:lnTo>
                    <a:pt x="182" y="144"/>
                  </a:lnTo>
                  <a:lnTo>
                    <a:pt x="187" y="147"/>
                  </a:lnTo>
                  <a:lnTo>
                    <a:pt x="189" y="147"/>
                  </a:lnTo>
                  <a:lnTo>
                    <a:pt x="191" y="147"/>
                  </a:lnTo>
                  <a:lnTo>
                    <a:pt x="194" y="149"/>
                  </a:lnTo>
                  <a:lnTo>
                    <a:pt x="196" y="154"/>
                  </a:lnTo>
                  <a:lnTo>
                    <a:pt x="196" y="154"/>
                  </a:lnTo>
                  <a:lnTo>
                    <a:pt x="194" y="159"/>
                  </a:lnTo>
                  <a:lnTo>
                    <a:pt x="194" y="161"/>
                  </a:lnTo>
                  <a:lnTo>
                    <a:pt x="194" y="161"/>
                  </a:lnTo>
                  <a:lnTo>
                    <a:pt x="194" y="161"/>
                  </a:lnTo>
                  <a:lnTo>
                    <a:pt x="196" y="166"/>
                  </a:lnTo>
                  <a:lnTo>
                    <a:pt x="198" y="166"/>
                  </a:lnTo>
                  <a:lnTo>
                    <a:pt x="201" y="166"/>
                  </a:lnTo>
                  <a:lnTo>
                    <a:pt x="203" y="166"/>
                  </a:lnTo>
                  <a:lnTo>
                    <a:pt x="208" y="163"/>
                  </a:lnTo>
                  <a:lnTo>
                    <a:pt x="210" y="159"/>
                  </a:lnTo>
                  <a:lnTo>
                    <a:pt x="215" y="156"/>
                  </a:lnTo>
                  <a:lnTo>
                    <a:pt x="217" y="156"/>
                  </a:lnTo>
                  <a:lnTo>
                    <a:pt x="220" y="156"/>
                  </a:lnTo>
                  <a:lnTo>
                    <a:pt x="222" y="156"/>
                  </a:lnTo>
                  <a:lnTo>
                    <a:pt x="224" y="154"/>
                  </a:lnTo>
                  <a:lnTo>
                    <a:pt x="227" y="149"/>
                  </a:lnTo>
                  <a:lnTo>
                    <a:pt x="227" y="149"/>
                  </a:lnTo>
                  <a:lnTo>
                    <a:pt x="229" y="149"/>
                  </a:lnTo>
                  <a:lnTo>
                    <a:pt x="231" y="149"/>
                  </a:lnTo>
                  <a:lnTo>
                    <a:pt x="231" y="152"/>
                  </a:lnTo>
                  <a:lnTo>
                    <a:pt x="234" y="152"/>
                  </a:lnTo>
                  <a:lnTo>
                    <a:pt x="236" y="152"/>
                  </a:lnTo>
                  <a:lnTo>
                    <a:pt x="238" y="152"/>
                  </a:lnTo>
                  <a:lnTo>
                    <a:pt x="241" y="149"/>
                  </a:lnTo>
                  <a:lnTo>
                    <a:pt x="241" y="149"/>
                  </a:lnTo>
                  <a:lnTo>
                    <a:pt x="241" y="147"/>
                  </a:lnTo>
                  <a:lnTo>
                    <a:pt x="243" y="144"/>
                  </a:lnTo>
                  <a:lnTo>
                    <a:pt x="243" y="142"/>
                  </a:lnTo>
                  <a:lnTo>
                    <a:pt x="241" y="142"/>
                  </a:lnTo>
                  <a:lnTo>
                    <a:pt x="238" y="142"/>
                  </a:lnTo>
                  <a:lnTo>
                    <a:pt x="236" y="142"/>
                  </a:lnTo>
                  <a:lnTo>
                    <a:pt x="236" y="142"/>
                  </a:lnTo>
                  <a:lnTo>
                    <a:pt x="234" y="144"/>
                  </a:lnTo>
                  <a:lnTo>
                    <a:pt x="231" y="142"/>
                  </a:lnTo>
                  <a:lnTo>
                    <a:pt x="229" y="144"/>
                  </a:lnTo>
                  <a:lnTo>
                    <a:pt x="227" y="144"/>
                  </a:lnTo>
                  <a:lnTo>
                    <a:pt x="224" y="144"/>
                  </a:lnTo>
                  <a:lnTo>
                    <a:pt x="224" y="144"/>
                  </a:lnTo>
                  <a:lnTo>
                    <a:pt x="222" y="142"/>
                  </a:lnTo>
                  <a:lnTo>
                    <a:pt x="217" y="137"/>
                  </a:lnTo>
                  <a:lnTo>
                    <a:pt x="215" y="133"/>
                  </a:lnTo>
                  <a:lnTo>
                    <a:pt x="213" y="130"/>
                  </a:lnTo>
                  <a:lnTo>
                    <a:pt x="213" y="130"/>
                  </a:lnTo>
                  <a:lnTo>
                    <a:pt x="213" y="128"/>
                  </a:lnTo>
                  <a:lnTo>
                    <a:pt x="215" y="126"/>
                  </a:lnTo>
                  <a:lnTo>
                    <a:pt x="217" y="126"/>
                  </a:lnTo>
                  <a:lnTo>
                    <a:pt x="220" y="121"/>
                  </a:lnTo>
                  <a:lnTo>
                    <a:pt x="220" y="123"/>
                  </a:lnTo>
                  <a:lnTo>
                    <a:pt x="220" y="123"/>
                  </a:lnTo>
                  <a:lnTo>
                    <a:pt x="220" y="126"/>
                  </a:lnTo>
                  <a:lnTo>
                    <a:pt x="220" y="126"/>
                  </a:lnTo>
                  <a:lnTo>
                    <a:pt x="215" y="128"/>
                  </a:lnTo>
                  <a:lnTo>
                    <a:pt x="217" y="128"/>
                  </a:lnTo>
                  <a:lnTo>
                    <a:pt x="217" y="128"/>
                  </a:lnTo>
                  <a:lnTo>
                    <a:pt x="220" y="128"/>
                  </a:lnTo>
                  <a:lnTo>
                    <a:pt x="220" y="126"/>
                  </a:lnTo>
                  <a:lnTo>
                    <a:pt x="222" y="123"/>
                  </a:lnTo>
                  <a:lnTo>
                    <a:pt x="229" y="118"/>
                  </a:lnTo>
                  <a:lnTo>
                    <a:pt x="231" y="116"/>
                  </a:lnTo>
                  <a:lnTo>
                    <a:pt x="234" y="118"/>
                  </a:lnTo>
                  <a:lnTo>
                    <a:pt x="236" y="116"/>
                  </a:lnTo>
                  <a:lnTo>
                    <a:pt x="238" y="116"/>
                  </a:lnTo>
                  <a:lnTo>
                    <a:pt x="238" y="116"/>
                  </a:lnTo>
                  <a:lnTo>
                    <a:pt x="241" y="116"/>
                  </a:lnTo>
                  <a:lnTo>
                    <a:pt x="243" y="116"/>
                  </a:lnTo>
                  <a:lnTo>
                    <a:pt x="246" y="114"/>
                  </a:lnTo>
                  <a:lnTo>
                    <a:pt x="248" y="114"/>
                  </a:lnTo>
                  <a:lnTo>
                    <a:pt x="250" y="111"/>
                  </a:lnTo>
                  <a:lnTo>
                    <a:pt x="253" y="111"/>
                  </a:lnTo>
                  <a:lnTo>
                    <a:pt x="255" y="109"/>
                  </a:lnTo>
                  <a:lnTo>
                    <a:pt x="260" y="109"/>
                  </a:lnTo>
                  <a:lnTo>
                    <a:pt x="264" y="109"/>
                  </a:lnTo>
                  <a:lnTo>
                    <a:pt x="267" y="109"/>
                  </a:lnTo>
                  <a:lnTo>
                    <a:pt x="267" y="107"/>
                  </a:lnTo>
                  <a:lnTo>
                    <a:pt x="264" y="107"/>
                  </a:lnTo>
                  <a:lnTo>
                    <a:pt x="267" y="107"/>
                  </a:lnTo>
                  <a:lnTo>
                    <a:pt x="267" y="104"/>
                  </a:lnTo>
                  <a:lnTo>
                    <a:pt x="267" y="104"/>
                  </a:lnTo>
                  <a:lnTo>
                    <a:pt x="267" y="104"/>
                  </a:lnTo>
                  <a:lnTo>
                    <a:pt x="267" y="104"/>
                  </a:lnTo>
                  <a:lnTo>
                    <a:pt x="264" y="104"/>
                  </a:lnTo>
                  <a:lnTo>
                    <a:pt x="264" y="104"/>
                  </a:lnTo>
                  <a:lnTo>
                    <a:pt x="264" y="102"/>
                  </a:lnTo>
                  <a:lnTo>
                    <a:pt x="267" y="102"/>
                  </a:lnTo>
                  <a:lnTo>
                    <a:pt x="267" y="102"/>
                  </a:lnTo>
                  <a:lnTo>
                    <a:pt x="267" y="100"/>
                  </a:lnTo>
                  <a:lnTo>
                    <a:pt x="267" y="100"/>
                  </a:lnTo>
                  <a:lnTo>
                    <a:pt x="267" y="97"/>
                  </a:lnTo>
                  <a:lnTo>
                    <a:pt x="269" y="97"/>
                  </a:lnTo>
                  <a:lnTo>
                    <a:pt x="271" y="97"/>
                  </a:lnTo>
                  <a:lnTo>
                    <a:pt x="271" y="95"/>
                  </a:lnTo>
                  <a:lnTo>
                    <a:pt x="274" y="92"/>
                  </a:lnTo>
                  <a:lnTo>
                    <a:pt x="276" y="92"/>
                  </a:lnTo>
                  <a:lnTo>
                    <a:pt x="279" y="92"/>
                  </a:lnTo>
                  <a:lnTo>
                    <a:pt x="279" y="92"/>
                  </a:lnTo>
                  <a:lnTo>
                    <a:pt x="283" y="92"/>
                  </a:lnTo>
                  <a:lnTo>
                    <a:pt x="288" y="92"/>
                  </a:lnTo>
                  <a:lnTo>
                    <a:pt x="288" y="92"/>
                  </a:lnTo>
                  <a:lnTo>
                    <a:pt x="290" y="92"/>
                  </a:lnTo>
                  <a:lnTo>
                    <a:pt x="288" y="90"/>
                  </a:lnTo>
                  <a:lnTo>
                    <a:pt x="290" y="88"/>
                  </a:lnTo>
                  <a:lnTo>
                    <a:pt x="290" y="85"/>
                  </a:lnTo>
                  <a:lnTo>
                    <a:pt x="290" y="85"/>
                  </a:lnTo>
                  <a:lnTo>
                    <a:pt x="290" y="8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1" name="Freeform 217"/>
            <p:cNvSpPr>
              <a:spLocks/>
            </p:cNvSpPr>
            <p:nvPr userDrawn="1"/>
          </p:nvSpPr>
          <p:spPr bwMode="auto">
            <a:xfrm>
              <a:off x="4202" y="2718"/>
              <a:ext cx="101" cy="120"/>
            </a:xfrm>
            <a:custGeom>
              <a:avLst/>
              <a:gdLst>
                <a:gd name="T0" fmla="*/ 99 w 101"/>
                <a:gd name="T1" fmla="*/ 42 h 120"/>
                <a:gd name="T2" fmla="*/ 99 w 101"/>
                <a:gd name="T3" fmla="*/ 35 h 120"/>
                <a:gd name="T4" fmla="*/ 97 w 101"/>
                <a:gd name="T5" fmla="*/ 33 h 120"/>
                <a:gd name="T6" fmla="*/ 94 w 101"/>
                <a:gd name="T7" fmla="*/ 28 h 120"/>
                <a:gd name="T8" fmla="*/ 90 w 101"/>
                <a:gd name="T9" fmla="*/ 19 h 120"/>
                <a:gd name="T10" fmla="*/ 90 w 101"/>
                <a:gd name="T11" fmla="*/ 12 h 120"/>
                <a:gd name="T12" fmla="*/ 85 w 101"/>
                <a:gd name="T13" fmla="*/ 9 h 120"/>
                <a:gd name="T14" fmla="*/ 85 w 101"/>
                <a:gd name="T15" fmla="*/ 7 h 120"/>
                <a:gd name="T16" fmla="*/ 75 w 101"/>
                <a:gd name="T17" fmla="*/ 9 h 120"/>
                <a:gd name="T18" fmla="*/ 71 w 101"/>
                <a:gd name="T19" fmla="*/ 12 h 120"/>
                <a:gd name="T20" fmla="*/ 61 w 101"/>
                <a:gd name="T21" fmla="*/ 9 h 120"/>
                <a:gd name="T22" fmla="*/ 54 w 101"/>
                <a:gd name="T23" fmla="*/ 12 h 120"/>
                <a:gd name="T24" fmla="*/ 50 w 101"/>
                <a:gd name="T25" fmla="*/ 14 h 120"/>
                <a:gd name="T26" fmla="*/ 47 w 101"/>
                <a:gd name="T27" fmla="*/ 16 h 120"/>
                <a:gd name="T28" fmla="*/ 42 w 101"/>
                <a:gd name="T29" fmla="*/ 12 h 120"/>
                <a:gd name="T30" fmla="*/ 38 w 101"/>
                <a:gd name="T31" fmla="*/ 12 h 120"/>
                <a:gd name="T32" fmla="*/ 33 w 101"/>
                <a:gd name="T33" fmla="*/ 12 h 120"/>
                <a:gd name="T34" fmla="*/ 28 w 101"/>
                <a:gd name="T35" fmla="*/ 12 h 120"/>
                <a:gd name="T36" fmla="*/ 24 w 101"/>
                <a:gd name="T37" fmla="*/ 16 h 120"/>
                <a:gd name="T38" fmla="*/ 24 w 101"/>
                <a:gd name="T39" fmla="*/ 19 h 120"/>
                <a:gd name="T40" fmla="*/ 21 w 101"/>
                <a:gd name="T41" fmla="*/ 26 h 120"/>
                <a:gd name="T42" fmla="*/ 24 w 101"/>
                <a:gd name="T43" fmla="*/ 28 h 120"/>
                <a:gd name="T44" fmla="*/ 24 w 101"/>
                <a:gd name="T45" fmla="*/ 33 h 120"/>
                <a:gd name="T46" fmla="*/ 24 w 101"/>
                <a:gd name="T47" fmla="*/ 40 h 120"/>
                <a:gd name="T48" fmla="*/ 28 w 101"/>
                <a:gd name="T49" fmla="*/ 40 h 120"/>
                <a:gd name="T50" fmla="*/ 31 w 101"/>
                <a:gd name="T51" fmla="*/ 42 h 120"/>
                <a:gd name="T52" fmla="*/ 33 w 101"/>
                <a:gd name="T53" fmla="*/ 45 h 120"/>
                <a:gd name="T54" fmla="*/ 31 w 101"/>
                <a:gd name="T55" fmla="*/ 49 h 120"/>
                <a:gd name="T56" fmla="*/ 17 w 101"/>
                <a:gd name="T57" fmla="*/ 64 h 120"/>
                <a:gd name="T58" fmla="*/ 12 w 101"/>
                <a:gd name="T59" fmla="*/ 68 h 120"/>
                <a:gd name="T60" fmla="*/ 7 w 101"/>
                <a:gd name="T61" fmla="*/ 73 h 120"/>
                <a:gd name="T62" fmla="*/ 7 w 101"/>
                <a:gd name="T63" fmla="*/ 80 h 120"/>
                <a:gd name="T64" fmla="*/ 5 w 101"/>
                <a:gd name="T65" fmla="*/ 87 h 120"/>
                <a:gd name="T66" fmla="*/ 2 w 101"/>
                <a:gd name="T67" fmla="*/ 92 h 120"/>
                <a:gd name="T68" fmla="*/ 2 w 101"/>
                <a:gd name="T69" fmla="*/ 104 h 120"/>
                <a:gd name="T70" fmla="*/ 0 w 101"/>
                <a:gd name="T71" fmla="*/ 111 h 120"/>
                <a:gd name="T72" fmla="*/ 0 w 101"/>
                <a:gd name="T73" fmla="*/ 118 h 120"/>
                <a:gd name="T74" fmla="*/ 5 w 101"/>
                <a:gd name="T75" fmla="*/ 118 h 120"/>
                <a:gd name="T76" fmla="*/ 7 w 101"/>
                <a:gd name="T77" fmla="*/ 120 h 120"/>
                <a:gd name="T78" fmla="*/ 12 w 101"/>
                <a:gd name="T79" fmla="*/ 118 h 120"/>
                <a:gd name="T80" fmla="*/ 14 w 101"/>
                <a:gd name="T81" fmla="*/ 113 h 120"/>
                <a:gd name="T82" fmla="*/ 17 w 101"/>
                <a:gd name="T83" fmla="*/ 113 h 120"/>
                <a:gd name="T84" fmla="*/ 19 w 101"/>
                <a:gd name="T85" fmla="*/ 113 h 120"/>
                <a:gd name="T86" fmla="*/ 24 w 101"/>
                <a:gd name="T87" fmla="*/ 111 h 120"/>
                <a:gd name="T88" fmla="*/ 80 w 101"/>
                <a:gd name="T89" fmla="*/ 111 h 120"/>
                <a:gd name="T90" fmla="*/ 83 w 101"/>
                <a:gd name="T91" fmla="*/ 90 h 120"/>
                <a:gd name="T92" fmla="*/ 85 w 101"/>
                <a:gd name="T93" fmla="*/ 83 h 120"/>
                <a:gd name="T94" fmla="*/ 87 w 101"/>
                <a:gd name="T95" fmla="*/ 75 h 120"/>
                <a:gd name="T96" fmla="*/ 92 w 101"/>
                <a:gd name="T97" fmla="*/ 68 h 120"/>
                <a:gd name="T98" fmla="*/ 94 w 101"/>
                <a:gd name="T99" fmla="*/ 64 h 120"/>
                <a:gd name="T100" fmla="*/ 97 w 101"/>
                <a:gd name="T101" fmla="*/ 64 h 120"/>
                <a:gd name="T102" fmla="*/ 99 w 101"/>
                <a:gd name="T103" fmla="*/ 59 h 120"/>
                <a:gd name="T104" fmla="*/ 101 w 101"/>
                <a:gd name="T105" fmla="*/ 57 h 120"/>
                <a:gd name="T106" fmla="*/ 101 w 101"/>
                <a:gd name="T107"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20">
                  <a:moveTo>
                    <a:pt x="101" y="49"/>
                  </a:moveTo>
                  <a:lnTo>
                    <a:pt x="101" y="47"/>
                  </a:lnTo>
                  <a:lnTo>
                    <a:pt x="99" y="42"/>
                  </a:lnTo>
                  <a:lnTo>
                    <a:pt x="99" y="38"/>
                  </a:lnTo>
                  <a:lnTo>
                    <a:pt x="99" y="38"/>
                  </a:lnTo>
                  <a:lnTo>
                    <a:pt x="99" y="35"/>
                  </a:lnTo>
                  <a:lnTo>
                    <a:pt x="99" y="35"/>
                  </a:lnTo>
                  <a:lnTo>
                    <a:pt x="99" y="35"/>
                  </a:lnTo>
                  <a:lnTo>
                    <a:pt x="97" y="33"/>
                  </a:lnTo>
                  <a:lnTo>
                    <a:pt x="97" y="31"/>
                  </a:lnTo>
                  <a:lnTo>
                    <a:pt x="97" y="31"/>
                  </a:lnTo>
                  <a:lnTo>
                    <a:pt x="94" y="28"/>
                  </a:lnTo>
                  <a:lnTo>
                    <a:pt x="92" y="23"/>
                  </a:lnTo>
                  <a:lnTo>
                    <a:pt x="92" y="23"/>
                  </a:lnTo>
                  <a:lnTo>
                    <a:pt x="90" y="19"/>
                  </a:lnTo>
                  <a:lnTo>
                    <a:pt x="90" y="19"/>
                  </a:lnTo>
                  <a:lnTo>
                    <a:pt x="92" y="14"/>
                  </a:lnTo>
                  <a:lnTo>
                    <a:pt x="90" y="12"/>
                  </a:lnTo>
                  <a:lnTo>
                    <a:pt x="90" y="12"/>
                  </a:lnTo>
                  <a:lnTo>
                    <a:pt x="87" y="12"/>
                  </a:lnTo>
                  <a:lnTo>
                    <a:pt x="85" y="9"/>
                  </a:lnTo>
                  <a:lnTo>
                    <a:pt x="85" y="9"/>
                  </a:lnTo>
                  <a:lnTo>
                    <a:pt x="85" y="7"/>
                  </a:lnTo>
                  <a:lnTo>
                    <a:pt x="85" y="7"/>
                  </a:lnTo>
                  <a:lnTo>
                    <a:pt x="83" y="0"/>
                  </a:lnTo>
                  <a:lnTo>
                    <a:pt x="78" y="5"/>
                  </a:lnTo>
                  <a:lnTo>
                    <a:pt x="75" y="9"/>
                  </a:lnTo>
                  <a:lnTo>
                    <a:pt x="73" y="9"/>
                  </a:lnTo>
                  <a:lnTo>
                    <a:pt x="73" y="12"/>
                  </a:lnTo>
                  <a:lnTo>
                    <a:pt x="71" y="12"/>
                  </a:lnTo>
                  <a:lnTo>
                    <a:pt x="66" y="9"/>
                  </a:lnTo>
                  <a:lnTo>
                    <a:pt x="64" y="7"/>
                  </a:lnTo>
                  <a:lnTo>
                    <a:pt x="61" y="9"/>
                  </a:lnTo>
                  <a:lnTo>
                    <a:pt x="59" y="9"/>
                  </a:lnTo>
                  <a:lnTo>
                    <a:pt x="59" y="9"/>
                  </a:lnTo>
                  <a:lnTo>
                    <a:pt x="54" y="12"/>
                  </a:lnTo>
                  <a:lnTo>
                    <a:pt x="52" y="12"/>
                  </a:lnTo>
                  <a:lnTo>
                    <a:pt x="50" y="12"/>
                  </a:lnTo>
                  <a:lnTo>
                    <a:pt x="50" y="14"/>
                  </a:lnTo>
                  <a:lnTo>
                    <a:pt x="47" y="16"/>
                  </a:lnTo>
                  <a:lnTo>
                    <a:pt x="47" y="16"/>
                  </a:lnTo>
                  <a:lnTo>
                    <a:pt x="47" y="16"/>
                  </a:lnTo>
                  <a:lnTo>
                    <a:pt x="47" y="14"/>
                  </a:lnTo>
                  <a:lnTo>
                    <a:pt x="45" y="14"/>
                  </a:lnTo>
                  <a:lnTo>
                    <a:pt x="42" y="12"/>
                  </a:lnTo>
                  <a:lnTo>
                    <a:pt x="42" y="9"/>
                  </a:lnTo>
                  <a:lnTo>
                    <a:pt x="42" y="9"/>
                  </a:lnTo>
                  <a:lnTo>
                    <a:pt x="38" y="12"/>
                  </a:lnTo>
                  <a:lnTo>
                    <a:pt x="38" y="12"/>
                  </a:lnTo>
                  <a:lnTo>
                    <a:pt x="35" y="12"/>
                  </a:lnTo>
                  <a:lnTo>
                    <a:pt x="33" y="12"/>
                  </a:lnTo>
                  <a:lnTo>
                    <a:pt x="31" y="9"/>
                  </a:lnTo>
                  <a:lnTo>
                    <a:pt x="31" y="9"/>
                  </a:lnTo>
                  <a:lnTo>
                    <a:pt x="28" y="12"/>
                  </a:lnTo>
                  <a:lnTo>
                    <a:pt x="26" y="14"/>
                  </a:lnTo>
                  <a:lnTo>
                    <a:pt x="24" y="14"/>
                  </a:lnTo>
                  <a:lnTo>
                    <a:pt x="24" y="16"/>
                  </a:lnTo>
                  <a:lnTo>
                    <a:pt x="26" y="16"/>
                  </a:lnTo>
                  <a:lnTo>
                    <a:pt x="26" y="19"/>
                  </a:lnTo>
                  <a:lnTo>
                    <a:pt x="24" y="19"/>
                  </a:lnTo>
                  <a:lnTo>
                    <a:pt x="24" y="21"/>
                  </a:lnTo>
                  <a:lnTo>
                    <a:pt x="24" y="23"/>
                  </a:lnTo>
                  <a:lnTo>
                    <a:pt x="21" y="26"/>
                  </a:lnTo>
                  <a:lnTo>
                    <a:pt x="24" y="26"/>
                  </a:lnTo>
                  <a:lnTo>
                    <a:pt x="24" y="28"/>
                  </a:lnTo>
                  <a:lnTo>
                    <a:pt x="24" y="28"/>
                  </a:lnTo>
                  <a:lnTo>
                    <a:pt x="24" y="28"/>
                  </a:lnTo>
                  <a:lnTo>
                    <a:pt x="24" y="31"/>
                  </a:lnTo>
                  <a:lnTo>
                    <a:pt x="24" y="33"/>
                  </a:lnTo>
                  <a:lnTo>
                    <a:pt x="21" y="35"/>
                  </a:lnTo>
                  <a:lnTo>
                    <a:pt x="21" y="38"/>
                  </a:lnTo>
                  <a:lnTo>
                    <a:pt x="24" y="40"/>
                  </a:lnTo>
                  <a:lnTo>
                    <a:pt x="26" y="40"/>
                  </a:lnTo>
                  <a:lnTo>
                    <a:pt x="26" y="40"/>
                  </a:lnTo>
                  <a:lnTo>
                    <a:pt x="28" y="40"/>
                  </a:lnTo>
                  <a:lnTo>
                    <a:pt x="28" y="42"/>
                  </a:lnTo>
                  <a:lnTo>
                    <a:pt x="31" y="42"/>
                  </a:lnTo>
                  <a:lnTo>
                    <a:pt x="31" y="42"/>
                  </a:lnTo>
                  <a:lnTo>
                    <a:pt x="31" y="42"/>
                  </a:lnTo>
                  <a:lnTo>
                    <a:pt x="31" y="42"/>
                  </a:lnTo>
                  <a:lnTo>
                    <a:pt x="33" y="45"/>
                  </a:lnTo>
                  <a:lnTo>
                    <a:pt x="31" y="45"/>
                  </a:lnTo>
                  <a:lnTo>
                    <a:pt x="31" y="47"/>
                  </a:lnTo>
                  <a:lnTo>
                    <a:pt x="31" y="49"/>
                  </a:lnTo>
                  <a:lnTo>
                    <a:pt x="26" y="54"/>
                  </a:lnTo>
                  <a:lnTo>
                    <a:pt x="17" y="64"/>
                  </a:lnTo>
                  <a:lnTo>
                    <a:pt x="17" y="64"/>
                  </a:lnTo>
                  <a:lnTo>
                    <a:pt x="14" y="64"/>
                  </a:lnTo>
                  <a:lnTo>
                    <a:pt x="12" y="66"/>
                  </a:lnTo>
                  <a:lnTo>
                    <a:pt x="12" y="68"/>
                  </a:lnTo>
                  <a:lnTo>
                    <a:pt x="9" y="71"/>
                  </a:lnTo>
                  <a:lnTo>
                    <a:pt x="7" y="73"/>
                  </a:lnTo>
                  <a:lnTo>
                    <a:pt x="7" y="73"/>
                  </a:lnTo>
                  <a:lnTo>
                    <a:pt x="7" y="75"/>
                  </a:lnTo>
                  <a:lnTo>
                    <a:pt x="7" y="80"/>
                  </a:lnTo>
                  <a:lnTo>
                    <a:pt x="7" y="80"/>
                  </a:lnTo>
                  <a:lnTo>
                    <a:pt x="5" y="85"/>
                  </a:lnTo>
                  <a:lnTo>
                    <a:pt x="5" y="87"/>
                  </a:lnTo>
                  <a:lnTo>
                    <a:pt x="5" y="87"/>
                  </a:lnTo>
                  <a:lnTo>
                    <a:pt x="2" y="87"/>
                  </a:lnTo>
                  <a:lnTo>
                    <a:pt x="2" y="92"/>
                  </a:lnTo>
                  <a:lnTo>
                    <a:pt x="2" y="92"/>
                  </a:lnTo>
                  <a:lnTo>
                    <a:pt x="2" y="99"/>
                  </a:lnTo>
                  <a:lnTo>
                    <a:pt x="2" y="101"/>
                  </a:lnTo>
                  <a:lnTo>
                    <a:pt x="2" y="104"/>
                  </a:lnTo>
                  <a:lnTo>
                    <a:pt x="0" y="106"/>
                  </a:lnTo>
                  <a:lnTo>
                    <a:pt x="0" y="109"/>
                  </a:lnTo>
                  <a:lnTo>
                    <a:pt x="0" y="111"/>
                  </a:lnTo>
                  <a:lnTo>
                    <a:pt x="0" y="113"/>
                  </a:lnTo>
                  <a:lnTo>
                    <a:pt x="0" y="118"/>
                  </a:lnTo>
                  <a:lnTo>
                    <a:pt x="0" y="118"/>
                  </a:lnTo>
                  <a:lnTo>
                    <a:pt x="2" y="118"/>
                  </a:lnTo>
                  <a:lnTo>
                    <a:pt x="5" y="118"/>
                  </a:lnTo>
                  <a:lnTo>
                    <a:pt x="5" y="118"/>
                  </a:lnTo>
                  <a:lnTo>
                    <a:pt x="7" y="120"/>
                  </a:lnTo>
                  <a:lnTo>
                    <a:pt x="7" y="120"/>
                  </a:lnTo>
                  <a:lnTo>
                    <a:pt x="7" y="120"/>
                  </a:lnTo>
                  <a:lnTo>
                    <a:pt x="9" y="120"/>
                  </a:lnTo>
                  <a:lnTo>
                    <a:pt x="9" y="118"/>
                  </a:lnTo>
                  <a:lnTo>
                    <a:pt x="12" y="118"/>
                  </a:lnTo>
                  <a:lnTo>
                    <a:pt x="12" y="116"/>
                  </a:lnTo>
                  <a:lnTo>
                    <a:pt x="14" y="116"/>
                  </a:lnTo>
                  <a:lnTo>
                    <a:pt x="14" y="113"/>
                  </a:lnTo>
                  <a:lnTo>
                    <a:pt x="14" y="113"/>
                  </a:lnTo>
                  <a:lnTo>
                    <a:pt x="17" y="113"/>
                  </a:lnTo>
                  <a:lnTo>
                    <a:pt x="17" y="113"/>
                  </a:lnTo>
                  <a:lnTo>
                    <a:pt x="19" y="113"/>
                  </a:lnTo>
                  <a:lnTo>
                    <a:pt x="19" y="113"/>
                  </a:lnTo>
                  <a:lnTo>
                    <a:pt x="19" y="113"/>
                  </a:lnTo>
                  <a:lnTo>
                    <a:pt x="21" y="111"/>
                  </a:lnTo>
                  <a:lnTo>
                    <a:pt x="21" y="111"/>
                  </a:lnTo>
                  <a:lnTo>
                    <a:pt x="24" y="111"/>
                  </a:lnTo>
                  <a:lnTo>
                    <a:pt x="24" y="111"/>
                  </a:lnTo>
                  <a:lnTo>
                    <a:pt x="24" y="111"/>
                  </a:lnTo>
                  <a:lnTo>
                    <a:pt x="80" y="111"/>
                  </a:lnTo>
                  <a:lnTo>
                    <a:pt x="80" y="106"/>
                  </a:lnTo>
                  <a:lnTo>
                    <a:pt x="83" y="99"/>
                  </a:lnTo>
                  <a:lnTo>
                    <a:pt x="83" y="90"/>
                  </a:lnTo>
                  <a:lnTo>
                    <a:pt x="83" y="85"/>
                  </a:lnTo>
                  <a:lnTo>
                    <a:pt x="83" y="83"/>
                  </a:lnTo>
                  <a:lnTo>
                    <a:pt x="85" y="83"/>
                  </a:lnTo>
                  <a:lnTo>
                    <a:pt x="85" y="80"/>
                  </a:lnTo>
                  <a:lnTo>
                    <a:pt x="85" y="78"/>
                  </a:lnTo>
                  <a:lnTo>
                    <a:pt x="87" y="75"/>
                  </a:lnTo>
                  <a:lnTo>
                    <a:pt x="87" y="75"/>
                  </a:lnTo>
                  <a:lnTo>
                    <a:pt x="90" y="71"/>
                  </a:lnTo>
                  <a:lnTo>
                    <a:pt x="92" y="68"/>
                  </a:lnTo>
                  <a:lnTo>
                    <a:pt x="92" y="66"/>
                  </a:lnTo>
                  <a:lnTo>
                    <a:pt x="94" y="66"/>
                  </a:lnTo>
                  <a:lnTo>
                    <a:pt x="94" y="64"/>
                  </a:lnTo>
                  <a:lnTo>
                    <a:pt x="97" y="64"/>
                  </a:lnTo>
                  <a:lnTo>
                    <a:pt x="97" y="64"/>
                  </a:lnTo>
                  <a:lnTo>
                    <a:pt x="97" y="64"/>
                  </a:lnTo>
                  <a:lnTo>
                    <a:pt x="97" y="64"/>
                  </a:lnTo>
                  <a:lnTo>
                    <a:pt x="97" y="61"/>
                  </a:lnTo>
                  <a:lnTo>
                    <a:pt x="99" y="59"/>
                  </a:lnTo>
                  <a:lnTo>
                    <a:pt x="99" y="59"/>
                  </a:lnTo>
                  <a:lnTo>
                    <a:pt x="99" y="57"/>
                  </a:lnTo>
                  <a:lnTo>
                    <a:pt x="101" y="57"/>
                  </a:lnTo>
                  <a:lnTo>
                    <a:pt x="101" y="54"/>
                  </a:lnTo>
                  <a:lnTo>
                    <a:pt x="101" y="54"/>
                  </a:lnTo>
                  <a:lnTo>
                    <a:pt x="101" y="52"/>
                  </a:lnTo>
                  <a:lnTo>
                    <a:pt x="101" y="4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2" name="Freeform 218"/>
            <p:cNvSpPr>
              <a:spLocks noEditPoints="1"/>
            </p:cNvSpPr>
            <p:nvPr userDrawn="1"/>
          </p:nvSpPr>
          <p:spPr bwMode="auto">
            <a:xfrm>
              <a:off x="4563" y="1907"/>
              <a:ext cx="259" cy="158"/>
            </a:xfrm>
            <a:custGeom>
              <a:avLst/>
              <a:gdLst>
                <a:gd name="T0" fmla="*/ 21 w 259"/>
                <a:gd name="T1" fmla="*/ 80 h 158"/>
                <a:gd name="T2" fmla="*/ 257 w 259"/>
                <a:gd name="T3" fmla="*/ 97 h 158"/>
                <a:gd name="T4" fmla="*/ 245 w 259"/>
                <a:gd name="T5" fmla="*/ 92 h 158"/>
                <a:gd name="T6" fmla="*/ 228 w 259"/>
                <a:gd name="T7" fmla="*/ 85 h 158"/>
                <a:gd name="T8" fmla="*/ 207 w 259"/>
                <a:gd name="T9" fmla="*/ 75 h 158"/>
                <a:gd name="T10" fmla="*/ 181 w 259"/>
                <a:gd name="T11" fmla="*/ 59 h 158"/>
                <a:gd name="T12" fmla="*/ 167 w 259"/>
                <a:gd name="T13" fmla="*/ 42 h 158"/>
                <a:gd name="T14" fmla="*/ 153 w 259"/>
                <a:gd name="T15" fmla="*/ 31 h 158"/>
                <a:gd name="T16" fmla="*/ 143 w 259"/>
                <a:gd name="T17" fmla="*/ 31 h 158"/>
                <a:gd name="T18" fmla="*/ 129 w 259"/>
                <a:gd name="T19" fmla="*/ 28 h 158"/>
                <a:gd name="T20" fmla="*/ 127 w 259"/>
                <a:gd name="T21" fmla="*/ 19 h 158"/>
                <a:gd name="T22" fmla="*/ 125 w 259"/>
                <a:gd name="T23" fmla="*/ 16 h 158"/>
                <a:gd name="T24" fmla="*/ 125 w 259"/>
                <a:gd name="T25" fmla="*/ 12 h 158"/>
                <a:gd name="T26" fmla="*/ 110 w 259"/>
                <a:gd name="T27" fmla="*/ 5 h 158"/>
                <a:gd name="T28" fmla="*/ 99 w 259"/>
                <a:gd name="T29" fmla="*/ 0 h 158"/>
                <a:gd name="T30" fmla="*/ 92 w 259"/>
                <a:gd name="T31" fmla="*/ 2 h 158"/>
                <a:gd name="T32" fmla="*/ 99 w 259"/>
                <a:gd name="T33" fmla="*/ 9 h 158"/>
                <a:gd name="T34" fmla="*/ 94 w 259"/>
                <a:gd name="T35" fmla="*/ 7 h 158"/>
                <a:gd name="T36" fmla="*/ 87 w 259"/>
                <a:gd name="T37" fmla="*/ 12 h 158"/>
                <a:gd name="T38" fmla="*/ 75 w 259"/>
                <a:gd name="T39" fmla="*/ 16 h 158"/>
                <a:gd name="T40" fmla="*/ 80 w 259"/>
                <a:gd name="T41" fmla="*/ 28 h 158"/>
                <a:gd name="T42" fmla="*/ 63 w 259"/>
                <a:gd name="T43" fmla="*/ 31 h 158"/>
                <a:gd name="T44" fmla="*/ 52 w 259"/>
                <a:gd name="T45" fmla="*/ 31 h 158"/>
                <a:gd name="T46" fmla="*/ 40 w 259"/>
                <a:gd name="T47" fmla="*/ 19 h 158"/>
                <a:gd name="T48" fmla="*/ 23 w 259"/>
                <a:gd name="T49" fmla="*/ 9 h 158"/>
                <a:gd name="T50" fmla="*/ 7 w 259"/>
                <a:gd name="T51" fmla="*/ 12 h 158"/>
                <a:gd name="T52" fmla="*/ 7 w 259"/>
                <a:gd name="T53" fmla="*/ 31 h 158"/>
                <a:gd name="T54" fmla="*/ 7 w 259"/>
                <a:gd name="T55" fmla="*/ 16 h 158"/>
                <a:gd name="T56" fmla="*/ 19 w 259"/>
                <a:gd name="T57" fmla="*/ 14 h 158"/>
                <a:gd name="T58" fmla="*/ 30 w 259"/>
                <a:gd name="T59" fmla="*/ 28 h 158"/>
                <a:gd name="T60" fmla="*/ 40 w 259"/>
                <a:gd name="T61" fmla="*/ 38 h 158"/>
                <a:gd name="T62" fmla="*/ 35 w 259"/>
                <a:gd name="T63" fmla="*/ 42 h 158"/>
                <a:gd name="T64" fmla="*/ 21 w 259"/>
                <a:gd name="T65" fmla="*/ 40 h 158"/>
                <a:gd name="T66" fmla="*/ 11 w 259"/>
                <a:gd name="T67" fmla="*/ 38 h 158"/>
                <a:gd name="T68" fmla="*/ 11 w 259"/>
                <a:gd name="T69" fmla="*/ 57 h 158"/>
                <a:gd name="T70" fmla="*/ 19 w 259"/>
                <a:gd name="T71" fmla="*/ 57 h 158"/>
                <a:gd name="T72" fmla="*/ 26 w 259"/>
                <a:gd name="T73" fmla="*/ 64 h 158"/>
                <a:gd name="T74" fmla="*/ 19 w 259"/>
                <a:gd name="T75" fmla="*/ 66 h 158"/>
                <a:gd name="T76" fmla="*/ 26 w 259"/>
                <a:gd name="T77" fmla="*/ 71 h 158"/>
                <a:gd name="T78" fmla="*/ 33 w 259"/>
                <a:gd name="T79" fmla="*/ 78 h 158"/>
                <a:gd name="T80" fmla="*/ 35 w 259"/>
                <a:gd name="T81" fmla="*/ 99 h 158"/>
                <a:gd name="T82" fmla="*/ 49 w 259"/>
                <a:gd name="T83" fmla="*/ 109 h 158"/>
                <a:gd name="T84" fmla="*/ 59 w 259"/>
                <a:gd name="T85" fmla="*/ 97 h 158"/>
                <a:gd name="T86" fmla="*/ 77 w 259"/>
                <a:gd name="T87" fmla="*/ 97 h 158"/>
                <a:gd name="T88" fmla="*/ 84 w 259"/>
                <a:gd name="T89" fmla="*/ 92 h 158"/>
                <a:gd name="T90" fmla="*/ 96 w 259"/>
                <a:gd name="T91" fmla="*/ 97 h 158"/>
                <a:gd name="T92" fmla="*/ 108 w 259"/>
                <a:gd name="T93" fmla="*/ 101 h 158"/>
                <a:gd name="T94" fmla="*/ 120 w 259"/>
                <a:gd name="T95" fmla="*/ 104 h 158"/>
                <a:gd name="T96" fmla="*/ 132 w 259"/>
                <a:gd name="T97" fmla="*/ 109 h 158"/>
                <a:gd name="T98" fmla="*/ 148 w 259"/>
                <a:gd name="T99" fmla="*/ 120 h 158"/>
                <a:gd name="T100" fmla="*/ 169 w 259"/>
                <a:gd name="T101" fmla="*/ 132 h 158"/>
                <a:gd name="T102" fmla="*/ 172 w 259"/>
                <a:gd name="T103" fmla="*/ 142 h 158"/>
                <a:gd name="T104" fmla="*/ 174 w 259"/>
                <a:gd name="T105" fmla="*/ 149 h 158"/>
                <a:gd name="T106" fmla="*/ 186 w 259"/>
                <a:gd name="T107" fmla="*/ 153 h 158"/>
                <a:gd name="T108" fmla="*/ 195 w 259"/>
                <a:gd name="T109" fmla="*/ 156 h 158"/>
                <a:gd name="T110" fmla="*/ 205 w 259"/>
                <a:gd name="T111" fmla="*/ 153 h 158"/>
                <a:gd name="T112" fmla="*/ 205 w 259"/>
                <a:gd name="T113" fmla="*/ 144 h 158"/>
                <a:gd name="T114" fmla="*/ 219 w 259"/>
                <a:gd name="T115" fmla="*/ 139 h 158"/>
                <a:gd name="T116" fmla="*/ 228 w 259"/>
                <a:gd name="T117" fmla="*/ 132 h 158"/>
                <a:gd name="T118" fmla="*/ 233 w 259"/>
                <a:gd name="T119" fmla="*/ 113 h 158"/>
                <a:gd name="T120" fmla="*/ 245 w 259"/>
                <a:gd name="T121"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58">
                  <a:moveTo>
                    <a:pt x="19" y="75"/>
                  </a:moveTo>
                  <a:lnTo>
                    <a:pt x="19" y="73"/>
                  </a:lnTo>
                  <a:lnTo>
                    <a:pt x="19" y="73"/>
                  </a:lnTo>
                  <a:lnTo>
                    <a:pt x="19" y="75"/>
                  </a:lnTo>
                  <a:lnTo>
                    <a:pt x="19" y="78"/>
                  </a:lnTo>
                  <a:lnTo>
                    <a:pt x="21" y="80"/>
                  </a:lnTo>
                  <a:lnTo>
                    <a:pt x="21" y="80"/>
                  </a:lnTo>
                  <a:lnTo>
                    <a:pt x="19" y="75"/>
                  </a:lnTo>
                  <a:close/>
                  <a:moveTo>
                    <a:pt x="257" y="109"/>
                  </a:moveTo>
                  <a:lnTo>
                    <a:pt x="257" y="106"/>
                  </a:lnTo>
                  <a:lnTo>
                    <a:pt x="257" y="101"/>
                  </a:lnTo>
                  <a:lnTo>
                    <a:pt x="257" y="99"/>
                  </a:lnTo>
                  <a:lnTo>
                    <a:pt x="257" y="99"/>
                  </a:lnTo>
                  <a:lnTo>
                    <a:pt x="257" y="97"/>
                  </a:lnTo>
                  <a:lnTo>
                    <a:pt x="257" y="97"/>
                  </a:lnTo>
                  <a:lnTo>
                    <a:pt x="252" y="97"/>
                  </a:lnTo>
                  <a:lnTo>
                    <a:pt x="252" y="97"/>
                  </a:lnTo>
                  <a:lnTo>
                    <a:pt x="249" y="94"/>
                  </a:lnTo>
                  <a:lnTo>
                    <a:pt x="247" y="94"/>
                  </a:lnTo>
                  <a:lnTo>
                    <a:pt x="247" y="92"/>
                  </a:lnTo>
                  <a:lnTo>
                    <a:pt x="245" y="92"/>
                  </a:lnTo>
                  <a:lnTo>
                    <a:pt x="242" y="92"/>
                  </a:lnTo>
                  <a:lnTo>
                    <a:pt x="240" y="92"/>
                  </a:lnTo>
                  <a:lnTo>
                    <a:pt x="240" y="92"/>
                  </a:lnTo>
                  <a:lnTo>
                    <a:pt x="240" y="92"/>
                  </a:lnTo>
                  <a:lnTo>
                    <a:pt x="238" y="92"/>
                  </a:lnTo>
                  <a:lnTo>
                    <a:pt x="233" y="90"/>
                  </a:lnTo>
                  <a:lnTo>
                    <a:pt x="228" y="85"/>
                  </a:lnTo>
                  <a:lnTo>
                    <a:pt x="224" y="83"/>
                  </a:lnTo>
                  <a:lnTo>
                    <a:pt x="219" y="83"/>
                  </a:lnTo>
                  <a:lnTo>
                    <a:pt x="219" y="80"/>
                  </a:lnTo>
                  <a:lnTo>
                    <a:pt x="216" y="80"/>
                  </a:lnTo>
                  <a:lnTo>
                    <a:pt x="212" y="75"/>
                  </a:lnTo>
                  <a:lnTo>
                    <a:pt x="209" y="78"/>
                  </a:lnTo>
                  <a:lnTo>
                    <a:pt x="207" y="75"/>
                  </a:lnTo>
                  <a:lnTo>
                    <a:pt x="202" y="73"/>
                  </a:lnTo>
                  <a:lnTo>
                    <a:pt x="202" y="73"/>
                  </a:lnTo>
                  <a:lnTo>
                    <a:pt x="198" y="68"/>
                  </a:lnTo>
                  <a:lnTo>
                    <a:pt x="193" y="66"/>
                  </a:lnTo>
                  <a:lnTo>
                    <a:pt x="188" y="64"/>
                  </a:lnTo>
                  <a:lnTo>
                    <a:pt x="186" y="61"/>
                  </a:lnTo>
                  <a:lnTo>
                    <a:pt x="181" y="59"/>
                  </a:lnTo>
                  <a:lnTo>
                    <a:pt x="176" y="57"/>
                  </a:lnTo>
                  <a:lnTo>
                    <a:pt x="176" y="57"/>
                  </a:lnTo>
                  <a:lnTo>
                    <a:pt x="176" y="57"/>
                  </a:lnTo>
                  <a:lnTo>
                    <a:pt x="174" y="49"/>
                  </a:lnTo>
                  <a:lnTo>
                    <a:pt x="172" y="47"/>
                  </a:lnTo>
                  <a:lnTo>
                    <a:pt x="169" y="45"/>
                  </a:lnTo>
                  <a:lnTo>
                    <a:pt x="167" y="42"/>
                  </a:lnTo>
                  <a:lnTo>
                    <a:pt x="165" y="38"/>
                  </a:lnTo>
                  <a:lnTo>
                    <a:pt x="162" y="35"/>
                  </a:lnTo>
                  <a:lnTo>
                    <a:pt x="162" y="33"/>
                  </a:lnTo>
                  <a:lnTo>
                    <a:pt x="160" y="33"/>
                  </a:lnTo>
                  <a:lnTo>
                    <a:pt x="158" y="31"/>
                  </a:lnTo>
                  <a:lnTo>
                    <a:pt x="153" y="31"/>
                  </a:lnTo>
                  <a:lnTo>
                    <a:pt x="153" y="31"/>
                  </a:lnTo>
                  <a:lnTo>
                    <a:pt x="153" y="31"/>
                  </a:lnTo>
                  <a:lnTo>
                    <a:pt x="153" y="31"/>
                  </a:lnTo>
                  <a:lnTo>
                    <a:pt x="150" y="33"/>
                  </a:lnTo>
                  <a:lnTo>
                    <a:pt x="150" y="33"/>
                  </a:lnTo>
                  <a:lnTo>
                    <a:pt x="148" y="33"/>
                  </a:lnTo>
                  <a:lnTo>
                    <a:pt x="148" y="31"/>
                  </a:lnTo>
                  <a:lnTo>
                    <a:pt x="143" y="31"/>
                  </a:lnTo>
                  <a:lnTo>
                    <a:pt x="143" y="31"/>
                  </a:lnTo>
                  <a:lnTo>
                    <a:pt x="141" y="31"/>
                  </a:lnTo>
                  <a:lnTo>
                    <a:pt x="136" y="31"/>
                  </a:lnTo>
                  <a:lnTo>
                    <a:pt x="136" y="31"/>
                  </a:lnTo>
                  <a:lnTo>
                    <a:pt x="132" y="28"/>
                  </a:lnTo>
                  <a:lnTo>
                    <a:pt x="129" y="28"/>
                  </a:lnTo>
                  <a:lnTo>
                    <a:pt x="129" y="28"/>
                  </a:lnTo>
                  <a:lnTo>
                    <a:pt x="129" y="26"/>
                  </a:lnTo>
                  <a:lnTo>
                    <a:pt x="129" y="23"/>
                  </a:lnTo>
                  <a:lnTo>
                    <a:pt x="129" y="23"/>
                  </a:lnTo>
                  <a:lnTo>
                    <a:pt x="129" y="23"/>
                  </a:lnTo>
                  <a:lnTo>
                    <a:pt x="127" y="21"/>
                  </a:lnTo>
                  <a:lnTo>
                    <a:pt x="127" y="21"/>
                  </a:lnTo>
                  <a:lnTo>
                    <a:pt x="127" y="19"/>
                  </a:lnTo>
                  <a:lnTo>
                    <a:pt x="129" y="19"/>
                  </a:lnTo>
                  <a:lnTo>
                    <a:pt x="129" y="19"/>
                  </a:lnTo>
                  <a:lnTo>
                    <a:pt x="129" y="19"/>
                  </a:lnTo>
                  <a:lnTo>
                    <a:pt x="129" y="19"/>
                  </a:lnTo>
                  <a:lnTo>
                    <a:pt x="127" y="16"/>
                  </a:lnTo>
                  <a:lnTo>
                    <a:pt x="125" y="16"/>
                  </a:lnTo>
                  <a:lnTo>
                    <a:pt x="125" y="16"/>
                  </a:lnTo>
                  <a:lnTo>
                    <a:pt x="125" y="16"/>
                  </a:lnTo>
                  <a:lnTo>
                    <a:pt x="125" y="14"/>
                  </a:lnTo>
                  <a:lnTo>
                    <a:pt x="125" y="14"/>
                  </a:lnTo>
                  <a:lnTo>
                    <a:pt x="125" y="12"/>
                  </a:lnTo>
                  <a:lnTo>
                    <a:pt x="125" y="12"/>
                  </a:lnTo>
                  <a:lnTo>
                    <a:pt x="125" y="12"/>
                  </a:lnTo>
                  <a:lnTo>
                    <a:pt x="125" y="12"/>
                  </a:lnTo>
                  <a:lnTo>
                    <a:pt x="122" y="9"/>
                  </a:lnTo>
                  <a:lnTo>
                    <a:pt x="122" y="9"/>
                  </a:lnTo>
                  <a:lnTo>
                    <a:pt x="120" y="9"/>
                  </a:lnTo>
                  <a:lnTo>
                    <a:pt x="115" y="9"/>
                  </a:lnTo>
                  <a:lnTo>
                    <a:pt x="113" y="9"/>
                  </a:lnTo>
                  <a:lnTo>
                    <a:pt x="110" y="7"/>
                  </a:lnTo>
                  <a:lnTo>
                    <a:pt x="110" y="5"/>
                  </a:lnTo>
                  <a:lnTo>
                    <a:pt x="108" y="5"/>
                  </a:lnTo>
                  <a:lnTo>
                    <a:pt x="108" y="5"/>
                  </a:lnTo>
                  <a:lnTo>
                    <a:pt x="106" y="5"/>
                  </a:lnTo>
                  <a:lnTo>
                    <a:pt x="103" y="5"/>
                  </a:lnTo>
                  <a:lnTo>
                    <a:pt x="103" y="5"/>
                  </a:lnTo>
                  <a:lnTo>
                    <a:pt x="101" y="2"/>
                  </a:lnTo>
                  <a:lnTo>
                    <a:pt x="99" y="0"/>
                  </a:lnTo>
                  <a:lnTo>
                    <a:pt x="96" y="2"/>
                  </a:lnTo>
                  <a:lnTo>
                    <a:pt x="96" y="2"/>
                  </a:lnTo>
                  <a:lnTo>
                    <a:pt x="94" y="2"/>
                  </a:lnTo>
                  <a:lnTo>
                    <a:pt x="92" y="2"/>
                  </a:lnTo>
                  <a:lnTo>
                    <a:pt x="92" y="2"/>
                  </a:lnTo>
                  <a:lnTo>
                    <a:pt x="92" y="2"/>
                  </a:lnTo>
                  <a:lnTo>
                    <a:pt x="92" y="2"/>
                  </a:lnTo>
                  <a:lnTo>
                    <a:pt x="92" y="5"/>
                  </a:lnTo>
                  <a:lnTo>
                    <a:pt x="94" y="5"/>
                  </a:lnTo>
                  <a:lnTo>
                    <a:pt x="96" y="7"/>
                  </a:lnTo>
                  <a:lnTo>
                    <a:pt x="99" y="9"/>
                  </a:lnTo>
                  <a:lnTo>
                    <a:pt x="99" y="9"/>
                  </a:lnTo>
                  <a:lnTo>
                    <a:pt x="99" y="9"/>
                  </a:lnTo>
                  <a:lnTo>
                    <a:pt x="99" y="9"/>
                  </a:lnTo>
                  <a:lnTo>
                    <a:pt x="96" y="9"/>
                  </a:lnTo>
                  <a:lnTo>
                    <a:pt x="96" y="9"/>
                  </a:lnTo>
                  <a:lnTo>
                    <a:pt x="96" y="9"/>
                  </a:lnTo>
                  <a:lnTo>
                    <a:pt x="96" y="9"/>
                  </a:lnTo>
                  <a:lnTo>
                    <a:pt x="94" y="7"/>
                  </a:lnTo>
                  <a:lnTo>
                    <a:pt x="94" y="7"/>
                  </a:lnTo>
                  <a:lnTo>
                    <a:pt x="94" y="7"/>
                  </a:lnTo>
                  <a:lnTo>
                    <a:pt x="92" y="7"/>
                  </a:lnTo>
                  <a:lnTo>
                    <a:pt x="89" y="5"/>
                  </a:lnTo>
                  <a:lnTo>
                    <a:pt x="89" y="5"/>
                  </a:lnTo>
                  <a:lnTo>
                    <a:pt x="89" y="7"/>
                  </a:lnTo>
                  <a:lnTo>
                    <a:pt x="89" y="7"/>
                  </a:lnTo>
                  <a:lnTo>
                    <a:pt x="89" y="9"/>
                  </a:lnTo>
                  <a:lnTo>
                    <a:pt x="87" y="12"/>
                  </a:lnTo>
                  <a:lnTo>
                    <a:pt x="87" y="12"/>
                  </a:lnTo>
                  <a:lnTo>
                    <a:pt x="84" y="12"/>
                  </a:lnTo>
                  <a:lnTo>
                    <a:pt x="80" y="12"/>
                  </a:lnTo>
                  <a:lnTo>
                    <a:pt x="77" y="12"/>
                  </a:lnTo>
                  <a:lnTo>
                    <a:pt x="77" y="14"/>
                  </a:lnTo>
                  <a:lnTo>
                    <a:pt x="77" y="16"/>
                  </a:lnTo>
                  <a:lnTo>
                    <a:pt x="75" y="16"/>
                  </a:lnTo>
                  <a:lnTo>
                    <a:pt x="75" y="19"/>
                  </a:lnTo>
                  <a:lnTo>
                    <a:pt x="75" y="21"/>
                  </a:lnTo>
                  <a:lnTo>
                    <a:pt x="77" y="26"/>
                  </a:lnTo>
                  <a:lnTo>
                    <a:pt x="77" y="28"/>
                  </a:lnTo>
                  <a:lnTo>
                    <a:pt x="80" y="28"/>
                  </a:lnTo>
                  <a:lnTo>
                    <a:pt x="80" y="28"/>
                  </a:lnTo>
                  <a:lnTo>
                    <a:pt x="80" y="28"/>
                  </a:lnTo>
                  <a:lnTo>
                    <a:pt x="77" y="31"/>
                  </a:lnTo>
                  <a:lnTo>
                    <a:pt x="77" y="31"/>
                  </a:lnTo>
                  <a:lnTo>
                    <a:pt x="77" y="31"/>
                  </a:lnTo>
                  <a:lnTo>
                    <a:pt x="75" y="31"/>
                  </a:lnTo>
                  <a:lnTo>
                    <a:pt x="73" y="31"/>
                  </a:lnTo>
                  <a:lnTo>
                    <a:pt x="68" y="31"/>
                  </a:lnTo>
                  <a:lnTo>
                    <a:pt x="63" y="31"/>
                  </a:lnTo>
                  <a:lnTo>
                    <a:pt x="59" y="28"/>
                  </a:lnTo>
                  <a:lnTo>
                    <a:pt x="59" y="28"/>
                  </a:lnTo>
                  <a:lnTo>
                    <a:pt x="56" y="31"/>
                  </a:lnTo>
                  <a:lnTo>
                    <a:pt x="54" y="31"/>
                  </a:lnTo>
                  <a:lnTo>
                    <a:pt x="52" y="31"/>
                  </a:lnTo>
                  <a:lnTo>
                    <a:pt x="52" y="31"/>
                  </a:lnTo>
                  <a:lnTo>
                    <a:pt x="52" y="31"/>
                  </a:lnTo>
                  <a:lnTo>
                    <a:pt x="49" y="28"/>
                  </a:lnTo>
                  <a:lnTo>
                    <a:pt x="49" y="28"/>
                  </a:lnTo>
                  <a:lnTo>
                    <a:pt x="47" y="26"/>
                  </a:lnTo>
                  <a:lnTo>
                    <a:pt x="44" y="23"/>
                  </a:lnTo>
                  <a:lnTo>
                    <a:pt x="44" y="23"/>
                  </a:lnTo>
                  <a:lnTo>
                    <a:pt x="40" y="19"/>
                  </a:lnTo>
                  <a:lnTo>
                    <a:pt x="40" y="19"/>
                  </a:lnTo>
                  <a:lnTo>
                    <a:pt x="40" y="16"/>
                  </a:lnTo>
                  <a:lnTo>
                    <a:pt x="37" y="16"/>
                  </a:lnTo>
                  <a:lnTo>
                    <a:pt x="35" y="14"/>
                  </a:lnTo>
                  <a:lnTo>
                    <a:pt x="30" y="12"/>
                  </a:lnTo>
                  <a:lnTo>
                    <a:pt x="28" y="9"/>
                  </a:lnTo>
                  <a:lnTo>
                    <a:pt x="26" y="9"/>
                  </a:lnTo>
                  <a:lnTo>
                    <a:pt x="23" y="9"/>
                  </a:lnTo>
                  <a:lnTo>
                    <a:pt x="23" y="9"/>
                  </a:lnTo>
                  <a:lnTo>
                    <a:pt x="21" y="9"/>
                  </a:lnTo>
                  <a:lnTo>
                    <a:pt x="16" y="9"/>
                  </a:lnTo>
                  <a:lnTo>
                    <a:pt x="14" y="9"/>
                  </a:lnTo>
                  <a:lnTo>
                    <a:pt x="9" y="12"/>
                  </a:lnTo>
                  <a:lnTo>
                    <a:pt x="7" y="12"/>
                  </a:lnTo>
                  <a:lnTo>
                    <a:pt x="7" y="12"/>
                  </a:lnTo>
                  <a:lnTo>
                    <a:pt x="4" y="14"/>
                  </a:lnTo>
                  <a:lnTo>
                    <a:pt x="2" y="16"/>
                  </a:lnTo>
                  <a:lnTo>
                    <a:pt x="0" y="19"/>
                  </a:lnTo>
                  <a:lnTo>
                    <a:pt x="2" y="26"/>
                  </a:lnTo>
                  <a:lnTo>
                    <a:pt x="4" y="28"/>
                  </a:lnTo>
                  <a:lnTo>
                    <a:pt x="7" y="31"/>
                  </a:lnTo>
                  <a:lnTo>
                    <a:pt x="7" y="31"/>
                  </a:lnTo>
                  <a:lnTo>
                    <a:pt x="7" y="31"/>
                  </a:lnTo>
                  <a:lnTo>
                    <a:pt x="7" y="28"/>
                  </a:lnTo>
                  <a:lnTo>
                    <a:pt x="7" y="23"/>
                  </a:lnTo>
                  <a:lnTo>
                    <a:pt x="7" y="23"/>
                  </a:lnTo>
                  <a:lnTo>
                    <a:pt x="4" y="21"/>
                  </a:lnTo>
                  <a:lnTo>
                    <a:pt x="4" y="16"/>
                  </a:lnTo>
                  <a:lnTo>
                    <a:pt x="7" y="16"/>
                  </a:lnTo>
                  <a:lnTo>
                    <a:pt x="9" y="14"/>
                  </a:lnTo>
                  <a:lnTo>
                    <a:pt x="9" y="14"/>
                  </a:lnTo>
                  <a:lnTo>
                    <a:pt x="11" y="14"/>
                  </a:lnTo>
                  <a:lnTo>
                    <a:pt x="14" y="12"/>
                  </a:lnTo>
                  <a:lnTo>
                    <a:pt x="16" y="12"/>
                  </a:lnTo>
                  <a:lnTo>
                    <a:pt x="19" y="12"/>
                  </a:lnTo>
                  <a:lnTo>
                    <a:pt x="19" y="14"/>
                  </a:lnTo>
                  <a:lnTo>
                    <a:pt x="21" y="14"/>
                  </a:lnTo>
                  <a:lnTo>
                    <a:pt x="23" y="19"/>
                  </a:lnTo>
                  <a:lnTo>
                    <a:pt x="23" y="21"/>
                  </a:lnTo>
                  <a:lnTo>
                    <a:pt x="26" y="23"/>
                  </a:lnTo>
                  <a:lnTo>
                    <a:pt x="28" y="26"/>
                  </a:lnTo>
                  <a:lnTo>
                    <a:pt x="28" y="26"/>
                  </a:lnTo>
                  <a:lnTo>
                    <a:pt x="30" y="28"/>
                  </a:lnTo>
                  <a:lnTo>
                    <a:pt x="37" y="33"/>
                  </a:lnTo>
                  <a:lnTo>
                    <a:pt x="37" y="33"/>
                  </a:lnTo>
                  <a:lnTo>
                    <a:pt x="40" y="35"/>
                  </a:lnTo>
                  <a:lnTo>
                    <a:pt x="40" y="35"/>
                  </a:lnTo>
                  <a:lnTo>
                    <a:pt x="40" y="38"/>
                  </a:lnTo>
                  <a:lnTo>
                    <a:pt x="40" y="38"/>
                  </a:lnTo>
                  <a:lnTo>
                    <a:pt x="40" y="38"/>
                  </a:lnTo>
                  <a:lnTo>
                    <a:pt x="40" y="38"/>
                  </a:lnTo>
                  <a:lnTo>
                    <a:pt x="37" y="40"/>
                  </a:lnTo>
                  <a:lnTo>
                    <a:pt x="35" y="38"/>
                  </a:lnTo>
                  <a:lnTo>
                    <a:pt x="33" y="40"/>
                  </a:lnTo>
                  <a:lnTo>
                    <a:pt x="35" y="40"/>
                  </a:lnTo>
                  <a:lnTo>
                    <a:pt x="35" y="42"/>
                  </a:lnTo>
                  <a:lnTo>
                    <a:pt x="35" y="42"/>
                  </a:lnTo>
                  <a:lnTo>
                    <a:pt x="33" y="42"/>
                  </a:lnTo>
                  <a:lnTo>
                    <a:pt x="33" y="42"/>
                  </a:lnTo>
                  <a:lnTo>
                    <a:pt x="30" y="42"/>
                  </a:lnTo>
                  <a:lnTo>
                    <a:pt x="26" y="42"/>
                  </a:lnTo>
                  <a:lnTo>
                    <a:pt x="26" y="42"/>
                  </a:lnTo>
                  <a:lnTo>
                    <a:pt x="23" y="40"/>
                  </a:lnTo>
                  <a:lnTo>
                    <a:pt x="21" y="40"/>
                  </a:lnTo>
                  <a:lnTo>
                    <a:pt x="21" y="40"/>
                  </a:lnTo>
                  <a:lnTo>
                    <a:pt x="19" y="40"/>
                  </a:lnTo>
                  <a:lnTo>
                    <a:pt x="16" y="40"/>
                  </a:lnTo>
                  <a:lnTo>
                    <a:pt x="14" y="40"/>
                  </a:lnTo>
                  <a:lnTo>
                    <a:pt x="14" y="40"/>
                  </a:lnTo>
                  <a:lnTo>
                    <a:pt x="11" y="38"/>
                  </a:lnTo>
                  <a:lnTo>
                    <a:pt x="11" y="38"/>
                  </a:lnTo>
                  <a:lnTo>
                    <a:pt x="9" y="35"/>
                  </a:lnTo>
                  <a:lnTo>
                    <a:pt x="9" y="38"/>
                  </a:lnTo>
                  <a:lnTo>
                    <a:pt x="9" y="42"/>
                  </a:lnTo>
                  <a:lnTo>
                    <a:pt x="9" y="45"/>
                  </a:lnTo>
                  <a:lnTo>
                    <a:pt x="9" y="49"/>
                  </a:lnTo>
                  <a:lnTo>
                    <a:pt x="9" y="52"/>
                  </a:lnTo>
                  <a:lnTo>
                    <a:pt x="11" y="57"/>
                  </a:lnTo>
                  <a:lnTo>
                    <a:pt x="11" y="57"/>
                  </a:lnTo>
                  <a:lnTo>
                    <a:pt x="14" y="59"/>
                  </a:lnTo>
                  <a:lnTo>
                    <a:pt x="16" y="59"/>
                  </a:lnTo>
                  <a:lnTo>
                    <a:pt x="14" y="57"/>
                  </a:lnTo>
                  <a:lnTo>
                    <a:pt x="14" y="54"/>
                  </a:lnTo>
                  <a:lnTo>
                    <a:pt x="16" y="57"/>
                  </a:lnTo>
                  <a:lnTo>
                    <a:pt x="19" y="57"/>
                  </a:lnTo>
                  <a:lnTo>
                    <a:pt x="21" y="57"/>
                  </a:lnTo>
                  <a:lnTo>
                    <a:pt x="21" y="57"/>
                  </a:lnTo>
                  <a:lnTo>
                    <a:pt x="23" y="57"/>
                  </a:lnTo>
                  <a:lnTo>
                    <a:pt x="23" y="59"/>
                  </a:lnTo>
                  <a:lnTo>
                    <a:pt x="23" y="61"/>
                  </a:lnTo>
                  <a:lnTo>
                    <a:pt x="23" y="61"/>
                  </a:lnTo>
                  <a:lnTo>
                    <a:pt x="26" y="64"/>
                  </a:lnTo>
                  <a:lnTo>
                    <a:pt x="26" y="64"/>
                  </a:lnTo>
                  <a:lnTo>
                    <a:pt x="26" y="64"/>
                  </a:lnTo>
                  <a:lnTo>
                    <a:pt x="23" y="64"/>
                  </a:lnTo>
                  <a:lnTo>
                    <a:pt x="23" y="64"/>
                  </a:lnTo>
                  <a:lnTo>
                    <a:pt x="21" y="64"/>
                  </a:lnTo>
                  <a:lnTo>
                    <a:pt x="19" y="64"/>
                  </a:lnTo>
                  <a:lnTo>
                    <a:pt x="19" y="66"/>
                  </a:lnTo>
                  <a:lnTo>
                    <a:pt x="19" y="68"/>
                  </a:lnTo>
                  <a:lnTo>
                    <a:pt x="19" y="71"/>
                  </a:lnTo>
                  <a:lnTo>
                    <a:pt x="21" y="68"/>
                  </a:lnTo>
                  <a:lnTo>
                    <a:pt x="21" y="68"/>
                  </a:lnTo>
                  <a:lnTo>
                    <a:pt x="23" y="68"/>
                  </a:lnTo>
                  <a:lnTo>
                    <a:pt x="26" y="71"/>
                  </a:lnTo>
                  <a:lnTo>
                    <a:pt x="26" y="71"/>
                  </a:lnTo>
                  <a:lnTo>
                    <a:pt x="28" y="71"/>
                  </a:lnTo>
                  <a:lnTo>
                    <a:pt x="28" y="71"/>
                  </a:lnTo>
                  <a:lnTo>
                    <a:pt x="30" y="73"/>
                  </a:lnTo>
                  <a:lnTo>
                    <a:pt x="30" y="73"/>
                  </a:lnTo>
                  <a:lnTo>
                    <a:pt x="33" y="75"/>
                  </a:lnTo>
                  <a:lnTo>
                    <a:pt x="33" y="78"/>
                  </a:lnTo>
                  <a:lnTo>
                    <a:pt x="33" y="78"/>
                  </a:lnTo>
                  <a:lnTo>
                    <a:pt x="33" y="83"/>
                  </a:lnTo>
                  <a:lnTo>
                    <a:pt x="33" y="85"/>
                  </a:lnTo>
                  <a:lnTo>
                    <a:pt x="33" y="87"/>
                  </a:lnTo>
                  <a:lnTo>
                    <a:pt x="35" y="90"/>
                  </a:lnTo>
                  <a:lnTo>
                    <a:pt x="35" y="92"/>
                  </a:lnTo>
                  <a:lnTo>
                    <a:pt x="35" y="97"/>
                  </a:lnTo>
                  <a:lnTo>
                    <a:pt x="35" y="99"/>
                  </a:lnTo>
                  <a:lnTo>
                    <a:pt x="37" y="104"/>
                  </a:lnTo>
                  <a:lnTo>
                    <a:pt x="37" y="111"/>
                  </a:lnTo>
                  <a:lnTo>
                    <a:pt x="40" y="111"/>
                  </a:lnTo>
                  <a:lnTo>
                    <a:pt x="44" y="111"/>
                  </a:lnTo>
                  <a:lnTo>
                    <a:pt x="47" y="111"/>
                  </a:lnTo>
                  <a:lnTo>
                    <a:pt x="49" y="111"/>
                  </a:lnTo>
                  <a:lnTo>
                    <a:pt x="49" y="109"/>
                  </a:lnTo>
                  <a:lnTo>
                    <a:pt x="52" y="109"/>
                  </a:lnTo>
                  <a:lnTo>
                    <a:pt x="52" y="109"/>
                  </a:lnTo>
                  <a:lnTo>
                    <a:pt x="54" y="109"/>
                  </a:lnTo>
                  <a:lnTo>
                    <a:pt x="54" y="104"/>
                  </a:lnTo>
                  <a:lnTo>
                    <a:pt x="54" y="101"/>
                  </a:lnTo>
                  <a:lnTo>
                    <a:pt x="56" y="99"/>
                  </a:lnTo>
                  <a:lnTo>
                    <a:pt x="59" y="97"/>
                  </a:lnTo>
                  <a:lnTo>
                    <a:pt x="61" y="97"/>
                  </a:lnTo>
                  <a:lnTo>
                    <a:pt x="66" y="94"/>
                  </a:lnTo>
                  <a:lnTo>
                    <a:pt x="70" y="94"/>
                  </a:lnTo>
                  <a:lnTo>
                    <a:pt x="73" y="97"/>
                  </a:lnTo>
                  <a:lnTo>
                    <a:pt x="75" y="97"/>
                  </a:lnTo>
                  <a:lnTo>
                    <a:pt x="77" y="97"/>
                  </a:lnTo>
                  <a:lnTo>
                    <a:pt x="77" y="97"/>
                  </a:lnTo>
                  <a:lnTo>
                    <a:pt x="77" y="94"/>
                  </a:lnTo>
                  <a:lnTo>
                    <a:pt x="77" y="94"/>
                  </a:lnTo>
                  <a:lnTo>
                    <a:pt x="77" y="92"/>
                  </a:lnTo>
                  <a:lnTo>
                    <a:pt x="80" y="92"/>
                  </a:lnTo>
                  <a:lnTo>
                    <a:pt x="82" y="92"/>
                  </a:lnTo>
                  <a:lnTo>
                    <a:pt x="84" y="92"/>
                  </a:lnTo>
                  <a:lnTo>
                    <a:pt x="84" y="92"/>
                  </a:lnTo>
                  <a:lnTo>
                    <a:pt x="87" y="92"/>
                  </a:lnTo>
                  <a:lnTo>
                    <a:pt x="92" y="92"/>
                  </a:lnTo>
                  <a:lnTo>
                    <a:pt x="92" y="92"/>
                  </a:lnTo>
                  <a:lnTo>
                    <a:pt x="94" y="94"/>
                  </a:lnTo>
                  <a:lnTo>
                    <a:pt x="94" y="94"/>
                  </a:lnTo>
                  <a:lnTo>
                    <a:pt x="96" y="94"/>
                  </a:lnTo>
                  <a:lnTo>
                    <a:pt x="96" y="97"/>
                  </a:lnTo>
                  <a:lnTo>
                    <a:pt x="96" y="97"/>
                  </a:lnTo>
                  <a:lnTo>
                    <a:pt x="96" y="99"/>
                  </a:lnTo>
                  <a:lnTo>
                    <a:pt x="99" y="99"/>
                  </a:lnTo>
                  <a:lnTo>
                    <a:pt x="99" y="99"/>
                  </a:lnTo>
                  <a:lnTo>
                    <a:pt x="103" y="99"/>
                  </a:lnTo>
                  <a:lnTo>
                    <a:pt x="106" y="101"/>
                  </a:lnTo>
                  <a:lnTo>
                    <a:pt x="108" y="101"/>
                  </a:lnTo>
                  <a:lnTo>
                    <a:pt x="110" y="101"/>
                  </a:lnTo>
                  <a:lnTo>
                    <a:pt x="113" y="104"/>
                  </a:lnTo>
                  <a:lnTo>
                    <a:pt x="115" y="104"/>
                  </a:lnTo>
                  <a:lnTo>
                    <a:pt x="115" y="106"/>
                  </a:lnTo>
                  <a:lnTo>
                    <a:pt x="117" y="106"/>
                  </a:lnTo>
                  <a:lnTo>
                    <a:pt x="117" y="104"/>
                  </a:lnTo>
                  <a:lnTo>
                    <a:pt x="120" y="104"/>
                  </a:lnTo>
                  <a:lnTo>
                    <a:pt x="120" y="104"/>
                  </a:lnTo>
                  <a:lnTo>
                    <a:pt x="122" y="104"/>
                  </a:lnTo>
                  <a:lnTo>
                    <a:pt x="125" y="104"/>
                  </a:lnTo>
                  <a:lnTo>
                    <a:pt x="132" y="109"/>
                  </a:lnTo>
                  <a:lnTo>
                    <a:pt x="132" y="109"/>
                  </a:lnTo>
                  <a:lnTo>
                    <a:pt x="132" y="109"/>
                  </a:lnTo>
                  <a:lnTo>
                    <a:pt x="132" y="109"/>
                  </a:lnTo>
                  <a:lnTo>
                    <a:pt x="134" y="109"/>
                  </a:lnTo>
                  <a:lnTo>
                    <a:pt x="134" y="111"/>
                  </a:lnTo>
                  <a:lnTo>
                    <a:pt x="136" y="113"/>
                  </a:lnTo>
                  <a:lnTo>
                    <a:pt x="139" y="116"/>
                  </a:lnTo>
                  <a:lnTo>
                    <a:pt x="141" y="116"/>
                  </a:lnTo>
                  <a:lnTo>
                    <a:pt x="146" y="118"/>
                  </a:lnTo>
                  <a:lnTo>
                    <a:pt x="148" y="120"/>
                  </a:lnTo>
                  <a:lnTo>
                    <a:pt x="150" y="123"/>
                  </a:lnTo>
                  <a:lnTo>
                    <a:pt x="153" y="127"/>
                  </a:lnTo>
                  <a:lnTo>
                    <a:pt x="153" y="127"/>
                  </a:lnTo>
                  <a:lnTo>
                    <a:pt x="160" y="127"/>
                  </a:lnTo>
                  <a:lnTo>
                    <a:pt x="167" y="127"/>
                  </a:lnTo>
                  <a:lnTo>
                    <a:pt x="167" y="127"/>
                  </a:lnTo>
                  <a:lnTo>
                    <a:pt x="169" y="132"/>
                  </a:lnTo>
                  <a:lnTo>
                    <a:pt x="169" y="135"/>
                  </a:lnTo>
                  <a:lnTo>
                    <a:pt x="169" y="137"/>
                  </a:lnTo>
                  <a:lnTo>
                    <a:pt x="169" y="139"/>
                  </a:lnTo>
                  <a:lnTo>
                    <a:pt x="169" y="139"/>
                  </a:lnTo>
                  <a:lnTo>
                    <a:pt x="169" y="139"/>
                  </a:lnTo>
                  <a:lnTo>
                    <a:pt x="169" y="142"/>
                  </a:lnTo>
                  <a:lnTo>
                    <a:pt x="172" y="142"/>
                  </a:lnTo>
                  <a:lnTo>
                    <a:pt x="172" y="144"/>
                  </a:lnTo>
                  <a:lnTo>
                    <a:pt x="172" y="146"/>
                  </a:lnTo>
                  <a:lnTo>
                    <a:pt x="172" y="146"/>
                  </a:lnTo>
                  <a:lnTo>
                    <a:pt x="172" y="149"/>
                  </a:lnTo>
                  <a:lnTo>
                    <a:pt x="174" y="149"/>
                  </a:lnTo>
                  <a:lnTo>
                    <a:pt x="174" y="149"/>
                  </a:lnTo>
                  <a:lnTo>
                    <a:pt x="174" y="149"/>
                  </a:lnTo>
                  <a:lnTo>
                    <a:pt x="176" y="151"/>
                  </a:lnTo>
                  <a:lnTo>
                    <a:pt x="179" y="151"/>
                  </a:lnTo>
                  <a:lnTo>
                    <a:pt x="181" y="153"/>
                  </a:lnTo>
                  <a:lnTo>
                    <a:pt x="181" y="153"/>
                  </a:lnTo>
                  <a:lnTo>
                    <a:pt x="183" y="153"/>
                  </a:lnTo>
                  <a:lnTo>
                    <a:pt x="186" y="151"/>
                  </a:lnTo>
                  <a:lnTo>
                    <a:pt x="186" y="153"/>
                  </a:lnTo>
                  <a:lnTo>
                    <a:pt x="188" y="153"/>
                  </a:lnTo>
                  <a:lnTo>
                    <a:pt x="191" y="156"/>
                  </a:lnTo>
                  <a:lnTo>
                    <a:pt x="191" y="156"/>
                  </a:lnTo>
                  <a:lnTo>
                    <a:pt x="193" y="158"/>
                  </a:lnTo>
                  <a:lnTo>
                    <a:pt x="193" y="158"/>
                  </a:lnTo>
                  <a:lnTo>
                    <a:pt x="195" y="156"/>
                  </a:lnTo>
                  <a:lnTo>
                    <a:pt x="195" y="156"/>
                  </a:lnTo>
                  <a:lnTo>
                    <a:pt x="198" y="156"/>
                  </a:lnTo>
                  <a:lnTo>
                    <a:pt x="198" y="156"/>
                  </a:lnTo>
                  <a:lnTo>
                    <a:pt x="200" y="156"/>
                  </a:lnTo>
                  <a:lnTo>
                    <a:pt x="200" y="156"/>
                  </a:lnTo>
                  <a:lnTo>
                    <a:pt x="202" y="153"/>
                  </a:lnTo>
                  <a:lnTo>
                    <a:pt x="205" y="153"/>
                  </a:lnTo>
                  <a:lnTo>
                    <a:pt x="205" y="153"/>
                  </a:lnTo>
                  <a:lnTo>
                    <a:pt x="205" y="149"/>
                  </a:lnTo>
                  <a:lnTo>
                    <a:pt x="205" y="149"/>
                  </a:lnTo>
                  <a:lnTo>
                    <a:pt x="207" y="146"/>
                  </a:lnTo>
                  <a:lnTo>
                    <a:pt x="205" y="146"/>
                  </a:lnTo>
                  <a:lnTo>
                    <a:pt x="205" y="146"/>
                  </a:lnTo>
                  <a:lnTo>
                    <a:pt x="205" y="144"/>
                  </a:lnTo>
                  <a:lnTo>
                    <a:pt x="205" y="144"/>
                  </a:lnTo>
                  <a:lnTo>
                    <a:pt x="205" y="144"/>
                  </a:lnTo>
                  <a:lnTo>
                    <a:pt x="207" y="144"/>
                  </a:lnTo>
                  <a:lnTo>
                    <a:pt x="212" y="142"/>
                  </a:lnTo>
                  <a:lnTo>
                    <a:pt x="214" y="142"/>
                  </a:lnTo>
                  <a:lnTo>
                    <a:pt x="216" y="139"/>
                  </a:lnTo>
                  <a:lnTo>
                    <a:pt x="219" y="139"/>
                  </a:lnTo>
                  <a:lnTo>
                    <a:pt x="219" y="139"/>
                  </a:lnTo>
                  <a:lnTo>
                    <a:pt x="221" y="139"/>
                  </a:lnTo>
                  <a:lnTo>
                    <a:pt x="221" y="139"/>
                  </a:lnTo>
                  <a:lnTo>
                    <a:pt x="221" y="137"/>
                  </a:lnTo>
                  <a:lnTo>
                    <a:pt x="221" y="137"/>
                  </a:lnTo>
                  <a:lnTo>
                    <a:pt x="226" y="135"/>
                  </a:lnTo>
                  <a:lnTo>
                    <a:pt x="226" y="132"/>
                  </a:lnTo>
                  <a:lnTo>
                    <a:pt x="228" y="132"/>
                  </a:lnTo>
                  <a:lnTo>
                    <a:pt x="228" y="127"/>
                  </a:lnTo>
                  <a:lnTo>
                    <a:pt x="228" y="125"/>
                  </a:lnTo>
                  <a:lnTo>
                    <a:pt x="228" y="120"/>
                  </a:lnTo>
                  <a:lnTo>
                    <a:pt x="228" y="118"/>
                  </a:lnTo>
                  <a:lnTo>
                    <a:pt x="228" y="116"/>
                  </a:lnTo>
                  <a:lnTo>
                    <a:pt x="231" y="116"/>
                  </a:lnTo>
                  <a:lnTo>
                    <a:pt x="233" y="113"/>
                  </a:lnTo>
                  <a:lnTo>
                    <a:pt x="238" y="113"/>
                  </a:lnTo>
                  <a:lnTo>
                    <a:pt x="242" y="113"/>
                  </a:lnTo>
                  <a:lnTo>
                    <a:pt x="242" y="111"/>
                  </a:lnTo>
                  <a:lnTo>
                    <a:pt x="242" y="109"/>
                  </a:lnTo>
                  <a:lnTo>
                    <a:pt x="242" y="109"/>
                  </a:lnTo>
                  <a:lnTo>
                    <a:pt x="242" y="106"/>
                  </a:lnTo>
                  <a:lnTo>
                    <a:pt x="245" y="106"/>
                  </a:lnTo>
                  <a:lnTo>
                    <a:pt x="247" y="109"/>
                  </a:lnTo>
                  <a:lnTo>
                    <a:pt x="249" y="111"/>
                  </a:lnTo>
                  <a:lnTo>
                    <a:pt x="254" y="111"/>
                  </a:lnTo>
                  <a:lnTo>
                    <a:pt x="257" y="111"/>
                  </a:lnTo>
                  <a:lnTo>
                    <a:pt x="259" y="111"/>
                  </a:lnTo>
                  <a:lnTo>
                    <a:pt x="257" y="10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3" name="Freeform 219"/>
            <p:cNvSpPr>
              <a:spLocks noEditPoints="1"/>
            </p:cNvSpPr>
            <p:nvPr userDrawn="1"/>
          </p:nvSpPr>
          <p:spPr bwMode="auto">
            <a:xfrm>
              <a:off x="4108" y="1921"/>
              <a:ext cx="337" cy="130"/>
            </a:xfrm>
            <a:custGeom>
              <a:avLst/>
              <a:gdLst>
                <a:gd name="T0" fmla="*/ 334 w 337"/>
                <a:gd name="T1" fmla="*/ 99 h 130"/>
                <a:gd name="T2" fmla="*/ 330 w 337"/>
                <a:gd name="T3" fmla="*/ 92 h 130"/>
                <a:gd name="T4" fmla="*/ 325 w 337"/>
                <a:gd name="T5" fmla="*/ 83 h 130"/>
                <a:gd name="T6" fmla="*/ 325 w 337"/>
                <a:gd name="T7" fmla="*/ 76 h 130"/>
                <a:gd name="T8" fmla="*/ 320 w 337"/>
                <a:gd name="T9" fmla="*/ 61 h 130"/>
                <a:gd name="T10" fmla="*/ 318 w 337"/>
                <a:gd name="T11" fmla="*/ 54 h 130"/>
                <a:gd name="T12" fmla="*/ 325 w 337"/>
                <a:gd name="T13" fmla="*/ 45 h 130"/>
                <a:gd name="T14" fmla="*/ 320 w 337"/>
                <a:gd name="T15" fmla="*/ 43 h 130"/>
                <a:gd name="T16" fmla="*/ 306 w 337"/>
                <a:gd name="T17" fmla="*/ 35 h 130"/>
                <a:gd name="T18" fmla="*/ 304 w 337"/>
                <a:gd name="T19" fmla="*/ 24 h 130"/>
                <a:gd name="T20" fmla="*/ 297 w 337"/>
                <a:gd name="T21" fmla="*/ 17 h 130"/>
                <a:gd name="T22" fmla="*/ 290 w 337"/>
                <a:gd name="T23" fmla="*/ 9 h 130"/>
                <a:gd name="T24" fmla="*/ 280 w 337"/>
                <a:gd name="T25" fmla="*/ 12 h 130"/>
                <a:gd name="T26" fmla="*/ 261 w 337"/>
                <a:gd name="T27" fmla="*/ 17 h 130"/>
                <a:gd name="T28" fmla="*/ 233 w 337"/>
                <a:gd name="T29" fmla="*/ 19 h 130"/>
                <a:gd name="T30" fmla="*/ 188 w 337"/>
                <a:gd name="T31" fmla="*/ 14 h 130"/>
                <a:gd name="T32" fmla="*/ 172 w 337"/>
                <a:gd name="T33" fmla="*/ 7 h 130"/>
                <a:gd name="T34" fmla="*/ 153 w 337"/>
                <a:gd name="T35" fmla="*/ 2 h 130"/>
                <a:gd name="T36" fmla="*/ 96 w 337"/>
                <a:gd name="T37" fmla="*/ 19 h 130"/>
                <a:gd name="T38" fmla="*/ 56 w 337"/>
                <a:gd name="T39" fmla="*/ 21 h 130"/>
                <a:gd name="T40" fmla="*/ 59 w 337"/>
                <a:gd name="T41" fmla="*/ 28 h 130"/>
                <a:gd name="T42" fmla="*/ 52 w 337"/>
                <a:gd name="T43" fmla="*/ 35 h 130"/>
                <a:gd name="T44" fmla="*/ 35 w 337"/>
                <a:gd name="T45" fmla="*/ 33 h 130"/>
                <a:gd name="T46" fmla="*/ 23 w 337"/>
                <a:gd name="T47" fmla="*/ 35 h 130"/>
                <a:gd name="T48" fmla="*/ 9 w 337"/>
                <a:gd name="T49" fmla="*/ 52 h 130"/>
                <a:gd name="T50" fmla="*/ 19 w 337"/>
                <a:gd name="T51" fmla="*/ 57 h 130"/>
                <a:gd name="T52" fmla="*/ 23 w 337"/>
                <a:gd name="T53" fmla="*/ 66 h 130"/>
                <a:gd name="T54" fmla="*/ 28 w 337"/>
                <a:gd name="T55" fmla="*/ 76 h 130"/>
                <a:gd name="T56" fmla="*/ 19 w 337"/>
                <a:gd name="T57" fmla="*/ 71 h 130"/>
                <a:gd name="T58" fmla="*/ 14 w 337"/>
                <a:gd name="T59" fmla="*/ 78 h 130"/>
                <a:gd name="T60" fmla="*/ 28 w 337"/>
                <a:gd name="T61" fmla="*/ 83 h 130"/>
                <a:gd name="T62" fmla="*/ 33 w 337"/>
                <a:gd name="T63" fmla="*/ 97 h 130"/>
                <a:gd name="T64" fmla="*/ 33 w 337"/>
                <a:gd name="T65" fmla="*/ 106 h 130"/>
                <a:gd name="T66" fmla="*/ 37 w 337"/>
                <a:gd name="T67" fmla="*/ 109 h 130"/>
                <a:gd name="T68" fmla="*/ 45 w 337"/>
                <a:gd name="T69" fmla="*/ 113 h 130"/>
                <a:gd name="T70" fmla="*/ 63 w 337"/>
                <a:gd name="T71" fmla="*/ 111 h 130"/>
                <a:gd name="T72" fmla="*/ 82 w 337"/>
                <a:gd name="T73" fmla="*/ 121 h 130"/>
                <a:gd name="T74" fmla="*/ 92 w 337"/>
                <a:gd name="T75" fmla="*/ 109 h 130"/>
                <a:gd name="T76" fmla="*/ 125 w 337"/>
                <a:gd name="T77" fmla="*/ 125 h 130"/>
                <a:gd name="T78" fmla="*/ 155 w 337"/>
                <a:gd name="T79" fmla="*/ 113 h 130"/>
                <a:gd name="T80" fmla="*/ 179 w 337"/>
                <a:gd name="T81" fmla="*/ 111 h 130"/>
                <a:gd name="T82" fmla="*/ 186 w 337"/>
                <a:gd name="T83" fmla="*/ 116 h 130"/>
                <a:gd name="T84" fmla="*/ 188 w 337"/>
                <a:gd name="T85" fmla="*/ 128 h 130"/>
                <a:gd name="T86" fmla="*/ 193 w 337"/>
                <a:gd name="T87" fmla="*/ 116 h 130"/>
                <a:gd name="T88" fmla="*/ 205 w 337"/>
                <a:gd name="T89" fmla="*/ 113 h 130"/>
                <a:gd name="T90" fmla="*/ 226 w 337"/>
                <a:gd name="T91" fmla="*/ 106 h 130"/>
                <a:gd name="T92" fmla="*/ 250 w 337"/>
                <a:gd name="T93" fmla="*/ 111 h 130"/>
                <a:gd name="T94" fmla="*/ 280 w 337"/>
                <a:gd name="T95" fmla="*/ 104 h 130"/>
                <a:gd name="T96" fmla="*/ 294 w 337"/>
                <a:gd name="T97" fmla="*/ 102 h 130"/>
                <a:gd name="T98" fmla="*/ 309 w 337"/>
                <a:gd name="T99" fmla="*/ 97 h 130"/>
                <a:gd name="T100" fmla="*/ 325 w 337"/>
                <a:gd name="T101" fmla="*/ 99 h 130"/>
                <a:gd name="T102" fmla="*/ 330 w 337"/>
                <a:gd name="T103" fmla="*/ 104 h 130"/>
                <a:gd name="T104" fmla="*/ 12 w 337"/>
                <a:gd name="T105" fmla="*/ 31 h 130"/>
                <a:gd name="T106" fmla="*/ 9 w 337"/>
                <a:gd name="T107" fmla="*/ 40 h 130"/>
                <a:gd name="T108" fmla="*/ 30 w 337"/>
                <a:gd name="T109" fmla="*/ 21 h 130"/>
                <a:gd name="T110" fmla="*/ 56 w 337"/>
                <a:gd name="T111" fmla="*/ 19 h 130"/>
                <a:gd name="T112" fmla="*/ 35 w 337"/>
                <a:gd name="T113" fmla="*/ 2 h 130"/>
                <a:gd name="T114" fmla="*/ 26 w 337"/>
                <a:gd name="T115" fmla="*/ 0 h 130"/>
                <a:gd name="T116" fmla="*/ 14 w 337"/>
                <a:gd name="T117" fmla="*/ 2 h 130"/>
                <a:gd name="T118" fmla="*/ 12 w 337"/>
                <a:gd name="T119" fmla="*/ 9 h 130"/>
                <a:gd name="T120" fmla="*/ 12 w 337"/>
                <a:gd name="T121" fmla="*/ 19 h 130"/>
                <a:gd name="T122" fmla="*/ 7 w 337"/>
                <a:gd name="T123" fmla="*/ 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 h="130">
                  <a:moveTo>
                    <a:pt x="5" y="38"/>
                  </a:moveTo>
                  <a:lnTo>
                    <a:pt x="2" y="38"/>
                  </a:lnTo>
                  <a:lnTo>
                    <a:pt x="0" y="40"/>
                  </a:lnTo>
                  <a:lnTo>
                    <a:pt x="2" y="40"/>
                  </a:lnTo>
                  <a:lnTo>
                    <a:pt x="5" y="40"/>
                  </a:lnTo>
                  <a:lnTo>
                    <a:pt x="7" y="38"/>
                  </a:lnTo>
                  <a:lnTo>
                    <a:pt x="5" y="38"/>
                  </a:lnTo>
                  <a:lnTo>
                    <a:pt x="5" y="38"/>
                  </a:lnTo>
                  <a:close/>
                  <a:moveTo>
                    <a:pt x="334" y="99"/>
                  </a:moveTo>
                  <a:lnTo>
                    <a:pt x="337" y="99"/>
                  </a:lnTo>
                  <a:lnTo>
                    <a:pt x="337" y="99"/>
                  </a:lnTo>
                  <a:lnTo>
                    <a:pt x="334" y="97"/>
                  </a:lnTo>
                  <a:lnTo>
                    <a:pt x="332" y="97"/>
                  </a:lnTo>
                  <a:lnTo>
                    <a:pt x="332" y="95"/>
                  </a:lnTo>
                  <a:lnTo>
                    <a:pt x="332" y="95"/>
                  </a:lnTo>
                  <a:lnTo>
                    <a:pt x="332" y="92"/>
                  </a:lnTo>
                  <a:lnTo>
                    <a:pt x="332" y="92"/>
                  </a:lnTo>
                  <a:lnTo>
                    <a:pt x="330" y="92"/>
                  </a:lnTo>
                  <a:lnTo>
                    <a:pt x="330" y="90"/>
                  </a:lnTo>
                  <a:lnTo>
                    <a:pt x="332" y="90"/>
                  </a:lnTo>
                  <a:lnTo>
                    <a:pt x="330" y="90"/>
                  </a:lnTo>
                  <a:lnTo>
                    <a:pt x="327" y="87"/>
                  </a:lnTo>
                  <a:lnTo>
                    <a:pt x="327" y="85"/>
                  </a:lnTo>
                  <a:lnTo>
                    <a:pt x="325" y="85"/>
                  </a:lnTo>
                  <a:lnTo>
                    <a:pt x="325" y="85"/>
                  </a:lnTo>
                  <a:lnTo>
                    <a:pt x="325" y="85"/>
                  </a:lnTo>
                  <a:lnTo>
                    <a:pt x="325" y="83"/>
                  </a:lnTo>
                  <a:lnTo>
                    <a:pt x="325" y="80"/>
                  </a:lnTo>
                  <a:lnTo>
                    <a:pt x="325" y="80"/>
                  </a:lnTo>
                  <a:lnTo>
                    <a:pt x="325" y="78"/>
                  </a:lnTo>
                  <a:lnTo>
                    <a:pt x="325" y="78"/>
                  </a:lnTo>
                  <a:lnTo>
                    <a:pt x="327" y="76"/>
                  </a:lnTo>
                  <a:lnTo>
                    <a:pt x="327" y="76"/>
                  </a:lnTo>
                  <a:lnTo>
                    <a:pt x="327" y="76"/>
                  </a:lnTo>
                  <a:lnTo>
                    <a:pt x="325" y="76"/>
                  </a:lnTo>
                  <a:lnTo>
                    <a:pt x="325" y="76"/>
                  </a:lnTo>
                  <a:lnTo>
                    <a:pt x="325" y="76"/>
                  </a:lnTo>
                  <a:lnTo>
                    <a:pt x="325" y="73"/>
                  </a:lnTo>
                  <a:lnTo>
                    <a:pt x="325" y="71"/>
                  </a:lnTo>
                  <a:lnTo>
                    <a:pt x="323" y="69"/>
                  </a:lnTo>
                  <a:lnTo>
                    <a:pt x="323" y="69"/>
                  </a:lnTo>
                  <a:lnTo>
                    <a:pt x="323" y="66"/>
                  </a:lnTo>
                  <a:lnTo>
                    <a:pt x="323" y="64"/>
                  </a:lnTo>
                  <a:lnTo>
                    <a:pt x="320" y="64"/>
                  </a:lnTo>
                  <a:lnTo>
                    <a:pt x="320" y="61"/>
                  </a:lnTo>
                  <a:lnTo>
                    <a:pt x="320" y="61"/>
                  </a:lnTo>
                  <a:lnTo>
                    <a:pt x="320" y="61"/>
                  </a:lnTo>
                  <a:lnTo>
                    <a:pt x="320" y="59"/>
                  </a:lnTo>
                  <a:lnTo>
                    <a:pt x="320" y="59"/>
                  </a:lnTo>
                  <a:lnTo>
                    <a:pt x="320" y="59"/>
                  </a:lnTo>
                  <a:lnTo>
                    <a:pt x="318" y="57"/>
                  </a:lnTo>
                  <a:lnTo>
                    <a:pt x="318" y="57"/>
                  </a:lnTo>
                  <a:lnTo>
                    <a:pt x="318" y="54"/>
                  </a:lnTo>
                  <a:lnTo>
                    <a:pt x="318" y="54"/>
                  </a:lnTo>
                  <a:lnTo>
                    <a:pt x="318" y="54"/>
                  </a:lnTo>
                  <a:lnTo>
                    <a:pt x="318" y="54"/>
                  </a:lnTo>
                  <a:lnTo>
                    <a:pt x="318" y="54"/>
                  </a:lnTo>
                  <a:lnTo>
                    <a:pt x="320" y="54"/>
                  </a:lnTo>
                  <a:lnTo>
                    <a:pt x="323" y="54"/>
                  </a:lnTo>
                  <a:lnTo>
                    <a:pt x="323" y="52"/>
                  </a:lnTo>
                  <a:lnTo>
                    <a:pt x="323" y="47"/>
                  </a:lnTo>
                  <a:lnTo>
                    <a:pt x="325" y="47"/>
                  </a:lnTo>
                  <a:lnTo>
                    <a:pt x="325" y="45"/>
                  </a:lnTo>
                  <a:lnTo>
                    <a:pt x="327" y="47"/>
                  </a:lnTo>
                  <a:lnTo>
                    <a:pt x="330" y="47"/>
                  </a:lnTo>
                  <a:lnTo>
                    <a:pt x="330" y="47"/>
                  </a:lnTo>
                  <a:lnTo>
                    <a:pt x="330" y="47"/>
                  </a:lnTo>
                  <a:lnTo>
                    <a:pt x="330" y="47"/>
                  </a:lnTo>
                  <a:lnTo>
                    <a:pt x="327" y="47"/>
                  </a:lnTo>
                  <a:lnTo>
                    <a:pt x="325" y="43"/>
                  </a:lnTo>
                  <a:lnTo>
                    <a:pt x="323" y="40"/>
                  </a:lnTo>
                  <a:lnTo>
                    <a:pt x="320" y="43"/>
                  </a:lnTo>
                  <a:lnTo>
                    <a:pt x="318" y="43"/>
                  </a:lnTo>
                  <a:lnTo>
                    <a:pt x="316" y="43"/>
                  </a:lnTo>
                  <a:lnTo>
                    <a:pt x="313" y="43"/>
                  </a:lnTo>
                  <a:lnTo>
                    <a:pt x="311" y="40"/>
                  </a:lnTo>
                  <a:lnTo>
                    <a:pt x="309" y="40"/>
                  </a:lnTo>
                  <a:lnTo>
                    <a:pt x="309" y="40"/>
                  </a:lnTo>
                  <a:lnTo>
                    <a:pt x="309" y="40"/>
                  </a:lnTo>
                  <a:lnTo>
                    <a:pt x="309" y="38"/>
                  </a:lnTo>
                  <a:lnTo>
                    <a:pt x="306" y="35"/>
                  </a:lnTo>
                  <a:lnTo>
                    <a:pt x="306" y="35"/>
                  </a:lnTo>
                  <a:lnTo>
                    <a:pt x="306" y="33"/>
                  </a:lnTo>
                  <a:lnTo>
                    <a:pt x="306" y="33"/>
                  </a:lnTo>
                  <a:lnTo>
                    <a:pt x="309" y="31"/>
                  </a:lnTo>
                  <a:lnTo>
                    <a:pt x="309" y="28"/>
                  </a:lnTo>
                  <a:lnTo>
                    <a:pt x="309" y="28"/>
                  </a:lnTo>
                  <a:lnTo>
                    <a:pt x="306" y="26"/>
                  </a:lnTo>
                  <a:lnTo>
                    <a:pt x="306" y="24"/>
                  </a:lnTo>
                  <a:lnTo>
                    <a:pt x="304" y="24"/>
                  </a:lnTo>
                  <a:lnTo>
                    <a:pt x="304" y="21"/>
                  </a:lnTo>
                  <a:lnTo>
                    <a:pt x="301" y="21"/>
                  </a:lnTo>
                  <a:lnTo>
                    <a:pt x="301" y="19"/>
                  </a:lnTo>
                  <a:lnTo>
                    <a:pt x="301" y="19"/>
                  </a:lnTo>
                  <a:lnTo>
                    <a:pt x="301" y="19"/>
                  </a:lnTo>
                  <a:lnTo>
                    <a:pt x="301" y="19"/>
                  </a:lnTo>
                  <a:lnTo>
                    <a:pt x="301" y="19"/>
                  </a:lnTo>
                  <a:lnTo>
                    <a:pt x="299" y="19"/>
                  </a:lnTo>
                  <a:lnTo>
                    <a:pt x="297" y="17"/>
                  </a:lnTo>
                  <a:lnTo>
                    <a:pt x="297" y="17"/>
                  </a:lnTo>
                  <a:lnTo>
                    <a:pt x="297" y="17"/>
                  </a:lnTo>
                  <a:lnTo>
                    <a:pt x="297" y="17"/>
                  </a:lnTo>
                  <a:lnTo>
                    <a:pt x="297" y="17"/>
                  </a:lnTo>
                  <a:lnTo>
                    <a:pt x="294" y="14"/>
                  </a:lnTo>
                  <a:lnTo>
                    <a:pt x="292" y="12"/>
                  </a:lnTo>
                  <a:lnTo>
                    <a:pt x="290" y="12"/>
                  </a:lnTo>
                  <a:lnTo>
                    <a:pt x="290" y="9"/>
                  </a:lnTo>
                  <a:lnTo>
                    <a:pt x="290" y="9"/>
                  </a:lnTo>
                  <a:lnTo>
                    <a:pt x="287" y="9"/>
                  </a:lnTo>
                  <a:lnTo>
                    <a:pt x="287" y="9"/>
                  </a:lnTo>
                  <a:lnTo>
                    <a:pt x="287" y="9"/>
                  </a:lnTo>
                  <a:lnTo>
                    <a:pt x="285" y="9"/>
                  </a:lnTo>
                  <a:lnTo>
                    <a:pt x="285" y="12"/>
                  </a:lnTo>
                  <a:lnTo>
                    <a:pt x="285" y="12"/>
                  </a:lnTo>
                  <a:lnTo>
                    <a:pt x="283" y="12"/>
                  </a:lnTo>
                  <a:lnTo>
                    <a:pt x="280" y="12"/>
                  </a:lnTo>
                  <a:lnTo>
                    <a:pt x="280" y="12"/>
                  </a:lnTo>
                  <a:lnTo>
                    <a:pt x="278" y="12"/>
                  </a:lnTo>
                  <a:lnTo>
                    <a:pt x="276" y="12"/>
                  </a:lnTo>
                  <a:lnTo>
                    <a:pt x="273" y="12"/>
                  </a:lnTo>
                  <a:lnTo>
                    <a:pt x="273" y="12"/>
                  </a:lnTo>
                  <a:lnTo>
                    <a:pt x="271" y="12"/>
                  </a:lnTo>
                  <a:lnTo>
                    <a:pt x="268" y="12"/>
                  </a:lnTo>
                  <a:lnTo>
                    <a:pt x="268" y="12"/>
                  </a:lnTo>
                  <a:lnTo>
                    <a:pt x="266" y="14"/>
                  </a:lnTo>
                  <a:lnTo>
                    <a:pt x="261" y="17"/>
                  </a:lnTo>
                  <a:lnTo>
                    <a:pt x="259" y="17"/>
                  </a:lnTo>
                  <a:lnTo>
                    <a:pt x="257" y="19"/>
                  </a:lnTo>
                  <a:lnTo>
                    <a:pt x="254" y="19"/>
                  </a:lnTo>
                  <a:lnTo>
                    <a:pt x="247" y="24"/>
                  </a:lnTo>
                  <a:lnTo>
                    <a:pt x="245" y="24"/>
                  </a:lnTo>
                  <a:lnTo>
                    <a:pt x="243" y="21"/>
                  </a:lnTo>
                  <a:lnTo>
                    <a:pt x="243" y="24"/>
                  </a:lnTo>
                  <a:lnTo>
                    <a:pt x="240" y="21"/>
                  </a:lnTo>
                  <a:lnTo>
                    <a:pt x="233" y="19"/>
                  </a:lnTo>
                  <a:lnTo>
                    <a:pt x="224" y="21"/>
                  </a:lnTo>
                  <a:lnTo>
                    <a:pt x="219" y="24"/>
                  </a:lnTo>
                  <a:lnTo>
                    <a:pt x="217" y="24"/>
                  </a:lnTo>
                  <a:lnTo>
                    <a:pt x="207" y="21"/>
                  </a:lnTo>
                  <a:lnTo>
                    <a:pt x="205" y="21"/>
                  </a:lnTo>
                  <a:lnTo>
                    <a:pt x="200" y="19"/>
                  </a:lnTo>
                  <a:lnTo>
                    <a:pt x="193" y="19"/>
                  </a:lnTo>
                  <a:lnTo>
                    <a:pt x="191" y="17"/>
                  </a:lnTo>
                  <a:lnTo>
                    <a:pt x="188" y="14"/>
                  </a:lnTo>
                  <a:lnTo>
                    <a:pt x="186" y="14"/>
                  </a:lnTo>
                  <a:lnTo>
                    <a:pt x="184" y="14"/>
                  </a:lnTo>
                  <a:lnTo>
                    <a:pt x="184" y="17"/>
                  </a:lnTo>
                  <a:lnTo>
                    <a:pt x="181" y="17"/>
                  </a:lnTo>
                  <a:lnTo>
                    <a:pt x="179" y="14"/>
                  </a:lnTo>
                  <a:lnTo>
                    <a:pt x="177" y="14"/>
                  </a:lnTo>
                  <a:lnTo>
                    <a:pt x="174" y="7"/>
                  </a:lnTo>
                  <a:lnTo>
                    <a:pt x="174" y="7"/>
                  </a:lnTo>
                  <a:lnTo>
                    <a:pt x="172" y="7"/>
                  </a:lnTo>
                  <a:lnTo>
                    <a:pt x="167" y="9"/>
                  </a:lnTo>
                  <a:lnTo>
                    <a:pt x="162" y="7"/>
                  </a:lnTo>
                  <a:lnTo>
                    <a:pt x="160" y="5"/>
                  </a:lnTo>
                  <a:lnTo>
                    <a:pt x="158" y="2"/>
                  </a:lnTo>
                  <a:lnTo>
                    <a:pt x="158" y="2"/>
                  </a:lnTo>
                  <a:lnTo>
                    <a:pt x="158" y="2"/>
                  </a:lnTo>
                  <a:lnTo>
                    <a:pt x="158" y="0"/>
                  </a:lnTo>
                  <a:lnTo>
                    <a:pt x="155" y="0"/>
                  </a:lnTo>
                  <a:lnTo>
                    <a:pt x="153" y="2"/>
                  </a:lnTo>
                  <a:lnTo>
                    <a:pt x="144" y="2"/>
                  </a:lnTo>
                  <a:lnTo>
                    <a:pt x="129" y="0"/>
                  </a:lnTo>
                  <a:lnTo>
                    <a:pt x="127" y="0"/>
                  </a:lnTo>
                  <a:lnTo>
                    <a:pt x="122" y="2"/>
                  </a:lnTo>
                  <a:lnTo>
                    <a:pt x="115" y="5"/>
                  </a:lnTo>
                  <a:lnTo>
                    <a:pt x="111" y="7"/>
                  </a:lnTo>
                  <a:lnTo>
                    <a:pt x="108" y="9"/>
                  </a:lnTo>
                  <a:lnTo>
                    <a:pt x="96" y="14"/>
                  </a:lnTo>
                  <a:lnTo>
                    <a:pt x="96" y="19"/>
                  </a:lnTo>
                  <a:lnTo>
                    <a:pt x="94" y="19"/>
                  </a:lnTo>
                  <a:lnTo>
                    <a:pt x="87" y="19"/>
                  </a:lnTo>
                  <a:lnTo>
                    <a:pt x="78" y="19"/>
                  </a:lnTo>
                  <a:lnTo>
                    <a:pt x="70" y="19"/>
                  </a:lnTo>
                  <a:lnTo>
                    <a:pt x="61" y="17"/>
                  </a:lnTo>
                  <a:lnTo>
                    <a:pt x="59" y="17"/>
                  </a:lnTo>
                  <a:lnTo>
                    <a:pt x="56" y="19"/>
                  </a:lnTo>
                  <a:lnTo>
                    <a:pt x="56" y="19"/>
                  </a:lnTo>
                  <a:lnTo>
                    <a:pt x="56" y="21"/>
                  </a:lnTo>
                  <a:lnTo>
                    <a:pt x="59" y="24"/>
                  </a:lnTo>
                  <a:lnTo>
                    <a:pt x="59" y="24"/>
                  </a:lnTo>
                  <a:lnTo>
                    <a:pt x="61" y="26"/>
                  </a:lnTo>
                  <a:lnTo>
                    <a:pt x="63" y="26"/>
                  </a:lnTo>
                  <a:lnTo>
                    <a:pt x="70" y="26"/>
                  </a:lnTo>
                  <a:lnTo>
                    <a:pt x="70" y="26"/>
                  </a:lnTo>
                  <a:lnTo>
                    <a:pt x="70" y="28"/>
                  </a:lnTo>
                  <a:lnTo>
                    <a:pt x="66" y="28"/>
                  </a:lnTo>
                  <a:lnTo>
                    <a:pt x="59" y="28"/>
                  </a:lnTo>
                  <a:lnTo>
                    <a:pt x="56" y="28"/>
                  </a:lnTo>
                  <a:lnTo>
                    <a:pt x="54" y="31"/>
                  </a:lnTo>
                  <a:lnTo>
                    <a:pt x="54" y="33"/>
                  </a:lnTo>
                  <a:lnTo>
                    <a:pt x="54" y="33"/>
                  </a:lnTo>
                  <a:lnTo>
                    <a:pt x="56" y="33"/>
                  </a:lnTo>
                  <a:lnTo>
                    <a:pt x="59" y="33"/>
                  </a:lnTo>
                  <a:lnTo>
                    <a:pt x="56" y="35"/>
                  </a:lnTo>
                  <a:lnTo>
                    <a:pt x="52" y="35"/>
                  </a:lnTo>
                  <a:lnTo>
                    <a:pt x="52" y="35"/>
                  </a:lnTo>
                  <a:lnTo>
                    <a:pt x="45" y="33"/>
                  </a:lnTo>
                  <a:lnTo>
                    <a:pt x="40" y="35"/>
                  </a:lnTo>
                  <a:lnTo>
                    <a:pt x="40" y="35"/>
                  </a:lnTo>
                  <a:lnTo>
                    <a:pt x="40" y="33"/>
                  </a:lnTo>
                  <a:lnTo>
                    <a:pt x="40" y="33"/>
                  </a:lnTo>
                  <a:lnTo>
                    <a:pt x="40" y="33"/>
                  </a:lnTo>
                  <a:lnTo>
                    <a:pt x="37" y="33"/>
                  </a:lnTo>
                  <a:lnTo>
                    <a:pt x="35" y="33"/>
                  </a:lnTo>
                  <a:lnTo>
                    <a:pt x="35" y="33"/>
                  </a:lnTo>
                  <a:lnTo>
                    <a:pt x="37" y="35"/>
                  </a:lnTo>
                  <a:lnTo>
                    <a:pt x="37" y="35"/>
                  </a:lnTo>
                  <a:lnTo>
                    <a:pt x="35" y="35"/>
                  </a:lnTo>
                  <a:lnTo>
                    <a:pt x="30" y="35"/>
                  </a:lnTo>
                  <a:lnTo>
                    <a:pt x="28" y="35"/>
                  </a:lnTo>
                  <a:lnTo>
                    <a:pt x="28" y="33"/>
                  </a:lnTo>
                  <a:lnTo>
                    <a:pt x="28" y="33"/>
                  </a:lnTo>
                  <a:lnTo>
                    <a:pt x="26" y="33"/>
                  </a:lnTo>
                  <a:lnTo>
                    <a:pt x="23" y="35"/>
                  </a:lnTo>
                  <a:lnTo>
                    <a:pt x="19" y="35"/>
                  </a:lnTo>
                  <a:lnTo>
                    <a:pt x="14" y="38"/>
                  </a:lnTo>
                  <a:lnTo>
                    <a:pt x="12" y="43"/>
                  </a:lnTo>
                  <a:lnTo>
                    <a:pt x="9" y="40"/>
                  </a:lnTo>
                  <a:lnTo>
                    <a:pt x="9" y="43"/>
                  </a:lnTo>
                  <a:lnTo>
                    <a:pt x="9" y="47"/>
                  </a:lnTo>
                  <a:lnTo>
                    <a:pt x="9" y="50"/>
                  </a:lnTo>
                  <a:lnTo>
                    <a:pt x="9" y="52"/>
                  </a:lnTo>
                  <a:lnTo>
                    <a:pt x="9" y="52"/>
                  </a:lnTo>
                  <a:lnTo>
                    <a:pt x="14" y="52"/>
                  </a:lnTo>
                  <a:lnTo>
                    <a:pt x="16" y="52"/>
                  </a:lnTo>
                  <a:lnTo>
                    <a:pt x="21" y="50"/>
                  </a:lnTo>
                  <a:lnTo>
                    <a:pt x="23" y="50"/>
                  </a:lnTo>
                  <a:lnTo>
                    <a:pt x="23" y="52"/>
                  </a:lnTo>
                  <a:lnTo>
                    <a:pt x="21" y="52"/>
                  </a:lnTo>
                  <a:lnTo>
                    <a:pt x="19" y="54"/>
                  </a:lnTo>
                  <a:lnTo>
                    <a:pt x="19" y="57"/>
                  </a:lnTo>
                  <a:lnTo>
                    <a:pt x="19" y="57"/>
                  </a:lnTo>
                  <a:lnTo>
                    <a:pt x="21" y="59"/>
                  </a:lnTo>
                  <a:lnTo>
                    <a:pt x="21" y="61"/>
                  </a:lnTo>
                  <a:lnTo>
                    <a:pt x="21" y="61"/>
                  </a:lnTo>
                  <a:lnTo>
                    <a:pt x="21" y="64"/>
                  </a:lnTo>
                  <a:lnTo>
                    <a:pt x="23" y="64"/>
                  </a:lnTo>
                  <a:lnTo>
                    <a:pt x="23" y="64"/>
                  </a:lnTo>
                  <a:lnTo>
                    <a:pt x="23" y="64"/>
                  </a:lnTo>
                  <a:lnTo>
                    <a:pt x="26" y="64"/>
                  </a:lnTo>
                  <a:lnTo>
                    <a:pt x="23" y="66"/>
                  </a:lnTo>
                  <a:lnTo>
                    <a:pt x="21" y="69"/>
                  </a:lnTo>
                  <a:lnTo>
                    <a:pt x="21" y="69"/>
                  </a:lnTo>
                  <a:lnTo>
                    <a:pt x="21" y="69"/>
                  </a:lnTo>
                  <a:lnTo>
                    <a:pt x="21" y="71"/>
                  </a:lnTo>
                  <a:lnTo>
                    <a:pt x="23" y="71"/>
                  </a:lnTo>
                  <a:lnTo>
                    <a:pt x="23" y="73"/>
                  </a:lnTo>
                  <a:lnTo>
                    <a:pt x="26" y="73"/>
                  </a:lnTo>
                  <a:lnTo>
                    <a:pt x="28" y="73"/>
                  </a:lnTo>
                  <a:lnTo>
                    <a:pt x="28" y="76"/>
                  </a:lnTo>
                  <a:lnTo>
                    <a:pt x="23" y="76"/>
                  </a:lnTo>
                  <a:lnTo>
                    <a:pt x="21" y="76"/>
                  </a:lnTo>
                  <a:lnTo>
                    <a:pt x="21" y="73"/>
                  </a:lnTo>
                  <a:lnTo>
                    <a:pt x="21" y="76"/>
                  </a:lnTo>
                  <a:lnTo>
                    <a:pt x="21" y="76"/>
                  </a:lnTo>
                  <a:lnTo>
                    <a:pt x="19" y="76"/>
                  </a:lnTo>
                  <a:lnTo>
                    <a:pt x="19" y="73"/>
                  </a:lnTo>
                  <a:lnTo>
                    <a:pt x="19" y="73"/>
                  </a:lnTo>
                  <a:lnTo>
                    <a:pt x="19" y="71"/>
                  </a:lnTo>
                  <a:lnTo>
                    <a:pt x="16" y="71"/>
                  </a:lnTo>
                  <a:lnTo>
                    <a:pt x="16" y="69"/>
                  </a:lnTo>
                  <a:lnTo>
                    <a:pt x="14" y="71"/>
                  </a:lnTo>
                  <a:lnTo>
                    <a:pt x="14" y="71"/>
                  </a:lnTo>
                  <a:lnTo>
                    <a:pt x="16" y="73"/>
                  </a:lnTo>
                  <a:lnTo>
                    <a:pt x="16" y="76"/>
                  </a:lnTo>
                  <a:lnTo>
                    <a:pt x="14" y="76"/>
                  </a:lnTo>
                  <a:lnTo>
                    <a:pt x="14" y="78"/>
                  </a:lnTo>
                  <a:lnTo>
                    <a:pt x="14" y="78"/>
                  </a:lnTo>
                  <a:lnTo>
                    <a:pt x="16" y="78"/>
                  </a:lnTo>
                  <a:lnTo>
                    <a:pt x="19" y="80"/>
                  </a:lnTo>
                  <a:lnTo>
                    <a:pt x="19" y="80"/>
                  </a:lnTo>
                  <a:lnTo>
                    <a:pt x="19" y="80"/>
                  </a:lnTo>
                  <a:lnTo>
                    <a:pt x="21" y="78"/>
                  </a:lnTo>
                  <a:lnTo>
                    <a:pt x="23" y="80"/>
                  </a:lnTo>
                  <a:lnTo>
                    <a:pt x="23" y="83"/>
                  </a:lnTo>
                  <a:lnTo>
                    <a:pt x="26" y="83"/>
                  </a:lnTo>
                  <a:lnTo>
                    <a:pt x="28" y="83"/>
                  </a:lnTo>
                  <a:lnTo>
                    <a:pt x="30" y="83"/>
                  </a:lnTo>
                  <a:lnTo>
                    <a:pt x="30" y="85"/>
                  </a:lnTo>
                  <a:lnTo>
                    <a:pt x="30" y="90"/>
                  </a:lnTo>
                  <a:lnTo>
                    <a:pt x="28" y="90"/>
                  </a:lnTo>
                  <a:lnTo>
                    <a:pt x="28" y="90"/>
                  </a:lnTo>
                  <a:lnTo>
                    <a:pt x="28" y="92"/>
                  </a:lnTo>
                  <a:lnTo>
                    <a:pt x="30" y="95"/>
                  </a:lnTo>
                  <a:lnTo>
                    <a:pt x="30" y="97"/>
                  </a:lnTo>
                  <a:lnTo>
                    <a:pt x="33" y="97"/>
                  </a:lnTo>
                  <a:lnTo>
                    <a:pt x="33" y="97"/>
                  </a:lnTo>
                  <a:lnTo>
                    <a:pt x="33" y="99"/>
                  </a:lnTo>
                  <a:lnTo>
                    <a:pt x="35" y="99"/>
                  </a:lnTo>
                  <a:lnTo>
                    <a:pt x="37" y="102"/>
                  </a:lnTo>
                  <a:lnTo>
                    <a:pt x="33" y="102"/>
                  </a:lnTo>
                  <a:lnTo>
                    <a:pt x="33" y="102"/>
                  </a:lnTo>
                  <a:lnTo>
                    <a:pt x="33" y="104"/>
                  </a:lnTo>
                  <a:lnTo>
                    <a:pt x="33" y="106"/>
                  </a:lnTo>
                  <a:lnTo>
                    <a:pt x="33" y="106"/>
                  </a:lnTo>
                  <a:lnTo>
                    <a:pt x="33" y="104"/>
                  </a:lnTo>
                  <a:lnTo>
                    <a:pt x="40" y="104"/>
                  </a:lnTo>
                  <a:lnTo>
                    <a:pt x="47" y="104"/>
                  </a:lnTo>
                  <a:lnTo>
                    <a:pt x="49" y="104"/>
                  </a:lnTo>
                  <a:lnTo>
                    <a:pt x="49" y="104"/>
                  </a:lnTo>
                  <a:lnTo>
                    <a:pt x="47" y="106"/>
                  </a:lnTo>
                  <a:lnTo>
                    <a:pt x="45" y="109"/>
                  </a:lnTo>
                  <a:lnTo>
                    <a:pt x="45" y="109"/>
                  </a:lnTo>
                  <a:lnTo>
                    <a:pt x="37" y="109"/>
                  </a:lnTo>
                  <a:lnTo>
                    <a:pt x="37" y="111"/>
                  </a:lnTo>
                  <a:lnTo>
                    <a:pt x="35" y="111"/>
                  </a:lnTo>
                  <a:lnTo>
                    <a:pt x="35" y="111"/>
                  </a:lnTo>
                  <a:lnTo>
                    <a:pt x="37" y="111"/>
                  </a:lnTo>
                  <a:lnTo>
                    <a:pt x="40" y="111"/>
                  </a:lnTo>
                  <a:lnTo>
                    <a:pt x="42" y="111"/>
                  </a:lnTo>
                  <a:lnTo>
                    <a:pt x="47" y="111"/>
                  </a:lnTo>
                  <a:lnTo>
                    <a:pt x="45" y="111"/>
                  </a:lnTo>
                  <a:lnTo>
                    <a:pt x="45" y="113"/>
                  </a:lnTo>
                  <a:lnTo>
                    <a:pt x="47" y="113"/>
                  </a:lnTo>
                  <a:lnTo>
                    <a:pt x="49" y="111"/>
                  </a:lnTo>
                  <a:lnTo>
                    <a:pt x="49" y="109"/>
                  </a:lnTo>
                  <a:lnTo>
                    <a:pt x="54" y="109"/>
                  </a:lnTo>
                  <a:lnTo>
                    <a:pt x="59" y="111"/>
                  </a:lnTo>
                  <a:lnTo>
                    <a:pt x="59" y="111"/>
                  </a:lnTo>
                  <a:lnTo>
                    <a:pt x="61" y="111"/>
                  </a:lnTo>
                  <a:lnTo>
                    <a:pt x="61" y="111"/>
                  </a:lnTo>
                  <a:lnTo>
                    <a:pt x="63" y="111"/>
                  </a:lnTo>
                  <a:lnTo>
                    <a:pt x="63" y="113"/>
                  </a:lnTo>
                  <a:lnTo>
                    <a:pt x="63" y="113"/>
                  </a:lnTo>
                  <a:lnTo>
                    <a:pt x="66" y="116"/>
                  </a:lnTo>
                  <a:lnTo>
                    <a:pt x="66" y="118"/>
                  </a:lnTo>
                  <a:lnTo>
                    <a:pt x="66" y="121"/>
                  </a:lnTo>
                  <a:lnTo>
                    <a:pt x="68" y="121"/>
                  </a:lnTo>
                  <a:lnTo>
                    <a:pt x="75" y="123"/>
                  </a:lnTo>
                  <a:lnTo>
                    <a:pt x="78" y="123"/>
                  </a:lnTo>
                  <a:lnTo>
                    <a:pt x="82" y="121"/>
                  </a:lnTo>
                  <a:lnTo>
                    <a:pt x="85" y="121"/>
                  </a:lnTo>
                  <a:lnTo>
                    <a:pt x="85" y="121"/>
                  </a:lnTo>
                  <a:lnTo>
                    <a:pt x="87" y="121"/>
                  </a:lnTo>
                  <a:lnTo>
                    <a:pt x="89" y="121"/>
                  </a:lnTo>
                  <a:lnTo>
                    <a:pt x="89" y="121"/>
                  </a:lnTo>
                  <a:lnTo>
                    <a:pt x="89" y="116"/>
                  </a:lnTo>
                  <a:lnTo>
                    <a:pt x="89" y="116"/>
                  </a:lnTo>
                  <a:lnTo>
                    <a:pt x="89" y="109"/>
                  </a:lnTo>
                  <a:lnTo>
                    <a:pt x="92" y="109"/>
                  </a:lnTo>
                  <a:lnTo>
                    <a:pt x="96" y="109"/>
                  </a:lnTo>
                  <a:lnTo>
                    <a:pt x="101" y="109"/>
                  </a:lnTo>
                  <a:lnTo>
                    <a:pt x="103" y="109"/>
                  </a:lnTo>
                  <a:lnTo>
                    <a:pt x="111" y="113"/>
                  </a:lnTo>
                  <a:lnTo>
                    <a:pt x="115" y="116"/>
                  </a:lnTo>
                  <a:lnTo>
                    <a:pt x="118" y="116"/>
                  </a:lnTo>
                  <a:lnTo>
                    <a:pt x="120" y="121"/>
                  </a:lnTo>
                  <a:lnTo>
                    <a:pt x="122" y="123"/>
                  </a:lnTo>
                  <a:lnTo>
                    <a:pt x="125" y="125"/>
                  </a:lnTo>
                  <a:lnTo>
                    <a:pt x="129" y="125"/>
                  </a:lnTo>
                  <a:lnTo>
                    <a:pt x="132" y="125"/>
                  </a:lnTo>
                  <a:lnTo>
                    <a:pt x="134" y="125"/>
                  </a:lnTo>
                  <a:lnTo>
                    <a:pt x="141" y="123"/>
                  </a:lnTo>
                  <a:lnTo>
                    <a:pt x="141" y="123"/>
                  </a:lnTo>
                  <a:lnTo>
                    <a:pt x="146" y="123"/>
                  </a:lnTo>
                  <a:lnTo>
                    <a:pt x="151" y="121"/>
                  </a:lnTo>
                  <a:lnTo>
                    <a:pt x="151" y="118"/>
                  </a:lnTo>
                  <a:lnTo>
                    <a:pt x="155" y="113"/>
                  </a:lnTo>
                  <a:lnTo>
                    <a:pt x="160" y="109"/>
                  </a:lnTo>
                  <a:lnTo>
                    <a:pt x="162" y="109"/>
                  </a:lnTo>
                  <a:lnTo>
                    <a:pt x="162" y="109"/>
                  </a:lnTo>
                  <a:lnTo>
                    <a:pt x="165" y="111"/>
                  </a:lnTo>
                  <a:lnTo>
                    <a:pt x="169" y="113"/>
                  </a:lnTo>
                  <a:lnTo>
                    <a:pt x="174" y="113"/>
                  </a:lnTo>
                  <a:lnTo>
                    <a:pt x="177" y="113"/>
                  </a:lnTo>
                  <a:lnTo>
                    <a:pt x="179" y="113"/>
                  </a:lnTo>
                  <a:lnTo>
                    <a:pt x="179" y="111"/>
                  </a:lnTo>
                  <a:lnTo>
                    <a:pt x="179" y="111"/>
                  </a:lnTo>
                  <a:lnTo>
                    <a:pt x="181" y="109"/>
                  </a:lnTo>
                  <a:lnTo>
                    <a:pt x="181" y="109"/>
                  </a:lnTo>
                  <a:lnTo>
                    <a:pt x="186" y="106"/>
                  </a:lnTo>
                  <a:lnTo>
                    <a:pt x="186" y="109"/>
                  </a:lnTo>
                  <a:lnTo>
                    <a:pt x="188" y="109"/>
                  </a:lnTo>
                  <a:lnTo>
                    <a:pt x="188" y="111"/>
                  </a:lnTo>
                  <a:lnTo>
                    <a:pt x="188" y="111"/>
                  </a:lnTo>
                  <a:lnTo>
                    <a:pt x="186" y="116"/>
                  </a:lnTo>
                  <a:lnTo>
                    <a:pt x="184" y="118"/>
                  </a:lnTo>
                  <a:lnTo>
                    <a:pt x="181" y="121"/>
                  </a:lnTo>
                  <a:lnTo>
                    <a:pt x="184" y="123"/>
                  </a:lnTo>
                  <a:lnTo>
                    <a:pt x="186" y="125"/>
                  </a:lnTo>
                  <a:lnTo>
                    <a:pt x="184" y="128"/>
                  </a:lnTo>
                  <a:lnTo>
                    <a:pt x="186" y="128"/>
                  </a:lnTo>
                  <a:lnTo>
                    <a:pt x="188" y="130"/>
                  </a:lnTo>
                  <a:lnTo>
                    <a:pt x="188" y="130"/>
                  </a:lnTo>
                  <a:lnTo>
                    <a:pt x="188" y="128"/>
                  </a:lnTo>
                  <a:lnTo>
                    <a:pt x="191" y="128"/>
                  </a:lnTo>
                  <a:lnTo>
                    <a:pt x="191" y="125"/>
                  </a:lnTo>
                  <a:lnTo>
                    <a:pt x="193" y="123"/>
                  </a:lnTo>
                  <a:lnTo>
                    <a:pt x="193" y="123"/>
                  </a:lnTo>
                  <a:lnTo>
                    <a:pt x="193" y="121"/>
                  </a:lnTo>
                  <a:lnTo>
                    <a:pt x="195" y="121"/>
                  </a:lnTo>
                  <a:lnTo>
                    <a:pt x="195" y="121"/>
                  </a:lnTo>
                  <a:lnTo>
                    <a:pt x="195" y="121"/>
                  </a:lnTo>
                  <a:lnTo>
                    <a:pt x="193" y="116"/>
                  </a:lnTo>
                  <a:lnTo>
                    <a:pt x="195" y="116"/>
                  </a:lnTo>
                  <a:lnTo>
                    <a:pt x="195" y="111"/>
                  </a:lnTo>
                  <a:lnTo>
                    <a:pt x="195" y="109"/>
                  </a:lnTo>
                  <a:lnTo>
                    <a:pt x="195" y="109"/>
                  </a:lnTo>
                  <a:lnTo>
                    <a:pt x="198" y="109"/>
                  </a:lnTo>
                  <a:lnTo>
                    <a:pt x="200" y="111"/>
                  </a:lnTo>
                  <a:lnTo>
                    <a:pt x="202" y="111"/>
                  </a:lnTo>
                  <a:lnTo>
                    <a:pt x="202" y="113"/>
                  </a:lnTo>
                  <a:lnTo>
                    <a:pt x="205" y="113"/>
                  </a:lnTo>
                  <a:lnTo>
                    <a:pt x="207" y="113"/>
                  </a:lnTo>
                  <a:lnTo>
                    <a:pt x="210" y="113"/>
                  </a:lnTo>
                  <a:lnTo>
                    <a:pt x="212" y="111"/>
                  </a:lnTo>
                  <a:lnTo>
                    <a:pt x="214" y="111"/>
                  </a:lnTo>
                  <a:lnTo>
                    <a:pt x="217" y="111"/>
                  </a:lnTo>
                  <a:lnTo>
                    <a:pt x="217" y="109"/>
                  </a:lnTo>
                  <a:lnTo>
                    <a:pt x="221" y="106"/>
                  </a:lnTo>
                  <a:lnTo>
                    <a:pt x="224" y="106"/>
                  </a:lnTo>
                  <a:lnTo>
                    <a:pt x="226" y="106"/>
                  </a:lnTo>
                  <a:lnTo>
                    <a:pt x="226" y="109"/>
                  </a:lnTo>
                  <a:lnTo>
                    <a:pt x="228" y="109"/>
                  </a:lnTo>
                  <a:lnTo>
                    <a:pt x="231" y="111"/>
                  </a:lnTo>
                  <a:lnTo>
                    <a:pt x="233" y="111"/>
                  </a:lnTo>
                  <a:lnTo>
                    <a:pt x="235" y="111"/>
                  </a:lnTo>
                  <a:lnTo>
                    <a:pt x="238" y="111"/>
                  </a:lnTo>
                  <a:lnTo>
                    <a:pt x="243" y="111"/>
                  </a:lnTo>
                  <a:lnTo>
                    <a:pt x="245" y="111"/>
                  </a:lnTo>
                  <a:lnTo>
                    <a:pt x="250" y="111"/>
                  </a:lnTo>
                  <a:lnTo>
                    <a:pt x="254" y="109"/>
                  </a:lnTo>
                  <a:lnTo>
                    <a:pt x="261" y="104"/>
                  </a:lnTo>
                  <a:lnTo>
                    <a:pt x="266" y="102"/>
                  </a:lnTo>
                  <a:lnTo>
                    <a:pt x="266" y="102"/>
                  </a:lnTo>
                  <a:lnTo>
                    <a:pt x="271" y="102"/>
                  </a:lnTo>
                  <a:lnTo>
                    <a:pt x="273" y="104"/>
                  </a:lnTo>
                  <a:lnTo>
                    <a:pt x="276" y="104"/>
                  </a:lnTo>
                  <a:lnTo>
                    <a:pt x="276" y="104"/>
                  </a:lnTo>
                  <a:lnTo>
                    <a:pt x="280" y="104"/>
                  </a:lnTo>
                  <a:lnTo>
                    <a:pt x="283" y="102"/>
                  </a:lnTo>
                  <a:lnTo>
                    <a:pt x="285" y="102"/>
                  </a:lnTo>
                  <a:lnTo>
                    <a:pt x="290" y="99"/>
                  </a:lnTo>
                  <a:lnTo>
                    <a:pt x="290" y="99"/>
                  </a:lnTo>
                  <a:lnTo>
                    <a:pt x="292" y="99"/>
                  </a:lnTo>
                  <a:lnTo>
                    <a:pt x="292" y="99"/>
                  </a:lnTo>
                  <a:lnTo>
                    <a:pt x="292" y="99"/>
                  </a:lnTo>
                  <a:lnTo>
                    <a:pt x="292" y="99"/>
                  </a:lnTo>
                  <a:lnTo>
                    <a:pt x="294" y="102"/>
                  </a:lnTo>
                  <a:lnTo>
                    <a:pt x="297" y="102"/>
                  </a:lnTo>
                  <a:lnTo>
                    <a:pt x="299" y="99"/>
                  </a:lnTo>
                  <a:lnTo>
                    <a:pt x="299" y="97"/>
                  </a:lnTo>
                  <a:lnTo>
                    <a:pt x="301" y="97"/>
                  </a:lnTo>
                  <a:lnTo>
                    <a:pt x="301" y="97"/>
                  </a:lnTo>
                  <a:lnTo>
                    <a:pt x="304" y="97"/>
                  </a:lnTo>
                  <a:lnTo>
                    <a:pt x="306" y="97"/>
                  </a:lnTo>
                  <a:lnTo>
                    <a:pt x="309" y="97"/>
                  </a:lnTo>
                  <a:lnTo>
                    <a:pt x="309" y="97"/>
                  </a:lnTo>
                  <a:lnTo>
                    <a:pt x="311" y="99"/>
                  </a:lnTo>
                  <a:lnTo>
                    <a:pt x="313" y="99"/>
                  </a:lnTo>
                  <a:lnTo>
                    <a:pt x="316" y="99"/>
                  </a:lnTo>
                  <a:lnTo>
                    <a:pt x="316" y="99"/>
                  </a:lnTo>
                  <a:lnTo>
                    <a:pt x="320" y="99"/>
                  </a:lnTo>
                  <a:lnTo>
                    <a:pt x="320" y="99"/>
                  </a:lnTo>
                  <a:lnTo>
                    <a:pt x="323" y="99"/>
                  </a:lnTo>
                  <a:lnTo>
                    <a:pt x="323" y="99"/>
                  </a:lnTo>
                  <a:lnTo>
                    <a:pt x="325" y="99"/>
                  </a:lnTo>
                  <a:lnTo>
                    <a:pt x="325" y="99"/>
                  </a:lnTo>
                  <a:lnTo>
                    <a:pt x="325" y="99"/>
                  </a:lnTo>
                  <a:lnTo>
                    <a:pt x="325" y="102"/>
                  </a:lnTo>
                  <a:lnTo>
                    <a:pt x="327" y="104"/>
                  </a:lnTo>
                  <a:lnTo>
                    <a:pt x="327" y="104"/>
                  </a:lnTo>
                  <a:lnTo>
                    <a:pt x="327" y="106"/>
                  </a:lnTo>
                  <a:lnTo>
                    <a:pt x="327" y="106"/>
                  </a:lnTo>
                  <a:lnTo>
                    <a:pt x="327" y="104"/>
                  </a:lnTo>
                  <a:lnTo>
                    <a:pt x="330" y="104"/>
                  </a:lnTo>
                  <a:lnTo>
                    <a:pt x="332" y="102"/>
                  </a:lnTo>
                  <a:lnTo>
                    <a:pt x="332" y="102"/>
                  </a:lnTo>
                  <a:lnTo>
                    <a:pt x="332" y="102"/>
                  </a:lnTo>
                  <a:lnTo>
                    <a:pt x="334" y="102"/>
                  </a:lnTo>
                  <a:lnTo>
                    <a:pt x="334" y="102"/>
                  </a:lnTo>
                  <a:lnTo>
                    <a:pt x="337" y="102"/>
                  </a:lnTo>
                  <a:lnTo>
                    <a:pt x="337" y="102"/>
                  </a:lnTo>
                  <a:lnTo>
                    <a:pt x="334" y="99"/>
                  </a:lnTo>
                  <a:close/>
                  <a:moveTo>
                    <a:pt x="12" y="31"/>
                  </a:moveTo>
                  <a:lnTo>
                    <a:pt x="16" y="31"/>
                  </a:lnTo>
                  <a:lnTo>
                    <a:pt x="19" y="31"/>
                  </a:lnTo>
                  <a:lnTo>
                    <a:pt x="19" y="31"/>
                  </a:lnTo>
                  <a:lnTo>
                    <a:pt x="14" y="33"/>
                  </a:lnTo>
                  <a:lnTo>
                    <a:pt x="12" y="35"/>
                  </a:lnTo>
                  <a:lnTo>
                    <a:pt x="9" y="35"/>
                  </a:lnTo>
                  <a:lnTo>
                    <a:pt x="9" y="38"/>
                  </a:lnTo>
                  <a:lnTo>
                    <a:pt x="12" y="38"/>
                  </a:lnTo>
                  <a:lnTo>
                    <a:pt x="9" y="40"/>
                  </a:lnTo>
                  <a:lnTo>
                    <a:pt x="9" y="40"/>
                  </a:lnTo>
                  <a:lnTo>
                    <a:pt x="12" y="40"/>
                  </a:lnTo>
                  <a:lnTo>
                    <a:pt x="12" y="40"/>
                  </a:lnTo>
                  <a:lnTo>
                    <a:pt x="14" y="38"/>
                  </a:lnTo>
                  <a:lnTo>
                    <a:pt x="19" y="33"/>
                  </a:lnTo>
                  <a:lnTo>
                    <a:pt x="23" y="31"/>
                  </a:lnTo>
                  <a:lnTo>
                    <a:pt x="28" y="28"/>
                  </a:lnTo>
                  <a:lnTo>
                    <a:pt x="30" y="26"/>
                  </a:lnTo>
                  <a:lnTo>
                    <a:pt x="30" y="21"/>
                  </a:lnTo>
                  <a:lnTo>
                    <a:pt x="35" y="21"/>
                  </a:lnTo>
                  <a:lnTo>
                    <a:pt x="37" y="21"/>
                  </a:lnTo>
                  <a:lnTo>
                    <a:pt x="40" y="21"/>
                  </a:lnTo>
                  <a:lnTo>
                    <a:pt x="42" y="21"/>
                  </a:lnTo>
                  <a:lnTo>
                    <a:pt x="45" y="21"/>
                  </a:lnTo>
                  <a:lnTo>
                    <a:pt x="52" y="21"/>
                  </a:lnTo>
                  <a:lnTo>
                    <a:pt x="56" y="21"/>
                  </a:lnTo>
                  <a:lnTo>
                    <a:pt x="56" y="21"/>
                  </a:lnTo>
                  <a:lnTo>
                    <a:pt x="56" y="19"/>
                  </a:lnTo>
                  <a:lnTo>
                    <a:pt x="56" y="17"/>
                  </a:lnTo>
                  <a:lnTo>
                    <a:pt x="54" y="17"/>
                  </a:lnTo>
                  <a:lnTo>
                    <a:pt x="45" y="12"/>
                  </a:lnTo>
                  <a:lnTo>
                    <a:pt x="42" y="9"/>
                  </a:lnTo>
                  <a:lnTo>
                    <a:pt x="40" y="7"/>
                  </a:lnTo>
                  <a:lnTo>
                    <a:pt x="37" y="5"/>
                  </a:lnTo>
                  <a:lnTo>
                    <a:pt x="37" y="2"/>
                  </a:lnTo>
                  <a:lnTo>
                    <a:pt x="35" y="2"/>
                  </a:lnTo>
                  <a:lnTo>
                    <a:pt x="35" y="2"/>
                  </a:lnTo>
                  <a:lnTo>
                    <a:pt x="35" y="2"/>
                  </a:lnTo>
                  <a:lnTo>
                    <a:pt x="33" y="2"/>
                  </a:lnTo>
                  <a:lnTo>
                    <a:pt x="33" y="2"/>
                  </a:lnTo>
                  <a:lnTo>
                    <a:pt x="30" y="2"/>
                  </a:lnTo>
                  <a:lnTo>
                    <a:pt x="30" y="2"/>
                  </a:lnTo>
                  <a:lnTo>
                    <a:pt x="28" y="2"/>
                  </a:lnTo>
                  <a:lnTo>
                    <a:pt x="26" y="0"/>
                  </a:lnTo>
                  <a:lnTo>
                    <a:pt x="26" y="0"/>
                  </a:lnTo>
                  <a:lnTo>
                    <a:pt x="26" y="0"/>
                  </a:lnTo>
                  <a:lnTo>
                    <a:pt x="23" y="0"/>
                  </a:lnTo>
                  <a:lnTo>
                    <a:pt x="21" y="0"/>
                  </a:lnTo>
                  <a:lnTo>
                    <a:pt x="21" y="0"/>
                  </a:lnTo>
                  <a:lnTo>
                    <a:pt x="19" y="2"/>
                  </a:lnTo>
                  <a:lnTo>
                    <a:pt x="16" y="2"/>
                  </a:lnTo>
                  <a:lnTo>
                    <a:pt x="16" y="2"/>
                  </a:lnTo>
                  <a:lnTo>
                    <a:pt x="14" y="2"/>
                  </a:lnTo>
                  <a:lnTo>
                    <a:pt x="14" y="2"/>
                  </a:lnTo>
                  <a:lnTo>
                    <a:pt x="14" y="2"/>
                  </a:lnTo>
                  <a:lnTo>
                    <a:pt x="14" y="5"/>
                  </a:lnTo>
                  <a:lnTo>
                    <a:pt x="12" y="5"/>
                  </a:lnTo>
                  <a:lnTo>
                    <a:pt x="9" y="5"/>
                  </a:lnTo>
                  <a:lnTo>
                    <a:pt x="9" y="7"/>
                  </a:lnTo>
                  <a:lnTo>
                    <a:pt x="9" y="7"/>
                  </a:lnTo>
                  <a:lnTo>
                    <a:pt x="9" y="7"/>
                  </a:lnTo>
                  <a:lnTo>
                    <a:pt x="12" y="7"/>
                  </a:lnTo>
                  <a:lnTo>
                    <a:pt x="12" y="7"/>
                  </a:lnTo>
                  <a:lnTo>
                    <a:pt x="12" y="9"/>
                  </a:lnTo>
                  <a:lnTo>
                    <a:pt x="14" y="9"/>
                  </a:lnTo>
                  <a:lnTo>
                    <a:pt x="14" y="9"/>
                  </a:lnTo>
                  <a:lnTo>
                    <a:pt x="14" y="12"/>
                  </a:lnTo>
                  <a:lnTo>
                    <a:pt x="14" y="14"/>
                  </a:lnTo>
                  <a:lnTo>
                    <a:pt x="14" y="14"/>
                  </a:lnTo>
                  <a:lnTo>
                    <a:pt x="14" y="14"/>
                  </a:lnTo>
                  <a:lnTo>
                    <a:pt x="9" y="17"/>
                  </a:lnTo>
                  <a:lnTo>
                    <a:pt x="9" y="19"/>
                  </a:lnTo>
                  <a:lnTo>
                    <a:pt x="12" y="19"/>
                  </a:lnTo>
                  <a:lnTo>
                    <a:pt x="12" y="21"/>
                  </a:lnTo>
                  <a:lnTo>
                    <a:pt x="12" y="21"/>
                  </a:lnTo>
                  <a:lnTo>
                    <a:pt x="12" y="21"/>
                  </a:lnTo>
                  <a:lnTo>
                    <a:pt x="12" y="24"/>
                  </a:lnTo>
                  <a:lnTo>
                    <a:pt x="9" y="24"/>
                  </a:lnTo>
                  <a:lnTo>
                    <a:pt x="9" y="26"/>
                  </a:lnTo>
                  <a:lnTo>
                    <a:pt x="7" y="26"/>
                  </a:lnTo>
                  <a:lnTo>
                    <a:pt x="7" y="28"/>
                  </a:lnTo>
                  <a:lnTo>
                    <a:pt x="7" y="28"/>
                  </a:lnTo>
                  <a:lnTo>
                    <a:pt x="7" y="28"/>
                  </a:lnTo>
                  <a:lnTo>
                    <a:pt x="7" y="31"/>
                  </a:lnTo>
                  <a:lnTo>
                    <a:pt x="9" y="31"/>
                  </a:lnTo>
                  <a:lnTo>
                    <a:pt x="12" y="3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4" name="Freeform 220"/>
            <p:cNvSpPr>
              <a:spLocks noEditPoints="1"/>
            </p:cNvSpPr>
            <p:nvPr userDrawn="1"/>
          </p:nvSpPr>
          <p:spPr bwMode="auto">
            <a:xfrm>
              <a:off x="3797" y="2018"/>
              <a:ext cx="70" cy="151"/>
            </a:xfrm>
            <a:custGeom>
              <a:avLst/>
              <a:gdLst>
                <a:gd name="T0" fmla="*/ 56 w 70"/>
                <a:gd name="T1" fmla="*/ 76 h 151"/>
                <a:gd name="T2" fmla="*/ 56 w 70"/>
                <a:gd name="T3" fmla="*/ 78 h 151"/>
                <a:gd name="T4" fmla="*/ 59 w 70"/>
                <a:gd name="T5" fmla="*/ 78 h 151"/>
                <a:gd name="T6" fmla="*/ 61 w 70"/>
                <a:gd name="T7" fmla="*/ 76 h 151"/>
                <a:gd name="T8" fmla="*/ 59 w 70"/>
                <a:gd name="T9" fmla="*/ 73 h 151"/>
                <a:gd name="T10" fmla="*/ 68 w 70"/>
                <a:gd name="T11" fmla="*/ 97 h 151"/>
                <a:gd name="T12" fmla="*/ 68 w 70"/>
                <a:gd name="T13" fmla="*/ 90 h 151"/>
                <a:gd name="T14" fmla="*/ 66 w 70"/>
                <a:gd name="T15" fmla="*/ 90 h 151"/>
                <a:gd name="T16" fmla="*/ 63 w 70"/>
                <a:gd name="T17" fmla="*/ 87 h 151"/>
                <a:gd name="T18" fmla="*/ 63 w 70"/>
                <a:gd name="T19" fmla="*/ 85 h 151"/>
                <a:gd name="T20" fmla="*/ 59 w 70"/>
                <a:gd name="T21" fmla="*/ 83 h 151"/>
                <a:gd name="T22" fmla="*/ 56 w 70"/>
                <a:gd name="T23" fmla="*/ 80 h 151"/>
                <a:gd name="T24" fmla="*/ 49 w 70"/>
                <a:gd name="T25" fmla="*/ 78 h 151"/>
                <a:gd name="T26" fmla="*/ 44 w 70"/>
                <a:gd name="T27" fmla="*/ 69 h 151"/>
                <a:gd name="T28" fmla="*/ 47 w 70"/>
                <a:gd name="T29" fmla="*/ 64 h 151"/>
                <a:gd name="T30" fmla="*/ 59 w 70"/>
                <a:gd name="T31" fmla="*/ 54 h 151"/>
                <a:gd name="T32" fmla="*/ 61 w 70"/>
                <a:gd name="T33" fmla="*/ 45 h 151"/>
                <a:gd name="T34" fmla="*/ 61 w 70"/>
                <a:gd name="T35" fmla="*/ 38 h 151"/>
                <a:gd name="T36" fmla="*/ 54 w 70"/>
                <a:gd name="T37" fmla="*/ 31 h 151"/>
                <a:gd name="T38" fmla="*/ 52 w 70"/>
                <a:gd name="T39" fmla="*/ 24 h 151"/>
                <a:gd name="T40" fmla="*/ 56 w 70"/>
                <a:gd name="T41" fmla="*/ 19 h 151"/>
                <a:gd name="T42" fmla="*/ 63 w 70"/>
                <a:gd name="T43" fmla="*/ 12 h 151"/>
                <a:gd name="T44" fmla="*/ 59 w 70"/>
                <a:gd name="T45" fmla="*/ 7 h 151"/>
                <a:gd name="T46" fmla="*/ 52 w 70"/>
                <a:gd name="T47" fmla="*/ 12 h 151"/>
                <a:gd name="T48" fmla="*/ 49 w 70"/>
                <a:gd name="T49" fmla="*/ 12 h 151"/>
                <a:gd name="T50" fmla="*/ 44 w 70"/>
                <a:gd name="T51" fmla="*/ 2 h 151"/>
                <a:gd name="T52" fmla="*/ 40 w 70"/>
                <a:gd name="T53" fmla="*/ 2 h 151"/>
                <a:gd name="T54" fmla="*/ 40 w 70"/>
                <a:gd name="T55" fmla="*/ 2 h 151"/>
                <a:gd name="T56" fmla="*/ 40 w 70"/>
                <a:gd name="T57" fmla="*/ 0 h 151"/>
                <a:gd name="T58" fmla="*/ 26 w 70"/>
                <a:gd name="T59" fmla="*/ 5 h 151"/>
                <a:gd name="T60" fmla="*/ 19 w 70"/>
                <a:gd name="T61" fmla="*/ 9 h 151"/>
                <a:gd name="T62" fmla="*/ 16 w 70"/>
                <a:gd name="T63" fmla="*/ 14 h 151"/>
                <a:gd name="T64" fmla="*/ 11 w 70"/>
                <a:gd name="T65" fmla="*/ 19 h 151"/>
                <a:gd name="T66" fmla="*/ 14 w 70"/>
                <a:gd name="T67" fmla="*/ 21 h 151"/>
                <a:gd name="T68" fmla="*/ 14 w 70"/>
                <a:gd name="T69" fmla="*/ 28 h 151"/>
                <a:gd name="T70" fmla="*/ 14 w 70"/>
                <a:gd name="T71" fmla="*/ 35 h 151"/>
                <a:gd name="T72" fmla="*/ 14 w 70"/>
                <a:gd name="T73" fmla="*/ 42 h 151"/>
                <a:gd name="T74" fmla="*/ 14 w 70"/>
                <a:gd name="T75" fmla="*/ 50 h 151"/>
                <a:gd name="T76" fmla="*/ 11 w 70"/>
                <a:gd name="T77" fmla="*/ 57 h 151"/>
                <a:gd name="T78" fmla="*/ 9 w 70"/>
                <a:gd name="T79" fmla="*/ 61 h 151"/>
                <a:gd name="T80" fmla="*/ 2 w 70"/>
                <a:gd name="T81" fmla="*/ 66 h 151"/>
                <a:gd name="T82" fmla="*/ 0 w 70"/>
                <a:gd name="T83" fmla="*/ 73 h 151"/>
                <a:gd name="T84" fmla="*/ 0 w 70"/>
                <a:gd name="T85" fmla="*/ 83 h 151"/>
                <a:gd name="T86" fmla="*/ 2 w 70"/>
                <a:gd name="T87" fmla="*/ 87 h 151"/>
                <a:gd name="T88" fmla="*/ 9 w 70"/>
                <a:gd name="T89" fmla="*/ 92 h 151"/>
                <a:gd name="T90" fmla="*/ 14 w 70"/>
                <a:gd name="T91" fmla="*/ 104 h 151"/>
                <a:gd name="T92" fmla="*/ 23 w 70"/>
                <a:gd name="T93" fmla="*/ 111 h 151"/>
                <a:gd name="T94" fmla="*/ 26 w 70"/>
                <a:gd name="T95" fmla="*/ 118 h 151"/>
                <a:gd name="T96" fmla="*/ 30 w 70"/>
                <a:gd name="T97" fmla="*/ 132 h 151"/>
                <a:gd name="T98" fmla="*/ 33 w 70"/>
                <a:gd name="T99" fmla="*/ 147 h 151"/>
                <a:gd name="T100" fmla="*/ 40 w 70"/>
                <a:gd name="T101" fmla="*/ 149 h 151"/>
                <a:gd name="T102" fmla="*/ 44 w 70"/>
                <a:gd name="T103" fmla="*/ 144 h 151"/>
                <a:gd name="T104" fmla="*/ 47 w 70"/>
                <a:gd name="T105" fmla="*/ 137 h 151"/>
                <a:gd name="T106" fmla="*/ 44 w 70"/>
                <a:gd name="T107" fmla="*/ 130 h 151"/>
                <a:gd name="T108" fmla="*/ 47 w 70"/>
                <a:gd name="T109" fmla="*/ 123 h 151"/>
                <a:gd name="T110" fmla="*/ 52 w 70"/>
                <a:gd name="T111" fmla="*/ 121 h 151"/>
                <a:gd name="T112" fmla="*/ 54 w 70"/>
                <a:gd name="T113" fmla="*/ 116 h 151"/>
                <a:gd name="T114" fmla="*/ 56 w 70"/>
                <a:gd name="T115" fmla="*/ 113 h 151"/>
                <a:gd name="T116" fmla="*/ 66 w 70"/>
                <a:gd name="T117" fmla="*/ 106 h 151"/>
                <a:gd name="T118" fmla="*/ 70 w 70"/>
                <a:gd name="T119" fmla="*/ 10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151">
                  <a:moveTo>
                    <a:pt x="59" y="73"/>
                  </a:moveTo>
                  <a:lnTo>
                    <a:pt x="56" y="76"/>
                  </a:lnTo>
                  <a:lnTo>
                    <a:pt x="56" y="76"/>
                  </a:lnTo>
                  <a:lnTo>
                    <a:pt x="56" y="78"/>
                  </a:lnTo>
                  <a:lnTo>
                    <a:pt x="56" y="78"/>
                  </a:lnTo>
                  <a:lnTo>
                    <a:pt x="56" y="78"/>
                  </a:lnTo>
                  <a:lnTo>
                    <a:pt x="59" y="78"/>
                  </a:lnTo>
                  <a:lnTo>
                    <a:pt x="59" y="78"/>
                  </a:lnTo>
                  <a:lnTo>
                    <a:pt x="59" y="78"/>
                  </a:lnTo>
                  <a:lnTo>
                    <a:pt x="59" y="78"/>
                  </a:lnTo>
                  <a:lnTo>
                    <a:pt x="61" y="78"/>
                  </a:lnTo>
                  <a:lnTo>
                    <a:pt x="61" y="76"/>
                  </a:lnTo>
                  <a:lnTo>
                    <a:pt x="61" y="76"/>
                  </a:lnTo>
                  <a:lnTo>
                    <a:pt x="61" y="76"/>
                  </a:lnTo>
                  <a:lnTo>
                    <a:pt x="59" y="73"/>
                  </a:lnTo>
                  <a:close/>
                  <a:moveTo>
                    <a:pt x="70" y="104"/>
                  </a:moveTo>
                  <a:lnTo>
                    <a:pt x="68" y="102"/>
                  </a:lnTo>
                  <a:lnTo>
                    <a:pt x="68" y="97"/>
                  </a:lnTo>
                  <a:lnTo>
                    <a:pt x="68" y="95"/>
                  </a:lnTo>
                  <a:lnTo>
                    <a:pt x="68" y="95"/>
                  </a:lnTo>
                  <a:lnTo>
                    <a:pt x="68" y="90"/>
                  </a:lnTo>
                  <a:lnTo>
                    <a:pt x="68" y="90"/>
                  </a:lnTo>
                  <a:lnTo>
                    <a:pt x="68" y="87"/>
                  </a:lnTo>
                  <a:lnTo>
                    <a:pt x="66" y="90"/>
                  </a:lnTo>
                  <a:lnTo>
                    <a:pt x="63" y="87"/>
                  </a:lnTo>
                  <a:lnTo>
                    <a:pt x="63" y="87"/>
                  </a:lnTo>
                  <a:lnTo>
                    <a:pt x="63" y="87"/>
                  </a:lnTo>
                  <a:lnTo>
                    <a:pt x="66" y="87"/>
                  </a:lnTo>
                  <a:lnTo>
                    <a:pt x="66" y="87"/>
                  </a:lnTo>
                  <a:lnTo>
                    <a:pt x="63" y="85"/>
                  </a:lnTo>
                  <a:lnTo>
                    <a:pt x="61" y="80"/>
                  </a:lnTo>
                  <a:lnTo>
                    <a:pt x="59" y="80"/>
                  </a:lnTo>
                  <a:lnTo>
                    <a:pt x="59" y="83"/>
                  </a:lnTo>
                  <a:lnTo>
                    <a:pt x="56" y="83"/>
                  </a:lnTo>
                  <a:lnTo>
                    <a:pt x="56" y="83"/>
                  </a:lnTo>
                  <a:lnTo>
                    <a:pt x="56" y="80"/>
                  </a:lnTo>
                  <a:lnTo>
                    <a:pt x="56" y="78"/>
                  </a:lnTo>
                  <a:lnTo>
                    <a:pt x="52" y="80"/>
                  </a:lnTo>
                  <a:lnTo>
                    <a:pt x="49" y="78"/>
                  </a:lnTo>
                  <a:lnTo>
                    <a:pt x="44" y="76"/>
                  </a:lnTo>
                  <a:lnTo>
                    <a:pt x="44" y="71"/>
                  </a:lnTo>
                  <a:lnTo>
                    <a:pt x="44" y="69"/>
                  </a:lnTo>
                  <a:lnTo>
                    <a:pt x="44" y="69"/>
                  </a:lnTo>
                  <a:lnTo>
                    <a:pt x="44" y="66"/>
                  </a:lnTo>
                  <a:lnTo>
                    <a:pt x="47" y="64"/>
                  </a:lnTo>
                  <a:lnTo>
                    <a:pt x="52" y="61"/>
                  </a:lnTo>
                  <a:lnTo>
                    <a:pt x="54" y="57"/>
                  </a:lnTo>
                  <a:lnTo>
                    <a:pt x="59" y="54"/>
                  </a:lnTo>
                  <a:lnTo>
                    <a:pt x="59" y="50"/>
                  </a:lnTo>
                  <a:lnTo>
                    <a:pt x="63" y="45"/>
                  </a:lnTo>
                  <a:lnTo>
                    <a:pt x="61" y="45"/>
                  </a:lnTo>
                  <a:lnTo>
                    <a:pt x="61" y="40"/>
                  </a:lnTo>
                  <a:lnTo>
                    <a:pt x="61" y="40"/>
                  </a:lnTo>
                  <a:lnTo>
                    <a:pt x="61" y="38"/>
                  </a:lnTo>
                  <a:lnTo>
                    <a:pt x="56" y="35"/>
                  </a:lnTo>
                  <a:lnTo>
                    <a:pt x="54" y="33"/>
                  </a:lnTo>
                  <a:lnTo>
                    <a:pt x="54" y="31"/>
                  </a:lnTo>
                  <a:lnTo>
                    <a:pt x="52" y="28"/>
                  </a:lnTo>
                  <a:lnTo>
                    <a:pt x="52" y="26"/>
                  </a:lnTo>
                  <a:lnTo>
                    <a:pt x="52" y="24"/>
                  </a:lnTo>
                  <a:lnTo>
                    <a:pt x="52" y="24"/>
                  </a:lnTo>
                  <a:lnTo>
                    <a:pt x="54" y="21"/>
                  </a:lnTo>
                  <a:lnTo>
                    <a:pt x="56" y="19"/>
                  </a:lnTo>
                  <a:lnTo>
                    <a:pt x="59" y="14"/>
                  </a:lnTo>
                  <a:lnTo>
                    <a:pt x="61" y="12"/>
                  </a:lnTo>
                  <a:lnTo>
                    <a:pt x="63" y="12"/>
                  </a:lnTo>
                  <a:lnTo>
                    <a:pt x="61" y="9"/>
                  </a:lnTo>
                  <a:lnTo>
                    <a:pt x="61" y="7"/>
                  </a:lnTo>
                  <a:lnTo>
                    <a:pt x="59" y="7"/>
                  </a:lnTo>
                  <a:lnTo>
                    <a:pt x="56" y="9"/>
                  </a:lnTo>
                  <a:lnTo>
                    <a:pt x="54" y="9"/>
                  </a:lnTo>
                  <a:lnTo>
                    <a:pt x="52" y="12"/>
                  </a:lnTo>
                  <a:lnTo>
                    <a:pt x="49" y="14"/>
                  </a:lnTo>
                  <a:lnTo>
                    <a:pt x="49" y="12"/>
                  </a:lnTo>
                  <a:lnTo>
                    <a:pt x="49" y="12"/>
                  </a:lnTo>
                  <a:lnTo>
                    <a:pt x="47" y="7"/>
                  </a:lnTo>
                  <a:lnTo>
                    <a:pt x="47" y="5"/>
                  </a:lnTo>
                  <a:lnTo>
                    <a:pt x="44" y="2"/>
                  </a:lnTo>
                  <a:lnTo>
                    <a:pt x="42" y="2"/>
                  </a:lnTo>
                  <a:lnTo>
                    <a:pt x="40" y="2"/>
                  </a:lnTo>
                  <a:lnTo>
                    <a:pt x="40" y="2"/>
                  </a:lnTo>
                  <a:lnTo>
                    <a:pt x="42" y="5"/>
                  </a:lnTo>
                  <a:lnTo>
                    <a:pt x="40" y="5"/>
                  </a:lnTo>
                  <a:lnTo>
                    <a:pt x="40" y="2"/>
                  </a:lnTo>
                  <a:lnTo>
                    <a:pt x="40" y="2"/>
                  </a:lnTo>
                  <a:lnTo>
                    <a:pt x="40" y="2"/>
                  </a:lnTo>
                  <a:lnTo>
                    <a:pt x="40" y="0"/>
                  </a:lnTo>
                  <a:lnTo>
                    <a:pt x="37" y="0"/>
                  </a:lnTo>
                  <a:lnTo>
                    <a:pt x="28" y="5"/>
                  </a:lnTo>
                  <a:lnTo>
                    <a:pt x="26" y="5"/>
                  </a:lnTo>
                  <a:lnTo>
                    <a:pt x="23" y="7"/>
                  </a:lnTo>
                  <a:lnTo>
                    <a:pt x="19" y="9"/>
                  </a:lnTo>
                  <a:lnTo>
                    <a:pt x="19" y="9"/>
                  </a:lnTo>
                  <a:lnTo>
                    <a:pt x="19" y="12"/>
                  </a:lnTo>
                  <a:lnTo>
                    <a:pt x="16" y="12"/>
                  </a:lnTo>
                  <a:lnTo>
                    <a:pt x="16" y="14"/>
                  </a:lnTo>
                  <a:lnTo>
                    <a:pt x="14" y="16"/>
                  </a:lnTo>
                  <a:lnTo>
                    <a:pt x="11" y="19"/>
                  </a:lnTo>
                  <a:lnTo>
                    <a:pt x="11" y="19"/>
                  </a:lnTo>
                  <a:lnTo>
                    <a:pt x="11" y="19"/>
                  </a:lnTo>
                  <a:lnTo>
                    <a:pt x="14" y="19"/>
                  </a:lnTo>
                  <a:lnTo>
                    <a:pt x="14" y="21"/>
                  </a:lnTo>
                  <a:lnTo>
                    <a:pt x="14" y="21"/>
                  </a:lnTo>
                  <a:lnTo>
                    <a:pt x="14" y="26"/>
                  </a:lnTo>
                  <a:lnTo>
                    <a:pt x="14" y="28"/>
                  </a:lnTo>
                  <a:lnTo>
                    <a:pt x="11" y="33"/>
                  </a:lnTo>
                  <a:lnTo>
                    <a:pt x="11" y="33"/>
                  </a:lnTo>
                  <a:lnTo>
                    <a:pt x="14" y="35"/>
                  </a:lnTo>
                  <a:lnTo>
                    <a:pt x="14" y="38"/>
                  </a:lnTo>
                  <a:lnTo>
                    <a:pt x="14" y="38"/>
                  </a:lnTo>
                  <a:lnTo>
                    <a:pt x="14" y="42"/>
                  </a:lnTo>
                  <a:lnTo>
                    <a:pt x="14" y="45"/>
                  </a:lnTo>
                  <a:lnTo>
                    <a:pt x="14" y="47"/>
                  </a:lnTo>
                  <a:lnTo>
                    <a:pt x="14" y="50"/>
                  </a:lnTo>
                  <a:lnTo>
                    <a:pt x="11" y="52"/>
                  </a:lnTo>
                  <a:lnTo>
                    <a:pt x="11" y="54"/>
                  </a:lnTo>
                  <a:lnTo>
                    <a:pt x="11" y="57"/>
                  </a:lnTo>
                  <a:lnTo>
                    <a:pt x="11" y="59"/>
                  </a:lnTo>
                  <a:lnTo>
                    <a:pt x="9" y="59"/>
                  </a:lnTo>
                  <a:lnTo>
                    <a:pt x="9" y="61"/>
                  </a:lnTo>
                  <a:lnTo>
                    <a:pt x="7" y="61"/>
                  </a:lnTo>
                  <a:lnTo>
                    <a:pt x="4" y="64"/>
                  </a:lnTo>
                  <a:lnTo>
                    <a:pt x="2" y="66"/>
                  </a:lnTo>
                  <a:lnTo>
                    <a:pt x="0" y="69"/>
                  </a:lnTo>
                  <a:lnTo>
                    <a:pt x="0" y="71"/>
                  </a:lnTo>
                  <a:lnTo>
                    <a:pt x="0" y="73"/>
                  </a:lnTo>
                  <a:lnTo>
                    <a:pt x="0" y="76"/>
                  </a:lnTo>
                  <a:lnTo>
                    <a:pt x="0" y="78"/>
                  </a:lnTo>
                  <a:lnTo>
                    <a:pt x="0" y="83"/>
                  </a:lnTo>
                  <a:lnTo>
                    <a:pt x="2" y="85"/>
                  </a:lnTo>
                  <a:lnTo>
                    <a:pt x="2" y="87"/>
                  </a:lnTo>
                  <a:lnTo>
                    <a:pt x="2" y="87"/>
                  </a:lnTo>
                  <a:lnTo>
                    <a:pt x="4" y="90"/>
                  </a:lnTo>
                  <a:lnTo>
                    <a:pt x="9" y="92"/>
                  </a:lnTo>
                  <a:lnTo>
                    <a:pt x="9" y="92"/>
                  </a:lnTo>
                  <a:lnTo>
                    <a:pt x="11" y="95"/>
                  </a:lnTo>
                  <a:lnTo>
                    <a:pt x="11" y="99"/>
                  </a:lnTo>
                  <a:lnTo>
                    <a:pt x="14" y="104"/>
                  </a:lnTo>
                  <a:lnTo>
                    <a:pt x="16" y="106"/>
                  </a:lnTo>
                  <a:lnTo>
                    <a:pt x="19" y="109"/>
                  </a:lnTo>
                  <a:lnTo>
                    <a:pt x="23" y="111"/>
                  </a:lnTo>
                  <a:lnTo>
                    <a:pt x="26" y="111"/>
                  </a:lnTo>
                  <a:lnTo>
                    <a:pt x="26" y="113"/>
                  </a:lnTo>
                  <a:lnTo>
                    <a:pt x="26" y="118"/>
                  </a:lnTo>
                  <a:lnTo>
                    <a:pt x="28" y="123"/>
                  </a:lnTo>
                  <a:lnTo>
                    <a:pt x="28" y="128"/>
                  </a:lnTo>
                  <a:lnTo>
                    <a:pt x="30" y="132"/>
                  </a:lnTo>
                  <a:lnTo>
                    <a:pt x="30" y="139"/>
                  </a:lnTo>
                  <a:lnTo>
                    <a:pt x="33" y="142"/>
                  </a:lnTo>
                  <a:lnTo>
                    <a:pt x="33" y="147"/>
                  </a:lnTo>
                  <a:lnTo>
                    <a:pt x="35" y="151"/>
                  </a:lnTo>
                  <a:lnTo>
                    <a:pt x="35" y="151"/>
                  </a:lnTo>
                  <a:lnTo>
                    <a:pt x="40" y="149"/>
                  </a:lnTo>
                  <a:lnTo>
                    <a:pt x="40" y="149"/>
                  </a:lnTo>
                  <a:lnTo>
                    <a:pt x="42" y="147"/>
                  </a:lnTo>
                  <a:lnTo>
                    <a:pt x="44" y="144"/>
                  </a:lnTo>
                  <a:lnTo>
                    <a:pt x="44" y="142"/>
                  </a:lnTo>
                  <a:lnTo>
                    <a:pt x="47" y="139"/>
                  </a:lnTo>
                  <a:lnTo>
                    <a:pt x="47" y="137"/>
                  </a:lnTo>
                  <a:lnTo>
                    <a:pt x="47" y="137"/>
                  </a:lnTo>
                  <a:lnTo>
                    <a:pt x="47" y="135"/>
                  </a:lnTo>
                  <a:lnTo>
                    <a:pt x="44" y="130"/>
                  </a:lnTo>
                  <a:lnTo>
                    <a:pt x="44" y="125"/>
                  </a:lnTo>
                  <a:lnTo>
                    <a:pt x="44" y="123"/>
                  </a:lnTo>
                  <a:lnTo>
                    <a:pt x="47" y="123"/>
                  </a:lnTo>
                  <a:lnTo>
                    <a:pt x="47" y="121"/>
                  </a:lnTo>
                  <a:lnTo>
                    <a:pt x="47" y="121"/>
                  </a:lnTo>
                  <a:lnTo>
                    <a:pt x="52" y="121"/>
                  </a:lnTo>
                  <a:lnTo>
                    <a:pt x="52" y="118"/>
                  </a:lnTo>
                  <a:lnTo>
                    <a:pt x="54" y="116"/>
                  </a:lnTo>
                  <a:lnTo>
                    <a:pt x="54" y="116"/>
                  </a:lnTo>
                  <a:lnTo>
                    <a:pt x="54" y="116"/>
                  </a:lnTo>
                  <a:lnTo>
                    <a:pt x="56" y="113"/>
                  </a:lnTo>
                  <a:lnTo>
                    <a:pt x="56" y="113"/>
                  </a:lnTo>
                  <a:lnTo>
                    <a:pt x="61" y="111"/>
                  </a:lnTo>
                  <a:lnTo>
                    <a:pt x="63" y="109"/>
                  </a:lnTo>
                  <a:lnTo>
                    <a:pt x="66" y="106"/>
                  </a:lnTo>
                  <a:lnTo>
                    <a:pt x="70" y="106"/>
                  </a:lnTo>
                  <a:lnTo>
                    <a:pt x="70" y="104"/>
                  </a:lnTo>
                  <a:lnTo>
                    <a:pt x="70" y="10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5" name="Freeform 221"/>
            <p:cNvSpPr>
              <a:spLocks/>
            </p:cNvSpPr>
            <p:nvPr userDrawn="1"/>
          </p:nvSpPr>
          <p:spPr bwMode="auto">
            <a:xfrm>
              <a:off x="2508" y="2578"/>
              <a:ext cx="18" cy="17"/>
            </a:xfrm>
            <a:custGeom>
              <a:avLst/>
              <a:gdLst>
                <a:gd name="T0" fmla="*/ 18 w 18"/>
                <a:gd name="T1" fmla="*/ 0 h 17"/>
                <a:gd name="T2" fmla="*/ 16 w 18"/>
                <a:gd name="T3" fmla="*/ 0 h 17"/>
                <a:gd name="T4" fmla="*/ 14 w 18"/>
                <a:gd name="T5" fmla="*/ 3 h 17"/>
                <a:gd name="T6" fmla="*/ 11 w 18"/>
                <a:gd name="T7" fmla="*/ 3 h 17"/>
                <a:gd name="T8" fmla="*/ 9 w 18"/>
                <a:gd name="T9" fmla="*/ 3 h 17"/>
                <a:gd name="T10" fmla="*/ 7 w 18"/>
                <a:gd name="T11" fmla="*/ 3 h 17"/>
                <a:gd name="T12" fmla="*/ 7 w 18"/>
                <a:gd name="T13" fmla="*/ 3 h 17"/>
                <a:gd name="T14" fmla="*/ 7 w 18"/>
                <a:gd name="T15" fmla="*/ 5 h 17"/>
                <a:gd name="T16" fmla="*/ 7 w 18"/>
                <a:gd name="T17" fmla="*/ 5 h 17"/>
                <a:gd name="T18" fmla="*/ 9 w 18"/>
                <a:gd name="T19" fmla="*/ 5 h 17"/>
                <a:gd name="T20" fmla="*/ 9 w 18"/>
                <a:gd name="T21" fmla="*/ 5 h 17"/>
                <a:gd name="T22" fmla="*/ 9 w 18"/>
                <a:gd name="T23" fmla="*/ 7 h 17"/>
                <a:gd name="T24" fmla="*/ 9 w 18"/>
                <a:gd name="T25" fmla="*/ 12 h 17"/>
                <a:gd name="T26" fmla="*/ 7 w 18"/>
                <a:gd name="T27" fmla="*/ 12 h 17"/>
                <a:gd name="T28" fmla="*/ 4 w 18"/>
                <a:gd name="T29" fmla="*/ 15 h 17"/>
                <a:gd name="T30" fmla="*/ 4 w 18"/>
                <a:gd name="T31" fmla="*/ 15 h 17"/>
                <a:gd name="T32" fmla="*/ 0 w 18"/>
                <a:gd name="T33" fmla="*/ 17 h 17"/>
                <a:gd name="T34" fmla="*/ 2 w 18"/>
                <a:gd name="T35" fmla="*/ 17 h 17"/>
                <a:gd name="T36" fmla="*/ 7 w 18"/>
                <a:gd name="T37" fmla="*/ 17 h 17"/>
                <a:gd name="T38" fmla="*/ 14 w 18"/>
                <a:gd name="T39" fmla="*/ 17 h 17"/>
                <a:gd name="T40" fmla="*/ 16 w 18"/>
                <a:gd name="T41" fmla="*/ 17 h 17"/>
                <a:gd name="T42" fmla="*/ 16 w 18"/>
                <a:gd name="T43" fmla="*/ 15 h 17"/>
                <a:gd name="T44" fmla="*/ 16 w 18"/>
                <a:gd name="T45" fmla="*/ 12 h 17"/>
                <a:gd name="T46" fmla="*/ 18 w 18"/>
                <a:gd name="T47" fmla="*/ 12 h 17"/>
                <a:gd name="T48" fmla="*/ 16 w 18"/>
                <a:gd name="T49" fmla="*/ 10 h 17"/>
                <a:gd name="T50" fmla="*/ 16 w 18"/>
                <a:gd name="T51" fmla="*/ 7 h 17"/>
                <a:gd name="T52" fmla="*/ 16 w 18"/>
                <a:gd name="T53" fmla="*/ 7 h 17"/>
                <a:gd name="T54" fmla="*/ 16 w 18"/>
                <a:gd name="T55" fmla="*/ 5 h 17"/>
                <a:gd name="T56" fmla="*/ 18 w 18"/>
                <a:gd name="T57" fmla="*/ 3 h 17"/>
                <a:gd name="T58" fmla="*/ 18 w 18"/>
                <a:gd name="T5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7">
                  <a:moveTo>
                    <a:pt x="18" y="0"/>
                  </a:moveTo>
                  <a:lnTo>
                    <a:pt x="16" y="0"/>
                  </a:lnTo>
                  <a:lnTo>
                    <a:pt x="14" y="3"/>
                  </a:lnTo>
                  <a:lnTo>
                    <a:pt x="11" y="3"/>
                  </a:lnTo>
                  <a:lnTo>
                    <a:pt x="9" y="3"/>
                  </a:lnTo>
                  <a:lnTo>
                    <a:pt x="7" y="3"/>
                  </a:lnTo>
                  <a:lnTo>
                    <a:pt x="7" y="3"/>
                  </a:lnTo>
                  <a:lnTo>
                    <a:pt x="7" y="5"/>
                  </a:lnTo>
                  <a:lnTo>
                    <a:pt x="7" y="5"/>
                  </a:lnTo>
                  <a:lnTo>
                    <a:pt x="9" y="5"/>
                  </a:lnTo>
                  <a:lnTo>
                    <a:pt x="9" y="5"/>
                  </a:lnTo>
                  <a:lnTo>
                    <a:pt x="9" y="7"/>
                  </a:lnTo>
                  <a:lnTo>
                    <a:pt x="9" y="12"/>
                  </a:lnTo>
                  <a:lnTo>
                    <a:pt x="7" y="12"/>
                  </a:lnTo>
                  <a:lnTo>
                    <a:pt x="4" y="15"/>
                  </a:lnTo>
                  <a:lnTo>
                    <a:pt x="4" y="15"/>
                  </a:lnTo>
                  <a:lnTo>
                    <a:pt x="0" y="17"/>
                  </a:lnTo>
                  <a:lnTo>
                    <a:pt x="2" y="17"/>
                  </a:lnTo>
                  <a:lnTo>
                    <a:pt x="7" y="17"/>
                  </a:lnTo>
                  <a:lnTo>
                    <a:pt x="14" y="17"/>
                  </a:lnTo>
                  <a:lnTo>
                    <a:pt x="16" y="17"/>
                  </a:lnTo>
                  <a:lnTo>
                    <a:pt x="16" y="15"/>
                  </a:lnTo>
                  <a:lnTo>
                    <a:pt x="16" y="12"/>
                  </a:lnTo>
                  <a:lnTo>
                    <a:pt x="18" y="12"/>
                  </a:lnTo>
                  <a:lnTo>
                    <a:pt x="16" y="10"/>
                  </a:lnTo>
                  <a:lnTo>
                    <a:pt x="16" y="7"/>
                  </a:lnTo>
                  <a:lnTo>
                    <a:pt x="16" y="7"/>
                  </a:lnTo>
                  <a:lnTo>
                    <a:pt x="16" y="5"/>
                  </a:lnTo>
                  <a:lnTo>
                    <a:pt x="18" y="3"/>
                  </a:lnTo>
                  <a:lnTo>
                    <a:pt x="18"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6" name="Freeform 222"/>
            <p:cNvSpPr>
              <a:spLocks/>
            </p:cNvSpPr>
            <p:nvPr userDrawn="1"/>
          </p:nvSpPr>
          <p:spPr bwMode="auto">
            <a:xfrm>
              <a:off x="3653" y="2574"/>
              <a:ext cx="33" cy="106"/>
            </a:xfrm>
            <a:custGeom>
              <a:avLst/>
              <a:gdLst>
                <a:gd name="T0" fmla="*/ 31 w 33"/>
                <a:gd name="T1" fmla="*/ 94 h 106"/>
                <a:gd name="T2" fmla="*/ 31 w 33"/>
                <a:gd name="T3" fmla="*/ 92 h 106"/>
                <a:gd name="T4" fmla="*/ 28 w 33"/>
                <a:gd name="T5" fmla="*/ 87 h 106"/>
                <a:gd name="T6" fmla="*/ 31 w 33"/>
                <a:gd name="T7" fmla="*/ 71 h 106"/>
                <a:gd name="T8" fmla="*/ 31 w 33"/>
                <a:gd name="T9" fmla="*/ 54 h 106"/>
                <a:gd name="T10" fmla="*/ 31 w 33"/>
                <a:gd name="T11" fmla="*/ 40 h 106"/>
                <a:gd name="T12" fmla="*/ 26 w 33"/>
                <a:gd name="T13" fmla="*/ 35 h 106"/>
                <a:gd name="T14" fmla="*/ 26 w 33"/>
                <a:gd name="T15" fmla="*/ 23 h 106"/>
                <a:gd name="T16" fmla="*/ 19 w 33"/>
                <a:gd name="T17" fmla="*/ 19 h 106"/>
                <a:gd name="T18" fmla="*/ 14 w 33"/>
                <a:gd name="T19" fmla="*/ 14 h 106"/>
                <a:gd name="T20" fmla="*/ 16 w 33"/>
                <a:gd name="T21" fmla="*/ 4 h 106"/>
                <a:gd name="T22" fmla="*/ 12 w 33"/>
                <a:gd name="T23" fmla="*/ 2 h 106"/>
                <a:gd name="T24" fmla="*/ 9 w 33"/>
                <a:gd name="T25" fmla="*/ 2 h 106"/>
                <a:gd name="T26" fmla="*/ 0 w 33"/>
                <a:gd name="T27" fmla="*/ 0 h 106"/>
                <a:gd name="T28" fmla="*/ 0 w 33"/>
                <a:gd name="T29" fmla="*/ 7 h 106"/>
                <a:gd name="T30" fmla="*/ 0 w 33"/>
                <a:gd name="T31" fmla="*/ 9 h 106"/>
                <a:gd name="T32" fmla="*/ 5 w 33"/>
                <a:gd name="T33" fmla="*/ 14 h 106"/>
                <a:gd name="T34" fmla="*/ 7 w 33"/>
                <a:gd name="T35" fmla="*/ 16 h 106"/>
                <a:gd name="T36" fmla="*/ 7 w 33"/>
                <a:gd name="T37" fmla="*/ 23 h 106"/>
                <a:gd name="T38" fmla="*/ 7 w 33"/>
                <a:gd name="T39" fmla="*/ 30 h 106"/>
                <a:gd name="T40" fmla="*/ 5 w 33"/>
                <a:gd name="T41" fmla="*/ 30 h 106"/>
                <a:gd name="T42" fmla="*/ 7 w 33"/>
                <a:gd name="T43" fmla="*/ 30 h 106"/>
                <a:gd name="T44" fmla="*/ 5 w 33"/>
                <a:gd name="T45" fmla="*/ 33 h 106"/>
                <a:gd name="T46" fmla="*/ 5 w 33"/>
                <a:gd name="T47" fmla="*/ 35 h 106"/>
                <a:gd name="T48" fmla="*/ 7 w 33"/>
                <a:gd name="T49" fmla="*/ 33 h 106"/>
                <a:gd name="T50" fmla="*/ 9 w 33"/>
                <a:gd name="T51" fmla="*/ 35 h 106"/>
                <a:gd name="T52" fmla="*/ 9 w 33"/>
                <a:gd name="T53" fmla="*/ 42 h 106"/>
                <a:gd name="T54" fmla="*/ 9 w 33"/>
                <a:gd name="T55" fmla="*/ 47 h 106"/>
                <a:gd name="T56" fmla="*/ 7 w 33"/>
                <a:gd name="T57" fmla="*/ 49 h 106"/>
                <a:gd name="T58" fmla="*/ 12 w 33"/>
                <a:gd name="T59" fmla="*/ 54 h 106"/>
                <a:gd name="T60" fmla="*/ 12 w 33"/>
                <a:gd name="T61" fmla="*/ 59 h 106"/>
                <a:gd name="T62" fmla="*/ 12 w 33"/>
                <a:gd name="T63" fmla="*/ 71 h 106"/>
                <a:gd name="T64" fmla="*/ 9 w 33"/>
                <a:gd name="T65" fmla="*/ 78 h 106"/>
                <a:gd name="T66" fmla="*/ 12 w 33"/>
                <a:gd name="T67" fmla="*/ 78 h 106"/>
                <a:gd name="T68" fmla="*/ 12 w 33"/>
                <a:gd name="T69" fmla="*/ 85 h 106"/>
                <a:gd name="T70" fmla="*/ 9 w 33"/>
                <a:gd name="T71" fmla="*/ 87 h 106"/>
                <a:gd name="T72" fmla="*/ 9 w 33"/>
                <a:gd name="T73" fmla="*/ 89 h 106"/>
                <a:gd name="T74" fmla="*/ 14 w 33"/>
                <a:gd name="T75" fmla="*/ 94 h 106"/>
                <a:gd name="T76" fmla="*/ 14 w 33"/>
                <a:gd name="T77" fmla="*/ 97 h 106"/>
                <a:gd name="T78" fmla="*/ 19 w 33"/>
                <a:gd name="T79" fmla="*/ 101 h 106"/>
                <a:gd name="T80" fmla="*/ 21 w 33"/>
                <a:gd name="T81" fmla="*/ 104 h 106"/>
                <a:gd name="T82" fmla="*/ 21 w 33"/>
                <a:gd name="T83" fmla="*/ 106 h 106"/>
                <a:gd name="T84" fmla="*/ 31 w 33"/>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 h="106">
                  <a:moveTo>
                    <a:pt x="33" y="101"/>
                  </a:moveTo>
                  <a:lnTo>
                    <a:pt x="33" y="99"/>
                  </a:lnTo>
                  <a:lnTo>
                    <a:pt x="31" y="94"/>
                  </a:lnTo>
                  <a:lnTo>
                    <a:pt x="31" y="94"/>
                  </a:lnTo>
                  <a:lnTo>
                    <a:pt x="31" y="92"/>
                  </a:lnTo>
                  <a:lnTo>
                    <a:pt x="31" y="92"/>
                  </a:lnTo>
                  <a:lnTo>
                    <a:pt x="31" y="92"/>
                  </a:lnTo>
                  <a:lnTo>
                    <a:pt x="31" y="89"/>
                  </a:lnTo>
                  <a:lnTo>
                    <a:pt x="28" y="87"/>
                  </a:lnTo>
                  <a:lnTo>
                    <a:pt x="31" y="87"/>
                  </a:lnTo>
                  <a:lnTo>
                    <a:pt x="31" y="78"/>
                  </a:lnTo>
                  <a:lnTo>
                    <a:pt x="31" y="71"/>
                  </a:lnTo>
                  <a:lnTo>
                    <a:pt x="31" y="63"/>
                  </a:lnTo>
                  <a:lnTo>
                    <a:pt x="31" y="59"/>
                  </a:lnTo>
                  <a:lnTo>
                    <a:pt x="31" y="54"/>
                  </a:lnTo>
                  <a:lnTo>
                    <a:pt x="31" y="49"/>
                  </a:lnTo>
                  <a:lnTo>
                    <a:pt x="31" y="42"/>
                  </a:lnTo>
                  <a:lnTo>
                    <a:pt x="31" y="40"/>
                  </a:lnTo>
                  <a:lnTo>
                    <a:pt x="26" y="37"/>
                  </a:lnTo>
                  <a:lnTo>
                    <a:pt x="26" y="35"/>
                  </a:lnTo>
                  <a:lnTo>
                    <a:pt x="26" y="35"/>
                  </a:lnTo>
                  <a:lnTo>
                    <a:pt x="26" y="33"/>
                  </a:lnTo>
                  <a:lnTo>
                    <a:pt x="26" y="28"/>
                  </a:lnTo>
                  <a:lnTo>
                    <a:pt x="26" y="23"/>
                  </a:lnTo>
                  <a:lnTo>
                    <a:pt x="26" y="23"/>
                  </a:lnTo>
                  <a:lnTo>
                    <a:pt x="23" y="21"/>
                  </a:lnTo>
                  <a:lnTo>
                    <a:pt x="19" y="19"/>
                  </a:lnTo>
                  <a:lnTo>
                    <a:pt x="16" y="16"/>
                  </a:lnTo>
                  <a:lnTo>
                    <a:pt x="14" y="16"/>
                  </a:lnTo>
                  <a:lnTo>
                    <a:pt x="14" y="14"/>
                  </a:lnTo>
                  <a:lnTo>
                    <a:pt x="16" y="7"/>
                  </a:lnTo>
                  <a:lnTo>
                    <a:pt x="16" y="7"/>
                  </a:lnTo>
                  <a:lnTo>
                    <a:pt x="16" y="4"/>
                  </a:lnTo>
                  <a:lnTo>
                    <a:pt x="16" y="2"/>
                  </a:lnTo>
                  <a:lnTo>
                    <a:pt x="12" y="2"/>
                  </a:lnTo>
                  <a:lnTo>
                    <a:pt x="12" y="2"/>
                  </a:lnTo>
                  <a:lnTo>
                    <a:pt x="9" y="2"/>
                  </a:lnTo>
                  <a:lnTo>
                    <a:pt x="9" y="2"/>
                  </a:lnTo>
                  <a:lnTo>
                    <a:pt x="9" y="2"/>
                  </a:lnTo>
                  <a:lnTo>
                    <a:pt x="5" y="0"/>
                  </a:lnTo>
                  <a:lnTo>
                    <a:pt x="0" y="0"/>
                  </a:lnTo>
                  <a:lnTo>
                    <a:pt x="0" y="0"/>
                  </a:lnTo>
                  <a:lnTo>
                    <a:pt x="0" y="2"/>
                  </a:lnTo>
                  <a:lnTo>
                    <a:pt x="0" y="4"/>
                  </a:lnTo>
                  <a:lnTo>
                    <a:pt x="0" y="7"/>
                  </a:lnTo>
                  <a:lnTo>
                    <a:pt x="0" y="7"/>
                  </a:lnTo>
                  <a:lnTo>
                    <a:pt x="0" y="9"/>
                  </a:lnTo>
                  <a:lnTo>
                    <a:pt x="0" y="9"/>
                  </a:lnTo>
                  <a:lnTo>
                    <a:pt x="2" y="11"/>
                  </a:lnTo>
                  <a:lnTo>
                    <a:pt x="2" y="11"/>
                  </a:lnTo>
                  <a:lnTo>
                    <a:pt x="5" y="14"/>
                  </a:lnTo>
                  <a:lnTo>
                    <a:pt x="5" y="14"/>
                  </a:lnTo>
                  <a:lnTo>
                    <a:pt x="7" y="16"/>
                  </a:lnTo>
                  <a:lnTo>
                    <a:pt x="7" y="16"/>
                  </a:lnTo>
                  <a:lnTo>
                    <a:pt x="7" y="16"/>
                  </a:lnTo>
                  <a:lnTo>
                    <a:pt x="7" y="19"/>
                  </a:lnTo>
                  <a:lnTo>
                    <a:pt x="7" y="23"/>
                  </a:lnTo>
                  <a:lnTo>
                    <a:pt x="7" y="26"/>
                  </a:lnTo>
                  <a:lnTo>
                    <a:pt x="7" y="26"/>
                  </a:lnTo>
                  <a:lnTo>
                    <a:pt x="7" y="30"/>
                  </a:lnTo>
                  <a:lnTo>
                    <a:pt x="7" y="30"/>
                  </a:lnTo>
                  <a:lnTo>
                    <a:pt x="7" y="30"/>
                  </a:lnTo>
                  <a:lnTo>
                    <a:pt x="5" y="30"/>
                  </a:lnTo>
                  <a:lnTo>
                    <a:pt x="5" y="30"/>
                  </a:lnTo>
                  <a:lnTo>
                    <a:pt x="5" y="30"/>
                  </a:lnTo>
                  <a:lnTo>
                    <a:pt x="7" y="30"/>
                  </a:lnTo>
                  <a:lnTo>
                    <a:pt x="7" y="30"/>
                  </a:lnTo>
                  <a:lnTo>
                    <a:pt x="5" y="33"/>
                  </a:lnTo>
                  <a:lnTo>
                    <a:pt x="5" y="33"/>
                  </a:lnTo>
                  <a:lnTo>
                    <a:pt x="5" y="33"/>
                  </a:lnTo>
                  <a:lnTo>
                    <a:pt x="5" y="35"/>
                  </a:lnTo>
                  <a:lnTo>
                    <a:pt x="5" y="35"/>
                  </a:lnTo>
                  <a:lnTo>
                    <a:pt x="5" y="35"/>
                  </a:lnTo>
                  <a:lnTo>
                    <a:pt x="7" y="35"/>
                  </a:lnTo>
                  <a:lnTo>
                    <a:pt x="7" y="33"/>
                  </a:lnTo>
                  <a:lnTo>
                    <a:pt x="7" y="33"/>
                  </a:lnTo>
                  <a:lnTo>
                    <a:pt x="9" y="33"/>
                  </a:lnTo>
                  <a:lnTo>
                    <a:pt x="9" y="35"/>
                  </a:lnTo>
                  <a:lnTo>
                    <a:pt x="9" y="35"/>
                  </a:lnTo>
                  <a:lnTo>
                    <a:pt x="9" y="40"/>
                  </a:lnTo>
                  <a:lnTo>
                    <a:pt x="9" y="42"/>
                  </a:lnTo>
                  <a:lnTo>
                    <a:pt x="9" y="45"/>
                  </a:lnTo>
                  <a:lnTo>
                    <a:pt x="9" y="47"/>
                  </a:lnTo>
                  <a:lnTo>
                    <a:pt x="9" y="47"/>
                  </a:lnTo>
                  <a:lnTo>
                    <a:pt x="9" y="47"/>
                  </a:lnTo>
                  <a:lnTo>
                    <a:pt x="7" y="49"/>
                  </a:lnTo>
                  <a:lnTo>
                    <a:pt x="7" y="49"/>
                  </a:lnTo>
                  <a:lnTo>
                    <a:pt x="9" y="52"/>
                  </a:lnTo>
                  <a:lnTo>
                    <a:pt x="9" y="52"/>
                  </a:lnTo>
                  <a:lnTo>
                    <a:pt x="12" y="54"/>
                  </a:lnTo>
                  <a:lnTo>
                    <a:pt x="14" y="56"/>
                  </a:lnTo>
                  <a:lnTo>
                    <a:pt x="14" y="59"/>
                  </a:lnTo>
                  <a:lnTo>
                    <a:pt x="12" y="59"/>
                  </a:lnTo>
                  <a:lnTo>
                    <a:pt x="12" y="61"/>
                  </a:lnTo>
                  <a:lnTo>
                    <a:pt x="12" y="61"/>
                  </a:lnTo>
                  <a:lnTo>
                    <a:pt x="12" y="71"/>
                  </a:lnTo>
                  <a:lnTo>
                    <a:pt x="9" y="75"/>
                  </a:lnTo>
                  <a:lnTo>
                    <a:pt x="9" y="75"/>
                  </a:lnTo>
                  <a:lnTo>
                    <a:pt x="9" y="78"/>
                  </a:lnTo>
                  <a:lnTo>
                    <a:pt x="9" y="78"/>
                  </a:lnTo>
                  <a:lnTo>
                    <a:pt x="12" y="78"/>
                  </a:lnTo>
                  <a:lnTo>
                    <a:pt x="12" y="78"/>
                  </a:lnTo>
                  <a:lnTo>
                    <a:pt x="12" y="82"/>
                  </a:lnTo>
                  <a:lnTo>
                    <a:pt x="12" y="85"/>
                  </a:lnTo>
                  <a:lnTo>
                    <a:pt x="12" y="85"/>
                  </a:lnTo>
                  <a:lnTo>
                    <a:pt x="12" y="85"/>
                  </a:lnTo>
                  <a:lnTo>
                    <a:pt x="9" y="87"/>
                  </a:lnTo>
                  <a:lnTo>
                    <a:pt x="9" y="87"/>
                  </a:lnTo>
                  <a:lnTo>
                    <a:pt x="9" y="89"/>
                  </a:lnTo>
                  <a:lnTo>
                    <a:pt x="9" y="89"/>
                  </a:lnTo>
                  <a:lnTo>
                    <a:pt x="9" y="89"/>
                  </a:lnTo>
                  <a:lnTo>
                    <a:pt x="12" y="92"/>
                  </a:lnTo>
                  <a:lnTo>
                    <a:pt x="12" y="94"/>
                  </a:lnTo>
                  <a:lnTo>
                    <a:pt x="14" y="94"/>
                  </a:lnTo>
                  <a:lnTo>
                    <a:pt x="14" y="97"/>
                  </a:lnTo>
                  <a:lnTo>
                    <a:pt x="14" y="97"/>
                  </a:lnTo>
                  <a:lnTo>
                    <a:pt x="14" y="97"/>
                  </a:lnTo>
                  <a:lnTo>
                    <a:pt x="16" y="99"/>
                  </a:lnTo>
                  <a:lnTo>
                    <a:pt x="16" y="101"/>
                  </a:lnTo>
                  <a:lnTo>
                    <a:pt x="19" y="101"/>
                  </a:lnTo>
                  <a:lnTo>
                    <a:pt x="19" y="101"/>
                  </a:lnTo>
                  <a:lnTo>
                    <a:pt x="19" y="104"/>
                  </a:lnTo>
                  <a:lnTo>
                    <a:pt x="21" y="104"/>
                  </a:lnTo>
                  <a:lnTo>
                    <a:pt x="21" y="104"/>
                  </a:lnTo>
                  <a:lnTo>
                    <a:pt x="21" y="104"/>
                  </a:lnTo>
                  <a:lnTo>
                    <a:pt x="21" y="106"/>
                  </a:lnTo>
                  <a:lnTo>
                    <a:pt x="23" y="104"/>
                  </a:lnTo>
                  <a:lnTo>
                    <a:pt x="31" y="104"/>
                  </a:lnTo>
                  <a:lnTo>
                    <a:pt x="31" y="101"/>
                  </a:lnTo>
                  <a:lnTo>
                    <a:pt x="33" y="10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7" name="Freeform 223"/>
            <p:cNvSpPr>
              <a:spLocks noEditPoints="1"/>
            </p:cNvSpPr>
            <p:nvPr userDrawn="1"/>
          </p:nvSpPr>
          <p:spPr bwMode="auto">
            <a:xfrm>
              <a:off x="5439" y="2377"/>
              <a:ext cx="158" cy="312"/>
            </a:xfrm>
            <a:custGeom>
              <a:avLst/>
              <a:gdLst>
                <a:gd name="T0" fmla="*/ 38 w 158"/>
                <a:gd name="T1" fmla="*/ 263 h 312"/>
                <a:gd name="T2" fmla="*/ 36 w 158"/>
                <a:gd name="T3" fmla="*/ 239 h 312"/>
                <a:gd name="T4" fmla="*/ 158 w 158"/>
                <a:gd name="T5" fmla="*/ 102 h 312"/>
                <a:gd name="T6" fmla="*/ 151 w 158"/>
                <a:gd name="T7" fmla="*/ 93 h 312"/>
                <a:gd name="T8" fmla="*/ 139 w 158"/>
                <a:gd name="T9" fmla="*/ 67 h 312"/>
                <a:gd name="T10" fmla="*/ 121 w 158"/>
                <a:gd name="T11" fmla="*/ 45 h 312"/>
                <a:gd name="T12" fmla="*/ 109 w 158"/>
                <a:gd name="T13" fmla="*/ 45 h 312"/>
                <a:gd name="T14" fmla="*/ 99 w 158"/>
                <a:gd name="T15" fmla="*/ 55 h 312"/>
                <a:gd name="T16" fmla="*/ 90 w 158"/>
                <a:gd name="T17" fmla="*/ 48 h 312"/>
                <a:gd name="T18" fmla="*/ 81 w 158"/>
                <a:gd name="T19" fmla="*/ 52 h 312"/>
                <a:gd name="T20" fmla="*/ 66 w 158"/>
                <a:gd name="T21" fmla="*/ 59 h 312"/>
                <a:gd name="T22" fmla="*/ 66 w 158"/>
                <a:gd name="T23" fmla="*/ 41 h 312"/>
                <a:gd name="T24" fmla="*/ 66 w 158"/>
                <a:gd name="T25" fmla="*/ 17 h 312"/>
                <a:gd name="T26" fmla="*/ 52 w 158"/>
                <a:gd name="T27" fmla="*/ 17 h 312"/>
                <a:gd name="T28" fmla="*/ 50 w 158"/>
                <a:gd name="T29" fmla="*/ 0 h 312"/>
                <a:gd name="T30" fmla="*/ 40 w 158"/>
                <a:gd name="T31" fmla="*/ 0 h 312"/>
                <a:gd name="T32" fmla="*/ 33 w 158"/>
                <a:gd name="T33" fmla="*/ 3 h 312"/>
                <a:gd name="T34" fmla="*/ 26 w 158"/>
                <a:gd name="T35" fmla="*/ 7 h 312"/>
                <a:gd name="T36" fmla="*/ 17 w 158"/>
                <a:gd name="T37" fmla="*/ 15 h 312"/>
                <a:gd name="T38" fmla="*/ 7 w 158"/>
                <a:gd name="T39" fmla="*/ 17 h 312"/>
                <a:gd name="T40" fmla="*/ 5 w 158"/>
                <a:gd name="T41" fmla="*/ 38 h 312"/>
                <a:gd name="T42" fmla="*/ 5 w 158"/>
                <a:gd name="T43" fmla="*/ 45 h 312"/>
                <a:gd name="T44" fmla="*/ 10 w 158"/>
                <a:gd name="T45" fmla="*/ 57 h 312"/>
                <a:gd name="T46" fmla="*/ 26 w 158"/>
                <a:gd name="T47" fmla="*/ 81 h 312"/>
                <a:gd name="T48" fmla="*/ 31 w 158"/>
                <a:gd name="T49" fmla="*/ 90 h 312"/>
                <a:gd name="T50" fmla="*/ 26 w 158"/>
                <a:gd name="T51" fmla="*/ 109 h 312"/>
                <a:gd name="T52" fmla="*/ 31 w 158"/>
                <a:gd name="T53" fmla="*/ 126 h 312"/>
                <a:gd name="T54" fmla="*/ 45 w 158"/>
                <a:gd name="T55" fmla="*/ 152 h 312"/>
                <a:gd name="T56" fmla="*/ 50 w 158"/>
                <a:gd name="T57" fmla="*/ 166 h 312"/>
                <a:gd name="T58" fmla="*/ 55 w 158"/>
                <a:gd name="T59" fmla="*/ 185 h 312"/>
                <a:gd name="T60" fmla="*/ 40 w 158"/>
                <a:gd name="T61" fmla="*/ 206 h 312"/>
                <a:gd name="T62" fmla="*/ 36 w 158"/>
                <a:gd name="T63" fmla="*/ 234 h 312"/>
                <a:gd name="T64" fmla="*/ 40 w 158"/>
                <a:gd name="T65" fmla="*/ 256 h 312"/>
                <a:gd name="T66" fmla="*/ 52 w 158"/>
                <a:gd name="T67" fmla="*/ 268 h 312"/>
                <a:gd name="T68" fmla="*/ 62 w 158"/>
                <a:gd name="T69" fmla="*/ 279 h 312"/>
                <a:gd name="T70" fmla="*/ 73 w 158"/>
                <a:gd name="T71" fmla="*/ 289 h 312"/>
                <a:gd name="T72" fmla="*/ 85 w 158"/>
                <a:gd name="T73" fmla="*/ 298 h 312"/>
                <a:gd name="T74" fmla="*/ 90 w 158"/>
                <a:gd name="T75" fmla="*/ 310 h 312"/>
                <a:gd name="T76" fmla="*/ 99 w 158"/>
                <a:gd name="T77" fmla="*/ 305 h 312"/>
                <a:gd name="T78" fmla="*/ 109 w 158"/>
                <a:gd name="T79" fmla="*/ 303 h 312"/>
                <a:gd name="T80" fmla="*/ 88 w 158"/>
                <a:gd name="T81" fmla="*/ 286 h 312"/>
                <a:gd name="T82" fmla="*/ 71 w 158"/>
                <a:gd name="T83" fmla="*/ 268 h 312"/>
                <a:gd name="T84" fmla="*/ 76 w 158"/>
                <a:gd name="T85" fmla="*/ 277 h 312"/>
                <a:gd name="T86" fmla="*/ 69 w 158"/>
                <a:gd name="T87" fmla="*/ 253 h 312"/>
                <a:gd name="T88" fmla="*/ 55 w 158"/>
                <a:gd name="T89" fmla="*/ 237 h 312"/>
                <a:gd name="T90" fmla="*/ 50 w 158"/>
                <a:gd name="T91" fmla="*/ 213 h 312"/>
                <a:gd name="T92" fmla="*/ 59 w 158"/>
                <a:gd name="T93" fmla="*/ 178 h 312"/>
                <a:gd name="T94" fmla="*/ 59 w 158"/>
                <a:gd name="T95" fmla="*/ 149 h 312"/>
                <a:gd name="T96" fmla="*/ 78 w 158"/>
                <a:gd name="T97" fmla="*/ 149 h 312"/>
                <a:gd name="T98" fmla="*/ 92 w 158"/>
                <a:gd name="T99" fmla="*/ 163 h 312"/>
                <a:gd name="T100" fmla="*/ 104 w 158"/>
                <a:gd name="T101" fmla="*/ 173 h 312"/>
                <a:gd name="T102" fmla="*/ 116 w 158"/>
                <a:gd name="T103" fmla="*/ 185 h 312"/>
                <a:gd name="T104" fmla="*/ 106 w 158"/>
                <a:gd name="T105" fmla="*/ 163 h 312"/>
                <a:gd name="T106" fmla="*/ 106 w 158"/>
                <a:gd name="T107" fmla="*/ 145 h 312"/>
                <a:gd name="T108" fmla="*/ 116 w 158"/>
                <a:gd name="T109" fmla="*/ 128 h 312"/>
                <a:gd name="T110" fmla="*/ 132 w 158"/>
                <a:gd name="T111" fmla="*/ 128 h 312"/>
                <a:gd name="T112" fmla="*/ 151 w 158"/>
                <a:gd name="T113" fmla="*/ 130 h 312"/>
                <a:gd name="T114" fmla="*/ 158 w 158"/>
                <a:gd name="T115" fmla="*/ 12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312">
                  <a:moveTo>
                    <a:pt x="38" y="260"/>
                  </a:moveTo>
                  <a:lnTo>
                    <a:pt x="36" y="258"/>
                  </a:lnTo>
                  <a:lnTo>
                    <a:pt x="36" y="258"/>
                  </a:lnTo>
                  <a:lnTo>
                    <a:pt x="36" y="263"/>
                  </a:lnTo>
                  <a:lnTo>
                    <a:pt x="36" y="268"/>
                  </a:lnTo>
                  <a:lnTo>
                    <a:pt x="38" y="268"/>
                  </a:lnTo>
                  <a:lnTo>
                    <a:pt x="38" y="265"/>
                  </a:lnTo>
                  <a:lnTo>
                    <a:pt x="38" y="265"/>
                  </a:lnTo>
                  <a:lnTo>
                    <a:pt x="38" y="263"/>
                  </a:lnTo>
                  <a:lnTo>
                    <a:pt x="38" y="263"/>
                  </a:lnTo>
                  <a:lnTo>
                    <a:pt x="38" y="260"/>
                  </a:lnTo>
                  <a:lnTo>
                    <a:pt x="38" y="260"/>
                  </a:lnTo>
                  <a:close/>
                  <a:moveTo>
                    <a:pt x="36" y="239"/>
                  </a:moveTo>
                  <a:lnTo>
                    <a:pt x="36" y="237"/>
                  </a:lnTo>
                  <a:lnTo>
                    <a:pt x="36" y="239"/>
                  </a:lnTo>
                  <a:lnTo>
                    <a:pt x="33" y="239"/>
                  </a:lnTo>
                  <a:lnTo>
                    <a:pt x="33" y="239"/>
                  </a:lnTo>
                  <a:lnTo>
                    <a:pt x="36" y="239"/>
                  </a:lnTo>
                  <a:lnTo>
                    <a:pt x="36" y="239"/>
                  </a:lnTo>
                  <a:close/>
                  <a:moveTo>
                    <a:pt x="158" y="114"/>
                  </a:moveTo>
                  <a:lnTo>
                    <a:pt x="158" y="111"/>
                  </a:lnTo>
                  <a:lnTo>
                    <a:pt x="156" y="109"/>
                  </a:lnTo>
                  <a:lnTo>
                    <a:pt x="156" y="107"/>
                  </a:lnTo>
                  <a:lnTo>
                    <a:pt x="158" y="107"/>
                  </a:lnTo>
                  <a:lnTo>
                    <a:pt x="158" y="104"/>
                  </a:lnTo>
                  <a:lnTo>
                    <a:pt x="158" y="104"/>
                  </a:lnTo>
                  <a:lnTo>
                    <a:pt x="158" y="102"/>
                  </a:lnTo>
                  <a:lnTo>
                    <a:pt x="158" y="100"/>
                  </a:lnTo>
                  <a:lnTo>
                    <a:pt x="158" y="100"/>
                  </a:lnTo>
                  <a:lnTo>
                    <a:pt x="156" y="97"/>
                  </a:lnTo>
                  <a:lnTo>
                    <a:pt x="156" y="97"/>
                  </a:lnTo>
                  <a:lnTo>
                    <a:pt x="154" y="97"/>
                  </a:lnTo>
                  <a:lnTo>
                    <a:pt x="154" y="95"/>
                  </a:lnTo>
                  <a:lnTo>
                    <a:pt x="154" y="95"/>
                  </a:lnTo>
                  <a:lnTo>
                    <a:pt x="154" y="93"/>
                  </a:lnTo>
                  <a:lnTo>
                    <a:pt x="151" y="93"/>
                  </a:lnTo>
                  <a:lnTo>
                    <a:pt x="149" y="90"/>
                  </a:lnTo>
                  <a:lnTo>
                    <a:pt x="147" y="90"/>
                  </a:lnTo>
                  <a:lnTo>
                    <a:pt x="147" y="88"/>
                  </a:lnTo>
                  <a:lnTo>
                    <a:pt x="144" y="85"/>
                  </a:lnTo>
                  <a:lnTo>
                    <a:pt x="142" y="83"/>
                  </a:lnTo>
                  <a:lnTo>
                    <a:pt x="139" y="78"/>
                  </a:lnTo>
                  <a:lnTo>
                    <a:pt x="139" y="74"/>
                  </a:lnTo>
                  <a:lnTo>
                    <a:pt x="139" y="71"/>
                  </a:lnTo>
                  <a:lnTo>
                    <a:pt x="139" y="67"/>
                  </a:lnTo>
                  <a:lnTo>
                    <a:pt x="137" y="62"/>
                  </a:lnTo>
                  <a:lnTo>
                    <a:pt x="135" y="59"/>
                  </a:lnTo>
                  <a:lnTo>
                    <a:pt x="132" y="59"/>
                  </a:lnTo>
                  <a:lnTo>
                    <a:pt x="130" y="57"/>
                  </a:lnTo>
                  <a:lnTo>
                    <a:pt x="128" y="55"/>
                  </a:lnTo>
                  <a:lnTo>
                    <a:pt x="125" y="50"/>
                  </a:lnTo>
                  <a:lnTo>
                    <a:pt x="123" y="45"/>
                  </a:lnTo>
                  <a:lnTo>
                    <a:pt x="121" y="43"/>
                  </a:lnTo>
                  <a:lnTo>
                    <a:pt x="121" y="45"/>
                  </a:lnTo>
                  <a:lnTo>
                    <a:pt x="118" y="43"/>
                  </a:lnTo>
                  <a:lnTo>
                    <a:pt x="114" y="43"/>
                  </a:lnTo>
                  <a:lnTo>
                    <a:pt x="111" y="43"/>
                  </a:lnTo>
                  <a:lnTo>
                    <a:pt x="109" y="43"/>
                  </a:lnTo>
                  <a:lnTo>
                    <a:pt x="109" y="43"/>
                  </a:lnTo>
                  <a:lnTo>
                    <a:pt x="106" y="43"/>
                  </a:lnTo>
                  <a:lnTo>
                    <a:pt x="109" y="43"/>
                  </a:lnTo>
                  <a:lnTo>
                    <a:pt x="109" y="45"/>
                  </a:lnTo>
                  <a:lnTo>
                    <a:pt x="109" y="45"/>
                  </a:lnTo>
                  <a:lnTo>
                    <a:pt x="106" y="45"/>
                  </a:lnTo>
                  <a:lnTo>
                    <a:pt x="106" y="45"/>
                  </a:lnTo>
                  <a:lnTo>
                    <a:pt x="106" y="48"/>
                  </a:lnTo>
                  <a:lnTo>
                    <a:pt x="104" y="50"/>
                  </a:lnTo>
                  <a:lnTo>
                    <a:pt x="104" y="50"/>
                  </a:lnTo>
                  <a:lnTo>
                    <a:pt x="102" y="52"/>
                  </a:lnTo>
                  <a:lnTo>
                    <a:pt x="102" y="52"/>
                  </a:lnTo>
                  <a:lnTo>
                    <a:pt x="99" y="52"/>
                  </a:lnTo>
                  <a:lnTo>
                    <a:pt x="99" y="55"/>
                  </a:lnTo>
                  <a:lnTo>
                    <a:pt x="99" y="55"/>
                  </a:lnTo>
                  <a:lnTo>
                    <a:pt x="99" y="55"/>
                  </a:lnTo>
                  <a:lnTo>
                    <a:pt x="97" y="55"/>
                  </a:lnTo>
                  <a:lnTo>
                    <a:pt x="97" y="52"/>
                  </a:lnTo>
                  <a:lnTo>
                    <a:pt x="97" y="52"/>
                  </a:lnTo>
                  <a:lnTo>
                    <a:pt x="97" y="52"/>
                  </a:lnTo>
                  <a:lnTo>
                    <a:pt x="95" y="50"/>
                  </a:lnTo>
                  <a:lnTo>
                    <a:pt x="92" y="50"/>
                  </a:lnTo>
                  <a:lnTo>
                    <a:pt x="90" y="48"/>
                  </a:lnTo>
                  <a:lnTo>
                    <a:pt x="88" y="45"/>
                  </a:lnTo>
                  <a:lnTo>
                    <a:pt x="88" y="45"/>
                  </a:lnTo>
                  <a:lnTo>
                    <a:pt x="85" y="48"/>
                  </a:lnTo>
                  <a:lnTo>
                    <a:pt x="85" y="50"/>
                  </a:lnTo>
                  <a:lnTo>
                    <a:pt x="83" y="50"/>
                  </a:lnTo>
                  <a:lnTo>
                    <a:pt x="83" y="50"/>
                  </a:lnTo>
                  <a:lnTo>
                    <a:pt x="81" y="50"/>
                  </a:lnTo>
                  <a:lnTo>
                    <a:pt x="81" y="52"/>
                  </a:lnTo>
                  <a:lnTo>
                    <a:pt x="81" y="52"/>
                  </a:lnTo>
                  <a:lnTo>
                    <a:pt x="78" y="55"/>
                  </a:lnTo>
                  <a:lnTo>
                    <a:pt x="78" y="55"/>
                  </a:lnTo>
                  <a:lnTo>
                    <a:pt x="76" y="57"/>
                  </a:lnTo>
                  <a:lnTo>
                    <a:pt x="73" y="59"/>
                  </a:lnTo>
                  <a:lnTo>
                    <a:pt x="71" y="62"/>
                  </a:lnTo>
                  <a:lnTo>
                    <a:pt x="71" y="62"/>
                  </a:lnTo>
                  <a:lnTo>
                    <a:pt x="69" y="62"/>
                  </a:lnTo>
                  <a:lnTo>
                    <a:pt x="69" y="59"/>
                  </a:lnTo>
                  <a:lnTo>
                    <a:pt x="66" y="59"/>
                  </a:lnTo>
                  <a:lnTo>
                    <a:pt x="69" y="55"/>
                  </a:lnTo>
                  <a:lnTo>
                    <a:pt x="69" y="50"/>
                  </a:lnTo>
                  <a:lnTo>
                    <a:pt x="69" y="48"/>
                  </a:lnTo>
                  <a:lnTo>
                    <a:pt x="69" y="45"/>
                  </a:lnTo>
                  <a:lnTo>
                    <a:pt x="69" y="45"/>
                  </a:lnTo>
                  <a:lnTo>
                    <a:pt x="69" y="43"/>
                  </a:lnTo>
                  <a:lnTo>
                    <a:pt x="66" y="43"/>
                  </a:lnTo>
                  <a:lnTo>
                    <a:pt x="66" y="41"/>
                  </a:lnTo>
                  <a:lnTo>
                    <a:pt x="66" y="41"/>
                  </a:lnTo>
                  <a:lnTo>
                    <a:pt x="69" y="41"/>
                  </a:lnTo>
                  <a:lnTo>
                    <a:pt x="69" y="38"/>
                  </a:lnTo>
                  <a:lnTo>
                    <a:pt x="69" y="33"/>
                  </a:lnTo>
                  <a:lnTo>
                    <a:pt x="71" y="31"/>
                  </a:lnTo>
                  <a:lnTo>
                    <a:pt x="69" y="29"/>
                  </a:lnTo>
                  <a:lnTo>
                    <a:pt x="69" y="26"/>
                  </a:lnTo>
                  <a:lnTo>
                    <a:pt x="66" y="22"/>
                  </a:lnTo>
                  <a:lnTo>
                    <a:pt x="66" y="19"/>
                  </a:lnTo>
                  <a:lnTo>
                    <a:pt x="66" y="17"/>
                  </a:lnTo>
                  <a:lnTo>
                    <a:pt x="66" y="17"/>
                  </a:lnTo>
                  <a:lnTo>
                    <a:pt x="62" y="17"/>
                  </a:lnTo>
                  <a:lnTo>
                    <a:pt x="62" y="17"/>
                  </a:lnTo>
                  <a:lnTo>
                    <a:pt x="59" y="17"/>
                  </a:lnTo>
                  <a:lnTo>
                    <a:pt x="59" y="19"/>
                  </a:lnTo>
                  <a:lnTo>
                    <a:pt x="59" y="19"/>
                  </a:lnTo>
                  <a:lnTo>
                    <a:pt x="57" y="19"/>
                  </a:lnTo>
                  <a:lnTo>
                    <a:pt x="55" y="17"/>
                  </a:lnTo>
                  <a:lnTo>
                    <a:pt x="52" y="17"/>
                  </a:lnTo>
                  <a:lnTo>
                    <a:pt x="52" y="15"/>
                  </a:lnTo>
                  <a:lnTo>
                    <a:pt x="52" y="10"/>
                  </a:lnTo>
                  <a:lnTo>
                    <a:pt x="52" y="7"/>
                  </a:lnTo>
                  <a:lnTo>
                    <a:pt x="52" y="7"/>
                  </a:lnTo>
                  <a:lnTo>
                    <a:pt x="52" y="5"/>
                  </a:lnTo>
                  <a:lnTo>
                    <a:pt x="52" y="5"/>
                  </a:lnTo>
                  <a:lnTo>
                    <a:pt x="52" y="5"/>
                  </a:lnTo>
                  <a:lnTo>
                    <a:pt x="50" y="3"/>
                  </a:lnTo>
                  <a:lnTo>
                    <a:pt x="50" y="0"/>
                  </a:lnTo>
                  <a:lnTo>
                    <a:pt x="48" y="0"/>
                  </a:lnTo>
                  <a:lnTo>
                    <a:pt x="48" y="0"/>
                  </a:lnTo>
                  <a:lnTo>
                    <a:pt x="48" y="0"/>
                  </a:lnTo>
                  <a:lnTo>
                    <a:pt x="45" y="3"/>
                  </a:lnTo>
                  <a:lnTo>
                    <a:pt x="45" y="3"/>
                  </a:lnTo>
                  <a:lnTo>
                    <a:pt x="45" y="3"/>
                  </a:lnTo>
                  <a:lnTo>
                    <a:pt x="45" y="3"/>
                  </a:lnTo>
                  <a:lnTo>
                    <a:pt x="43" y="0"/>
                  </a:lnTo>
                  <a:lnTo>
                    <a:pt x="40" y="0"/>
                  </a:lnTo>
                  <a:lnTo>
                    <a:pt x="40" y="0"/>
                  </a:lnTo>
                  <a:lnTo>
                    <a:pt x="40" y="0"/>
                  </a:lnTo>
                  <a:lnTo>
                    <a:pt x="38" y="0"/>
                  </a:lnTo>
                  <a:lnTo>
                    <a:pt x="38" y="3"/>
                  </a:lnTo>
                  <a:lnTo>
                    <a:pt x="36" y="3"/>
                  </a:lnTo>
                  <a:lnTo>
                    <a:pt x="33" y="0"/>
                  </a:lnTo>
                  <a:lnTo>
                    <a:pt x="33" y="0"/>
                  </a:lnTo>
                  <a:lnTo>
                    <a:pt x="33" y="0"/>
                  </a:lnTo>
                  <a:lnTo>
                    <a:pt x="33" y="3"/>
                  </a:lnTo>
                  <a:lnTo>
                    <a:pt x="33" y="5"/>
                  </a:lnTo>
                  <a:lnTo>
                    <a:pt x="33" y="5"/>
                  </a:lnTo>
                  <a:lnTo>
                    <a:pt x="33" y="5"/>
                  </a:lnTo>
                  <a:lnTo>
                    <a:pt x="33" y="7"/>
                  </a:lnTo>
                  <a:lnTo>
                    <a:pt x="31" y="7"/>
                  </a:lnTo>
                  <a:lnTo>
                    <a:pt x="31" y="7"/>
                  </a:lnTo>
                  <a:lnTo>
                    <a:pt x="29" y="5"/>
                  </a:lnTo>
                  <a:lnTo>
                    <a:pt x="26" y="5"/>
                  </a:lnTo>
                  <a:lnTo>
                    <a:pt x="26" y="7"/>
                  </a:lnTo>
                  <a:lnTo>
                    <a:pt x="26" y="7"/>
                  </a:lnTo>
                  <a:lnTo>
                    <a:pt x="26" y="7"/>
                  </a:lnTo>
                  <a:lnTo>
                    <a:pt x="26" y="12"/>
                  </a:lnTo>
                  <a:lnTo>
                    <a:pt x="24" y="12"/>
                  </a:lnTo>
                  <a:lnTo>
                    <a:pt x="24" y="12"/>
                  </a:lnTo>
                  <a:lnTo>
                    <a:pt x="24" y="15"/>
                  </a:lnTo>
                  <a:lnTo>
                    <a:pt x="22" y="12"/>
                  </a:lnTo>
                  <a:lnTo>
                    <a:pt x="22" y="15"/>
                  </a:lnTo>
                  <a:lnTo>
                    <a:pt x="17" y="15"/>
                  </a:lnTo>
                  <a:lnTo>
                    <a:pt x="17" y="15"/>
                  </a:lnTo>
                  <a:lnTo>
                    <a:pt x="15" y="15"/>
                  </a:lnTo>
                  <a:lnTo>
                    <a:pt x="12" y="15"/>
                  </a:lnTo>
                  <a:lnTo>
                    <a:pt x="12" y="15"/>
                  </a:lnTo>
                  <a:lnTo>
                    <a:pt x="10" y="15"/>
                  </a:lnTo>
                  <a:lnTo>
                    <a:pt x="7" y="15"/>
                  </a:lnTo>
                  <a:lnTo>
                    <a:pt x="7" y="15"/>
                  </a:lnTo>
                  <a:lnTo>
                    <a:pt x="7" y="17"/>
                  </a:lnTo>
                  <a:lnTo>
                    <a:pt x="7" y="17"/>
                  </a:lnTo>
                  <a:lnTo>
                    <a:pt x="5" y="19"/>
                  </a:lnTo>
                  <a:lnTo>
                    <a:pt x="5" y="24"/>
                  </a:lnTo>
                  <a:lnTo>
                    <a:pt x="5" y="26"/>
                  </a:lnTo>
                  <a:lnTo>
                    <a:pt x="5" y="29"/>
                  </a:lnTo>
                  <a:lnTo>
                    <a:pt x="5" y="31"/>
                  </a:lnTo>
                  <a:lnTo>
                    <a:pt x="7" y="38"/>
                  </a:lnTo>
                  <a:lnTo>
                    <a:pt x="5" y="38"/>
                  </a:lnTo>
                  <a:lnTo>
                    <a:pt x="5" y="38"/>
                  </a:lnTo>
                  <a:lnTo>
                    <a:pt x="5" y="38"/>
                  </a:lnTo>
                  <a:lnTo>
                    <a:pt x="3" y="41"/>
                  </a:lnTo>
                  <a:lnTo>
                    <a:pt x="3" y="41"/>
                  </a:lnTo>
                  <a:lnTo>
                    <a:pt x="3" y="41"/>
                  </a:lnTo>
                  <a:lnTo>
                    <a:pt x="0" y="41"/>
                  </a:lnTo>
                  <a:lnTo>
                    <a:pt x="0" y="41"/>
                  </a:lnTo>
                  <a:lnTo>
                    <a:pt x="0" y="41"/>
                  </a:lnTo>
                  <a:lnTo>
                    <a:pt x="0" y="43"/>
                  </a:lnTo>
                  <a:lnTo>
                    <a:pt x="3" y="45"/>
                  </a:lnTo>
                  <a:lnTo>
                    <a:pt x="5" y="45"/>
                  </a:lnTo>
                  <a:lnTo>
                    <a:pt x="5" y="45"/>
                  </a:lnTo>
                  <a:lnTo>
                    <a:pt x="5" y="45"/>
                  </a:lnTo>
                  <a:lnTo>
                    <a:pt x="5" y="48"/>
                  </a:lnTo>
                  <a:lnTo>
                    <a:pt x="7" y="50"/>
                  </a:lnTo>
                  <a:lnTo>
                    <a:pt x="7" y="52"/>
                  </a:lnTo>
                  <a:lnTo>
                    <a:pt x="7" y="55"/>
                  </a:lnTo>
                  <a:lnTo>
                    <a:pt x="7" y="55"/>
                  </a:lnTo>
                  <a:lnTo>
                    <a:pt x="7" y="55"/>
                  </a:lnTo>
                  <a:lnTo>
                    <a:pt x="10" y="57"/>
                  </a:lnTo>
                  <a:lnTo>
                    <a:pt x="12" y="59"/>
                  </a:lnTo>
                  <a:lnTo>
                    <a:pt x="15" y="64"/>
                  </a:lnTo>
                  <a:lnTo>
                    <a:pt x="17" y="67"/>
                  </a:lnTo>
                  <a:lnTo>
                    <a:pt x="19" y="69"/>
                  </a:lnTo>
                  <a:lnTo>
                    <a:pt x="24" y="71"/>
                  </a:lnTo>
                  <a:lnTo>
                    <a:pt x="24" y="74"/>
                  </a:lnTo>
                  <a:lnTo>
                    <a:pt x="24" y="78"/>
                  </a:lnTo>
                  <a:lnTo>
                    <a:pt x="26" y="78"/>
                  </a:lnTo>
                  <a:lnTo>
                    <a:pt x="26" y="81"/>
                  </a:lnTo>
                  <a:lnTo>
                    <a:pt x="26" y="83"/>
                  </a:lnTo>
                  <a:lnTo>
                    <a:pt x="29" y="85"/>
                  </a:lnTo>
                  <a:lnTo>
                    <a:pt x="29" y="85"/>
                  </a:lnTo>
                  <a:lnTo>
                    <a:pt x="31" y="83"/>
                  </a:lnTo>
                  <a:lnTo>
                    <a:pt x="33" y="85"/>
                  </a:lnTo>
                  <a:lnTo>
                    <a:pt x="33" y="85"/>
                  </a:lnTo>
                  <a:lnTo>
                    <a:pt x="33" y="88"/>
                  </a:lnTo>
                  <a:lnTo>
                    <a:pt x="33" y="88"/>
                  </a:lnTo>
                  <a:lnTo>
                    <a:pt x="31" y="90"/>
                  </a:lnTo>
                  <a:lnTo>
                    <a:pt x="29" y="93"/>
                  </a:lnTo>
                  <a:lnTo>
                    <a:pt x="29" y="95"/>
                  </a:lnTo>
                  <a:lnTo>
                    <a:pt x="29" y="97"/>
                  </a:lnTo>
                  <a:lnTo>
                    <a:pt x="29" y="102"/>
                  </a:lnTo>
                  <a:lnTo>
                    <a:pt x="29" y="107"/>
                  </a:lnTo>
                  <a:lnTo>
                    <a:pt x="29" y="107"/>
                  </a:lnTo>
                  <a:lnTo>
                    <a:pt x="29" y="107"/>
                  </a:lnTo>
                  <a:lnTo>
                    <a:pt x="26" y="107"/>
                  </a:lnTo>
                  <a:lnTo>
                    <a:pt x="26" y="109"/>
                  </a:lnTo>
                  <a:lnTo>
                    <a:pt x="24" y="109"/>
                  </a:lnTo>
                  <a:lnTo>
                    <a:pt x="24" y="109"/>
                  </a:lnTo>
                  <a:lnTo>
                    <a:pt x="22" y="109"/>
                  </a:lnTo>
                  <a:lnTo>
                    <a:pt x="22" y="111"/>
                  </a:lnTo>
                  <a:lnTo>
                    <a:pt x="24" y="114"/>
                  </a:lnTo>
                  <a:lnTo>
                    <a:pt x="24" y="119"/>
                  </a:lnTo>
                  <a:lnTo>
                    <a:pt x="26" y="121"/>
                  </a:lnTo>
                  <a:lnTo>
                    <a:pt x="29" y="123"/>
                  </a:lnTo>
                  <a:lnTo>
                    <a:pt x="31" y="126"/>
                  </a:lnTo>
                  <a:lnTo>
                    <a:pt x="31" y="128"/>
                  </a:lnTo>
                  <a:lnTo>
                    <a:pt x="36" y="130"/>
                  </a:lnTo>
                  <a:lnTo>
                    <a:pt x="38" y="135"/>
                  </a:lnTo>
                  <a:lnTo>
                    <a:pt x="40" y="137"/>
                  </a:lnTo>
                  <a:lnTo>
                    <a:pt x="43" y="140"/>
                  </a:lnTo>
                  <a:lnTo>
                    <a:pt x="43" y="142"/>
                  </a:lnTo>
                  <a:lnTo>
                    <a:pt x="43" y="145"/>
                  </a:lnTo>
                  <a:lnTo>
                    <a:pt x="45" y="147"/>
                  </a:lnTo>
                  <a:lnTo>
                    <a:pt x="45" y="152"/>
                  </a:lnTo>
                  <a:lnTo>
                    <a:pt x="45" y="152"/>
                  </a:lnTo>
                  <a:lnTo>
                    <a:pt x="43" y="154"/>
                  </a:lnTo>
                  <a:lnTo>
                    <a:pt x="45" y="156"/>
                  </a:lnTo>
                  <a:lnTo>
                    <a:pt x="45" y="156"/>
                  </a:lnTo>
                  <a:lnTo>
                    <a:pt x="45" y="159"/>
                  </a:lnTo>
                  <a:lnTo>
                    <a:pt x="48" y="161"/>
                  </a:lnTo>
                  <a:lnTo>
                    <a:pt x="48" y="163"/>
                  </a:lnTo>
                  <a:lnTo>
                    <a:pt x="50" y="166"/>
                  </a:lnTo>
                  <a:lnTo>
                    <a:pt x="50" y="166"/>
                  </a:lnTo>
                  <a:lnTo>
                    <a:pt x="50" y="168"/>
                  </a:lnTo>
                  <a:lnTo>
                    <a:pt x="50" y="168"/>
                  </a:lnTo>
                  <a:lnTo>
                    <a:pt x="52" y="171"/>
                  </a:lnTo>
                  <a:lnTo>
                    <a:pt x="52" y="173"/>
                  </a:lnTo>
                  <a:lnTo>
                    <a:pt x="55" y="175"/>
                  </a:lnTo>
                  <a:lnTo>
                    <a:pt x="55" y="182"/>
                  </a:lnTo>
                  <a:lnTo>
                    <a:pt x="55" y="182"/>
                  </a:lnTo>
                  <a:lnTo>
                    <a:pt x="55" y="185"/>
                  </a:lnTo>
                  <a:lnTo>
                    <a:pt x="55" y="185"/>
                  </a:lnTo>
                  <a:lnTo>
                    <a:pt x="52" y="185"/>
                  </a:lnTo>
                  <a:lnTo>
                    <a:pt x="52" y="187"/>
                  </a:lnTo>
                  <a:lnTo>
                    <a:pt x="52" y="189"/>
                  </a:lnTo>
                  <a:lnTo>
                    <a:pt x="50" y="197"/>
                  </a:lnTo>
                  <a:lnTo>
                    <a:pt x="45" y="201"/>
                  </a:lnTo>
                  <a:lnTo>
                    <a:pt x="43" y="204"/>
                  </a:lnTo>
                  <a:lnTo>
                    <a:pt x="43" y="204"/>
                  </a:lnTo>
                  <a:lnTo>
                    <a:pt x="40" y="206"/>
                  </a:lnTo>
                  <a:lnTo>
                    <a:pt x="40" y="206"/>
                  </a:lnTo>
                  <a:lnTo>
                    <a:pt x="43" y="208"/>
                  </a:lnTo>
                  <a:lnTo>
                    <a:pt x="43" y="211"/>
                  </a:lnTo>
                  <a:lnTo>
                    <a:pt x="43" y="213"/>
                  </a:lnTo>
                  <a:lnTo>
                    <a:pt x="40" y="213"/>
                  </a:lnTo>
                  <a:lnTo>
                    <a:pt x="40" y="216"/>
                  </a:lnTo>
                  <a:lnTo>
                    <a:pt x="38" y="223"/>
                  </a:lnTo>
                  <a:lnTo>
                    <a:pt x="38" y="230"/>
                  </a:lnTo>
                  <a:lnTo>
                    <a:pt x="38" y="230"/>
                  </a:lnTo>
                  <a:lnTo>
                    <a:pt x="36" y="234"/>
                  </a:lnTo>
                  <a:lnTo>
                    <a:pt x="36" y="242"/>
                  </a:lnTo>
                  <a:lnTo>
                    <a:pt x="33" y="246"/>
                  </a:lnTo>
                  <a:lnTo>
                    <a:pt x="33" y="251"/>
                  </a:lnTo>
                  <a:lnTo>
                    <a:pt x="36" y="253"/>
                  </a:lnTo>
                  <a:lnTo>
                    <a:pt x="36" y="258"/>
                  </a:lnTo>
                  <a:lnTo>
                    <a:pt x="38" y="258"/>
                  </a:lnTo>
                  <a:lnTo>
                    <a:pt x="38" y="258"/>
                  </a:lnTo>
                  <a:lnTo>
                    <a:pt x="40" y="256"/>
                  </a:lnTo>
                  <a:lnTo>
                    <a:pt x="40" y="256"/>
                  </a:lnTo>
                  <a:lnTo>
                    <a:pt x="40" y="256"/>
                  </a:lnTo>
                  <a:lnTo>
                    <a:pt x="43" y="256"/>
                  </a:lnTo>
                  <a:lnTo>
                    <a:pt x="43" y="256"/>
                  </a:lnTo>
                  <a:lnTo>
                    <a:pt x="45" y="260"/>
                  </a:lnTo>
                  <a:lnTo>
                    <a:pt x="48" y="260"/>
                  </a:lnTo>
                  <a:lnTo>
                    <a:pt x="50" y="263"/>
                  </a:lnTo>
                  <a:lnTo>
                    <a:pt x="50" y="265"/>
                  </a:lnTo>
                  <a:lnTo>
                    <a:pt x="50" y="268"/>
                  </a:lnTo>
                  <a:lnTo>
                    <a:pt x="52" y="268"/>
                  </a:lnTo>
                  <a:lnTo>
                    <a:pt x="52" y="268"/>
                  </a:lnTo>
                  <a:lnTo>
                    <a:pt x="55" y="270"/>
                  </a:lnTo>
                  <a:lnTo>
                    <a:pt x="55" y="272"/>
                  </a:lnTo>
                  <a:lnTo>
                    <a:pt x="57" y="275"/>
                  </a:lnTo>
                  <a:lnTo>
                    <a:pt x="59" y="277"/>
                  </a:lnTo>
                  <a:lnTo>
                    <a:pt x="59" y="277"/>
                  </a:lnTo>
                  <a:lnTo>
                    <a:pt x="62" y="275"/>
                  </a:lnTo>
                  <a:lnTo>
                    <a:pt x="59" y="279"/>
                  </a:lnTo>
                  <a:lnTo>
                    <a:pt x="62" y="279"/>
                  </a:lnTo>
                  <a:lnTo>
                    <a:pt x="62" y="279"/>
                  </a:lnTo>
                  <a:lnTo>
                    <a:pt x="64" y="282"/>
                  </a:lnTo>
                  <a:lnTo>
                    <a:pt x="64" y="286"/>
                  </a:lnTo>
                  <a:lnTo>
                    <a:pt x="66" y="289"/>
                  </a:lnTo>
                  <a:lnTo>
                    <a:pt x="71" y="296"/>
                  </a:lnTo>
                  <a:lnTo>
                    <a:pt x="71" y="294"/>
                  </a:lnTo>
                  <a:lnTo>
                    <a:pt x="73" y="291"/>
                  </a:lnTo>
                  <a:lnTo>
                    <a:pt x="73" y="289"/>
                  </a:lnTo>
                  <a:lnTo>
                    <a:pt x="73" y="289"/>
                  </a:lnTo>
                  <a:lnTo>
                    <a:pt x="73" y="289"/>
                  </a:lnTo>
                  <a:lnTo>
                    <a:pt x="76" y="294"/>
                  </a:lnTo>
                  <a:lnTo>
                    <a:pt x="81" y="294"/>
                  </a:lnTo>
                  <a:lnTo>
                    <a:pt x="81" y="294"/>
                  </a:lnTo>
                  <a:lnTo>
                    <a:pt x="83" y="294"/>
                  </a:lnTo>
                  <a:lnTo>
                    <a:pt x="83" y="294"/>
                  </a:lnTo>
                  <a:lnTo>
                    <a:pt x="85" y="296"/>
                  </a:lnTo>
                  <a:lnTo>
                    <a:pt x="85" y="296"/>
                  </a:lnTo>
                  <a:lnTo>
                    <a:pt x="85" y="298"/>
                  </a:lnTo>
                  <a:lnTo>
                    <a:pt x="88" y="298"/>
                  </a:lnTo>
                  <a:lnTo>
                    <a:pt x="90" y="298"/>
                  </a:lnTo>
                  <a:lnTo>
                    <a:pt x="90" y="298"/>
                  </a:lnTo>
                  <a:lnTo>
                    <a:pt x="90" y="301"/>
                  </a:lnTo>
                  <a:lnTo>
                    <a:pt x="90" y="303"/>
                  </a:lnTo>
                  <a:lnTo>
                    <a:pt x="90" y="305"/>
                  </a:lnTo>
                  <a:lnTo>
                    <a:pt x="88" y="308"/>
                  </a:lnTo>
                  <a:lnTo>
                    <a:pt x="88" y="310"/>
                  </a:lnTo>
                  <a:lnTo>
                    <a:pt x="90" y="310"/>
                  </a:lnTo>
                  <a:lnTo>
                    <a:pt x="90" y="310"/>
                  </a:lnTo>
                  <a:lnTo>
                    <a:pt x="90" y="312"/>
                  </a:lnTo>
                  <a:lnTo>
                    <a:pt x="92" y="312"/>
                  </a:lnTo>
                  <a:lnTo>
                    <a:pt x="92" y="310"/>
                  </a:lnTo>
                  <a:lnTo>
                    <a:pt x="92" y="310"/>
                  </a:lnTo>
                  <a:lnTo>
                    <a:pt x="92" y="308"/>
                  </a:lnTo>
                  <a:lnTo>
                    <a:pt x="97" y="308"/>
                  </a:lnTo>
                  <a:lnTo>
                    <a:pt x="99" y="305"/>
                  </a:lnTo>
                  <a:lnTo>
                    <a:pt x="99" y="305"/>
                  </a:lnTo>
                  <a:lnTo>
                    <a:pt x="99" y="308"/>
                  </a:lnTo>
                  <a:lnTo>
                    <a:pt x="102" y="308"/>
                  </a:lnTo>
                  <a:lnTo>
                    <a:pt x="102" y="308"/>
                  </a:lnTo>
                  <a:lnTo>
                    <a:pt x="102" y="310"/>
                  </a:lnTo>
                  <a:lnTo>
                    <a:pt x="104" y="308"/>
                  </a:lnTo>
                  <a:lnTo>
                    <a:pt x="104" y="308"/>
                  </a:lnTo>
                  <a:lnTo>
                    <a:pt x="106" y="305"/>
                  </a:lnTo>
                  <a:lnTo>
                    <a:pt x="106" y="305"/>
                  </a:lnTo>
                  <a:lnTo>
                    <a:pt x="109" y="303"/>
                  </a:lnTo>
                  <a:lnTo>
                    <a:pt x="109" y="301"/>
                  </a:lnTo>
                  <a:lnTo>
                    <a:pt x="109" y="298"/>
                  </a:lnTo>
                  <a:lnTo>
                    <a:pt x="102" y="294"/>
                  </a:lnTo>
                  <a:lnTo>
                    <a:pt x="99" y="289"/>
                  </a:lnTo>
                  <a:lnTo>
                    <a:pt x="97" y="286"/>
                  </a:lnTo>
                  <a:lnTo>
                    <a:pt x="95" y="284"/>
                  </a:lnTo>
                  <a:lnTo>
                    <a:pt x="92" y="284"/>
                  </a:lnTo>
                  <a:lnTo>
                    <a:pt x="90" y="286"/>
                  </a:lnTo>
                  <a:lnTo>
                    <a:pt x="88" y="286"/>
                  </a:lnTo>
                  <a:lnTo>
                    <a:pt x="83" y="284"/>
                  </a:lnTo>
                  <a:lnTo>
                    <a:pt x="83" y="282"/>
                  </a:lnTo>
                  <a:lnTo>
                    <a:pt x="81" y="279"/>
                  </a:lnTo>
                  <a:lnTo>
                    <a:pt x="78" y="279"/>
                  </a:lnTo>
                  <a:lnTo>
                    <a:pt x="76" y="279"/>
                  </a:lnTo>
                  <a:lnTo>
                    <a:pt x="76" y="277"/>
                  </a:lnTo>
                  <a:lnTo>
                    <a:pt x="71" y="272"/>
                  </a:lnTo>
                  <a:lnTo>
                    <a:pt x="71" y="270"/>
                  </a:lnTo>
                  <a:lnTo>
                    <a:pt x="71" y="268"/>
                  </a:lnTo>
                  <a:lnTo>
                    <a:pt x="73" y="268"/>
                  </a:lnTo>
                  <a:lnTo>
                    <a:pt x="73" y="268"/>
                  </a:lnTo>
                  <a:lnTo>
                    <a:pt x="73" y="270"/>
                  </a:lnTo>
                  <a:lnTo>
                    <a:pt x="73" y="270"/>
                  </a:lnTo>
                  <a:lnTo>
                    <a:pt x="73" y="272"/>
                  </a:lnTo>
                  <a:lnTo>
                    <a:pt x="76" y="272"/>
                  </a:lnTo>
                  <a:lnTo>
                    <a:pt x="76" y="272"/>
                  </a:lnTo>
                  <a:lnTo>
                    <a:pt x="76" y="272"/>
                  </a:lnTo>
                  <a:lnTo>
                    <a:pt x="76" y="277"/>
                  </a:lnTo>
                  <a:lnTo>
                    <a:pt x="78" y="279"/>
                  </a:lnTo>
                  <a:lnTo>
                    <a:pt x="78" y="277"/>
                  </a:lnTo>
                  <a:lnTo>
                    <a:pt x="76" y="275"/>
                  </a:lnTo>
                  <a:lnTo>
                    <a:pt x="73" y="256"/>
                  </a:lnTo>
                  <a:lnTo>
                    <a:pt x="71" y="253"/>
                  </a:lnTo>
                  <a:lnTo>
                    <a:pt x="71" y="251"/>
                  </a:lnTo>
                  <a:lnTo>
                    <a:pt x="71" y="251"/>
                  </a:lnTo>
                  <a:lnTo>
                    <a:pt x="71" y="253"/>
                  </a:lnTo>
                  <a:lnTo>
                    <a:pt x="69" y="253"/>
                  </a:lnTo>
                  <a:lnTo>
                    <a:pt x="69" y="251"/>
                  </a:lnTo>
                  <a:lnTo>
                    <a:pt x="66" y="249"/>
                  </a:lnTo>
                  <a:lnTo>
                    <a:pt x="66" y="249"/>
                  </a:lnTo>
                  <a:lnTo>
                    <a:pt x="64" y="239"/>
                  </a:lnTo>
                  <a:lnTo>
                    <a:pt x="64" y="237"/>
                  </a:lnTo>
                  <a:lnTo>
                    <a:pt x="64" y="234"/>
                  </a:lnTo>
                  <a:lnTo>
                    <a:pt x="62" y="234"/>
                  </a:lnTo>
                  <a:lnTo>
                    <a:pt x="55" y="237"/>
                  </a:lnTo>
                  <a:lnTo>
                    <a:pt x="55" y="237"/>
                  </a:lnTo>
                  <a:lnTo>
                    <a:pt x="52" y="234"/>
                  </a:lnTo>
                  <a:lnTo>
                    <a:pt x="52" y="234"/>
                  </a:lnTo>
                  <a:lnTo>
                    <a:pt x="52" y="232"/>
                  </a:lnTo>
                  <a:lnTo>
                    <a:pt x="50" y="227"/>
                  </a:lnTo>
                  <a:lnTo>
                    <a:pt x="50" y="225"/>
                  </a:lnTo>
                  <a:lnTo>
                    <a:pt x="50" y="220"/>
                  </a:lnTo>
                  <a:lnTo>
                    <a:pt x="50" y="216"/>
                  </a:lnTo>
                  <a:lnTo>
                    <a:pt x="50" y="213"/>
                  </a:lnTo>
                  <a:lnTo>
                    <a:pt x="50" y="213"/>
                  </a:lnTo>
                  <a:lnTo>
                    <a:pt x="50" y="211"/>
                  </a:lnTo>
                  <a:lnTo>
                    <a:pt x="52" y="208"/>
                  </a:lnTo>
                  <a:lnTo>
                    <a:pt x="55" y="201"/>
                  </a:lnTo>
                  <a:lnTo>
                    <a:pt x="55" y="197"/>
                  </a:lnTo>
                  <a:lnTo>
                    <a:pt x="55" y="194"/>
                  </a:lnTo>
                  <a:lnTo>
                    <a:pt x="57" y="189"/>
                  </a:lnTo>
                  <a:lnTo>
                    <a:pt x="57" y="185"/>
                  </a:lnTo>
                  <a:lnTo>
                    <a:pt x="59" y="182"/>
                  </a:lnTo>
                  <a:lnTo>
                    <a:pt x="59" y="178"/>
                  </a:lnTo>
                  <a:lnTo>
                    <a:pt x="62" y="175"/>
                  </a:lnTo>
                  <a:lnTo>
                    <a:pt x="62" y="173"/>
                  </a:lnTo>
                  <a:lnTo>
                    <a:pt x="62" y="171"/>
                  </a:lnTo>
                  <a:lnTo>
                    <a:pt x="62" y="163"/>
                  </a:lnTo>
                  <a:lnTo>
                    <a:pt x="62" y="161"/>
                  </a:lnTo>
                  <a:lnTo>
                    <a:pt x="62" y="156"/>
                  </a:lnTo>
                  <a:lnTo>
                    <a:pt x="62" y="152"/>
                  </a:lnTo>
                  <a:lnTo>
                    <a:pt x="59" y="152"/>
                  </a:lnTo>
                  <a:lnTo>
                    <a:pt x="59" y="149"/>
                  </a:lnTo>
                  <a:lnTo>
                    <a:pt x="62" y="147"/>
                  </a:lnTo>
                  <a:lnTo>
                    <a:pt x="64" y="147"/>
                  </a:lnTo>
                  <a:lnTo>
                    <a:pt x="69" y="145"/>
                  </a:lnTo>
                  <a:lnTo>
                    <a:pt x="71" y="145"/>
                  </a:lnTo>
                  <a:lnTo>
                    <a:pt x="71" y="145"/>
                  </a:lnTo>
                  <a:lnTo>
                    <a:pt x="76" y="147"/>
                  </a:lnTo>
                  <a:lnTo>
                    <a:pt x="78" y="147"/>
                  </a:lnTo>
                  <a:lnTo>
                    <a:pt x="78" y="149"/>
                  </a:lnTo>
                  <a:lnTo>
                    <a:pt x="78" y="149"/>
                  </a:lnTo>
                  <a:lnTo>
                    <a:pt x="78" y="152"/>
                  </a:lnTo>
                  <a:lnTo>
                    <a:pt x="78" y="156"/>
                  </a:lnTo>
                  <a:lnTo>
                    <a:pt x="78" y="161"/>
                  </a:lnTo>
                  <a:lnTo>
                    <a:pt x="78" y="163"/>
                  </a:lnTo>
                  <a:lnTo>
                    <a:pt x="78" y="163"/>
                  </a:lnTo>
                  <a:lnTo>
                    <a:pt x="78" y="163"/>
                  </a:lnTo>
                  <a:lnTo>
                    <a:pt x="81" y="163"/>
                  </a:lnTo>
                  <a:lnTo>
                    <a:pt x="88" y="163"/>
                  </a:lnTo>
                  <a:lnTo>
                    <a:pt x="92" y="163"/>
                  </a:lnTo>
                  <a:lnTo>
                    <a:pt x="95" y="163"/>
                  </a:lnTo>
                  <a:lnTo>
                    <a:pt x="97" y="166"/>
                  </a:lnTo>
                  <a:lnTo>
                    <a:pt x="97" y="166"/>
                  </a:lnTo>
                  <a:lnTo>
                    <a:pt x="99" y="166"/>
                  </a:lnTo>
                  <a:lnTo>
                    <a:pt x="102" y="168"/>
                  </a:lnTo>
                  <a:lnTo>
                    <a:pt x="104" y="171"/>
                  </a:lnTo>
                  <a:lnTo>
                    <a:pt x="104" y="171"/>
                  </a:lnTo>
                  <a:lnTo>
                    <a:pt x="104" y="168"/>
                  </a:lnTo>
                  <a:lnTo>
                    <a:pt x="104" y="173"/>
                  </a:lnTo>
                  <a:lnTo>
                    <a:pt x="106" y="173"/>
                  </a:lnTo>
                  <a:lnTo>
                    <a:pt x="109" y="175"/>
                  </a:lnTo>
                  <a:lnTo>
                    <a:pt x="109" y="173"/>
                  </a:lnTo>
                  <a:lnTo>
                    <a:pt x="109" y="173"/>
                  </a:lnTo>
                  <a:lnTo>
                    <a:pt x="111" y="175"/>
                  </a:lnTo>
                  <a:lnTo>
                    <a:pt x="114" y="178"/>
                  </a:lnTo>
                  <a:lnTo>
                    <a:pt x="114" y="180"/>
                  </a:lnTo>
                  <a:lnTo>
                    <a:pt x="116" y="182"/>
                  </a:lnTo>
                  <a:lnTo>
                    <a:pt x="116" y="185"/>
                  </a:lnTo>
                  <a:lnTo>
                    <a:pt x="118" y="185"/>
                  </a:lnTo>
                  <a:lnTo>
                    <a:pt x="116" y="182"/>
                  </a:lnTo>
                  <a:lnTo>
                    <a:pt x="114" y="175"/>
                  </a:lnTo>
                  <a:lnTo>
                    <a:pt x="111" y="173"/>
                  </a:lnTo>
                  <a:lnTo>
                    <a:pt x="111" y="168"/>
                  </a:lnTo>
                  <a:lnTo>
                    <a:pt x="114" y="168"/>
                  </a:lnTo>
                  <a:lnTo>
                    <a:pt x="111" y="166"/>
                  </a:lnTo>
                  <a:lnTo>
                    <a:pt x="109" y="166"/>
                  </a:lnTo>
                  <a:lnTo>
                    <a:pt x="106" y="163"/>
                  </a:lnTo>
                  <a:lnTo>
                    <a:pt x="106" y="159"/>
                  </a:lnTo>
                  <a:lnTo>
                    <a:pt x="106" y="156"/>
                  </a:lnTo>
                  <a:lnTo>
                    <a:pt x="104" y="154"/>
                  </a:lnTo>
                  <a:lnTo>
                    <a:pt x="104" y="152"/>
                  </a:lnTo>
                  <a:lnTo>
                    <a:pt x="104" y="149"/>
                  </a:lnTo>
                  <a:lnTo>
                    <a:pt x="102" y="145"/>
                  </a:lnTo>
                  <a:lnTo>
                    <a:pt x="102" y="145"/>
                  </a:lnTo>
                  <a:lnTo>
                    <a:pt x="104" y="145"/>
                  </a:lnTo>
                  <a:lnTo>
                    <a:pt x="106" y="145"/>
                  </a:lnTo>
                  <a:lnTo>
                    <a:pt x="106" y="142"/>
                  </a:lnTo>
                  <a:lnTo>
                    <a:pt x="106" y="142"/>
                  </a:lnTo>
                  <a:lnTo>
                    <a:pt x="106" y="142"/>
                  </a:lnTo>
                  <a:lnTo>
                    <a:pt x="109" y="137"/>
                  </a:lnTo>
                  <a:lnTo>
                    <a:pt x="111" y="135"/>
                  </a:lnTo>
                  <a:lnTo>
                    <a:pt x="111" y="135"/>
                  </a:lnTo>
                  <a:lnTo>
                    <a:pt x="111" y="133"/>
                  </a:lnTo>
                  <a:lnTo>
                    <a:pt x="114" y="130"/>
                  </a:lnTo>
                  <a:lnTo>
                    <a:pt x="116" y="128"/>
                  </a:lnTo>
                  <a:lnTo>
                    <a:pt x="118" y="128"/>
                  </a:lnTo>
                  <a:lnTo>
                    <a:pt x="121" y="128"/>
                  </a:lnTo>
                  <a:lnTo>
                    <a:pt x="123" y="126"/>
                  </a:lnTo>
                  <a:lnTo>
                    <a:pt x="123" y="126"/>
                  </a:lnTo>
                  <a:lnTo>
                    <a:pt x="128" y="128"/>
                  </a:lnTo>
                  <a:lnTo>
                    <a:pt x="128" y="128"/>
                  </a:lnTo>
                  <a:lnTo>
                    <a:pt x="130" y="128"/>
                  </a:lnTo>
                  <a:lnTo>
                    <a:pt x="132" y="128"/>
                  </a:lnTo>
                  <a:lnTo>
                    <a:pt x="132" y="128"/>
                  </a:lnTo>
                  <a:lnTo>
                    <a:pt x="135" y="128"/>
                  </a:lnTo>
                  <a:lnTo>
                    <a:pt x="139" y="128"/>
                  </a:lnTo>
                  <a:lnTo>
                    <a:pt x="142" y="128"/>
                  </a:lnTo>
                  <a:lnTo>
                    <a:pt x="147" y="126"/>
                  </a:lnTo>
                  <a:lnTo>
                    <a:pt x="147" y="126"/>
                  </a:lnTo>
                  <a:lnTo>
                    <a:pt x="149" y="128"/>
                  </a:lnTo>
                  <a:lnTo>
                    <a:pt x="149" y="128"/>
                  </a:lnTo>
                  <a:lnTo>
                    <a:pt x="151" y="130"/>
                  </a:lnTo>
                  <a:lnTo>
                    <a:pt x="151" y="130"/>
                  </a:lnTo>
                  <a:lnTo>
                    <a:pt x="151" y="130"/>
                  </a:lnTo>
                  <a:lnTo>
                    <a:pt x="154" y="130"/>
                  </a:lnTo>
                  <a:lnTo>
                    <a:pt x="154" y="128"/>
                  </a:lnTo>
                  <a:lnTo>
                    <a:pt x="154" y="128"/>
                  </a:lnTo>
                  <a:lnTo>
                    <a:pt x="154" y="128"/>
                  </a:lnTo>
                  <a:lnTo>
                    <a:pt x="156" y="126"/>
                  </a:lnTo>
                  <a:lnTo>
                    <a:pt x="158" y="126"/>
                  </a:lnTo>
                  <a:lnTo>
                    <a:pt x="158" y="123"/>
                  </a:lnTo>
                  <a:lnTo>
                    <a:pt x="158" y="123"/>
                  </a:lnTo>
                  <a:lnTo>
                    <a:pt x="158" y="121"/>
                  </a:lnTo>
                  <a:lnTo>
                    <a:pt x="158" y="119"/>
                  </a:lnTo>
                  <a:lnTo>
                    <a:pt x="158" y="116"/>
                  </a:lnTo>
                  <a:lnTo>
                    <a:pt x="158" y="1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8" name="Freeform 224"/>
            <p:cNvSpPr>
              <a:spLocks noEditPoints="1"/>
            </p:cNvSpPr>
            <p:nvPr userDrawn="1"/>
          </p:nvSpPr>
          <p:spPr bwMode="auto">
            <a:xfrm>
              <a:off x="4197" y="2829"/>
              <a:ext cx="205" cy="227"/>
            </a:xfrm>
            <a:custGeom>
              <a:avLst/>
              <a:gdLst>
                <a:gd name="T0" fmla="*/ 196 w 205"/>
                <a:gd name="T1" fmla="*/ 139 h 227"/>
                <a:gd name="T2" fmla="*/ 191 w 205"/>
                <a:gd name="T3" fmla="*/ 147 h 227"/>
                <a:gd name="T4" fmla="*/ 187 w 205"/>
                <a:gd name="T5" fmla="*/ 113 h 227"/>
                <a:gd name="T6" fmla="*/ 191 w 205"/>
                <a:gd name="T7" fmla="*/ 113 h 227"/>
                <a:gd name="T8" fmla="*/ 187 w 205"/>
                <a:gd name="T9" fmla="*/ 99 h 227"/>
                <a:gd name="T10" fmla="*/ 194 w 205"/>
                <a:gd name="T11" fmla="*/ 95 h 227"/>
                <a:gd name="T12" fmla="*/ 196 w 205"/>
                <a:gd name="T13" fmla="*/ 83 h 227"/>
                <a:gd name="T14" fmla="*/ 205 w 205"/>
                <a:gd name="T15" fmla="*/ 199 h 227"/>
                <a:gd name="T16" fmla="*/ 196 w 205"/>
                <a:gd name="T17" fmla="*/ 194 h 227"/>
                <a:gd name="T18" fmla="*/ 191 w 205"/>
                <a:gd name="T19" fmla="*/ 184 h 227"/>
                <a:gd name="T20" fmla="*/ 189 w 205"/>
                <a:gd name="T21" fmla="*/ 165 h 227"/>
                <a:gd name="T22" fmla="*/ 187 w 205"/>
                <a:gd name="T23" fmla="*/ 144 h 227"/>
                <a:gd name="T24" fmla="*/ 189 w 205"/>
                <a:gd name="T25" fmla="*/ 130 h 227"/>
                <a:gd name="T26" fmla="*/ 182 w 205"/>
                <a:gd name="T27" fmla="*/ 116 h 227"/>
                <a:gd name="T28" fmla="*/ 179 w 205"/>
                <a:gd name="T29" fmla="*/ 97 h 227"/>
                <a:gd name="T30" fmla="*/ 184 w 205"/>
                <a:gd name="T31" fmla="*/ 80 h 227"/>
                <a:gd name="T32" fmla="*/ 175 w 205"/>
                <a:gd name="T33" fmla="*/ 69 h 227"/>
                <a:gd name="T34" fmla="*/ 158 w 205"/>
                <a:gd name="T35" fmla="*/ 54 h 227"/>
                <a:gd name="T36" fmla="*/ 154 w 205"/>
                <a:gd name="T37" fmla="*/ 52 h 227"/>
                <a:gd name="T38" fmla="*/ 156 w 205"/>
                <a:gd name="T39" fmla="*/ 43 h 227"/>
                <a:gd name="T40" fmla="*/ 135 w 205"/>
                <a:gd name="T41" fmla="*/ 28 h 227"/>
                <a:gd name="T42" fmla="*/ 111 w 205"/>
                <a:gd name="T43" fmla="*/ 14 h 227"/>
                <a:gd name="T44" fmla="*/ 90 w 205"/>
                <a:gd name="T45" fmla="*/ 0 h 227"/>
                <a:gd name="T46" fmla="*/ 26 w 205"/>
                <a:gd name="T47" fmla="*/ 0 h 227"/>
                <a:gd name="T48" fmla="*/ 24 w 205"/>
                <a:gd name="T49" fmla="*/ 5 h 227"/>
                <a:gd name="T50" fmla="*/ 29 w 205"/>
                <a:gd name="T51" fmla="*/ 19 h 227"/>
                <a:gd name="T52" fmla="*/ 29 w 205"/>
                <a:gd name="T53" fmla="*/ 28 h 227"/>
                <a:gd name="T54" fmla="*/ 24 w 205"/>
                <a:gd name="T55" fmla="*/ 31 h 227"/>
                <a:gd name="T56" fmla="*/ 22 w 205"/>
                <a:gd name="T57" fmla="*/ 38 h 227"/>
                <a:gd name="T58" fmla="*/ 26 w 205"/>
                <a:gd name="T59" fmla="*/ 43 h 227"/>
                <a:gd name="T60" fmla="*/ 29 w 205"/>
                <a:gd name="T61" fmla="*/ 47 h 227"/>
                <a:gd name="T62" fmla="*/ 24 w 205"/>
                <a:gd name="T63" fmla="*/ 52 h 227"/>
                <a:gd name="T64" fmla="*/ 17 w 205"/>
                <a:gd name="T65" fmla="*/ 64 h 227"/>
                <a:gd name="T66" fmla="*/ 3 w 205"/>
                <a:gd name="T67" fmla="*/ 73 h 227"/>
                <a:gd name="T68" fmla="*/ 3 w 205"/>
                <a:gd name="T69" fmla="*/ 90 h 227"/>
                <a:gd name="T70" fmla="*/ 3 w 205"/>
                <a:gd name="T71" fmla="*/ 104 h 227"/>
                <a:gd name="T72" fmla="*/ 10 w 205"/>
                <a:gd name="T73" fmla="*/ 121 h 227"/>
                <a:gd name="T74" fmla="*/ 19 w 205"/>
                <a:gd name="T75" fmla="*/ 135 h 227"/>
                <a:gd name="T76" fmla="*/ 26 w 205"/>
                <a:gd name="T77" fmla="*/ 151 h 227"/>
                <a:gd name="T78" fmla="*/ 33 w 205"/>
                <a:gd name="T79" fmla="*/ 161 h 227"/>
                <a:gd name="T80" fmla="*/ 43 w 205"/>
                <a:gd name="T81" fmla="*/ 168 h 227"/>
                <a:gd name="T82" fmla="*/ 47 w 205"/>
                <a:gd name="T83" fmla="*/ 170 h 227"/>
                <a:gd name="T84" fmla="*/ 57 w 205"/>
                <a:gd name="T85" fmla="*/ 173 h 227"/>
                <a:gd name="T86" fmla="*/ 66 w 205"/>
                <a:gd name="T87" fmla="*/ 177 h 227"/>
                <a:gd name="T88" fmla="*/ 76 w 205"/>
                <a:gd name="T89" fmla="*/ 182 h 227"/>
                <a:gd name="T90" fmla="*/ 85 w 205"/>
                <a:gd name="T91" fmla="*/ 182 h 227"/>
                <a:gd name="T92" fmla="*/ 88 w 205"/>
                <a:gd name="T93" fmla="*/ 180 h 227"/>
                <a:gd name="T94" fmla="*/ 97 w 205"/>
                <a:gd name="T95" fmla="*/ 194 h 227"/>
                <a:gd name="T96" fmla="*/ 97 w 205"/>
                <a:gd name="T97" fmla="*/ 203 h 227"/>
                <a:gd name="T98" fmla="*/ 97 w 205"/>
                <a:gd name="T99" fmla="*/ 213 h 227"/>
                <a:gd name="T100" fmla="*/ 99 w 205"/>
                <a:gd name="T101" fmla="*/ 217 h 227"/>
                <a:gd name="T102" fmla="*/ 106 w 205"/>
                <a:gd name="T103" fmla="*/ 222 h 227"/>
                <a:gd name="T104" fmla="*/ 116 w 205"/>
                <a:gd name="T105" fmla="*/ 222 h 227"/>
                <a:gd name="T106" fmla="*/ 128 w 205"/>
                <a:gd name="T107" fmla="*/ 227 h 227"/>
                <a:gd name="T108" fmla="*/ 142 w 205"/>
                <a:gd name="T109" fmla="*/ 225 h 227"/>
                <a:gd name="T110" fmla="*/ 156 w 205"/>
                <a:gd name="T111" fmla="*/ 222 h 227"/>
                <a:gd name="T112" fmla="*/ 165 w 205"/>
                <a:gd name="T113" fmla="*/ 217 h 227"/>
                <a:gd name="T114" fmla="*/ 184 w 205"/>
                <a:gd name="T115" fmla="*/ 213 h 227"/>
                <a:gd name="T116" fmla="*/ 201 w 205"/>
                <a:gd name="T117" fmla="*/ 2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5" h="227">
                  <a:moveTo>
                    <a:pt x="191" y="147"/>
                  </a:moveTo>
                  <a:lnTo>
                    <a:pt x="194" y="147"/>
                  </a:lnTo>
                  <a:lnTo>
                    <a:pt x="194" y="147"/>
                  </a:lnTo>
                  <a:lnTo>
                    <a:pt x="194" y="147"/>
                  </a:lnTo>
                  <a:lnTo>
                    <a:pt x="196" y="142"/>
                  </a:lnTo>
                  <a:lnTo>
                    <a:pt x="196" y="139"/>
                  </a:lnTo>
                  <a:lnTo>
                    <a:pt x="196" y="139"/>
                  </a:lnTo>
                  <a:lnTo>
                    <a:pt x="196" y="142"/>
                  </a:lnTo>
                  <a:lnTo>
                    <a:pt x="194" y="144"/>
                  </a:lnTo>
                  <a:lnTo>
                    <a:pt x="191" y="147"/>
                  </a:lnTo>
                  <a:lnTo>
                    <a:pt x="191" y="147"/>
                  </a:lnTo>
                  <a:lnTo>
                    <a:pt x="191" y="147"/>
                  </a:lnTo>
                  <a:lnTo>
                    <a:pt x="191" y="147"/>
                  </a:lnTo>
                  <a:close/>
                  <a:moveTo>
                    <a:pt x="184" y="106"/>
                  </a:moveTo>
                  <a:lnTo>
                    <a:pt x="184" y="109"/>
                  </a:lnTo>
                  <a:lnTo>
                    <a:pt x="184" y="111"/>
                  </a:lnTo>
                  <a:lnTo>
                    <a:pt x="187" y="111"/>
                  </a:lnTo>
                  <a:lnTo>
                    <a:pt x="187" y="113"/>
                  </a:lnTo>
                  <a:lnTo>
                    <a:pt x="187" y="113"/>
                  </a:lnTo>
                  <a:lnTo>
                    <a:pt x="189" y="113"/>
                  </a:lnTo>
                  <a:lnTo>
                    <a:pt x="189" y="116"/>
                  </a:lnTo>
                  <a:lnTo>
                    <a:pt x="189" y="116"/>
                  </a:lnTo>
                  <a:lnTo>
                    <a:pt x="191" y="113"/>
                  </a:lnTo>
                  <a:lnTo>
                    <a:pt x="191" y="113"/>
                  </a:lnTo>
                  <a:lnTo>
                    <a:pt x="189" y="109"/>
                  </a:lnTo>
                  <a:lnTo>
                    <a:pt x="189" y="109"/>
                  </a:lnTo>
                  <a:lnTo>
                    <a:pt x="189" y="109"/>
                  </a:lnTo>
                  <a:lnTo>
                    <a:pt x="187" y="104"/>
                  </a:lnTo>
                  <a:lnTo>
                    <a:pt x="187" y="102"/>
                  </a:lnTo>
                  <a:lnTo>
                    <a:pt x="187" y="99"/>
                  </a:lnTo>
                  <a:lnTo>
                    <a:pt x="184" y="102"/>
                  </a:lnTo>
                  <a:lnTo>
                    <a:pt x="184" y="104"/>
                  </a:lnTo>
                  <a:lnTo>
                    <a:pt x="184" y="106"/>
                  </a:lnTo>
                  <a:close/>
                  <a:moveTo>
                    <a:pt x="194" y="92"/>
                  </a:moveTo>
                  <a:lnTo>
                    <a:pt x="194" y="95"/>
                  </a:lnTo>
                  <a:lnTo>
                    <a:pt x="194" y="95"/>
                  </a:lnTo>
                  <a:lnTo>
                    <a:pt x="196" y="92"/>
                  </a:lnTo>
                  <a:lnTo>
                    <a:pt x="196" y="90"/>
                  </a:lnTo>
                  <a:lnTo>
                    <a:pt x="196" y="87"/>
                  </a:lnTo>
                  <a:lnTo>
                    <a:pt x="196" y="85"/>
                  </a:lnTo>
                  <a:lnTo>
                    <a:pt x="196" y="83"/>
                  </a:lnTo>
                  <a:lnTo>
                    <a:pt x="196" y="83"/>
                  </a:lnTo>
                  <a:lnTo>
                    <a:pt x="194" y="83"/>
                  </a:lnTo>
                  <a:lnTo>
                    <a:pt x="194" y="83"/>
                  </a:lnTo>
                  <a:lnTo>
                    <a:pt x="194" y="87"/>
                  </a:lnTo>
                  <a:lnTo>
                    <a:pt x="191" y="92"/>
                  </a:lnTo>
                  <a:lnTo>
                    <a:pt x="194" y="92"/>
                  </a:lnTo>
                  <a:close/>
                  <a:moveTo>
                    <a:pt x="205" y="199"/>
                  </a:moveTo>
                  <a:lnTo>
                    <a:pt x="205" y="199"/>
                  </a:lnTo>
                  <a:lnTo>
                    <a:pt x="203" y="196"/>
                  </a:lnTo>
                  <a:lnTo>
                    <a:pt x="201" y="194"/>
                  </a:lnTo>
                  <a:lnTo>
                    <a:pt x="198" y="194"/>
                  </a:lnTo>
                  <a:lnTo>
                    <a:pt x="198" y="194"/>
                  </a:lnTo>
                  <a:lnTo>
                    <a:pt x="196" y="194"/>
                  </a:lnTo>
                  <a:lnTo>
                    <a:pt x="196" y="191"/>
                  </a:lnTo>
                  <a:lnTo>
                    <a:pt x="194" y="191"/>
                  </a:lnTo>
                  <a:lnTo>
                    <a:pt x="191" y="189"/>
                  </a:lnTo>
                  <a:lnTo>
                    <a:pt x="194" y="189"/>
                  </a:lnTo>
                  <a:lnTo>
                    <a:pt x="194" y="187"/>
                  </a:lnTo>
                  <a:lnTo>
                    <a:pt x="191" y="184"/>
                  </a:lnTo>
                  <a:lnTo>
                    <a:pt x="191" y="182"/>
                  </a:lnTo>
                  <a:lnTo>
                    <a:pt x="191" y="177"/>
                  </a:lnTo>
                  <a:lnTo>
                    <a:pt x="191" y="173"/>
                  </a:lnTo>
                  <a:lnTo>
                    <a:pt x="187" y="168"/>
                  </a:lnTo>
                  <a:lnTo>
                    <a:pt x="189" y="168"/>
                  </a:lnTo>
                  <a:lnTo>
                    <a:pt x="189" y="165"/>
                  </a:lnTo>
                  <a:lnTo>
                    <a:pt x="187" y="163"/>
                  </a:lnTo>
                  <a:lnTo>
                    <a:pt x="184" y="156"/>
                  </a:lnTo>
                  <a:lnTo>
                    <a:pt x="184" y="156"/>
                  </a:lnTo>
                  <a:lnTo>
                    <a:pt x="187" y="154"/>
                  </a:lnTo>
                  <a:lnTo>
                    <a:pt x="187" y="149"/>
                  </a:lnTo>
                  <a:lnTo>
                    <a:pt x="187" y="144"/>
                  </a:lnTo>
                  <a:lnTo>
                    <a:pt x="187" y="142"/>
                  </a:lnTo>
                  <a:lnTo>
                    <a:pt x="184" y="144"/>
                  </a:lnTo>
                  <a:lnTo>
                    <a:pt x="184" y="137"/>
                  </a:lnTo>
                  <a:lnTo>
                    <a:pt x="187" y="135"/>
                  </a:lnTo>
                  <a:lnTo>
                    <a:pt x="187" y="130"/>
                  </a:lnTo>
                  <a:lnTo>
                    <a:pt x="189" y="130"/>
                  </a:lnTo>
                  <a:lnTo>
                    <a:pt x="189" y="128"/>
                  </a:lnTo>
                  <a:lnTo>
                    <a:pt x="189" y="123"/>
                  </a:lnTo>
                  <a:lnTo>
                    <a:pt x="184" y="123"/>
                  </a:lnTo>
                  <a:lnTo>
                    <a:pt x="184" y="121"/>
                  </a:lnTo>
                  <a:lnTo>
                    <a:pt x="182" y="118"/>
                  </a:lnTo>
                  <a:lnTo>
                    <a:pt x="182" y="116"/>
                  </a:lnTo>
                  <a:lnTo>
                    <a:pt x="179" y="116"/>
                  </a:lnTo>
                  <a:lnTo>
                    <a:pt x="177" y="113"/>
                  </a:lnTo>
                  <a:lnTo>
                    <a:pt x="177" y="109"/>
                  </a:lnTo>
                  <a:lnTo>
                    <a:pt x="177" y="106"/>
                  </a:lnTo>
                  <a:lnTo>
                    <a:pt x="177" y="104"/>
                  </a:lnTo>
                  <a:lnTo>
                    <a:pt x="179" y="97"/>
                  </a:lnTo>
                  <a:lnTo>
                    <a:pt x="179" y="95"/>
                  </a:lnTo>
                  <a:lnTo>
                    <a:pt x="182" y="90"/>
                  </a:lnTo>
                  <a:lnTo>
                    <a:pt x="182" y="87"/>
                  </a:lnTo>
                  <a:lnTo>
                    <a:pt x="182" y="85"/>
                  </a:lnTo>
                  <a:lnTo>
                    <a:pt x="182" y="83"/>
                  </a:lnTo>
                  <a:lnTo>
                    <a:pt x="184" y="80"/>
                  </a:lnTo>
                  <a:lnTo>
                    <a:pt x="184" y="78"/>
                  </a:lnTo>
                  <a:lnTo>
                    <a:pt x="184" y="78"/>
                  </a:lnTo>
                  <a:lnTo>
                    <a:pt x="182" y="76"/>
                  </a:lnTo>
                  <a:lnTo>
                    <a:pt x="179" y="73"/>
                  </a:lnTo>
                  <a:lnTo>
                    <a:pt x="177" y="71"/>
                  </a:lnTo>
                  <a:lnTo>
                    <a:pt x="175" y="69"/>
                  </a:lnTo>
                  <a:lnTo>
                    <a:pt x="170" y="66"/>
                  </a:lnTo>
                  <a:lnTo>
                    <a:pt x="168" y="64"/>
                  </a:lnTo>
                  <a:lnTo>
                    <a:pt x="163" y="59"/>
                  </a:lnTo>
                  <a:lnTo>
                    <a:pt x="161" y="57"/>
                  </a:lnTo>
                  <a:lnTo>
                    <a:pt x="158" y="57"/>
                  </a:lnTo>
                  <a:lnTo>
                    <a:pt x="158" y="54"/>
                  </a:lnTo>
                  <a:lnTo>
                    <a:pt x="156" y="54"/>
                  </a:lnTo>
                  <a:lnTo>
                    <a:pt x="156" y="54"/>
                  </a:lnTo>
                  <a:lnTo>
                    <a:pt x="156" y="52"/>
                  </a:lnTo>
                  <a:lnTo>
                    <a:pt x="156" y="52"/>
                  </a:lnTo>
                  <a:lnTo>
                    <a:pt x="154" y="52"/>
                  </a:lnTo>
                  <a:lnTo>
                    <a:pt x="154" y="52"/>
                  </a:lnTo>
                  <a:lnTo>
                    <a:pt x="156" y="50"/>
                  </a:lnTo>
                  <a:lnTo>
                    <a:pt x="156" y="50"/>
                  </a:lnTo>
                  <a:lnTo>
                    <a:pt x="156" y="47"/>
                  </a:lnTo>
                  <a:lnTo>
                    <a:pt x="156" y="45"/>
                  </a:lnTo>
                  <a:lnTo>
                    <a:pt x="156" y="43"/>
                  </a:lnTo>
                  <a:lnTo>
                    <a:pt x="156" y="43"/>
                  </a:lnTo>
                  <a:lnTo>
                    <a:pt x="154" y="43"/>
                  </a:lnTo>
                  <a:lnTo>
                    <a:pt x="149" y="40"/>
                  </a:lnTo>
                  <a:lnTo>
                    <a:pt x="146" y="38"/>
                  </a:lnTo>
                  <a:lnTo>
                    <a:pt x="142" y="35"/>
                  </a:lnTo>
                  <a:lnTo>
                    <a:pt x="137" y="31"/>
                  </a:lnTo>
                  <a:lnTo>
                    <a:pt x="135" y="28"/>
                  </a:lnTo>
                  <a:lnTo>
                    <a:pt x="130" y="26"/>
                  </a:lnTo>
                  <a:lnTo>
                    <a:pt x="125" y="24"/>
                  </a:lnTo>
                  <a:lnTo>
                    <a:pt x="123" y="21"/>
                  </a:lnTo>
                  <a:lnTo>
                    <a:pt x="118" y="19"/>
                  </a:lnTo>
                  <a:lnTo>
                    <a:pt x="113" y="17"/>
                  </a:lnTo>
                  <a:lnTo>
                    <a:pt x="111" y="14"/>
                  </a:lnTo>
                  <a:lnTo>
                    <a:pt x="106" y="12"/>
                  </a:lnTo>
                  <a:lnTo>
                    <a:pt x="102" y="9"/>
                  </a:lnTo>
                  <a:lnTo>
                    <a:pt x="99" y="7"/>
                  </a:lnTo>
                  <a:lnTo>
                    <a:pt x="95" y="5"/>
                  </a:lnTo>
                  <a:lnTo>
                    <a:pt x="90" y="2"/>
                  </a:lnTo>
                  <a:lnTo>
                    <a:pt x="90" y="0"/>
                  </a:lnTo>
                  <a:lnTo>
                    <a:pt x="88" y="0"/>
                  </a:lnTo>
                  <a:lnTo>
                    <a:pt x="29" y="0"/>
                  </a:lnTo>
                  <a:lnTo>
                    <a:pt x="29" y="0"/>
                  </a:lnTo>
                  <a:lnTo>
                    <a:pt x="29" y="0"/>
                  </a:lnTo>
                  <a:lnTo>
                    <a:pt x="26" y="0"/>
                  </a:lnTo>
                  <a:lnTo>
                    <a:pt x="26" y="0"/>
                  </a:lnTo>
                  <a:lnTo>
                    <a:pt x="24" y="2"/>
                  </a:lnTo>
                  <a:lnTo>
                    <a:pt x="24" y="2"/>
                  </a:lnTo>
                  <a:lnTo>
                    <a:pt x="24" y="2"/>
                  </a:lnTo>
                  <a:lnTo>
                    <a:pt x="22" y="2"/>
                  </a:lnTo>
                  <a:lnTo>
                    <a:pt x="22" y="2"/>
                  </a:lnTo>
                  <a:lnTo>
                    <a:pt x="24" y="5"/>
                  </a:lnTo>
                  <a:lnTo>
                    <a:pt x="26" y="7"/>
                  </a:lnTo>
                  <a:lnTo>
                    <a:pt x="26" y="9"/>
                  </a:lnTo>
                  <a:lnTo>
                    <a:pt x="29" y="9"/>
                  </a:lnTo>
                  <a:lnTo>
                    <a:pt x="29" y="12"/>
                  </a:lnTo>
                  <a:lnTo>
                    <a:pt x="29" y="14"/>
                  </a:lnTo>
                  <a:lnTo>
                    <a:pt x="29" y="19"/>
                  </a:lnTo>
                  <a:lnTo>
                    <a:pt x="29" y="21"/>
                  </a:lnTo>
                  <a:lnTo>
                    <a:pt x="29" y="21"/>
                  </a:lnTo>
                  <a:lnTo>
                    <a:pt x="29" y="24"/>
                  </a:lnTo>
                  <a:lnTo>
                    <a:pt x="29" y="26"/>
                  </a:lnTo>
                  <a:lnTo>
                    <a:pt x="29" y="28"/>
                  </a:lnTo>
                  <a:lnTo>
                    <a:pt x="29" y="28"/>
                  </a:lnTo>
                  <a:lnTo>
                    <a:pt x="29" y="28"/>
                  </a:lnTo>
                  <a:lnTo>
                    <a:pt x="26" y="28"/>
                  </a:lnTo>
                  <a:lnTo>
                    <a:pt x="26" y="28"/>
                  </a:lnTo>
                  <a:lnTo>
                    <a:pt x="24" y="28"/>
                  </a:lnTo>
                  <a:lnTo>
                    <a:pt x="24" y="28"/>
                  </a:lnTo>
                  <a:lnTo>
                    <a:pt x="24" y="31"/>
                  </a:lnTo>
                  <a:lnTo>
                    <a:pt x="22" y="33"/>
                  </a:lnTo>
                  <a:lnTo>
                    <a:pt x="22" y="35"/>
                  </a:lnTo>
                  <a:lnTo>
                    <a:pt x="22" y="35"/>
                  </a:lnTo>
                  <a:lnTo>
                    <a:pt x="22" y="35"/>
                  </a:lnTo>
                  <a:lnTo>
                    <a:pt x="22" y="38"/>
                  </a:lnTo>
                  <a:lnTo>
                    <a:pt x="22" y="38"/>
                  </a:lnTo>
                  <a:lnTo>
                    <a:pt x="22" y="38"/>
                  </a:lnTo>
                  <a:lnTo>
                    <a:pt x="22" y="40"/>
                  </a:lnTo>
                  <a:lnTo>
                    <a:pt x="22" y="40"/>
                  </a:lnTo>
                  <a:lnTo>
                    <a:pt x="24" y="40"/>
                  </a:lnTo>
                  <a:lnTo>
                    <a:pt x="24" y="40"/>
                  </a:lnTo>
                  <a:lnTo>
                    <a:pt x="26" y="43"/>
                  </a:lnTo>
                  <a:lnTo>
                    <a:pt x="29" y="43"/>
                  </a:lnTo>
                  <a:lnTo>
                    <a:pt x="29" y="43"/>
                  </a:lnTo>
                  <a:lnTo>
                    <a:pt x="29" y="43"/>
                  </a:lnTo>
                  <a:lnTo>
                    <a:pt x="29" y="45"/>
                  </a:lnTo>
                  <a:lnTo>
                    <a:pt x="29" y="47"/>
                  </a:lnTo>
                  <a:lnTo>
                    <a:pt x="29" y="47"/>
                  </a:lnTo>
                  <a:lnTo>
                    <a:pt x="26" y="50"/>
                  </a:lnTo>
                  <a:lnTo>
                    <a:pt x="24" y="50"/>
                  </a:lnTo>
                  <a:lnTo>
                    <a:pt x="24" y="50"/>
                  </a:lnTo>
                  <a:lnTo>
                    <a:pt x="24" y="50"/>
                  </a:lnTo>
                  <a:lnTo>
                    <a:pt x="24" y="52"/>
                  </a:lnTo>
                  <a:lnTo>
                    <a:pt x="24" y="52"/>
                  </a:lnTo>
                  <a:lnTo>
                    <a:pt x="22" y="54"/>
                  </a:lnTo>
                  <a:lnTo>
                    <a:pt x="22" y="57"/>
                  </a:lnTo>
                  <a:lnTo>
                    <a:pt x="19" y="57"/>
                  </a:lnTo>
                  <a:lnTo>
                    <a:pt x="19" y="59"/>
                  </a:lnTo>
                  <a:lnTo>
                    <a:pt x="19" y="59"/>
                  </a:lnTo>
                  <a:lnTo>
                    <a:pt x="17" y="64"/>
                  </a:lnTo>
                  <a:lnTo>
                    <a:pt x="17" y="66"/>
                  </a:lnTo>
                  <a:lnTo>
                    <a:pt x="12" y="69"/>
                  </a:lnTo>
                  <a:lnTo>
                    <a:pt x="10" y="71"/>
                  </a:lnTo>
                  <a:lnTo>
                    <a:pt x="7" y="73"/>
                  </a:lnTo>
                  <a:lnTo>
                    <a:pt x="3" y="73"/>
                  </a:lnTo>
                  <a:lnTo>
                    <a:pt x="3" y="73"/>
                  </a:lnTo>
                  <a:lnTo>
                    <a:pt x="0" y="78"/>
                  </a:lnTo>
                  <a:lnTo>
                    <a:pt x="0" y="80"/>
                  </a:lnTo>
                  <a:lnTo>
                    <a:pt x="0" y="83"/>
                  </a:lnTo>
                  <a:lnTo>
                    <a:pt x="0" y="85"/>
                  </a:lnTo>
                  <a:lnTo>
                    <a:pt x="3" y="87"/>
                  </a:lnTo>
                  <a:lnTo>
                    <a:pt x="3" y="90"/>
                  </a:lnTo>
                  <a:lnTo>
                    <a:pt x="3" y="92"/>
                  </a:lnTo>
                  <a:lnTo>
                    <a:pt x="5" y="95"/>
                  </a:lnTo>
                  <a:lnTo>
                    <a:pt x="5" y="97"/>
                  </a:lnTo>
                  <a:lnTo>
                    <a:pt x="5" y="99"/>
                  </a:lnTo>
                  <a:lnTo>
                    <a:pt x="5" y="102"/>
                  </a:lnTo>
                  <a:lnTo>
                    <a:pt x="3" y="104"/>
                  </a:lnTo>
                  <a:lnTo>
                    <a:pt x="3" y="106"/>
                  </a:lnTo>
                  <a:lnTo>
                    <a:pt x="3" y="109"/>
                  </a:lnTo>
                  <a:lnTo>
                    <a:pt x="5" y="111"/>
                  </a:lnTo>
                  <a:lnTo>
                    <a:pt x="5" y="113"/>
                  </a:lnTo>
                  <a:lnTo>
                    <a:pt x="7" y="118"/>
                  </a:lnTo>
                  <a:lnTo>
                    <a:pt x="10" y="121"/>
                  </a:lnTo>
                  <a:lnTo>
                    <a:pt x="12" y="123"/>
                  </a:lnTo>
                  <a:lnTo>
                    <a:pt x="14" y="125"/>
                  </a:lnTo>
                  <a:lnTo>
                    <a:pt x="17" y="125"/>
                  </a:lnTo>
                  <a:lnTo>
                    <a:pt x="17" y="128"/>
                  </a:lnTo>
                  <a:lnTo>
                    <a:pt x="19" y="130"/>
                  </a:lnTo>
                  <a:lnTo>
                    <a:pt x="19" y="135"/>
                  </a:lnTo>
                  <a:lnTo>
                    <a:pt x="19" y="137"/>
                  </a:lnTo>
                  <a:lnTo>
                    <a:pt x="22" y="139"/>
                  </a:lnTo>
                  <a:lnTo>
                    <a:pt x="24" y="144"/>
                  </a:lnTo>
                  <a:lnTo>
                    <a:pt x="24" y="147"/>
                  </a:lnTo>
                  <a:lnTo>
                    <a:pt x="26" y="149"/>
                  </a:lnTo>
                  <a:lnTo>
                    <a:pt x="26" y="151"/>
                  </a:lnTo>
                  <a:lnTo>
                    <a:pt x="26" y="154"/>
                  </a:lnTo>
                  <a:lnTo>
                    <a:pt x="29" y="156"/>
                  </a:lnTo>
                  <a:lnTo>
                    <a:pt x="29" y="158"/>
                  </a:lnTo>
                  <a:lnTo>
                    <a:pt x="31" y="158"/>
                  </a:lnTo>
                  <a:lnTo>
                    <a:pt x="31" y="161"/>
                  </a:lnTo>
                  <a:lnTo>
                    <a:pt x="33" y="161"/>
                  </a:lnTo>
                  <a:lnTo>
                    <a:pt x="38" y="161"/>
                  </a:lnTo>
                  <a:lnTo>
                    <a:pt x="38" y="161"/>
                  </a:lnTo>
                  <a:lnTo>
                    <a:pt x="40" y="163"/>
                  </a:lnTo>
                  <a:lnTo>
                    <a:pt x="40" y="165"/>
                  </a:lnTo>
                  <a:lnTo>
                    <a:pt x="43" y="165"/>
                  </a:lnTo>
                  <a:lnTo>
                    <a:pt x="43" y="168"/>
                  </a:lnTo>
                  <a:lnTo>
                    <a:pt x="43" y="168"/>
                  </a:lnTo>
                  <a:lnTo>
                    <a:pt x="45" y="168"/>
                  </a:lnTo>
                  <a:lnTo>
                    <a:pt x="45" y="168"/>
                  </a:lnTo>
                  <a:lnTo>
                    <a:pt x="47" y="168"/>
                  </a:lnTo>
                  <a:lnTo>
                    <a:pt x="47" y="168"/>
                  </a:lnTo>
                  <a:lnTo>
                    <a:pt x="47" y="170"/>
                  </a:lnTo>
                  <a:lnTo>
                    <a:pt x="47" y="170"/>
                  </a:lnTo>
                  <a:lnTo>
                    <a:pt x="50" y="170"/>
                  </a:lnTo>
                  <a:lnTo>
                    <a:pt x="52" y="170"/>
                  </a:lnTo>
                  <a:lnTo>
                    <a:pt x="52" y="173"/>
                  </a:lnTo>
                  <a:lnTo>
                    <a:pt x="55" y="173"/>
                  </a:lnTo>
                  <a:lnTo>
                    <a:pt x="57" y="173"/>
                  </a:lnTo>
                  <a:lnTo>
                    <a:pt x="59" y="173"/>
                  </a:lnTo>
                  <a:lnTo>
                    <a:pt x="62" y="175"/>
                  </a:lnTo>
                  <a:lnTo>
                    <a:pt x="64" y="175"/>
                  </a:lnTo>
                  <a:lnTo>
                    <a:pt x="64" y="177"/>
                  </a:lnTo>
                  <a:lnTo>
                    <a:pt x="66" y="177"/>
                  </a:lnTo>
                  <a:lnTo>
                    <a:pt x="66" y="177"/>
                  </a:lnTo>
                  <a:lnTo>
                    <a:pt x="66" y="177"/>
                  </a:lnTo>
                  <a:lnTo>
                    <a:pt x="71" y="180"/>
                  </a:lnTo>
                  <a:lnTo>
                    <a:pt x="71" y="180"/>
                  </a:lnTo>
                  <a:lnTo>
                    <a:pt x="73" y="180"/>
                  </a:lnTo>
                  <a:lnTo>
                    <a:pt x="76" y="182"/>
                  </a:lnTo>
                  <a:lnTo>
                    <a:pt x="76" y="182"/>
                  </a:lnTo>
                  <a:lnTo>
                    <a:pt x="78" y="182"/>
                  </a:lnTo>
                  <a:lnTo>
                    <a:pt x="80" y="182"/>
                  </a:lnTo>
                  <a:lnTo>
                    <a:pt x="83" y="182"/>
                  </a:lnTo>
                  <a:lnTo>
                    <a:pt x="83" y="182"/>
                  </a:lnTo>
                  <a:lnTo>
                    <a:pt x="85" y="182"/>
                  </a:lnTo>
                  <a:lnTo>
                    <a:pt x="85" y="182"/>
                  </a:lnTo>
                  <a:lnTo>
                    <a:pt x="85" y="182"/>
                  </a:lnTo>
                  <a:lnTo>
                    <a:pt x="85" y="182"/>
                  </a:lnTo>
                  <a:lnTo>
                    <a:pt x="85" y="180"/>
                  </a:lnTo>
                  <a:lnTo>
                    <a:pt x="85" y="180"/>
                  </a:lnTo>
                  <a:lnTo>
                    <a:pt x="85" y="180"/>
                  </a:lnTo>
                  <a:lnTo>
                    <a:pt x="88" y="180"/>
                  </a:lnTo>
                  <a:lnTo>
                    <a:pt x="92" y="184"/>
                  </a:lnTo>
                  <a:lnTo>
                    <a:pt x="92" y="184"/>
                  </a:lnTo>
                  <a:lnTo>
                    <a:pt x="95" y="189"/>
                  </a:lnTo>
                  <a:lnTo>
                    <a:pt x="95" y="191"/>
                  </a:lnTo>
                  <a:lnTo>
                    <a:pt x="95" y="191"/>
                  </a:lnTo>
                  <a:lnTo>
                    <a:pt x="97" y="194"/>
                  </a:lnTo>
                  <a:lnTo>
                    <a:pt x="97" y="196"/>
                  </a:lnTo>
                  <a:lnTo>
                    <a:pt x="97" y="199"/>
                  </a:lnTo>
                  <a:lnTo>
                    <a:pt x="97" y="199"/>
                  </a:lnTo>
                  <a:lnTo>
                    <a:pt x="97" y="201"/>
                  </a:lnTo>
                  <a:lnTo>
                    <a:pt x="97" y="201"/>
                  </a:lnTo>
                  <a:lnTo>
                    <a:pt x="97" y="203"/>
                  </a:lnTo>
                  <a:lnTo>
                    <a:pt x="97" y="206"/>
                  </a:lnTo>
                  <a:lnTo>
                    <a:pt x="97" y="206"/>
                  </a:lnTo>
                  <a:lnTo>
                    <a:pt x="97" y="208"/>
                  </a:lnTo>
                  <a:lnTo>
                    <a:pt x="97" y="210"/>
                  </a:lnTo>
                  <a:lnTo>
                    <a:pt x="97" y="213"/>
                  </a:lnTo>
                  <a:lnTo>
                    <a:pt x="97" y="213"/>
                  </a:lnTo>
                  <a:lnTo>
                    <a:pt x="97" y="213"/>
                  </a:lnTo>
                  <a:lnTo>
                    <a:pt x="99" y="215"/>
                  </a:lnTo>
                  <a:lnTo>
                    <a:pt x="99" y="215"/>
                  </a:lnTo>
                  <a:lnTo>
                    <a:pt x="99" y="217"/>
                  </a:lnTo>
                  <a:lnTo>
                    <a:pt x="99" y="217"/>
                  </a:lnTo>
                  <a:lnTo>
                    <a:pt x="99" y="217"/>
                  </a:lnTo>
                  <a:lnTo>
                    <a:pt x="102" y="217"/>
                  </a:lnTo>
                  <a:lnTo>
                    <a:pt x="102" y="220"/>
                  </a:lnTo>
                  <a:lnTo>
                    <a:pt x="102" y="220"/>
                  </a:lnTo>
                  <a:lnTo>
                    <a:pt x="104" y="222"/>
                  </a:lnTo>
                  <a:lnTo>
                    <a:pt x="104" y="222"/>
                  </a:lnTo>
                  <a:lnTo>
                    <a:pt x="106" y="222"/>
                  </a:lnTo>
                  <a:lnTo>
                    <a:pt x="111" y="222"/>
                  </a:lnTo>
                  <a:lnTo>
                    <a:pt x="111" y="225"/>
                  </a:lnTo>
                  <a:lnTo>
                    <a:pt x="113" y="225"/>
                  </a:lnTo>
                  <a:lnTo>
                    <a:pt x="113" y="225"/>
                  </a:lnTo>
                  <a:lnTo>
                    <a:pt x="116" y="222"/>
                  </a:lnTo>
                  <a:lnTo>
                    <a:pt x="116" y="222"/>
                  </a:lnTo>
                  <a:lnTo>
                    <a:pt x="118" y="220"/>
                  </a:lnTo>
                  <a:lnTo>
                    <a:pt x="121" y="220"/>
                  </a:lnTo>
                  <a:lnTo>
                    <a:pt x="123" y="222"/>
                  </a:lnTo>
                  <a:lnTo>
                    <a:pt x="125" y="225"/>
                  </a:lnTo>
                  <a:lnTo>
                    <a:pt x="125" y="225"/>
                  </a:lnTo>
                  <a:lnTo>
                    <a:pt x="128" y="227"/>
                  </a:lnTo>
                  <a:lnTo>
                    <a:pt x="132" y="227"/>
                  </a:lnTo>
                  <a:lnTo>
                    <a:pt x="135" y="225"/>
                  </a:lnTo>
                  <a:lnTo>
                    <a:pt x="137" y="225"/>
                  </a:lnTo>
                  <a:lnTo>
                    <a:pt x="139" y="222"/>
                  </a:lnTo>
                  <a:lnTo>
                    <a:pt x="139" y="222"/>
                  </a:lnTo>
                  <a:lnTo>
                    <a:pt x="142" y="225"/>
                  </a:lnTo>
                  <a:lnTo>
                    <a:pt x="142" y="225"/>
                  </a:lnTo>
                  <a:lnTo>
                    <a:pt x="144" y="225"/>
                  </a:lnTo>
                  <a:lnTo>
                    <a:pt x="146" y="227"/>
                  </a:lnTo>
                  <a:lnTo>
                    <a:pt x="151" y="225"/>
                  </a:lnTo>
                  <a:lnTo>
                    <a:pt x="154" y="222"/>
                  </a:lnTo>
                  <a:lnTo>
                    <a:pt x="156" y="222"/>
                  </a:lnTo>
                  <a:lnTo>
                    <a:pt x="156" y="220"/>
                  </a:lnTo>
                  <a:lnTo>
                    <a:pt x="158" y="217"/>
                  </a:lnTo>
                  <a:lnTo>
                    <a:pt x="158" y="217"/>
                  </a:lnTo>
                  <a:lnTo>
                    <a:pt x="161" y="217"/>
                  </a:lnTo>
                  <a:lnTo>
                    <a:pt x="163" y="217"/>
                  </a:lnTo>
                  <a:lnTo>
                    <a:pt x="165" y="217"/>
                  </a:lnTo>
                  <a:lnTo>
                    <a:pt x="168" y="220"/>
                  </a:lnTo>
                  <a:lnTo>
                    <a:pt x="170" y="217"/>
                  </a:lnTo>
                  <a:lnTo>
                    <a:pt x="175" y="215"/>
                  </a:lnTo>
                  <a:lnTo>
                    <a:pt x="177" y="215"/>
                  </a:lnTo>
                  <a:lnTo>
                    <a:pt x="182" y="215"/>
                  </a:lnTo>
                  <a:lnTo>
                    <a:pt x="184" y="213"/>
                  </a:lnTo>
                  <a:lnTo>
                    <a:pt x="187" y="213"/>
                  </a:lnTo>
                  <a:lnTo>
                    <a:pt x="189" y="210"/>
                  </a:lnTo>
                  <a:lnTo>
                    <a:pt x="191" y="210"/>
                  </a:lnTo>
                  <a:lnTo>
                    <a:pt x="194" y="208"/>
                  </a:lnTo>
                  <a:lnTo>
                    <a:pt x="196" y="208"/>
                  </a:lnTo>
                  <a:lnTo>
                    <a:pt x="201" y="203"/>
                  </a:lnTo>
                  <a:lnTo>
                    <a:pt x="203" y="201"/>
                  </a:lnTo>
                  <a:lnTo>
                    <a:pt x="205" y="199"/>
                  </a:lnTo>
                  <a:lnTo>
                    <a:pt x="205" y="19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9" name="Freeform 225"/>
            <p:cNvSpPr>
              <a:spLocks noEditPoints="1"/>
            </p:cNvSpPr>
            <p:nvPr userDrawn="1"/>
          </p:nvSpPr>
          <p:spPr bwMode="auto">
            <a:xfrm>
              <a:off x="4827" y="1942"/>
              <a:ext cx="143" cy="90"/>
            </a:xfrm>
            <a:custGeom>
              <a:avLst/>
              <a:gdLst>
                <a:gd name="T0" fmla="*/ 51 w 143"/>
                <a:gd name="T1" fmla="*/ 24 h 90"/>
                <a:gd name="T2" fmla="*/ 47 w 143"/>
                <a:gd name="T3" fmla="*/ 3 h 90"/>
                <a:gd name="T4" fmla="*/ 47 w 143"/>
                <a:gd name="T5" fmla="*/ 0 h 90"/>
                <a:gd name="T6" fmla="*/ 139 w 143"/>
                <a:gd name="T7" fmla="*/ 69 h 90"/>
                <a:gd name="T8" fmla="*/ 134 w 143"/>
                <a:gd name="T9" fmla="*/ 59 h 90"/>
                <a:gd name="T10" fmla="*/ 127 w 143"/>
                <a:gd name="T11" fmla="*/ 50 h 90"/>
                <a:gd name="T12" fmla="*/ 117 w 143"/>
                <a:gd name="T13" fmla="*/ 50 h 90"/>
                <a:gd name="T14" fmla="*/ 110 w 143"/>
                <a:gd name="T15" fmla="*/ 43 h 90"/>
                <a:gd name="T16" fmla="*/ 110 w 143"/>
                <a:gd name="T17" fmla="*/ 38 h 90"/>
                <a:gd name="T18" fmla="*/ 103 w 143"/>
                <a:gd name="T19" fmla="*/ 31 h 90"/>
                <a:gd name="T20" fmla="*/ 94 w 143"/>
                <a:gd name="T21" fmla="*/ 33 h 90"/>
                <a:gd name="T22" fmla="*/ 84 w 143"/>
                <a:gd name="T23" fmla="*/ 36 h 90"/>
                <a:gd name="T24" fmla="*/ 75 w 143"/>
                <a:gd name="T25" fmla="*/ 36 h 90"/>
                <a:gd name="T26" fmla="*/ 70 w 143"/>
                <a:gd name="T27" fmla="*/ 31 h 90"/>
                <a:gd name="T28" fmla="*/ 68 w 143"/>
                <a:gd name="T29" fmla="*/ 29 h 90"/>
                <a:gd name="T30" fmla="*/ 61 w 143"/>
                <a:gd name="T31" fmla="*/ 33 h 90"/>
                <a:gd name="T32" fmla="*/ 51 w 143"/>
                <a:gd name="T33" fmla="*/ 29 h 90"/>
                <a:gd name="T34" fmla="*/ 44 w 143"/>
                <a:gd name="T35" fmla="*/ 29 h 90"/>
                <a:gd name="T36" fmla="*/ 33 w 143"/>
                <a:gd name="T37" fmla="*/ 29 h 90"/>
                <a:gd name="T38" fmla="*/ 30 w 143"/>
                <a:gd name="T39" fmla="*/ 22 h 90"/>
                <a:gd name="T40" fmla="*/ 33 w 143"/>
                <a:gd name="T41" fmla="*/ 22 h 90"/>
                <a:gd name="T42" fmla="*/ 40 w 143"/>
                <a:gd name="T43" fmla="*/ 17 h 90"/>
                <a:gd name="T44" fmla="*/ 51 w 143"/>
                <a:gd name="T45" fmla="*/ 22 h 90"/>
                <a:gd name="T46" fmla="*/ 56 w 143"/>
                <a:gd name="T47" fmla="*/ 17 h 90"/>
                <a:gd name="T48" fmla="*/ 49 w 143"/>
                <a:gd name="T49" fmla="*/ 14 h 90"/>
                <a:gd name="T50" fmla="*/ 44 w 143"/>
                <a:gd name="T51" fmla="*/ 12 h 90"/>
                <a:gd name="T52" fmla="*/ 49 w 143"/>
                <a:gd name="T53" fmla="*/ 7 h 90"/>
                <a:gd name="T54" fmla="*/ 44 w 143"/>
                <a:gd name="T55" fmla="*/ 0 h 90"/>
                <a:gd name="T56" fmla="*/ 37 w 143"/>
                <a:gd name="T57" fmla="*/ 5 h 90"/>
                <a:gd name="T58" fmla="*/ 28 w 143"/>
                <a:gd name="T59" fmla="*/ 5 h 90"/>
                <a:gd name="T60" fmla="*/ 28 w 143"/>
                <a:gd name="T61" fmla="*/ 14 h 90"/>
                <a:gd name="T62" fmla="*/ 23 w 143"/>
                <a:gd name="T63" fmla="*/ 17 h 90"/>
                <a:gd name="T64" fmla="*/ 23 w 143"/>
                <a:gd name="T65" fmla="*/ 19 h 90"/>
                <a:gd name="T66" fmla="*/ 21 w 143"/>
                <a:gd name="T67" fmla="*/ 22 h 90"/>
                <a:gd name="T68" fmla="*/ 21 w 143"/>
                <a:gd name="T69" fmla="*/ 22 h 90"/>
                <a:gd name="T70" fmla="*/ 18 w 143"/>
                <a:gd name="T71" fmla="*/ 24 h 90"/>
                <a:gd name="T72" fmla="*/ 16 w 143"/>
                <a:gd name="T73" fmla="*/ 31 h 90"/>
                <a:gd name="T74" fmla="*/ 2 w 143"/>
                <a:gd name="T75" fmla="*/ 29 h 90"/>
                <a:gd name="T76" fmla="*/ 0 w 143"/>
                <a:gd name="T77" fmla="*/ 36 h 90"/>
                <a:gd name="T78" fmla="*/ 9 w 143"/>
                <a:gd name="T79" fmla="*/ 40 h 90"/>
                <a:gd name="T80" fmla="*/ 14 w 143"/>
                <a:gd name="T81" fmla="*/ 43 h 90"/>
                <a:gd name="T82" fmla="*/ 21 w 143"/>
                <a:gd name="T83" fmla="*/ 57 h 90"/>
                <a:gd name="T84" fmla="*/ 21 w 143"/>
                <a:gd name="T85" fmla="*/ 64 h 90"/>
                <a:gd name="T86" fmla="*/ 16 w 143"/>
                <a:gd name="T87" fmla="*/ 81 h 90"/>
                <a:gd name="T88" fmla="*/ 26 w 143"/>
                <a:gd name="T89" fmla="*/ 83 h 90"/>
                <a:gd name="T90" fmla="*/ 33 w 143"/>
                <a:gd name="T91" fmla="*/ 78 h 90"/>
                <a:gd name="T92" fmla="*/ 35 w 143"/>
                <a:gd name="T93" fmla="*/ 76 h 90"/>
                <a:gd name="T94" fmla="*/ 42 w 143"/>
                <a:gd name="T95" fmla="*/ 81 h 90"/>
                <a:gd name="T96" fmla="*/ 44 w 143"/>
                <a:gd name="T97" fmla="*/ 71 h 90"/>
                <a:gd name="T98" fmla="*/ 56 w 143"/>
                <a:gd name="T99" fmla="*/ 71 h 90"/>
                <a:gd name="T100" fmla="*/ 56 w 143"/>
                <a:gd name="T101" fmla="*/ 64 h 90"/>
                <a:gd name="T102" fmla="*/ 63 w 143"/>
                <a:gd name="T103" fmla="*/ 52 h 90"/>
                <a:gd name="T104" fmla="*/ 75 w 143"/>
                <a:gd name="T105" fmla="*/ 64 h 90"/>
                <a:gd name="T106" fmla="*/ 80 w 143"/>
                <a:gd name="T107" fmla="*/ 66 h 90"/>
                <a:gd name="T108" fmla="*/ 82 w 143"/>
                <a:gd name="T109" fmla="*/ 88 h 90"/>
                <a:gd name="T110" fmla="*/ 94 w 143"/>
                <a:gd name="T111" fmla="*/ 85 h 90"/>
                <a:gd name="T112" fmla="*/ 113 w 143"/>
                <a:gd name="T113" fmla="*/ 74 h 90"/>
                <a:gd name="T114" fmla="*/ 120 w 143"/>
                <a:gd name="T115" fmla="*/ 76 h 90"/>
                <a:gd name="T116" fmla="*/ 122 w 143"/>
                <a:gd name="T117" fmla="*/ 78 h 90"/>
                <a:gd name="T118" fmla="*/ 132 w 143"/>
                <a:gd name="T119" fmla="*/ 76 h 90"/>
                <a:gd name="T120" fmla="*/ 139 w 143"/>
                <a:gd name="T121" fmla="*/ 7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90">
                  <a:moveTo>
                    <a:pt x="51" y="24"/>
                  </a:moveTo>
                  <a:lnTo>
                    <a:pt x="51" y="22"/>
                  </a:lnTo>
                  <a:lnTo>
                    <a:pt x="49" y="22"/>
                  </a:lnTo>
                  <a:lnTo>
                    <a:pt x="51" y="24"/>
                  </a:lnTo>
                  <a:lnTo>
                    <a:pt x="51" y="24"/>
                  </a:lnTo>
                  <a:lnTo>
                    <a:pt x="51" y="24"/>
                  </a:lnTo>
                  <a:lnTo>
                    <a:pt x="54" y="24"/>
                  </a:lnTo>
                  <a:lnTo>
                    <a:pt x="54" y="24"/>
                  </a:lnTo>
                  <a:lnTo>
                    <a:pt x="54" y="24"/>
                  </a:lnTo>
                  <a:lnTo>
                    <a:pt x="54" y="24"/>
                  </a:lnTo>
                  <a:lnTo>
                    <a:pt x="51" y="24"/>
                  </a:lnTo>
                  <a:close/>
                  <a:moveTo>
                    <a:pt x="47" y="3"/>
                  </a:moveTo>
                  <a:lnTo>
                    <a:pt x="47" y="3"/>
                  </a:lnTo>
                  <a:lnTo>
                    <a:pt x="47" y="3"/>
                  </a:lnTo>
                  <a:lnTo>
                    <a:pt x="47" y="0"/>
                  </a:lnTo>
                  <a:lnTo>
                    <a:pt x="47" y="0"/>
                  </a:lnTo>
                  <a:lnTo>
                    <a:pt x="44" y="0"/>
                  </a:lnTo>
                  <a:lnTo>
                    <a:pt x="47" y="0"/>
                  </a:lnTo>
                  <a:lnTo>
                    <a:pt x="47" y="3"/>
                  </a:lnTo>
                  <a:close/>
                  <a:moveTo>
                    <a:pt x="141" y="74"/>
                  </a:moveTo>
                  <a:lnTo>
                    <a:pt x="139" y="74"/>
                  </a:lnTo>
                  <a:lnTo>
                    <a:pt x="139" y="71"/>
                  </a:lnTo>
                  <a:lnTo>
                    <a:pt x="139" y="71"/>
                  </a:lnTo>
                  <a:lnTo>
                    <a:pt x="139" y="69"/>
                  </a:lnTo>
                  <a:lnTo>
                    <a:pt x="139" y="66"/>
                  </a:lnTo>
                  <a:lnTo>
                    <a:pt x="136" y="66"/>
                  </a:lnTo>
                  <a:lnTo>
                    <a:pt x="136" y="66"/>
                  </a:lnTo>
                  <a:lnTo>
                    <a:pt x="136" y="64"/>
                  </a:lnTo>
                  <a:lnTo>
                    <a:pt x="134" y="62"/>
                  </a:lnTo>
                  <a:lnTo>
                    <a:pt x="134" y="59"/>
                  </a:lnTo>
                  <a:lnTo>
                    <a:pt x="132" y="59"/>
                  </a:lnTo>
                  <a:lnTo>
                    <a:pt x="132" y="57"/>
                  </a:lnTo>
                  <a:lnTo>
                    <a:pt x="132" y="55"/>
                  </a:lnTo>
                  <a:lnTo>
                    <a:pt x="132" y="52"/>
                  </a:lnTo>
                  <a:lnTo>
                    <a:pt x="132" y="52"/>
                  </a:lnTo>
                  <a:lnTo>
                    <a:pt x="127" y="50"/>
                  </a:lnTo>
                  <a:lnTo>
                    <a:pt x="122" y="48"/>
                  </a:lnTo>
                  <a:lnTo>
                    <a:pt x="120" y="48"/>
                  </a:lnTo>
                  <a:lnTo>
                    <a:pt x="120" y="48"/>
                  </a:lnTo>
                  <a:lnTo>
                    <a:pt x="117" y="50"/>
                  </a:lnTo>
                  <a:lnTo>
                    <a:pt x="117" y="50"/>
                  </a:lnTo>
                  <a:lnTo>
                    <a:pt x="117" y="50"/>
                  </a:lnTo>
                  <a:lnTo>
                    <a:pt x="115" y="50"/>
                  </a:lnTo>
                  <a:lnTo>
                    <a:pt x="113" y="50"/>
                  </a:lnTo>
                  <a:lnTo>
                    <a:pt x="113" y="48"/>
                  </a:lnTo>
                  <a:lnTo>
                    <a:pt x="110" y="45"/>
                  </a:lnTo>
                  <a:lnTo>
                    <a:pt x="110" y="45"/>
                  </a:lnTo>
                  <a:lnTo>
                    <a:pt x="110" y="43"/>
                  </a:lnTo>
                  <a:lnTo>
                    <a:pt x="110" y="43"/>
                  </a:lnTo>
                  <a:lnTo>
                    <a:pt x="113" y="43"/>
                  </a:lnTo>
                  <a:lnTo>
                    <a:pt x="113" y="43"/>
                  </a:lnTo>
                  <a:lnTo>
                    <a:pt x="113" y="40"/>
                  </a:lnTo>
                  <a:lnTo>
                    <a:pt x="110" y="40"/>
                  </a:lnTo>
                  <a:lnTo>
                    <a:pt x="110" y="38"/>
                  </a:lnTo>
                  <a:lnTo>
                    <a:pt x="108" y="36"/>
                  </a:lnTo>
                  <a:lnTo>
                    <a:pt x="108" y="36"/>
                  </a:lnTo>
                  <a:lnTo>
                    <a:pt x="106" y="33"/>
                  </a:lnTo>
                  <a:lnTo>
                    <a:pt x="106" y="31"/>
                  </a:lnTo>
                  <a:lnTo>
                    <a:pt x="106" y="31"/>
                  </a:lnTo>
                  <a:lnTo>
                    <a:pt x="103" y="31"/>
                  </a:lnTo>
                  <a:lnTo>
                    <a:pt x="103" y="31"/>
                  </a:lnTo>
                  <a:lnTo>
                    <a:pt x="101" y="33"/>
                  </a:lnTo>
                  <a:lnTo>
                    <a:pt x="101" y="33"/>
                  </a:lnTo>
                  <a:lnTo>
                    <a:pt x="99" y="33"/>
                  </a:lnTo>
                  <a:lnTo>
                    <a:pt x="96" y="33"/>
                  </a:lnTo>
                  <a:lnTo>
                    <a:pt x="94" y="33"/>
                  </a:lnTo>
                  <a:lnTo>
                    <a:pt x="89" y="33"/>
                  </a:lnTo>
                  <a:lnTo>
                    <a:pt x="89" y="33"/>
                  </a:lnTo>
                  <a:lnTo>
                    <a:pt x="87" y="33"/>
                  </a:lnTo>
                  <a:lnTo>
                    <a:pt x="84" y="33"/>
                  </a:lnTo>
                  <a:lnTo>
                    <a:pt x="84" y="36"/>
                  </a:lnTo>
                  <a:lnTo>
                    <a:pt x="84" y="36"/>
                  </a:lnTo>
                  <a:lnTo>
                    <a:pt x="84" y="36"/>
                  </a:lnTo>
                  <a:lnTo>
                    <a:pt x="82" y="36"/>
                  </a:lnTo>
                  <a:lnTo>
                    <a:pt x="80" y="33"/>
                  </a:lnTo>
                  <a:lnTo>
                    <a:pt x="80" y="33"/>
                  </a:lnTo>
                  <a:lnTo>
                    <a:pt x="80" y="33"/>
                  </a:lnTo>
                  <a:lnTo>
                    <a:pt x="75" y="36"/>
                  </a:lnTo>
                  <a:lnTo>
                    <a:pt x="75" y="36"/>
                  </a:lnTo>
                  <a:lnTo>
                    <a:pt x="75" y="36"/>
                  </a:lnTo>
                  <a:lnTo>
                    <a:pt x="75" y="33"/>
                  </a:lnTo>
                  <a:lnTo>
                    <a:pt x="75" y="31"/>
                  </a:lnTo>
                  <a:lnTo>
                    <a:pt x="73" y="31"/>
                  </a:lnTo>
                  <a:lnTo>
                    <a:pt x="70" y="31"/>
                  </a:lnTo>
                  <a:lnTo>
                    <a:pt x="70" y="31"/>
                  </a:lnTo>
                  <a:lnTo>
                    <a:pt x="70" y="31"/>
                  </a:lnTo>
                  <a:lnTo>
                    <a:pt x="70" y="29"/>
                  </a:lnTo>
                  <a:lnTo>
                    <a:pt x="70" y="29"/>
                  </a:lnTo>
                  <a:lnTo>
                    <a:pt x="68" y="29"/>
                  </a:lnTo>
                  <a:lnTo>
                    <a:pt x="68" y="29"/>
                  </a:lnTo>
                  <a:lnTo>
                    <a:pt x="66" y="29"/>
                  </a:lnTo>
                  <a:lnTo>
                    <a:pt x="66" y="29"/>
                  </a:lnTo>
                  <a:lnTo>
                    <a:pt x="63" y="31"/>
                  </a:lnTo>
                  <a:lnTo>
                    <a:pt x="63" y="31"/>
                  </a:lnTo>
                  <a:lnTo>
                    <a:pt x="63" y="31"/>
                  </a:lnTo>
                  <a:lnTo>
                    <a:pt x="61" y="33"/>
                  </a:lnTo>
                  <a:lnTo>
                    <a:pt x="59" y="33"/>
                  </a:lnTo>
                  <a:lnTo>
                    <a:pt x="56" y="33"/>
                  </a:lnTo>
                  <a:lnTo>
                    <a:pt x="56" y="31"/>
                  </a:lnTo>
                  <a:lnTo>
                    <a:pt x="54" y="29"/>
                  </a:lnTo>
                  <a:lnTo>
                    <a:pt x="54" y="29"/>
                  </a:lnTo>
                  <a:lnTo>
                    <a:pt x="51" y="29"/>
                  </a:lnTo>
                  <a:lnTo>
                    <a:pt x="49" y="29"/>
                  </a:lnTo>
                  <a:lnTo>
                    <a:pt x="47" y="29"/>
                  </a:lnTo>
                  <a:lnTo>
                    <a:pt x="47" y="29"/>
                  </a:lnTo>
                  <a:lnTo>
                    <a:pt x="47" y="29"/>
                  </a:lnTo>
                  <a:lnTo>
                    <a:pt x="47" y="29"/>
                  </a:lnTo>
                  <a:lnTo>
                    <a:pt x="44" y="29"/>
                  </a:lnTo>
                  <a:lnTo>
                    <a:pt x="42" y="29"/>
                  </a:lnTo>
                  <a:lnTo>
                    <a:pt x="40" y="29"/>
                  </a:lnTo>
                  <a:lnTo>
                    <a:pt x="37" y="29"/>
                  </a:lnTo>
                  <a:lnTo>
                    <a:pt x="37" y="29"/>
                  </a:lnTo>
                  <a:lnTo>
                    <a:pt x="35" y="29"/>
                  </a:lnTo>
                  <a:lnTo>
                    <a:pt x="33" y="29"/>
                  </a:lnTo>
                  <a:lnTo>
                    <a:pt x="33" y="31"/>
                  </a:lnTo>
                  <a:lnTo>
                    <a:pt x="30" y="26"/>
                  </a:lnTo>
                  <a:lnTo>
                    <a:pt x="30" y="24"/>
                  </a:lnTo>
                  <a:lnTo>
                    <a:pt x="30" y="24"/>
                  </a:lnTo>
                  <a:lnTo>
                    <a:pt x="30" y="22"/>
                  </a:lnTo>
                  <a:lnTo>
                    <a:pt x="30" y="22"/>
                  </a:lnTo>
                  <a:lnTo>
                    <a:pt x="30" y="22"/>
                  </a:lnTo>
                  <a:lnTo>
                    <a:pt x="33" y="22"/>
                  </a:lnTo>
                  <a:lnTo>
                    <a:pt x="33" y="22"/>
                  </a:lnTo>
                  <a:lnTo>
                    <a:pt x="33" y="22"/>
                  </a:lnTo>
                  <a:lnTo>
                    <a:pt x="33" y="19"/>
                  </a:lnTo>
                  <a:lnTo>
                    <a:pt x="33" y="22"/>
                  </a:lnTo>
                  <a:lnTo>
                    <a:pt x="33" y="22"/>
                  </a:lnTo>
                  <a:lnTo>
                    <a:pt x="33" y="19"/>
                  </a:lnTo>
                  <a:lnTo>
                    <a:pt x="33" y="19"/>
                  </a:lnTo>
                  <a:lnTo>
                    <a:pt x="33" y="19"/>
                  </a:lnTo>
                  <a:lnTo>
                    <a:pt x="37" y="19"/>
                  </a:lnTo>
                  <a:lnTo>
                    <a:pt x="40" y="17"/>
                  </a:lnTo>
                  <a:lnTo>
                    <a:pt x="42" y="19"/>
                  </a:lnTo>
                  <a:lnTo>
                    <a:pt x="44" y="19"/>
                  </a:lnTo>
                  <a:lnTo>
                    <a:pt x="47" y="19"/>
                  </a:lnTo>
                  <a:lnTo>
                    <a:pt x="49" y="22"/>
                  </a:lnTo>
                  <a:lnTo>
                    <a:pt x="51" y="22"/>
                  </a:lnTo>
                  <a:lnTo>
                    <a:pt x="51" y="22"/>
                  </a:lnTo>
                  <a:lnTo>
                    <a:pt x="51" y="22"/>
                  </a:lnTo>
                  <a:lnTo>
                    <a:pt x="51" y="19"/>
                  </a:lnTo>
                  <a:lnTo>
                    <a:pt x="51" y="19"/>
                  </a:lnTo>
                  <a:lnTo>
                    <a:pt x="54" y="19"/>
                  </a:lnTo>
                  <a:lnTo>
                    <a:pt x="56" y="17"/>
                  </a:lnTo>
                  <a:lnTo>
                    <a:pt x="56" y="17"/>
                  </a:lnTo>
                  <a:lnTo>
                    <a:pt x="56" y="17"/>
                  </a:lnTo>
                  <a:lnTo>
                    <a:pt x="56" y="17"/>
                  </a:lnTo>
                  <a:lnTo>
                    <a:pt x="51" y="17"/>
                  </a:lnTo>
                  <a:lnTo>
                    <a:pt x="51" y="17"/>
                  </a:lnTo>
                  <a:lnTo>
                    <a:pt x="49" y="17"/>
                  </a:lnTo>
                  <a:lnTo>
                    <a:pt x="49" y="14"/>
                  </a:lnTo>
                  <a:lnTo>
                    <a:pt x="47" y="14"/>
                  </a:lnTo>
                  <a:lnTo>
                    <a:pt x="47" y="14"/>
                  </a:lnTo>
                  <a:lnTo>
                    <a:pt x="47" y="14"/>
                  </a:lnTo>
                  <a:lnTo>
                    <a:pt x="44" y="12"/>
                  </a:lnTo>
                  <a:lnTo>
                    <a:pt x="44" y="12"/>
                  </a:lnTo>
                  <a:lnTo>
                    <a:pt x="44" y="12"/>
                  </a:lnTo>
                  <a:lnTo>
                    <a:pt x="47" y="10"/>
                  </a:lnTo>
                  <a:lnTo>
                    <a:pt x="49" y="7"/>
                  </a:lnTo>
                  <a:lnTo>
                    <a:pt x="49" y="7"/>
                  </a:lnTo>
                  <a:lnTo>
                    <a:pt x="49" y="7"/>
                  </a:lnTo>
                  <a:lnTo>
                    <a:pt x="51" y="7"/>
                  </a:lnTo>
                  <a:lnTo>
                    <a:pt x="49" y="7"/>
                  </a:lnTo>
                  <a:lnTo>
                    <a:pt x="49" y="5"/>
                  </a:lnTo>
                  <a:lnTo>
                    <a:pt x="49" y="5"/>
                  </a:lnTo>
                  <a:lnTo>
                    <a:pt x="49" y="5"/>
                  </a:lnTo>
                  <a:lnTo>
                    <a:pt x="49" y="5"/>
                  </a:lnTo>
                  <a:lnTo>
                    <a:pt x="47" y="3"/>
                  </a:lnTo>
                  <a:lnTo>
                    <a:pt x="44" y="0"/>
                  </a:lnTo>
                  <a:lnTo>
                    <a:pt x="42" y="0"/>
                  </a:lnTo>
                  <a:lnTo>
                    <a:pt x="42" y="0"/>
                  </a:lnTo>
                  <a:lnTo>
                    <a:pt x="42" y="3"/>
                  </a:lnTo>
                  <a:lnTo>
                    <a:pt x="42" y="3"/>
                  </a:lnTo>
                  <a:lnTo>
                    <a:pt x="40" y="5"/>
                  </a:lnTo>
                  <a:lnTo>
                    <a:pt x="37" y="5"/>
                  </a:lnTo>
                  <a:lnTo>
                    <a:pt x="35" y="7"/>
                  </a:lnTo>
                  <a:lnTo>
                    <a:pt x="33" y="7"/>
                  </a:lnTo>
                  <a:lnTo>
                    <a:pt x="33" y="7"/>
                  </a:lnTo>
                  <a:lnTo>
                    <a:pt x="30" y="7"/>
                  </a:lnTo>
                  <a:lnTo>
                    <a:pt x="28" y="5"/>
                  </a:lnTo>
                  <a:lnTo>
                    <a:pt x="28" y="5"/>
                  </a:lnTo>
                  <a:lnTo>
                    <a:pt x="26" y="5"/>
                  </a:lnTo>
                  <a:lnTo>
                    <a:pt x="26" y="7"/>
                  </a:lnTo>
                  <a:lnTo>
                    <a:pt x="26" y="7"/>
                  </a:lnTo>
                  <a:lnTo>
                    <a:pt x="26" y="10"/>
                  </a:lnTo>
                  <a:lnTo>
                    <a:pt x="26" y="10"/>
                  </a:lnTo>
                  <a:lnTo>
                    <a:pt x="28" y="14"/>
                  </a:lnTo>
                  <a:lnTo>
                    <a:pt x="28" y="14"/>
                  </a:lnTo>
                  <a:lnTo>
                    <a:pt x="26" y="14"/>
                  </a:lnTo>
                  <a:lnTo>
                    <a:pt x="28" y="17"/>
                  </a:lnTo>
                  <a:lnTo>
                    <a:pt x="28" y="17"/>
                  </a:lnTo>
                  <a:lnTo>
                    <a:pt x="26" y="17"/>
                  </a:lnTo>
                  <a:lnTo>
                    <a:pt x="23" y="17"/>
                  </a:lnTo>
                  <a:lnTo>
                    <a:pt x="16" y="17"/>
                  </a:lnTo>
                  <a:lnTo>
                    <a:pt x="16" y="19"/>
                  </a:lnTo>
                  <a:lnTo>
                    <a:pt x="16" y="19"/>
                  </a:lnTo>
                  <a:lnTo>
                    <a:pt x="18" y="19"/>
                  </a:lnTo>
                  <a:lnTo>
                    <a:pt x="21" y="19"/>
                  </a:lnTo>
                  <a:lnTo>
                    <a:pt x="23" y="19"/>
                  </a:lnTo>
                  <a:lnTo>
                    <a:pt x="23" y="19"/>
                  </a:lnTo>
                  <a:lnTo>
                    <a:pt x="23" y="19"/>
                  </a:lnTo>
                  <a:lnTo>
                    <a:pt x="23" y="19"/>
                  </a:lnTo>
                  <a:lnTo>
                    <a:pt x="23" y="19"/>
                  </a:lnTo>
                  <a:lnTo>
                    <a:pt x="21" y="22"/>
                  </a:lnTo>
                  <a:lnTo>
                    <a:pt x="21" y="22"/>
                  </a:lnTo>
                  <a:lnTo>
                    <a:pt x="21" y="22"/>
                  </a:lnTo>
                  <a:lnTo>
                    <a:pt x="21" y="22"/>
                  </a:lnTo>
                  <a:lnTo>
                    <a:pt x="23" y="22"/>
                  </a:lnTo>
                  <a:lnTo>
                    <a:pt x="23" y="22"/>
                  </a:lnTo>
                  <a:lnTo>
                    <a:pt x="23" y="22"/>
                  </a:lnTo>
                  <a:lnTo>
                    <a:pt x="21" y="22"/>
                  </a:lnTo>
                  <a:lnTo>
                    <a:pt x="21" y="22"/>
                  </a:lnTo>
                  <a:lnTo>
                    <a:pt x="21" y="22"/>
                  </a:lnTo>
                  <a:lnTo>
                    <a:pt x="21" y="22"/>
                  </a:lnTo>
                  <a:lnTo>
                    <a:pt x="21" y="24"/>
                  </a:lnTo>
                  <a:lnTo>
                    <a:pt x="21" y="24"/>
                  </a:lnTo>
                  <a:lnTo>
                    <a:pt x="18" y="24"/>
                  </a:lnTo>
                  <a:lnTo>
                    <a:pt x="18" y="24"/>
                  </a:lnTo>
                  <a:lnTo>
                    <a:pt x="18" y="26"/>
                  </a:lnTo>
                  <a:lnTo>
                    <a:pt x="18" y="29"/>
                  </a:lnTo>
                  <a:lnTo>
                    <a:pt x="18" y="29"/>
                  </a:lnTo>
                  <a:lnTo>
                    <a:pt x="16" y="29"/>
                  </a:lnTo>
                  <a:lnTo>
                    <a:pt x="16" y="31"/>
                  </a:lnTo>
                  <a:lnTo>
                    <a:pt x="14" y="29"/>
                  </a:lnTo>
                  <a:lnTo>
                    <a:pt x="14" y="29"/>
                  </a:lnTo>
                  <a:lnTo>
                    <a:pt x="11" y="29"/>
                  </a:lnTo>
                  <a:lnTo>
                    <a:pt x="7" y="29"/>
                  </a:lnTo>
                  <a:lnTo>
                    <a:pt x="4" y="29"/>
                  </a:lnTo>
                  <a:lnTo>
                    <a:pt x="2" y="29"/>
                  </a:lnTo>
                  <a:lnTo>
                    <a:pt x="0" y="31"/>
                  </a:lnTo>
                  <a:lnTo>
                    <a:pt x="0" y="31"/>
                  </a:lnTo>
                  <a:lnTo>
                    <a:pt x="0" y="31"/>
                  </a:lnTo>
                  <a:lnTo>
                    <a:pt x="0" y="36"/>
                  </a:lnTo>
                  <a:lnTo>
                    <a:pt x="0" y="36"/>
                  </a:lnTo>
                  <a:lnTo>
                    <a:pt x="0" y="36"/>
                  </a:lnTo>
                  <a:lnTo>
                    <a:pt x="4" y="38"/>
                  </a:lnTo>
                  <a:lnTo>
                    <a:pt x="4" y="38"/>
                  </a:lnTo>
                  <a:lnTo>
                    <a:pt x="7" y="38"/>
                  </a:lnTo>
                  <a:lnTo>
                    <a:pt x="7" y="40"/>
                  </a:lnTo>
                  <a:lnTo>
                    <a:pt x="7" y="40"/>
                  </a:lnTo>
                  <a:lnTo>
                    <a:pt x="9" y="40"/>
                  </a:lnTo>
                  <a:lnTo>
                    <a:pt x="9" y="40"/>
                  </a:lnTo>
                  <a:lnTo>
                    <a:pt x="11" y="40"/>
                  </a:lnTo>
                  <a:lnTo>
                    <a:pt x="14" y="40"/>
                  </a:lnTo>
                  <a:lnTo>
                    <a:pt x="14" y="43"/>
                  </a:lnTo>
                  <a:lnTo>
                    <a:pt x="14" y="43"/>
                  </a:lnTo>
                  <a:lnTo>
                    <a:pt x="14" y="43"/>
                  </a:lnTo>
                  <a:lnTo>
                    <a:pt x="14" y="48"/>
                  </a:lnTo>
                  <a:lnTo>
                    <a:pt x="14" y="50"/>
                  </a:lnTo>
                  <a:lnTo>
                    <a:pt x="16" y="52"/>
                  </a:lnTo>
                  <a:lnTo>
                    <a:pt x="16" y="55"/>
                  </a:lnTo>
                  <a:lnTo>
                    <a:pt x="18" y="57"/>
                  </a:lnTo>
                  <a:lnTo>
                    <a:pt x="21" y="57"/>
                  </a:lnTo>
                  <a:lnTo>
                    <a:pt x="21" y="57"/>
                  </a:lnTo>
                  <a:lnTo>
                    <a:pt x="21" y="59"/>
                  </a:lnTo>
                  <a:lnTo>
                    <a:pt x="21" y="59"/>
                  </a:lnTo>
                  <a:lnTo>
                    <a:pt x="21" y="62"/>
                  </a:lnTo>
                  <a:lnTo>
                    <a:pt x="21" y="64"/>
                  </a:lnTo>
                  <a:lnTo>
                    <a:pt x="21" y="64"/>
                  </a:lnTo>
                  <a:lnTo>
                    <a:pt x="18" y="66"/>
                  </a:lnTo>
                  <a:lnTo>
                    <a:pt x="18" y="69"/>
                  </a:lnTo>
                  <a:lnTo>
                    <a:pt x="16" y="71"/>
                  </a:lnTo>
                  <a:lnTo>
                    <a:pt x="16" y="74"/>
                  </a:lnTo>
                  <a:lnTo>
                    <a:pt x="16" y="78"/>
                  </a:lnTo>
                  <a:lnTo>
                    <a:pt x="16" y="81"/>
                  </a:lnTo>
                  <a:lnTo>
                    <a:pt x="16" y="81"/>
                  </a:lnTo>
                  <a:lnTo>
                    <a:pt x="18" y="83"/>
                  </a:lnTo>
                  <a:lnTo>
                    <a:pt x="21" y="85"/>
                  </a:lnTo>
                  <a:lnTo>
                    <a:pt x="23" y="85"/>
                  </a:lnTo>
                  <a:lnTo>
                    <a:pt x="26" y="83"/>
                  </a:lnTo>
                  <a:lnTo>
                    <a:pt x="26" y="83"/>
                  </a:lnTo>
                  <a:lnTo>
                    <a:pt x="26" y="83"/>
                  </a:lnTo>
                  <a:lnTo>
                    <a:pt x="26" y="83"/>
                  </a:lnTo>
                  <a:lnTo>
                    <a:pt x="28" y="81"/>
                  </a:lnTo>
                  <a:lnTo>
                    <a:pt x="30" y="81"/>
                  </a:lnTo>
                  <a:lnTo>
                    <a:pt x="30" y="78"/>
                  </a:lnTo>
                  <a:lnTo>
                    <a:pt x="33" y="78"/>
                  </a:lnTo>
                  <a:lnTo>
                    <a:pt x="33" y="78"/>
                  </a:lnTo>
                  <a:lnTo>
                    <a:pt x="33" y="78"/>
                  </a:lnTo>
                  <a:lnTo>
                    <a:pt x="35" y="78"/>
                  </a:lnTo>
                  <a:lnTo>
                    <a:pt x="35" y="78"/>
                  </a:lnTo>
                  <a:lnTo>
                    <a:pt x="35" y="76"/>
                  </a:lnTo>
                  <a:lnTo>
                    <a:pt x="35" y="76"/>
                  </a:lnTo>
                  <a:lnTo>
                    <a:pt x="35" y="76"/>
                  </a:lnTo>
                  <a:lnTo>
                    <a:pt x="37" y="76"/>
                  </a:lnTo>
                  <a:lnTo>
                    <a:pt x="37" y="78"/>
                  </a:lnTo>
                  <a:lnTo>
                    <a:pt x="40" y="81"/>
                  </a:lnTo>
                  <a:lnTo>
                    <a:pt x="42" y="81"/>
                  </a:lnTo>
                  <a:lnTo>
                    <a:pt x="42" y="81"/>
                  </a:lnTo>
                  <a:lnTo>
                    <a:pt x="44" y="81"/>
                  </a:lnTo>
                  <a:lnTo>
                    <a:pt x="44" y="78"/>
                  </a:lnTo>
                  <a:lnTo>
                    <a:pt x="44" y="78"/>
                  </a:lnTo>
                  <a:lnTo>
                    <a:pt x="44" y="76"/>
                  </a:lnTo>
                  <a:lnTo>
                    <a:pt x="44" y="74"/>
                  </a:lnTo>
                  <a:lnTo>
                    <a:pt x="44" y="71"/>
                  </a:lnTo>
                  <a:lnTo>
                    <a:pt x="47" y="71"/>
                  </a:lnTo>
                  <a:lnTo>
                    <a:pt x="49" y="71"/>
                  </a:lnTo>
                  <a:lnTo>
                    <a:pt x="51" y="71"/>
                  </a:lnTo>
                  <a:lnTo>
                    <a:pt x="54" y="71"/>
                  </a:lnTo>
                  <a:lnTo>
                    <a:pt x="54" y="71"/>
                  </a:lnTo>
                  <a:lnTo>
                    <a:pt x="56" y="71"/>
                  </a:lnTo>
                  <a:lnTo>
                    <a:pt x="56" y="71"/>
                  </a:lnTo>
                  <a:lnTo>
                    <a:pt x="56" y="69"/>
                  </a:lnTo>
                  <a:lnTo>
                    <a:pt x="56" y="66"/>
                  </a:lnTo>
                  <a:lnTo>
                    <a:pt x="56" y="64"/>
                  </a:lnTo>
                  <a:lnTo>
                    <a:pt x="56" y="64"/>
                  </a:lnTo>
                  <a:lnTo>
                    <a:pt x="56" y="64"/>
                  </a:lnTo>
                  <a:lnTo>
                    <a:pt x="56" y="62"/>
                  </a:lnTo>
                  <a:lnTo>
                    <a:pt x="59" y="62"/>
                  </a:lnTo>
                  <a:lnTo>
                    <a:pt x="59" y="59"/>
                  </a:lnTo>
                  <a:lnTo>
                    <a:pt x="61" y="55"/>
                  </a:lnTo>
                  <a:lnTo>
                    <a:pt x="61" y="52"/>
                  </a:lnTo>
                  <a:lnTo>
                    <a:pt x="63" y="52"/>
                  </a:lnTo>
                  <a:lnTo>
                    <a:pt x="68" y="55"/>
                  </a:lnTo>
                  <a:lnTo>
                    <a:pt x="70" y="57"/>
                  </a:lnTo>
                  <a:lnTo>
                    <a:pt x="73" y="59"/>
                  </a:lnTo>
                  <a:lnTo>
                    <a:pt x="73" y="62"/>
                  </a:lnTo>
                  <a:lnTo>
                    <a:pt x="73" y="64"/>
                  </a:lnTo>
                  <a:lnTo>
                    <a:pt x="75" y="64"/>
                  </a:lnTo>
                  <a:lnTo>
                    <a:pt x="75" y="64"/>
                  </a:lnTo>
                  <a:lnTo>
                    <a:pt x="77" y="64"/>
                  </a:lnTo>
                  <a:lnTo>
                    <a:pt x="77" y="64"/>
                  </a:lnTo>
                  <a:lnTo>
                    <a:pt x="80" y="64"/>
                  </a:lnTo>
                  <a:lnTo>
                    <a:pt x="80" y="66"/>
                  </a:lnTo>
                  <a:lnTo>
                    <a:pt x="80" y="66"/>
                  </a:lnTo>
                  <a:lnTo>
                    <a:pt x="80" y="71"/>
                  </a:lnTo>
                  <a:lnTo>
                    <a:pt x="80" y="74"/>
                  </a:lnTo>
                  <a:lnTo>
                    <a:pt x="80" y="78"/>
                  </a:lnTo>
                  <a:lnTo>
                    <a:pt x="80" y="81"/>
                  </a:lnTo>
                  <a:lnTo>
                    <a:pt x="82" y="83"/>
                  </a:lnTo>
                  <a:lnTo>
                    <a:pt x="82" y="88"/>
                  </a:lnTo>
                  <a:lnTo>
                    <a:pt x="84" y="90"/>
                  </a:lnTo>
                  <a:lnTo>
                    <a:pt x="87" y="90"/>
                  </a:lnTo>
                  <a:lnTo>
                    <a:pt x="87" y="90"/>
                  </a:lnTo>
                  <a:lnTo>
                    <a:pt x="89" y="90"/>
                  </a:lnTo>
                  <a:lnTo>
                    <a:pt x="92" y="88"/>
                  </a:lnTo>
                  <a:lnTo>
                    <a:pt x="94" y="85"/>
                  </a:lnTo>
                  <a:lnTo>
                    <a:pt x="96" y="85"/>
                  </a:lnTo>
                  <a:lnTo>
                    <a:pt x="101" y="83"/>
                  </a:lnTo>
                  <a:lnTo>
                    <a:pt x="103" y="81"/>
                  </a:lnTo>
                  <a:lnTo>
                    <a:pt x="106" y="78"/>
                  </a:lnTo>
                  <a:lnTo>
                    <a:pt x="110" y="76"/>
                  </a:lnTo>
                  <a:lnTo>
                    <a:pt x="113" y="74"/>
                  </a:lnTo>
                  <a:lnTo>
                    <a:pt x="115" y="74"/>
                  </a:lnTo>
                  <a:lnTo>
                    <a:pt x="115" y="74"/>
                  </a:lnTo>
                  <a:lnTo>
                    <a:pt x="117" y="74"/>
                  </a:lnTo>
                  <a:lnTo>
                    <a:pt x="117" y="74"/>
                  </a:lnTo>
                  <a:lnTo>
                    <a:pt x="117" y="76"/>
                  </a:lnTo>
                  <a:lnTo>
                    <a:pt x="120" y="76"/>
                  </a:lnTo>
                  <a:lnTo>
                    <a:pt x="120" y="76"/>
                  </a:lnTo>
                  <a:lnTo>
                    <a:pt x="117" y="78"/>
                  </a:lnTo>
                  <a:lnTo>
                    <a:pt x="117" y="78"/>
                  </a:lnTo>
                  <a:lnTo>
                    <a:pt x="117" y="78"/>
                  </a:lnTo>
                  <a:lnTo>
                    <a:pt x="120" y="78"/>
                  </a:lnTo>
                  <a:lnTo>
                    <a:pt x="122" y="78"/>
                  </a:lnTo>
                  <a:lnTo>
                    <a:pt x="125" y="76"/>
                  </a:lnTo>
                  <a:lnTo>
                    <a:pt x="127" y="76"/>
                  </a:lnTo>
                  <a:lnTo>
                    <a:pt x="127" y="76"/>
                  </a:lnTo>
                  <a:lnTo>
                    <a:pt x="127" y="76"/>
                  </a:lnTo>
                  <a:lnTo>
                    <a:pt x="129" y="76"/>
                  </a:lnTo>
                  <a:lnTo>
                    <a:pt x="132" y="76"/>
                  </a:lnTo>
                  <a:lnTo>
                    <a:pt x="132" y="76"/>
                  </a:lnTo>
                  <a:lnTo>
                    <a:pt x="134" y="76"/>
                  </a:lnTo>
                  <a:lnTo>
                    <a:pt x="136" y="76"/>
                  </a:lnTo>
                  <a:lnTo>
                    <a:pt x="139" y="78"/>
                  </a:lnTo>
                  <a:lnTo>
                    <a:pt x="139" y="78"/>
                  </a:lnTo>
                  <a:lnTo>
                    <a:pt x="139" y="78"/>
                  </a:lnTo>
                  <a:lnTo>
                    <a:pt x="141" y="78"/>
                  </a:lnTo>
                  <a:lnTo>
                    <a:pt x="141" y="78"/>
                  </a:lnTo>
                  <a:lnTo>
                    <a:pt x="143" y="76"/>
                  </a:lnTo>
                  <a:lnTo>
                    <a:pt x="143" y="76"/>
                  </a:lnTo>
                  <a:lnTo>
                    <a:pt x="141" y="7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0" name="Freeform 226"/>
            <p:cNvSpPr>
              <a:spLocks noEditPoints="1"/>
            </p:cNvSpPr>
            <p:nvPr userDrawn="1"/>
          </p:nvSpPr>
          <p:spPr bwMode="auto">
            <a:xfrm>
              <a:off x="5800" y="2273"/>
              <a:ext cx="64" cy="71"/>
            </a:xfrm>
            <a:custGeom>
              <a:avLst/>
              <a:gdLst>
                <a:gd name="T0" fmla="*/ 0 w 64"/>
                <a:gd name="T1" fmla="*/ 17 h 71"/>
                <a:gd name="T2" fmla="*/ 2 w 64"/>
                <a:gd name="T3" fmla="*/ 19 h 71"/>
                <a:gd name="T4" fmla="*/ 2 w 64"/>
                <a:gd name="T5" fmla="*/ 17 h 71"/>
                <a:gd name="T6" fmla="*/ 64 w 64"/>
                <a:gd name="T7" fmla="*/ 22 h 71"/>
                <a:gd name="T8" fmla="*/ 64 w 64"/>
                <a:gd name="T9" fmla="*/ 14 h 71"/>
                <a:gd name="T10" fmla="*/ 64 w 64"/>
                <a:gd name="T11" fmla="*/ 10 h 71"/>
                <a:gd name="T12" fmla="*/ 64 w 64"/>
                <a:gd name="T13" fmla="*/ 7 h 71"/>
                <a:gd name="T14" fmla="*/ 61 w 64"/>
                <a:gd name="T15" fmla="*/ 5 h 71"/>
                <a:gd name="T16" fmla="*/ 59 w 64"/>
                <a:gd name="T17" fmla="*/ 3 h 71"/>
                <a:gd name="T18" fmla="*/ 57 w 64"/>
                <a:gd name="T19" fmla="*/ 0 h 71"/>
                <a:gd name="T20" fmla="*/ 54 w 64"/>
                <a:gd name="T21" fmla="*/ 3 h 71"/>
                <a:gd name="T22" fmla="*/ 49 w 64"/>
                <a:gd name="T23" fmla="*/ 5 h 71"/>
                <a:gd name="T24" fmla="*/ 47 w 64"/>
                <a:gd name="T25" fmla="*/ 7 h 71"/>
                <a:gd name="T26" fmla="*/ 45 w 64"/>
                <a:gd name="T27" fmla="*/ 12 h 71"/>
                <a:gd name="T28" fmla="*/ 42 w 64"/>
                <a:gd name="T29" fmla="*/ 17 h 71"/>
                <a:gd name="T30" fmla="*/ 38 w 64"/>
                <a:gd name="T31" fmla="*/ 36 h 71"/>
                <a:gd name="T32" fmla="*/ 38 w 64"/>
                <a:gd name="T33" fmla="*/ 40 h 71"/>
                <a:gd name="T34" fmla="*/ 38 w 64"/>
                <a:gd name="T35" fmla="*/ 45 h 71"/>
                <a:gd name="T36" fmla="*/ 38 w 64"/>
                <a:gd name="T37" fmla="*/ 48 h 71"/>
                <a:gd name="T38" fmla="*/ 40 w 64"/>
                <a:gd name="T39" fmla="*/ 50 h 71"/>
                <a:gd name="T40" fmla="*/ 45 w 64"/>
                <a:gd name="T41" fmla="*/ 57 h 71"/>
                <a:gd name="T42" fmla="*/ 45 w 64"/>
                <a:gd name="T43" fmla="*/ 59 h 71"/>
                <a:gd name="T44" fmla="*/ 47 w 64"/>
                <a:gd name="T45" fmla="*/ 62 h 71"/>
                <a:gd name="T46" fmla="*/ 52 w 64"/>
                <a:gd name="T47" fmla="*/ 64 h 71"/>
                <a:gd name="T48" fmla="*/ 54 w 64"/>
                <a:gd name="T49" fmla="*/ 69 h 71"/>
                <a:gd name="T50" fmla="*/ 57 w 64"/>
                <a:gd name="T51" fmla="*/ 71 h 71"/>
                <a:gd name="T52" fmla="*/ 57 w 64"/>
                <a:gd name="T53" fmla="*/ 67 h 71"/>
                <a:gd name="T54" fmla="*/ 57 w 64"/>
                <a:gd name="T55" fmla="*/ 62 h 71"/>
                <a:gd name="T56" fmla="*/ 57 w 64"/>
                <a:gd name="T57" fmla="*/ 57 h 71"/>
                <a:gd name="T58" fmla="*/ 61 w 64"/>
                <a:gd name="T59" fmla="*/ 50 h 71"/>
                <a:gd name="T60" fmla="*/ 61 w 64"/>
                <a:gd name="T61" fmla="*/ 45 h 71"/>
                <a:gd name="T62" fmla="*/ 61 w 64"/>
                <a:gd name="T63" fmla="*/ 36 h 71"/>
                <a:gd name="T64" fmla="*/ 61 w 64"/>
                <a:gd name="T65" fmla="*/ 26 h 71"/>
                <a:gd name="T66" fmla="*/ 64 w 64"/>
                <a:gd name="T67"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71">
                  <a:moveTo>
                    <a:pt x="2" y="19"/>
                  </a:moveTo>
                  <a:lnTo>
                    <a:pt x="0" y="17"/>
                  </a:lnTo>
                  <a:lnTo>
                    <a:pt x="0" y="19"/>
                  </a:lnTo>
                  <a:lnTo>
                    <a:pt x="2" y="19"/>
                  </a:lnTo>
                  <a:lnTo>
                    <a:pt x="2" y="19"/>
                  </a:lnTo>
                  <a:lnTo>
                    <a:pt x="2" y="17"/>
                  </a:lnTo>
                  <a:lnTo>
                    <a:pt x="2" y="19"/>
                  </a:lnTo>
                  <a:close/>
                  <a:moveTo>
                    <a:pt x="64" y="22"/>
                  </a:moveTo>
                  <a:lnTo>
                    <a:pt x="64" y="17"/>
                  </a:lnTo>
                  <a:lnTo>
                    <a:pt x="64" y="14"/>
                  </a:lnTo>
                  <a:lnTo>
                    <a:pt x="64" y="12"/>
                  </a:lnTo>
                  <a:lnTo>
                    <a:pt x="64" y="10"/>
                  </a:lnTo>
                  <a:lnTo>
                    <a:pt x="64" y="10"/>
                  </a:lnTo>
                  <a:lnTo>
                    <a:pt x="64" y="7"/>
                  </a:lnTo>
                  <a:lnTo>
                    <a:pt x="64" y="5"/>
                  </a:lnTo>
                  <a:lnTo>
                    <a:pt x="61" y="5"/>
                  </a:lnTo>
                  <a:lnTo>
                    <a:pt x="59" y="3"/>
                  </a:lnTo>
                  <a:lnTo>
                    <a:pt x="59" y="3"/>
                  </a:lnTo>
                  <a:lnTo>
                    <a:pt x="59" y="3"/>
                  </a:lnTo>
                  <a:lnTo>
                    <a:pt x="57" y="0"/>
                  </a:lnTo>
                  <a:lnTo>
                    <a:pt x="57" y="0"/>
                  </a:lnTo>
                  <a:lnTo>
                    <a:pt x="54" y="3"/>
                  </a:lnTo>
                  <a:lnTo>
                    <a:pt x="54" y="3"/>
                  </a:lnTo>
                  <a:lnTo>
                    <a:pt x="49" y="5"/>
                  </a:lnTo>
                  <a:lnTo>
                    <a:pt x="47" y="7"/>
                  </a:lnTo>
                  <a:lnTo>
                    <a:pt x="47" y="7"/>
                  </a:lnTo>
                  <a:lnTo>
                    <a:pt x="47" y="10"/>
                  </a:lnTo>
                  <a:lnTo>
                    <a:pt x="45" y="12"/>
                  </a:lnTo>
                  <a:lnTo>
                    <a:pt x="45" y="14"/>
                  </a:lnTo>
                  <a:lnTo>
                    <a:pt x="42" y="17"/>
                  </a:lnTo>
                  <a:lnTo>
                    <a:pt x="38" y="33"/>
                  </a:lnTo>
                  <a:lnTo>
                    <a:pt x="38" y="36"/>
                  </a:lnTo>
                  <a:lnTo>
                    <a:pt x="38" y="38"/>
                  </a:lnTo>
                  <a:lnTo>
                    <a:pt x="38" y="40"/>
                  </a:lnTo>
                  <a:lnTo>
                    <a:pt x="38" y="43"/>
                  </a:lnTo>
                  <a:lnTo>
                    <a:pt x="38" y="45"/>
                  </a:lnTo>
                  <a:lnTo>
                    <a:pt x="38" y="45"/>
                  </a:lnTo>
                  <a:lnTo>
                    <a:pt x="38" y="48"/>
                  </a:lnTo>
                  <a:lnTo>
                    <a:pt x="40" y="48"/>
                  </a:lnTo>
                  <a:lnTo>
                    <a:pt x="40" y="50"/>
                  </a:lnTo>
                  <a:lnTo>
                    <a:pt x="42" y="55"/>
                  </a:lnTo>
                  <a:lnTo>
                    <a:pt x="45" y="57"/>
                  </a:lnTo>
                  <a:lnTo>
                    <a:pt x="45" y="59"/>
                  </a:lnTo>
                  <a:lnTo>
                    <a:pt x="45" y="59"/>
                  </a:lnTo>
                  <a:lnTo>
                    <a:pt x="47" y="59"/>
                  </a:lnTo>
                  <a:lnTo>
                    <a:pt x="47" y="62"/>
                  </a:lnTo>
                  <a:lnTo>
                    <a:pt x="49" y="62"/>
                  </a:lnTo>
                  <a:lnTo>
                    <a:pt x="52" y="64"/>
                  </a:lnTo>
                  <a:lnTo>
                    <a:pt x="52" y="67"/>
                  </a:lnTo>
                  <a:lnTo>
                    <a:pt x="54" y="69"/>
                  </a:lnTo>
                  <a:lnTo>
                    <a:pt x="54" y="71"/>
                  </a:lnTo>
                  <a:lnTo>
                    <a:pt x="57" y="71"/>
                  </a:lnTo>
                  <a:lnTo>
                    <a:pt x="57" y="69"/>
                  </a:lnTo>
                  <a:lnTo>
                    <a:pt x="57" y="67"/>
                  </a:lnTo>
                  <a:lnTo>
                    <a:pt x="57" y="64"/>
                  </a:lnTo>
                  <a:lnTo>
                    <a:pt x="57" y="62"/>
                  </a:lnTo>
                  <a:lnTo>
                    <a:pt x="57" y="59"/>
                  </a:lnTo>
                  <a:lnTo>
                    <a:pt x="57" y="57"/>
                  </a:lnTo>
                  <a:lnTo>
                    <a:pt x="59" y="55"/>
                  </a:lnTo>
                  <a:lnTo>
                    <a:pt x="61" y="50"/>
                  </a:lnTo>
                  <a:lnTo>
                    <a:pt x="61" y="48"/>
                  </a:lnTo>
                  <a:lnTo>
                    <a:pt x="61" y="45"/>
                  </a:lnTo>
                  <a:lnTo>
                    <a:pt x="64" y="40"/>
                  </a:lnTo>
                  <a:lnTo>
                    <a:pt x="61" y="36"/>
                  </a:lnTo>
                  <a:lnTo>
                    <a:pt x="64" y="31"/>
                  </a:lnTo>
                  <a:lnTo>
                    <a:pt x="61" y="26"/>
                  </a:lnTo>
                  <a:lnTo>
                    <a:pt x="64" y="26"/>
                  </a:lnTo>
                  <a:lnTo>
                    <a:pt x="64" y="2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1" name="Freeform 227"/>
            <p:cNvSpPr>
              <a:spLocks/>
            </p:cNvSpPr>
            <p:nvPr userDrawn="1"/>
          </p:nvSpPr>
          <p:spPr bwMode="auto">
            <a:xfrm>
              <a:off x="4289" y="2020"/>
              <a:ext cx="113" cy="107"/>
            </a:xfrm>
            <a:custGeom>
              <a:avLst/>
              <a:gdLst>
                <a:gd name="T0" fmla="*/ 111 w 113"/>
                <a:gd name="T1" fmla="*/ 0 h 107"/>
                <a:gd name="T2" fmla="*/ 109 w 113"/>
                <a:gd name="T3" fmla="*/ 0 h 107"/>
                <a:gd name="T4" fmla="*/ 102 w 113"/>
                <a:gd name="T5" fmla="*/ 3 h 107"/>
                <a:gd name="T6" fmla="*/ 95 w 113"/>
                <a:gd name="T7" fmla="*/ 5 h 107"/>
                <a:gd name="T8" fmla="*/ 85 w 113"/>
                <a:gd name="T9" fmla="*/ 3 h 107"/>
                <a:gd name="T10" fmla="*/ 73 w 113"/>
                <a:gd name="T11" fmla="*/ 10 h 107"/>
                <a:gd name="T12" fmla="*/ 62 w 113"/>
                <a:gd name="T13" fmla="*/ 12 h 107"/>
                <a:gd name="T14" fmla="*/ 52 w 113"/>
                <a:gd name="T15" fmla="*/ 12 h 107"/>
                <a:gd name="T16" fmla="*/ 45 w 113"/>
                <a:gd name="T17" fmla="*/ 10 h 107"/>
                <a:gd name="T18" fmla="*/ 40 w 113"/>
                <a:gd name="T19" fmla="*/ 7 h 107"/>
                <a:gd name="T20" fmla="*/ 33 w 113"/>
                <a:gd name="T21" fmla="*/ 12 h 107"/>
                <a:gd name="T22" fmla="*/ 26 w 113"/>
                <a:gd name="T23" fmla="*/ 14 h 107"/>
                <a:gd name="T24" fmla="*/ 21 w 113"/>
                <a:gd name="T25" fmla="*/ 12 h 107"/>
                <a:gd name="T26" fmla="*/ 14 w 113"/>
                <a:gd name="T27" fmla="*/ 10 h 107"/>
                <a:gd name="T28" fmla="*/ 14 w 113"/>
                <a:gd name="T29" fmla="*/ 17 h 107"/>
                <a:gd name="T30" fmla="*/ 14 w 113"/>
                <a:gd name="T31" fmla="*/ 22 h 107"/>
                <a:gd name="T32" fmla="*/ 12 w 113"/>
                <a:gd name="T33" fmla="*/ 24 h 107"/>
                <a:gd name="T34" fmla="*/ 10 w 113"/>
                <a:gd name="T35" fmla="*/ 29 h 107"/>
                <a:gd name="T36" fmla="*/ 7 w 113"/>
                <a:gd name="T37" fmla="*/ 31 h 107"/>
                <a:gd name="T38" fmla="*/ 3 w 113"/>
                <a:gd name="T39" fmla="*/ 31 h 107"/>
                <a:gd name="T40" fmla="*/ 5 w 113"/>
                <a:gd name="T41" fmla="*/ 40 h 107"/>
                <a:gd name="T42" fmla="*/ 5 w 113"/>
                <a:gd name="T43" fmla="*/ 48 h 107"/>
                <a:gd name="T44" fmla="*/ 7 w 113"/>
                <a:gd name="T45" fmla="*/ 57 h 107"/>
                <a:gd name="T46" fmla="*/ 12 w 113"/>
                <a:gd name="T47" fmla="*/ 55 h 107"/>
                <a:gd name="T48" fmla="*/ 14 w 113"/>
                <a:gd name="T49" fmla="*/ 57 h 107"/>
                <a:gd name="T50" fmla="*/ 14 w 113"/>
                <a:gd name="T51" fmla="*/ 59 h 107"/>
                <a:gd name="T52" fmla="*/ 19 w 113"/>
                <a:gd name="T53" fmla="*/ 67 h 107"/>
                <a:gd name="T54" fmla="*/ 17 w 113"/>
                <a:gd name="T55" fmla="*/ 69 h 107"/>
                <a:gd name="T56" fmla="*/ 14 w 113"/>
                <a:gd name="T57" fmla="*/ 71 h 107"/>
                <a:gd name="T58" fmla="*/ 14 w 113"/>
                <a:gd name="T59" fmla="*/ 74 h 107"/>
                <a:gd name="T60" fmla="*/ 12 w 113"/>
                <a:gd name="T61" fmla="*/ 74 h 107"/>
                <a:gd name="T62" fmla="*/ 10 w 113"/>
                <a:gd name="T63" fmla="*/ 74 h 107"/>
                <a:gd name="T64" fmla="*/ 7 w 113"/>
                <a:gd name="T65" fmla="*/ 78 h 107"/>
                <a:gd name="T66" fmla="*/ 10 w 113"/>
                <a:gd name="T67" fmla="*/ 78 h 107"/>
                <a:gd name="T68" fmla="*/ 7 w 113"/>
                <a:gd name="T69" fmla="*/ 81 h 107"/>
                <a:gd name="T70" fmla="*/ 7 w 113"/>
                <a:gd name="T71" fmla="*/ 83 h 107"/>
                <a:gd name="T72" fmla="*/ 7 w 113"/>
                <a:gd name="T73" fmla="*/ 85 h 107"/>
                <a:gd name="T74" fmla="*/ 7 w 113"/>
                <a:gd name="T75" fmla="*/ 90 h 107"/>
                <a:gd name="T76" fmla="*/ 7 w 113"/>
                <a:gd name="T77" fmla="*/ 93 h 107"/>
                <a:gd name="T78" fmla="*/ 7 w 113"/>
                <a:gd name="T79" fmla="*/ 97 h 107"/>
                <a:gd name="T80" fmla="*/ 12 w 113"/>
                <a:gd name="T81" fmla="*/ 102 h 107"/>
                <a:gd name="T82" fmla="*/ 17 w 113"/>
                <a:gd name="T83" fmla="*/ 104 h 107"/>
                <a:gd name="T84" fmla="*/ 31 w 113"/>
                <a:gd name="T85" fmla="*/ 102 h 107"/>
                <a:gd name="T86" fmla="*/ 40 w 113"/>
                <a:gd name="T87" fmla="*/ 95 h 107"/>
                <a:gd name="T88" fmla="*/ 54 w 113"/>
                <a:gd name="T89" fmla="*/ 85 h 107"/>
                <a:gd name="T90" fmla="*/ 66 w 113"/>
                <a:gd name="T91" fmla="*/ 78 h 107"/>
                <a:gd name="T92" fmla="*/ 80 w 113"/>
                <a:gd name="T93" fmla="*/ 69 h 107"/>
                <a:gd name="T94" fmla="*/ 95 w 113"/>
                <a:gd name="T95" fmla="*/ 62 h 107"/>
                <a:gd name="T96" fmla="*/ 97 w 113"/>
                <a:gd name="T97" fmla="*/ 55 h 107"/>
                <a:gd name="T98" fmla="*/ 97 w 113"/>
                <a:gd name="T99" fmla="*/ 43 h 107"/>
                <a:gd name="T100" fmla="*/ 99 w 113"/>
                <a:gd name="T101" fmla="*/ 36 h 107"/>
                <a:gd name="T102" fmla="*/ 97 w 113"/>
                <a:gd name="T103" fmla="*/ 29 h 107"/>
                <a:gd name="T104" fmla="*/ 97 w 113"/>
                <a:gd name="T105" fmla="*/ 22 h 107"/>
                <a:gd name="T106" fmla="*/ 97 w 113"/>
                <a:gd name="T107" fmla="*/ 17 h 107"/>
                <a:gd name="T108" fmla="*/ 106 w 113"/>
                <a:gd name="T109" fmla="*/ 12 h 107"/>
                <a:gd name="T110" fmla="*/ 113 w 113"/>
                <a:gd name="T111"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07">
                  <a:moveTo>
                    <a:pt x="113" y="3"/>
                  </a:moveTo>
                  <a:lnTo>
                    <a:pt x="111" y="0"/>
                  </a:lnTo>
                  <a:lnTo>
                    <a:pt x="111" y="0"/>
                  </a:lnTo>
                  <a:lnTo>
                    <a:pt x="111" y="0"/>
                  </a:lnTo>
                  <a:lnTo>
                    <a:pt x="111" y="0"/>
                  </a:lnTo>
                  <a:lnTo>
                    <a:pt x="109" y="0"/>
                  </a:lnTo>
                  <a:lnTo>
                    <a:pt x="109" y="0"/>
                  </a:lnTo>
                  <a:lnTo>
                    <a:pt x="104" y="3"/>
                  </a:lnTo>
                  <a:lnTo>
                    <a:pt x="102" y="3"/>
                  </a:lnTo>
                  <a:lnTo>
                    <a:pt x="99" y="5"/>
                  </a:lnTo>
                  <a:lnTo>
                    <a:pt x="95" y="5"/>
                  </a:lnTo>
                  <a:lnTo>
                    <a:pt x="95" y="5"/>
                  </a:lnTo>
                  <a:lnTo>
                    <a:pt x="92" y="5"/>
                  </a:lnTo>
                  <a:lnTo>
                    <a:pt x="90" y="3"/>
                  </a:lnTo>
                  <a:lnTo>
                    <a:pt x="85" y="3"/>
                  </a:lnTo>
                  <a:lnTo>
                    <a:pt x="85" y="3"/>
                  </a:lnTo>
                  <a:lnTo>
                    <a:pt x="80" y="5"/>
                  </a:lnTo>
                  <a:lnTo>
                    <a:pt x="73" y="10"/>
                  </a:lnTo>
                  <a:lnTo>
                    <a:pt x="69" y="12"/>
                  </a:lnTo>
                  <a:lnTo>
                    <a:pt x="64" y="12"/>
                  </a:lnTo>
                  <a:lnTo>
                    <a:pt x="62" y="12"/>
                  </a:lnTo>
                  <a:lnTo>
                    <a:pt x="57" y="12"/>
                  </a:lnTo>
                  <a:lnTo>
                    <a:pt x="54" y="12"/>
                  </a:lnTo>
                  <a:lnTo>
                    <a:pt x="52" y="12"/>
                  </a:lnTo>
                  <a:lnTo>
                    <a:pt x="50" y="12"/>
                  </a:lnTo>
                  <a:lnTo>
                    <a:pt x="47" y="10"/>
                  </a:lnTo>
                  <a:lnTo>
                    <a:pt x="45" y="10"/>
                  </a:lnTo>
                  <a:lnTo>
                    <a:pt x="45" y="7"/>
                  </a:lnTo>
                  <a:lnTo>
                    <a:pt x="43" y="7"/>
                  </a:lnTo>
                  <a:lnTo>
                    <a:pt x="40" y="7"/>
                  </a:lnTo>
                  <a:lnTo>
                    <a:pt x="36" y="10"/>
                  </a:lnTo>
                  <a:lnTo>
                    <a:pt x="36" y="12"/>
                  </a:lnTo>
                  <a:lnTo>
                    <a:pt x="33" y="12"/>
                  </a:lnTo>
                  <a:lnTo>
                    <a:pt x="31" y="12"/>
                  </a:lnTo>
                  <a:lnTo>
                    <a:pt x="29" y="14"/>
                  </a:lnTo>
                  <a:lnTo>
                    <a:pt x="26" y="14"/>
                  </a:lnTo>
                  <a:lnTo>
                    <a:pt x="24" y="14"/>
                  </a:lnTo>
                  <a:lnTo>
                    <a:pt x="21" y="14"/>
                  </a:lnTo>
                  <a:lnTo>
                    <a:pt x="21" y="12"/>
                  </a:lnTo>
                  <a:lnTo>
                    <a:pt x="19" y="12"/>
                  </a:lnTo>
                  <a:lnTo>
                    <a:pt x="17" y="10"/>
                  </a:lnTo>
                  <a:lnTo>
                    <a:pt x="14" y="10"/>
                  </a:lnTo>
                  <a:lnTo>
                    <a:pt x="14" y="10"/>
                  </a:lnTo>
                  <a:lnTo>
                    <a:pt x="14" y="12"/>
                  </a:lnTo>
                  <a:lnTo>
                    <a:pt x="14" y="17"/>
                  </a:lnTo>
                  <a:lnTo>
                    <a:pt x="12" y="17"/>
                  </a:lnTo>
                  <a:lnTo>
                    <a:pt x="14" y="22"/>
                  </a:lnTo>
                  <a:lnTo>
                    <a:pt x="14" y="22"/>
                  </a:lnTo>
                  <a:lnTo>
                    <a:pt x="14" y="22"/>
                  </a:lnTo>
                  <a:lnTo>
                    <a:pt x="12" y="22"/>
                  </a:lnTo>
                  <a:lnTo>
                    <a:pt x="12" y="24"/>
                  </a:lnTo>
                  <a:lnTo>
                    <a:pt x="12" y="24"/>
                  </a:lnTo>
                  <a:lnTo>
                    <a:pt x="10" y="26"/>
                  </a:lnTo>
                  <a:lnTo>
                    <a:pt x="10" y="29"/>
                  </a:lnTo>
                  <a:lnTo>
                    <a:pt x="7" y="29"/>
                  </a:lnTo>
                  <a:lnTo>
                    <a:pt x="7" y="31"/>
                  </a:lnTo>
                  <a:lnTo>
                    <a:pt x="7" y="31"/>
                  </a:lnTo>
                  <a:lnTo>
                    <a:pt x="5" y="29"/>
                  </a:lnTo>
                  <a:lnTo>
                    <a:pt x="3" y="29"/>
                  </a:lnTo>
                  <a:lnTo>
                    <a:pt x="3" y="31"/>
                  </a:lnTo>
                  <a:lnTo>
                    <a:pt x="0" y="36"/>
                  </a:lnTo>
                  <a:lnTo>
                    <a:pt x="5" y="40"/>
                  </a:lnTo>
                  <a:lnTo>
                    <a:pt x="5" y="40"/>
                  </a:lnTo>
                  <a:lnTo>
                    <a:pt x="5" y="43"/>
                  </a:lnTo>
                  <a:lnTo>
                    <a:pt x="5" y="45"/>
                  </a:lnTo>
                  <a:lnTo>
                    <a:pt x="5" y="48"/>
                  </a:lnTo>
                  <a:lnTo>
                    <a:pt x="5" y="50"/>
                  </a:lnTo>
                  <a:lnTo>
                    <a:pt x="5" y="52"/>
                  </a:lnTo>
                  <a:lnTo>
                    <a:pt x="7" y="57"/>
                  </a:lnTo>
                  <a:lnTo>
                    <a:pt x="10" y="57"/>
                  </a:lnTo>
                  <a:lnTo>
                    <a:pt x="12" y="57"/>
                  </a:lnTo>
                  <a:lnTo>
                    <a:pt x="12" y="55"/>
                  </a:lnTo>
                  <a:lnTo>
                    <a:pt x="14" y="57"/>
                  </a:lnTo>
                  <a:lnTo>
                    <a:pt x="14" y="57"/>
                  </a:lnTo>
                  <a:lnTo>
                    <a:pt x="14" y="57"/>
                  </a:lnTo>
                  <a:lnTo>
                    <a:pt x="12" y="59"/>
                  </a:lnTo>
                  <a:lnTo>
                    <a:pt x="12" y="59"/>
                  </a:lnTo>
                  <a:lnTo>
                    <a:pt x="14" y="59"/>
                  </a:lnTo>
                  <a:lnTo>
                    <a:pt x="14" y="59"/>
                  </a:lnTo>
                  <a:lnTo>
                    <a:pt x="17" y="62"/>
                  </a:lnTo>
                  <a:lnTo>
                    <a:pt x="19" y="67"/>
                  </a:lnTo>
                  <a:lnTo>
                    <a:pt x="17" y="67"/>
                  </a:lnTo>
                  <a:lnTo>
                    <a:pt x="17" y="69"/>
                  </a:lnTo>
                  <a:lnTo>
                    <a:pt x="17" y="69"/>
                  </a:lnTo>
                  <a:lnTo>
                    <a:pt x="14" y="69"/>
                  </a:lnTo>
                  <a:lnTo>
                    <a:pt x="14" y="71"/>
                  </a:lnTo>
                  <a:lnTo>
                    <a:pt x="14" y="71"/>
                  </a:lnTo>
                  <a:lnTo>
                    <a:pt x="14" y="71"/>
                  </a:lnTo>
                  <a:lnTo>
                    <a:pt x="14" y="74"/>
                  </a:lnTo>
                  <a:lnTo>
                    <a:pt x="14" y="74"/>
                  </a:lnTo>
                  <a:lnTo>
                    <a:pt x="14" y="74"/>
                  </a:lnTo>
                  <a:lnTo>
                    <a:pt x="14" y="74"/>
                  </a:lnTo>
                  <a:lnTo>
                    <a:pt x="12" y="74"/>
                  </a:lnTo>
                  <a:lnTo>
                    <a:pt x="12" y="74"/>
                  </a:lnTo>
                  <a:lnTo>
                    <a:pt x="10" y="74"/>
                  </a:lnTo>
                  <a:lnTo>
                    <a:pt x="10" y="74"/>
                  </a:lnTo>
                  <a:lnTo>
                    <a:pt x="7" y="76"/>
                  </a:lnTo>
                  <a:lnTo>
                    <a:pt x="7" y="76"/>
                  </a:lnTo>
                  <a:lnTo>
                    <a:pt x="7" y="78"/>
                  </a:lnTo>
                  <a:lnTo>
                    <a:pt x="7" y="78"/>
                  </a:lnTo>
                  <a:lnTo>
                    <a:pt x="10" y="78"/>
                  </a:lnTo>
                  <a:lnTo>
                    <a:pt x="10" y="78"/>
                  </a:lnTo>
                  <a:lnTo>
                    <a:pt x="10" y="78"/>
                  </a:lnTo>
                  <a:lnTo>
                    <a:pt x="7" y="81"/>
                  </a:lnTo>
                  <a:lnTo>
                    <a:pt x="7" y="81"/>
                  </a:lnTo>
                  <a:lnTo>
                    <a:pt x="7" y="81"/>
                  </a:lnTo>
                  <a:lnTo>
                    <a:pt x="7" y="83"/>
                  </a:lnTo>
                  <a:lnTo>
                    <a:pt x="7" y="83"/>
                  </a:lnTo>
                  <a:lnTo>
                    <a:pt x="7" y="85"/>
                  </a:lnTo>
                  <a:lnTo>
                    <a:pt x="7" y="85"/>
                  </a:lnTo>
                  <a:lnTo>
                    <a:pt x="7" y="85"/>
                  </a:lnTo>
                  <a:lnTo>
                    <a:pt x="7" y="88"/>
                  </a:lnTo>
                  <a:lnTo>
                    <a:pt x="7" y="88"/>
                  </a:lnTo>
                  <a:lnTo>
                    <a:pt x="7" y="90"/>
                  </a:lnTo>
                  <a:lnTo>
                    <a:pt x="7" y="90"/>
                  </a:lnTo>
                  <a:lnTo>
                    <a:pt x="7" y="93"/>
                  </a:lnTo>
                  <a:lnTo>
                    <a:pt x="7" y="93"/>
                  </a:lnTo>
                  <a:lnTo>
                    <a:pt x="7" y="95"/>
                  </a:lnTo>
                  <a:lnTo>
                    <a:pt x="7" y="95"/>
                  </a:lnTo>
                  <a:lnTo>
                    <a:pt x="7" y="97"/>
                  </a:lnTo>
                  <a:lnTo>
                    <a:pt x="10" y="97"/>
                  </a:lnTo>
                  <a:lnTo>
                    <a:pt x="10" y="97"/>
                  </a:lnTo>
                  <a:lnTo>
                    <a:pt x="12" y="102"/>
                  </a:lnTo>
                  <a:lnTo>
                    <a:pt x="14" y="102"/>
                  </a:lnTo>
                  <a:lnTo>
                    <a:pt x="17" y="102"/>
                  </a:lnTo>
                  <a:lnTo>
                    <a:pt x="17" y="104"/>
                  </a:lnTo>
                  <a:lnTo>
                    <a:pt x="19" y="104"/>
                  </a:lnTo>
                  <a:lnTo>
                    <a:pt x="26" y="107"/>
                  </a:lnTo>
                  <a:lnTo>
                    <a:pt x="31" y="102"/>
                  </a:lnTo>
                  <a:lnTo>
                    <a:pt x="33" y="100"/>
                  </a:lnTo>
                  <a:lnTo>
                    <a:pt x="38" y="97"/>
                  </a:lnTo>
                  <a:lnTo>
                    <a:pt x="40" y="95"/>
                  </a:lnTo>
                  <a:lnTo>
                    <a:pt x="47" y="93"/>
                  </a:lnTo>
                  <a:lnTo>
                    <a:pt x="50" y="90"/>
                  </a:lnTo>
                  <a:lnTo>
                    <a:pt x="54" y="85"/>
                  </a:lnTo>
                  <a:lnTo>
                    <a:pt x="59" y="83"/>
                  </a:lnTo>
                  <a:lnTo>
                    <a:pt x="64" y="81"/>
                  </a:lnTo>
                  <a:lnTo>
                    <a:pt x="66" y="78"/>
                  </a:lnTo>
                  <a:lnTo>
                    <a:pt x="71" y="76"/>
                  </a:lnTo>
                  <a:lnTo>
                    <a:pt x="76" y="71"/>
                  </a:lnTo>
                  <a:lnTo>
                    <a:pt x="80" y="69"/>
                  </a:lnTo>
                  <a:lnTo>
                    <a:pt x="85" y="67"/>
                  </a:lnTo>
                  <a:lnTo>
                    <a:pt x="90" y="64"/>
                  </a:lnTo>
                  <a:lnTo>
                    <a:pt x="95" y="62"/>
                  </a:lnTo>
                  <a:lnTo>
                    <a:pt x="95" y="62"/>
                  </a:lnTo>
                  <a:lnTo>
                    <a:pt x="97" y="57"/>
                  </a:lnTo>
                  <a:lnTo>
                    <a:pt x="97" y="55"/>
                  </a:lnTo>
                  <a:lnTo>
                    <a:pt x="97" y="52"/>
                  </a:lnTo>
                  <a:lnTo>
                    <a:pt x="97" y="48"/>
                  </a:lnTo>
                  <a:lnTo>
                    <a:pt x="97" y="43"/>
                  </a:lnTo>
                  <a:lnTo>
                    <a:pt x="97" y="40"/>
                  </a:lnTo>
                  <a:lnTo>
                    <a:pt x="99" y="38"/>
                  </a:lnTo>
                  <a:lnTo>
                    <a:pt x="99" y="36"/>
                  </a:lnTo>
                  <a:lnTo>
                    <a:pt x="99" y="33"/>
                  </a:lnTo>
                  <a:lnTo>
                    <a:pt x="99" y="31"/>
                  </a:lnTo>
                  <a:lnTo>
                    <a:pt x="97" y="29"/>
                  </a:lnTo>
                  <a:lnTo>
                    <a:pt x="97" y="26"/>
                  </a:lnTo>
                  <a:lnTo>
                    <a:pt x="97" y="24"/>
                  </a:lnTo>
                  <a:lnTo>
                    <a:pt x="97" y="22"/>
                  </a:lnTo>
                  <a:lnTo>
                    <a:pt x="97" y="19"/>
                  </a:lnTo>
                  <a:lnTo>
                    <a:pt x="97" y="17"/>
                  </a:lnTo>
                  <a:lnTo>
                    <a:pt x="97" y="17"/>
                  </a:lnTo>
                  <a:lnTo>
                    <a:pt x="102" y="14"/>
                  </a:lnTo>
                  <a:lnTo>
                    <a:pt x="104" y="14"/>
                  </a:lnTo>
                  <a:lnTo>
                    <a:pt x="106" y="12"/>
                  </a:lnTo>
                  <a:lnTo>
                    <a:pt x="109" y="10"/>
                  </a:lnTo>
                  <a:lnTo>
                    <a:pt x="111" y="7"/>
                  </a:lnTo>
                  <a:lnTo>
                    <a:pt x="113" y="5"/>
                  </a:lnTo>
                  <a:lnTo>
                    <a:pt x="113" y="5"/>
                  </a:lnTo>
                  <a:lnTo>
                    <a:pt x="113"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2" name="Freeform 228"/>
            <p:cNvSpPr>
              <a:spLocks/>
            </p:cNvSpPr>
            <p:nvPr userDrawn="1"/>
          </p:nvSpPr>
          <p:spPr bwMode="auto">
            <a:xfrm>
              <a:off x="3773" y="1803"/>
              <a:ext cx="76" cy="40"/>
            </a:xfrm>
            <a:custGeom>
              <a:avLst/>
              <a:gdLst>
                <a:gd name="T0" fmla="*/ 76 w 76"/>
                <a:gd name="T1" fmla="*/ 16 h 40"/>
                <a:gd name="T2" fmla="*/ 71 w 76"/>
                <a:gd name="T3" fmla="*/ 19 h 40"/>
                <a:gd name="T4" fmla="*/ 66 w 76"/>
                <a:gd name="T5" fmla="*/ 16 h 40"/>
                <a:gd name="T6" fmla="*/ 61 w 76"/>
                <a:gd name="T7" fmla="*/ 14 h 40"/>
                <a:gd name="T8" fmla="*/ 59 w 76"/>
                <a:gd name="T9" fmla="*/ 14 h 40"/>
                <a:gd name="T10" fmla="*/ 59 w 76"/>
                <a:gd name="T11" fmla="*/ 9 h 40"/>
                <a:gd name="T12" fmla="*/ 61 w 76"/>
                <a:gd name="T13" fmla="*/ 5 h 40"/>
                <a:gd name="T14" fmla="*/ 54 w 76"/>
                <a:gd name="T15" fmla="*/ 2 h 40"/>
                <a:gd name="T16" fmla="*/ 50 w 76"/>
                <a:gd name="T17" fmla="*/ 2 h 40"/>
                <a:gd name="T18" fmla="*/ 47 w 76"/>
                <a:gd name="T19" fmla="*/ 0 h 40"/>
                <a:gd name="T20" fmla="*/ 45 w 76"/>
                <a:gd name="T21" fmla="*/ 0 h 40"/>
                <a:gd name="T22" fmla="*/ 43 w 76"/>
                <a:gd name="T23" fmla="*/ 0 h 40"/>
                <a:gd name="T24" fmla="*/ 43 w 76"/>
                <a:gd name="T25" fmla="*/ 2 h 40"/>
                <a:gd name="T26" fmla="*/ 45 w 76"/>
                <a:gd name="T27" fmla="*/ 2 h 40"/>
                <a:gd name="T28" fmla="*/ 43 w 76"/>
                <a:gd name="T29" fmla="*/ 2 h 40"/>
                <a:gd name="T30" fmla="*/ 40 w 76"/>
                <a:gd name="T31" fmla="*/ 2 h 40"/>
                <a:gd name="T32" fmla="*/ 33 w 76"/>
                <a:gd name="T33" fmla="*/ 5 h 40"/>
                <a:gd name="T34" fmla="*/ 26 w 76"/>
                <a:gd name="T35" fmla="*/ 5 h 40"/>
                <a:gd name="T36" fmla="*/ 24 w 76"/>
                <a:gd name="T37" fmla="*/ 7 h 40"/>
                <a:gd name="T38" fmla="*/ 21 w 76"/>
                <a:gd name="T39" fmla="*/ 7 h 40"/>
                <a:gd name="T40" fmla="*/ 19 w 76"/>
                <a:gd name="T41" fmla="*/ 5 h 40"/>
                <a:gd name="T42" fmla="*/ 17 w 76"/>
                <a:gd name="T43" fmla="*/ 7 h 40"/>
                <a:gd name="T44" fmla="*/ 19 w 76"/>
                <a:gd name="T45" fmla="*/ 9 h 40"/>
                <a:gd name="T46" fmla="*/ 17 w 76"/>
                <a:gd name="T47" fmla="*/ 12 h 40"/>
                <a:gd name="T48" fmla="*/ 12 w 76"/>
                <a:gd name="T49" fmla="*/ 14 h 40"/>
                <a:gd name="T50" fmla="*/ 10 w 76"/>
                <a:gd name="T51" fmla="*/ 19 h 40"/>
                <a:gd name="T52" fmla="*/ 5 w 76"/>
                <a:gd name="T53" fmla="*/ 23 h 40"/>
                <a:gd name="T54" fmla="*/ 2 w 76"/>
                <a:gd name="T55" fmla="*/ 26 h 40"/>
                <a:gd name="T56" fmla="*/ 2 w 76"/>
                <a:gd name="T57" fmla="*/ 28 h 40"/>
                <a:gd name="T58" fmla="*/ 0 w 76"/>
                <a:gd name="T59" fmla="*/ 31 h 40"/>
                <a:gd name="T60" fmla="*/ 2 w 76"/>
                <a:gd name="T61" fmla="*/ 33 h 40"/>
                <a:gd name="T62" fmla="*/ 5 w 76"/>
                <a:gd name="T63" fmla="*/ 31 h 40"/>
                <a:gd name="T64" fmla="*/ 7 w 76"/>
                <a:gd name="T65" fmla="*/ 28 h 40"/>
                <a:gd name="T66" fmla="*/ 14 w 76"/>
                <a:gd name="T67" fmla="*/ 28 h 40"/>
                <a:gd name="T68" fmla="*/ 14 w 76"/>
                <a:gd name="T69" fmla="*/ 28 h 40"/>
                <a:gd name="T70" fmla="*/ 14 w 76"/>
                <a:gd name="T71" fmla="*/ 33 h 40"/>
                <a:gd name="T72" fmla="*/ 17 w 76"/>
                <a:gd name="T73" fmla="*/ 35 h 40"/>
                <a:gd name="T74" fmla="*/ 19 w 76"/>
                <a:gd name="T75" fmla="*/ 38 h 40"/>
                <a:gd name="T76" fmla="*/ 26 w 76"/>
                <a:gd name="T77" fmla="*/ 38 h 40"/>
                <a:gd name="T78" fmla="*/ 31 w 76"/>
                <a:gd name="T79" fmla="*/ 38 h 40"/>
                <a:gd name="T80" fmla="*/ 35 w 76"/>
                <a:gd name="T81" fmla="*/ 35 h 40"/>
                <a:gd name="T82" fmla="*/ 35 w 76"/>
                <a:gd name="T83" fmla="*/ 31 h 40"/>
                <a:gd name="T84" fmla="*/ 40 w 76"/>
                <a:gd name="T85" fmla="*/ 28 h 40"/>
                <a:gd name="T86" fmla="*/ 43 w 76"/>
                <a:gd name="T87" fmla="*/ 26 h 40"/>
                <a:gd name="T88" fmla="*/ 43 w 76"/>
                <a:gd name="T89" fmla="*/ 31 h 40"/>
                <a:gd name="T90" fmla="*/ 47 w 76"/>
                <a:gd name="T91" fmla="*/ 35 h 40"/>
                <a:gd name="T92" fmla="*/ 50 w 76"/>
                <a:gd name="T93" fmla="*/ 38 h 40"/>
                <a:gd name="T94" fmla="*/ 52 w 76"/>
                <a:gd name="T95" fmla="*/ 40 h 40"/>
                <a:gd name="T96" fmla="*/ 52 w 76"/>
                <a:gd name="T97" fmla="*/ 35 h 40"/>
                <a:gd name="T98" fmla="*/ 52 w 76"/>
                <a:gd name="T99" fmla="*/ 33 h 40"/>
                <a:gd name="T100" fmla="*/ 57 w 76"/>
                <a:gd name="T101" fmla="*/ 28 h 40"/>
                <a:gd name="T102" fmla="*/ 59 w 76"/>
                <a:gd name="T103" fmla="*/ 26 h 40"/>
                <a:gd name="T104" fmla="*/ 59 w 76"/>
                <a:gd name="T105" fmla="*/ 28 h 40"/>
                <a:gd name="T106" fmla="*/ 61 w 76"/>
                <a:gd name="T107" fmla="*/ 31 h 40"/>
                <a:gd name="T108" fmla="*/ 66 w 76"/>
                <a:gd name="T109" fmla="*/ 28 h 40"/>
                <a:gd name="T110" fmla="*/ 68 w 76"/>
                <a:gd name="T111" fmla="*/ 31 h 40"/>
                <a:gd name="T112" fmla="*/ 71 w 76"/>
                <a:gd name="T113" fmla="*/ 31 h 40"/>
                <a:gd name="T114" fmla="*/ 68 w 76"/>
                <a:gd name="T115" fmla="*/ 26 h 40"/>
                <a:gd name="T116" fmla="*/ 68 w 76"/>
                <a:gd name="T117" fmla="*/ 23 h 40"/>
                <a:gd name="T118" fmla="*/ 73 w 76"/>
                <a:gd name="T119" fmla="*/ 23 h 40"/>
                <a:gd name="T120" fmla="*/ 76 w 76"/>
                <a:gd name="T121" fmla="*/ 23 h 40"/>
                <a:gd name="T122" fmla="*/ 76 w 76"/>
                <a:gd name="T123"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 h="40">
                  <a:moveTo>
                    <a:pt x="76" y="19"/>
                  </a:moveTo>
                  <a:lnTo>
                    <a:pt x="76" y="16"/>
                  </a:lnTo>
                  <a:lnTo>
                    <a:pt x="76" y="16"/>
                  </a:lnTo>
                  <a:lnTo>
                    <a:pt x="73" y="16"/>
                  </a:lnTo>
                  <a:lnTo>
                    <a:pt x="71" y="19"/>
                  </a:lnTo>
                  <a:lnTo>
                    <a:pt x="71" y="19"/>
                  </a:lnTo>
                  <a:lnTo>
                    <a:pt x="68" y="16"/>
                  </a:lnTo>
                  <a:lnTo>
                    <a:pt x="66" y="16"/>
                  </a:lnTo>
                  <a:lnTo>
                    <a:pt x="66" y="16"/>
                  </a:lnTo>
                  <a:lnTo>
                    <a:pt x="66" y="14"/>
                  </a:lnTo>
                  <a:lnTo>
                    <a:pt x="64" y="14"/>
                  </a:lnTo>
                  <a:lnTo>
                    <a:pt x="61" y="14"/>
                  </a:lnTo>
                  <a:lnTo>
                    <a:pt x="61" y="14"/>
                  </a:lnTo>
                  <a:lnTo>
                    <a:pt x="59" y="14"/>
                  </a:lnTo>
                  <a:lnTo>
                    <a:pt x="59" y="14"/>
                  </a:lnTo>
                  <a:lnTo>
                    <a:pt x="59" y="14"/>
                  </a:lnTo>
                  <a:lnTo>
                    <a:pt x="59" y="12"/>
                  </a:lnTo>
                  <a:lnTo>
                    <a:pt x="59" y="9"/>
                  </a:lnTo>
                  <a:lnTo>
                    <a:pt x="61" y="7"/>
                  </a:lnTo>
                  <a:lnTo>
                    <a:pt x="61" y="5"/>
                  </a:lnTo>
                  <a:lnTo>
                    <a:pt x="61" y="5"/>
                  </a:lnTo>
                  <a:lnTo>
                    <a:pt x="59" y="5"/>
                  </a:lnTo>
                  <a:lnTo>
                    <a:pt x="57" y="2"/>
                  </a:lnTo>
                  <a:lnTo>
                    <a:pt x="54" y="2"/>
                  </a:lnTo>
                  <a:lnTo>
                    <a:pt x="54" y="2"/>
                  </a:lnTo>
                  <a:lnTo>
                    <a:pt x="50" y="2"/>
                  </a:lnTo>
                  <a:lnTo>
                    <a:pt x="50" y="2"/>
                  </a:lnTo>
                  <a:lnTo>
                    <a:pt x="50" y="0"/>
                  </a:lnTo>
                  <a:lnTo>
                    <a:pt x="47" y="0"/>
                  </a:lnTo>
                  <a:lnTo>
                    <a:pt x="47" y="0"/>
                  </a:lnTo>
                  <a:lnTo>
                    <a:pt x="47" y="0"/>
                  </a:lnTo>
                  <a:lnTo>
                    <a:pt x="47" y="0"/>
                  </a:lnTo>
                  <a:lnTo>
                    <a:pt x="45" y="0"/>
                  </a:lnTo>
                  <a:lnTo>
                    <a:pt x="45" y="0"/>
                  </a:lnTo>
                  <a:lnTo>
                    <a:pt x="43" y="0"/>
                  </a:lnTo>
                  <a:lnTo>
                    <a:pt x="43" y="0"/>
                  </a:lnTo>
                  <a:lnTo>
                    <a:pt x="43" y="0"/>
                  </a:lnTo>
                  <a:lnTo>
                    <a:pt x="43" y="2"/>
                  </a:lnTo>
                  <a:lnTo>
                    <a:pt x="43" y="2"/>
                  </a:lnTo>
                  <a:lnTo>
                    <a:pt x="45" y="2"/>
                  </a:lnTo>
                  <a:lnTo>
                    <a:pt x="45" y="2"/>
                  </a:lnTo>
                  <a:lnTo>
                    <a:pt x="45" y="2"/>
                  </a:lnTo>
                  <a:lnTo>
                    <a:pt x="45" y="2"/>
                  </a:lnTo>
                  <a:lnTo>
                    <a:pt x="43" y="2"/>
                  </a:lnTo>
                  <a:lnTo>
                    <a:pt x="43" y="2"/>
                  </a:lnTo>
                  <a:lnTo>
                    <a:pt x="43" y="2"/>
                  </a:lnTo>
                  <a:lnTo>
                    <a:pt x="43" y="2"/>
                  </a:lnTo>
                  <a:lnTo>
                    <a:pt x="40" y="2"/>
                  </a:lnTo>
                  <a:lnTo>
                    <a:pt x="38" y="2"/>
                  </a:lnTo>
                  <a:lnTo>
                    <a:pt x="35" y="2"/>
                  </a:lnTo>
                  <a:lnTo>
                    <a:pt x="33" y="5"/>
                  </a:lnTo>
                  <a:lnTo>
                    <a:pt x="31" y="5"/>
                  </a:lnTo>
                  <a:lnTo>
                    <a:pt x="28" y="2"/>
                  </a:lnTo>
                  <a:lnTo>
                    <a:pt x="26" y="5"/>
                  </a:lnTo>
                  <a:lnTo>
                    <a:pt x="26" y="5"/>
                  </a:lnTo>
                  <a:lnTo>
                    <a:pt x="26" y="7"/>
                  </a:lnTo>
                  <a:lnTo>
                    <a:pt x="24" y="7"/>
                  </a:lnTo>
                  <a:lnTo>
                    <a:pt x="24" y="7"/>
                  </a:lnTo>
                  <a:lnTo>
                    <a:pt x="21" y="7"/>
                  </a:lnTo>
                  <a:lnTo>
                    <a:pt x="21" y="7"/>
                  </a:lnTo>
                  <a:lnTo>
                    <a:pt x="21" y="5"/>
                  </a:lnTo>
                  <a:lnTo>
                    <a:pt x="21" y="5"/>
                  </a:lnTo>
                  <a:lnTo>
                    <a:pt x="19" y="5"/>
                  </a:lnTo>
                  <a:lnTo>
                    <a:pt x="19" y="7"/>
                  </a:lnTo>
                  <a:lnTo>
                    <a:pt x="17" y="7"/>
                  </a:lnTo>
                  <a:lnTo>
                    <a:pt x="17" y="7"/>
                  </a:lnTo>
                  <a:lnTo>
                    <a:pt x="19" y="7"/>
                  </a:lnTo>
                  <a:lnTo>
                    <a:pt x="19" y="9"/>
                  </a:lnTo>
                  <a:lnTo>
                    <a:pt x="19" y="9"/>
                  </a:lnTo>
                  <a:lnTo>
                    <a:pt x="19" y="9"/>
                  </a:lnTo>
                  <a:lnTo>
                    <a:pt x="17" y="9"/>
                  </a:lnTo>
                  <a:lnTo>
                    <a:pt x="17" y="12"/>
                  </a:lnTo>
                  <a:lnTo>
                    <a:pt x="14" y="14"/>
                  </a:lnTo>
                  <a:lnTo>
                    <a:pt x="12" y="14"/>
                  </a:lnTo>
                  <a:lnTo>
                    <a:pt x="12" y="14"/>
                  </a:lnTo>
                  <a:lnTo>
                    <a:pt x="10" y="16"/>
                  </a:lnTo>
                  <a:lnTo>
                    <a:pt x="10" y="16"/>
                  </a:lnTo>
                  <a:lnTo>
                    <a:pt x="10" y="19"/>
                  </a:lnTo>
                  <a:lnTo>
                    <a:pt x="10" y="21"/>
                  </a:lnTo>
                  <a:lnTo>
                    <a:pt x="7" y="21"/>
                  </a:lnTo>
                  <a:lnTo>
                    <a:pt x="5" y="23"/>
                  </a:lnTo>
                  <a:lnTo>
                    <a:pt x="5" y="23"/>
                  </a:lnTo>
                  <a:lnTo>
                    <a:pt x="2" y="26"/>
                  </a:lnTo>
                  <a:lnTo>
                    <a:pt x="2" y="26"/>
                  </a:lnTo>
                  <a:lnTo>
                    <a:pt x="2" y="26"/>
                  </a:lnTo>
                  <a:lnTo>
                    <a:pt x="5" y="28"/>
                  </a:lnTo>
                  <a:lnTo>
                    <a:pt x="2" y="28"/>
                  </a:lnTo>
                  <a:lnTo>
                    <a:pt x="2" y="31"/>
                  </a:lnTo>
                  <a:lnTo>
                    <a:pt x="2" y="31"/>
                  </a:lnTo>
                  <a:lnTo>
                    <a:pt x="0" y="31"/>
                  </a:lnTo>
                  <a:lnTo>
                    <a:pt x="0" y="33"/>
                  </a:lnTo>
                  <a:lnTo>
                    <a:pt x="2" y="33"/>
                  </a:lnTo>
                  <a:lnTo>
                    <a:pt x="2" y="33"/>
                  </a:lnTo>
                  <a:lnTo>
                    <a:pt x="5" y="33"/>
                  </a:lnTo>
                  <a:lnTo>
                    <a:pt x="7" y="31"/>
                  </a:lnTo>
                  <a:lnTo>
                    <a:pt x="5" y="31"/>
                  </a:lnTo>
                  <a:lnTo>
                    <a:pt x="5" y="28"/>
                  </a:lnTo>
                  <a:lnTo>
                    <a:pt x="5" y="28"/>
                  </a:lnTo>
                  <a:lnTo>
                    <a:pt x="7" y="28"/>
                  </a:lnTo>
                  <a:lnTo>
                    <a:pt x="10" y="26"/>
                  </a:lnTo>
                  <a:lnTo>
                    <a:pt x="12" y="26"/>
                  </a:lnTo>
                  <a:lnTo>
                    <a:pt x="14" y="28"/>
                  </a:lnTo>
                  <a:lnTo>
                    <a:pt x="14" y="28"/>
                  </a:lnTo>
                  <a:lnTo>
                    <a:pt x="14" y="28"/>
                  </a:lnTo>
                  <a:lnTo>
                    <a:pt x="14" y="28"/>
                  </a:lnTo>
                  <a:lnTo>
                    <a:pt x="14" y="31"/>
                  </a:lnTo>
                  <a:lnTo>
                    <a:pt x="14" y="33"/>
                  </a:lnTo>
                  <a:lnTo>
                    <a:pt x="14" y="33"/>
                  </a:lnTo>
                  <a:lnTo>
                    <a:pt x="17" y="33"/>
                  </a:lnTo>
                  <a:lnTo>
                    <a:pt x="17" y="35"/>
                  </a:lnTo>
                  <a:lnTo>
                    <a:pt x="17" y="35"/>
                  </a:lnTo>
                  <a:lnTo>
                    <a:pt x="19" y="38"/>
                  </a:lnTo>
                  <a:lnTo>
                    <a:pt x="19" y="38"/>
                  </a:lnTo>
                  <a:lnTo>
                    <a:pt x="19" y="38"/>
                  </a:lnTo>
                  <a:lnTo>
                    <a:pt x="19" y="38"/>
                  </a:lnTo>
                  <a:lnTo>
                    <a:pt x="24" y="38"/>
                  </a:lnTo>
                  <a:lnTo>
                    <a:pt x="26" y="38"/>
                  </a:lnTo>
                  <a:lnTo>
                    <a:pt x="26" y="35"/>
                  </a:lnTo>
                  <a:lnTo>
                    <a:pt x="28" y="35"/>
                  </a:lnTo>
                  <a:lnTo>
                    <a:pt x="31" y="38"/>
                  </a:lnTo>
                  <a:lnTo>
                    <a:pt x="33" y="38"/>
                  </a:lnTo>
                  <a:lnTo>
                    <a:pt x="35" y="35"/>
                  </a:lnTo>
                  <a:lnTo>
                    <a:pt x="35" y="35"/>
                  </a:lnTo>
                  <a:lnTo>
                    <a:pt x="38" y="33"/>
                  </a:lnTo>
                  <a:lnTo>
                    <a:pt x="38" y="33"/>
                  </a:lnTo>
                  <a:lnTo>
                    <a:pt x="35" y="31"/>
                  </a:lnTo>
                  <a:lnTo>
                    <a:pt x="35" y="31"/>
                  </a:lnTo>
                  <a:lnTo>
                    <a:pt x="38" y="28"/>
                  </a:lnTo>
                  <a:lnTo>
                    <a:pt x="40" y="28"/>
                  </a:lnTo>
                  <a:lnTo>
                    <a:pt x="40" y="26"/>
                  </a:lnTo>
                  <a:lnTo>
                    <a:pt x="43" y="26"/>
                  </a:lnTo>
                  <a:lnTo>
                    <a:pt x="43" y="26"/>
                  </a:lnTo>
                  <a:lnTo>
                    <a:pt x="43" y="28"/>
                  </a:lnTo>
                  <a:lnTo>
                    <a:pt x="43" y="31"/>
                  </a:lnTo>
                  <a:lnTo>
                    <a:pt x="43" y="31"/>
                  </a:lnTo>
                  <a:lnTo>
                    <a:pt x="45" y="33"/>
                  </a:lnTo>
                  <a:lnTo>
                    <a:pt x="45" y="33"/>
                  </a:lnTo>
                  <a:lnTo>
                    <a:pt x="47" y="35"/>
                  </a:lnTo>
                  <a:lnTo>
                    <a:pt x="47" y="35"/>
                  </a:lnTo>
                  <a:lnTo>
                    <a:pt x="47" y="35"/>
                  </a:lnTo>
                  <a:lnTo>
                    <a:pt x="50" y="38"/>
                  </a:lnTo>
                  <a:lnTo>
                    <a:pt x="50" y="38"/>
                  </a:lnTo>
                  <a:lnTo>
                    <a:pt x="50" y="40"/>
                  </a:lnTo>
                  <a:lnTo>
                    <a:pt x="52" y="40"/>
                  </a:lnTo>
                  <a:lnTo>
                    <a:pt x="52" y="38"/>
                  </a:lnTo>
                  <a:lnTo>
                    <a:pt x="52" y="38"/>
                  </a:lnTo>
                  <a:lnTo>
                    <a:pt x="52" y="35"/>
                  </a:lnTo>
                  <a:lnTo>
                    <a:pt x="52" y="35"/>
                  </a:lnTo>
                  <a:lnTo>
                    <a:pt x="52" y="35"/>
                  </a:lnTo>
                  <a:lnTo>
                    <a:pt x="52" y="33"/>
                  </a:lnTo>
                  <a:lnTo>
                    <a:pt x="54" y="31"/>
                  </a:lnTo>
                  <a:lnTo>
                    <a:pt x="54" y="31"/>
                  </a:lnTo>
                  <a:lnTo>
                    <a:pt x="57" y="28"/>
                  </a:lnTo>
                  <a:lnTo>
                    <a:pt x="57" y="26"/>
                  </a:lnTo>
                  <a:lnTo>
                    <a:pt x="57" y="26"/>
                  </a:lnTo>
                  <a:lnTo>
                    <a:pt x="59" y="26"/>
                  </a:lnTo>
                  <a:lnTo>
                    <a:pt x="59" y="26"/>
                  </a:lnTo>
                  <a:lnTo>
                    <a:pt x="59" y="26"/>
                  </a:lnTo>
                  <a:lnTo>
                    <a:pt x="59" y="28"/>
                  </a:lnTo>
                  <a:lnTo>
                    <a:pt x="59" y="31"/>
                  </a:lnTo>
                  <a:lnTo>
                    <a:pt x="61" y="31"/>
                  </a:lnTo>
                  <a:lnTo>
                    <a:pt x="61" y="31"/>
                  </a:lnTo>
                  <a:lnTo>
                    <a:pt x="64" y="28"/>
                  </a:lnTo>
                  <a:lnTo>
                    <a:pt x="66" y="28"/>
                  </a:lnTo>
                  <a:lnTo>
                    <a:pt x="66" y="28"/>
                  </a:lnTo>
                  <a:lnTo>
                    <a:pt x="68" y="28"/>
                  </a:lnTo>
                  <a:lnTo>
                    <a:pt x="68" y="31"/>
                  </a:lnTo>
                  <a:lnTo>
                    <a:pt x="68" y="31"/>
                  </a:lnTo>
                  <a:lnTo>
                    <a:pt x="71" y="31"/>
                  </a:lnTo>
                  <a:lnTo>
                    <a:pt x="71" y="31"/>
                  </a:lnTo>
                  <a:lnTo>
                    <a:pt x="71" y="31"/>
                  </a:lnTo>
                  <a:lnTo>
                    <a:pt x="68" y="28"/>
                  </a:lnTo>
                  <a:lnTo>
                    <a:pt x="68" y="28"/>
                  </a:lnTo>
                  <a:lnTo>
                    <a:pt x="68" y="26"/>
                  </a:lnTo>
                  <a:lnTo>
                    <a:pt x="68" y="26"/>
                  </a:lnTo>
                  <a:lnTo>
                    <a:pt x="68" y="23"/>
                  </a:lnTo>
                  <a:lnTo>
                    <a:pt x="68" y="23"/>
                  </a:lnTo>
                  <a:lnTo>
                    <a:pt x="71" y="23"/>
                  </a:lnTo>
                  <a:lnTo>
                    <a:pt x="71" y="23"/>
                  </a:lnTo>
                  <a:lnTo>
                    <a:pt x="73" y="23"/>
                  </a:lnTo>
                  <a:lnTo>
                    <a:pt x="73" y="23"/>
                  </a:lnTo>
                  <a:lnTo>
                    <a:pt x="76" y="23"/>
                  </a:lnTo>
                  <a:lnTo>
                    <a:pt x="76" y="23"/>
                  </a:lnTo>
                  <a:lnTo>
                    <a:pt x="76" y="23"/>
                  </a:lnTo>
                  <a:lnTo>
                    <a:pt x="76" y="21"/>
                  </a:lnTo>
                  <a:lnTo>
                    <a:pt x="76" y="21"/>
                  </a:lnTo>
                  <a:lnTo>
                    <a:pt x="76"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3" name="Freeform 229"/>
            <p:cNvSpPr>
              <a:spLocks noEditPoints="1"/>
            </p:cNvSpPr>
            <p:nvPr userDrawn="1"/>
          </p:nvSpPr>
          <p:spPr bwMode="auto">
            <a:xfrm>
              <a:off x="3860" y="1389"/>
              <a:ext cx="182" cy="260"/>
            </a:xfrm>
            <a:custGeom>
              <a:avLst/>
              <a:gdLst>
                <a:gd name="T0" fmla="*/ 80 w 182"/>
                <a:gd name="T1" fmla="*/ 236 h 260"/>
                <a:gd name="T2" fmla="*/ 90 w 182"/>
                <a:gd name="T3" fmla="*/ 222 h 260"/>
                <a:gd name="T4" fmla="*/ 106 w 182"/>
                <a:gd name="T5" fmla="*/ 215 h 260"/>
                <a:gd name="T6" fmla="*/ 109 w 182"/>
                <a:gd name="T7" fmla="*/ 227 h 260"/>
                <a:gd name="T8" fmla="*/ 116 w 182"/>
                <a:gd name="T9" fmla="*/ 218 h 260"/>
                <a:gd name="T10" fmla="*/ 121 w 182"/>
                <a:gd name="T11" fmla="*/ 210 h 260"/>
                <a:gd name="T12" fmla="*/ 106 w 182"/>
                <a:gd name="T13" fmla="*/ 187 h 260"/>
                <a:gd name="T14" fmla="*/ 111 w 182"/>
                <a:gd name="T15" fmla="*/ 177 h 260"/>
                <a:gd name="T16" fmla="*/ 175 w 182"/>
                <a:gd name="T17" fmla="*/ 50 h 260"/>
                <a:gd name="T18" fmla="*/ 177 w 182"/>
                <a:gd name="T19" fmla="*/ 40 h 260"/>
                <a:gd name="T20" fmla="*/ 172 w 182"/>
                <a:gd name="T21" fmla="*/ 31 h 260"/>
                <a:gd name="T22" fmla="*/ 170 w 182"/>
                <a:gd name="T23" fmla="*/ 26 h 260"/>
                <a:gd name="T24" fmla="*/ 163 w 182"/>
                <a:gd name="T25" fmla="*/ 14 h 260"/>
                <a:gd name="T26" fmla="*/ 139 w 182"/>
                <a:gd name="T27" fmla="*/ 7 h 260"/>
                <a:gd name="T28" fmla="*/ 121 w 182"/>
                <a:gd name="T29" fmla="*/ 0 h 260"/>
                <a:gd name="T30" fmla="*/ 121 w 182"/>
                <a:gd name="T31" fmla="*/ 12 h 260"/>
                <a:gd name="T32" fmla="*/ 95 w 182"/>
                <a:gd name="T33" fmla="*/ 9 h 260"/>
                <a:gd name="T34" fmla="*/ 73 w 182"/>
                <a:gd name="T35" fmla="*/ 26 h 260"/>
                <a:gd name="T36" fmla="*/ 71 w 182"/>
                <a:gd name="T37" fmla="*/ 35 h 260"/>
                <a:gd name="T38" fmla="*/ 47 w 182"/>
                <a:gd name="T39" fmla="*/ 52 h 260"/>
                <a:gd name="T40" fmla="*/ 38 w 182"/>
                <a:gd name="T41" fmla="*/ 78 h 260"/>
                <a:gd name="T42" fmla="*/ 36 w 182"/>
                <a:gd name="T43" fmla="*/ 92 h 260"/>
                <a:gd name="T44" fmla="*/ 14 w 182"/>
                <a:gd name="T45" fmla="*/ 102 h 260"/>
                <a:gd name="T46" fmla="*/ 14 w 182"/>
                <a:gd name="T47" fmla="*/ 118 h 260"/>
                <a:gd name="T48" fmla="*/ 24 w 182"/>
                <a:gd name="T49" fmla="*/ 142 h 260"/>
                <a:gd name="T50" fmla="*/ 17 w 182"/>
                <a:gd name="T51" fmla="*/ 151 h 260"/>
                <a:gd name="T52" fmla="*/ 14 w 182"/>
                <a:gd name="T53" fmla="*/ 170 h 260"/>
                <a:gd name="T54" fmla="*/ 7 w 182"/>
                <a:gd name="T55" fmla="*/ 184 h 260"/>
                <a:gd name="T56" fmla="*/ 0 w 182"/>
                <a:gd name="T57" fmla="*/ 189 h 260"/>
                <a:gd name="T58" fmla="*/ 7 w 182"/>
                <a:gd name="T59" fmla="*/ 208 h 260"/>
                <a:gd name="T60" fmla="*/ 22 w 182"/>
                <a:gd name="T61" fmla="*/ 229 h 260"/>
                <a:gd name="T62" fmla="*/ 24 w 182"/>
                <a:gd name="T63" fmla="*/ 241 h 260"/>
                <a:gd name="T64" fmla="*/ 29 w 182"/>
                <a:gd name="T65" fmla="*/ 253 h 260"/>
                <a:gd name="T66" fmla="*/ 47 w 182"/>
                <a:gd name="T67" fmla="*/ 253 h 260"/>
                <a:gd name="T68" fmla="*/ 55 w 182"/>
                <a:gd name="T69" fmla="*/ 244 h 260"/>
                <a:gd name="T70" fmla="*/ 78 w 182"/>
                <a:gd name="T71" fmla="*/ 234 h 260"/>
                <a:gd name="T72" fmla="*/ 83 w 182"/>
                <a:gd name="T73" fmla="*/ 215 h 260"/>
                <a:gd name="T74" fmla="*/ 85 w 182"/>
                <a:gd name="T75" fmla="*/ 199 h 260"/>
                <a:gd name="T76" fmla="*/ 88 w 182"/>
                <a:gd name="T77" fmla="*/ 194 h 260"/>
                <a:gd name="T78" fmla="*/ 106 w 182"/>
                <a:gd name="T79" fmla="*/ 184 h 260"/>
                <a:gd name="T80" fmla="*/ 106 w 182"/>
                <a:gd name="T81" fmla="*/ 180 h 260"/>
                <a:gd name="T82" fmla="*/ 111 w 182"/>
                <a:gd name="T83" fmla="*/ 177 h 260"/>
                <a:gd name="T84" fmla="*/ 111 w 182"/>
                <a:gd name="T85" fmla="*/ 166 h 260"/>
                <a:gd name="T86" fmla="*/ 95 w 182"/>
                <a:gd name="T87" fmla="*/ 158 h 260"/>
                <a:gd name="T88" fmla="*/ 88 w 182"/>
                <a:gd name="T89" fmla="*/ 149 h 260"/>
                <a:gd name="T90" fmla="*/ 88 w 182"/>
                <a:gd name="T91" fmla="*/ 137 h 260"/>
                <a:gd name="T92" fmla="*/ 92 w 182"/>
                <a:gd name="T93" fmla="*/ 125 h 260"/>
                <a:gd name="T94" fmla="*/ 95 w 182"/>
                <a:gd name="T95" fmla="*/ 121 h 260"/>
                <a:gd name="T96" fmla="*/ 97 w 182"/>
                <a:gd name="T97" fmla="*/ 113 h 260"/>
                <a:gd name="T98" fmla="*/ 104 w 182"/>
                <a:gd name="T99" fmla="*/ 113 h 260"/>
                <a:gd name="T100" fmla="*/ 109 w 182"/>
                <a:gd name="T101" fmla="*/ 106 h 260"/>
                <a:gd name="T102" fmla="*/ 118 w 182"/>
                <a:gd name="T103" fmla="*/ 102 h 260"/>
                <a:gd name="T104" fmla="*/ 132 w 182"/>
                <a:gd name="T105" fmla="*/ 97 h 260"/>
                <a:gd name="T106" fmla="*/ 144 w 182"/>
                <a:gd name="T107" fmla="*/ 80 h 260"/>
                <a:gd name="T108" fmla="*/ 146 w 182"/>
                <a:gd name="T109" fmla="*/ 69 h 260"/>
                <a:gd name="T110" fmla="*/ 146 w 182"/>
                <a:gd name="T111" fmla="*/ 66 h 260"/>
                <a:gd name="T112" fmla="*/ 154 w 182"/>
                <a:gd name="T113" fmla="*/ 64 h 260"/>
                <a:gd name="T114" fmla="*/ 158 w 182"/>
                <a:gd name="T115" fmla="*/ 57 h 260"/>
                <a:gd name="T116" fmla="*/ 175 w 182"/>
                <a:gd name="T117" fmla="*/ 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260">
                  <a:moveTo>
                    <a:pt x="90" y="220"/>
                  </a:moveTo>
                  <a:lnTo>
                    <a:pt x="90" y="220"/>
                  </a:lnTo>
                  <a:lnTo>
                    <a:pt x="88" y="220"/>
                  </a:lnTo>
                  <a:lnTo>
                    <a:pt x="88" y="222"/>
                  </a:lnTo>
                  <a:lnTo>
                    <a:pt x="88" y="222"/>
                  </a:lnTo>
                  <a:lnTo>
                    <a:pt x="88" y="225"/>
                  </a:lnTo>
                  <a:lnTo>
                    <a:pt x="85" y="229"/>
                  </a:lnTo>
                  <a:lnTo>
                    <a:pt x="83" y="229"/>
                  </a:lnTo>
                  <a:lnTo>
                    <a:pt x="80" y="234"/>
                  </a:lnTo>
                  <a:lnTo>
                    <a:pt x="80" y="236"/>
                  </a:lnTo>
                  <a:lnTo>
                    <a:pt x="80" y="241"/>
                  </a:lnTo>
                  <a:lnTo>
                    <a:pt x="80" y="241"/>
                  </a:lnTo>
                  <a:lnTo>
                    <a:pt x="80" y="241"/>
                  </a:lnTo>
                  <a:lnTo>
                    <a:pt x="83" y="241"/>
                  </a:lnTo>
                  <a:lnTo>
                    <a:pt x="85" y="232"/>
                  </a:lnTo>
                  <a:lnTo>
                    <a:pt x="88" y="229"/>
                  </a:lnTo>
                  <a:lnTo>
                    <a:pt x="88" y="227"/>
                  </a:lnTo>
                  <a:lnTo>
                    <a:pt x="90" y="222"/>
                  </a:lnTo>
                  <a:lnTo>
                    <a:pt x="90" y="222"/>
                  </a:lnTo>
                  <a:lnTo>
                    <a:pt x="90" y="222"/>
                  </a:lnTo>
                  <a:lnTo>
                    <a:pt x="90" y="220"/>
                  </a:lnTo>
                  <a:lnTo>
                    <a:pt x="90" y="220"/>
                  </a:lnTo>
                  <a:close/>
                  <a:moveTo>
                    <a:pt x="116" y="208"/>
                  </a:moveTo>
                  <a:lnTo>
                    <a:pt x="116" y="208"/>
                  </a:lnTo>
                  <a:lnTo>
                    <a:pt x="116" y="210"/>
                  </a:lnTo>
                  <a:lnTo>
                    <a:pt x="113" y="210"/>
                  </a:lnTo>
                  <a:lnTo>
                    <a:pt x="111" y="210"/>
                  </a:lnTo>
                  <a:lnTo>
                    <a:pt x="109" y="213"/>
                  </a:lnTo>
                  <a:lnTo>
                    <a:pt x="109" y="213"/>
                  </a:lnTo>
                  <a:lnTo>
                    <a:pt x="106" y="215"/>
                  </a:lnTo>
                  <a:lnTo>
                    <a:pt x="106" y="215"/>
                  </a:lnTo>
                  <a:lnTo>
                    <a:pt x="106" y="218"/>
                  </a:lnTo>
                  <a:lnTo>
                    <a:pt x="106" y="220"/>
                  </a:lnTo>
                  <a:lnTo>
                    <a:pt x="106" y="222"/>
                  </a:lnTo>
                  <a:lnTo>
                    <a:pt x="106" y="222"/>
                  </a:lnTo>
                  <a:lnTo>
                    <a:pt x="106" y="225"/>
                  </a:lnTo>
                  <a:lnTo>
                    <a:pt x="109" y="225"/>
                  </a:lnTo>
                  <a:lnTo>
                    <a:pt x="106" y="227"/>
                  </a:lnTo>
                  <a:lnTo>
                    <a:pt x="106" y="229"/>
                  </a:lnTo>
                  <a:lnTo>
                    <a:pt x="109" y="227"/>
                  </a:lnTo>
                  <a:lnTo>
                    <a:pt x="109" y="227"/>
                  </a:lnTo>
                  <a:lnTo>
                    <a:pt x="111" y="225"/>
                  </a:lnTo>
                  <a:lnTo>
                    <a:pt x="111" y="225"/>
                  </a:lnTo>
                  <a:lnTo>
                    <a:pt x="111" y="222"/>
                  </a:lnTo>
                  <a:lnTo>
                    <a:pt x="113" y="222"/>
                  </a:lnTo>
                  <a:lnTo>
                    <a:pt x="116" y="220"/>
                  </a:lnTo>
                  <a:lnTo>
                    <a:pt x="116" y="220"/>
                  </a:lnTo>
                  <a:lnTo>
                    <a:pt x="116" y="220"/>
                  </a:lnTo>
                  <a:lnTo>
                    <a:pt x="118" y="220"/>
                  </a:lnTo>
                  <a:lnTo>
                    <a:pt x="116" y="218"/>
                  </a:lnTo>
                  <a:lnTo>
                    <a:pt x="116" y="213"/>
                  </a:lnTo>
                  <a:lnTo>
                    <a:pt x="116" y="213"/>
                  </a:lnTo>
                  <a:lnTo>
                    <a:pt x="118" y="213"/>
                  </a:lnTo>
                  <a:lnTo>
                    <a:pt x="118" y="210"/>
                  </a:lnTo>
                  <a:lnTo>
                    <a:pt x="121" y="210"/>
                  </a:lnTo>
                  <a:lnTo>
                    <a:pt x="118" y="208"/>
                  </a:lnTo>
                  <a:lnTo>
                    <a:pt x="116" y="208"/>
                  </a:lnTo>
                  <a:close/>
                  <a:moveTo>
                    <a:pt x="121" y="208"/>
                  </a:moveTo>
                  <a:lnTo>
                    <a:pt x="118" y="208"/>
                  </a:lnTo>
                  <a:lnTo>
                    <a:pt x="121" y="210"/>
                  </a:lnTo>
                  <a:lnTo>
                    <a:pt x="121" y="210"/>
                  </a:lnTo>
                  <a:lnTo>
                    <a:pt x="121" y="208"/>
                  </a:lnTo>
                  <a:lnTo>
                    <a:pt x="123" y="208"/>
                  </a:lnTo>
                  <a:lnTo>
                    <a:pt x="123" y="208"/>
                  </a:lnTo>
                  <a:lnTo>
                    <a:pt x="121" y="208"/>
                  </a:lnTo>
                  <a:close/>
                  <a:moveTo>
                    <a:pt x="109" y="184"/>
                  </a:moveTo>
                  <a:lnTo>
                    <a:pt x="109" y="184"/>
                  </a:lnTo>
                  <a:lnTo>
                    <a:pt x="109" y="187"/>
                  </a:lnTo>
                  <a:lnTo>
                    <a:pt x="109" y="187"/>
                  </a:lnTo>
                  <a:lnTo>
                    <a:pt x="106" y="187"/>
                  </a:lnTo>
                  <a:lnTo>
                    <a:pt x="109" y="187"/>
                  </a:lnTo>
                  <a:lnTo>
                    <a:pt x="109" y="187"/>
                  </a:lnTo>
                  <a:lnTo>
                    <a:pt x="109" y="184"/>
                  </a:lnTo>
                  <a:close/>
                  <a:moveTo>
                    <a:pt x="111" y="177"/>
                  </a:moveTo>
                  <a:lnTo>
                    <a:pt x="111" y="177"/>
                  </a:lnTo>
                  <a:lnTo>
                    <a:pt x="111" y="177"/>
                  </a:lnTo>
                  <a:lnTo>
                    <a:pt x="109" y="177"/>
                  </a:lnTo>
                  <a:lnTo>
                    <a:pt x="111" y="180"/>
                  </a:lnTo>
                  <a:lnTo>
                    <a:pt x="111" y="177"/>
                  </a:lnTo>
                  <a:lnTo>
                    <a:pt x="111" y="177"/>
                  </a:lnTo>
                  <a:lnTo>
                    <a:pt x="111" y="177"/>
                  </a:lnTo>
                  <a:lnTo>
                    <a:pt x="111" y="177"/>
                  </a:lnTo>
                  <a:lnTo>
                    <a:pt x="111" y="177"/>
                  </a:lnTo>
                  <a:close/>
                  <a:moveTo>
                    <a:pt x="179" y="54"/>
                  </a:moveTo>
                  <a:lnTo>
                    <a:pt x="179" y="54"/>
                  </a:lnTo>
                  <a:lnTo>
                    <a:pt x="177" y="52"/>
                  </a:lnTo>
                  <a:lnTo>
                    <a:pt x="175" y="52"/>
                  </a:lnTo>
                  <a:lnTo>
                    <a:pt x="175" y="50"/>
                  </a:lnTo>
                  <a:lnTo>
                    <a:pt x="175" y="50"/>
                  </a:lnTo>
                  <a:lnTo>
                    <a:pt x="175" y="50"/>
                  </a:lnTo>
                  <a:lnTo>
                    <a:pt x="175" y="47"/>
                  </a:lnTo>
                  <a:lnTo>
                    <a:pt x="175" y="47"/>
                  </a:lnTo>
                  <a:lnTo>
                    <a:pt x="175" y="45"/>
                  </a:lnTo>
                  <a:lnTo>
                    <a:pt x="175" y="45"/>
                  </a:lnTo>
                  <a:lnTo>
                    <a:pt x="177" y="45"/>
                  </a:lnTo>
                  <a:lnTo>
                    <a:pt x="177" y="43"/>
                  </a:lnTo>
                  <a:lnTo>
                    <a:pt x="177" y="43"/>
                  </a:lnTo>
                  <a:lnTo>
                    <a:pt x="177" y="40"/>
                  </a:lnTo>
                  <a:lnTo>
                    <a:pt x="177" y="40"/>
                  </a:lnTo>
                  <a:lnTo>
                    <a:pt x="177" y="40"/>
                  </a:lnTo>
                  <a:lnTo>
                    <a:pt x="177" y="38"/>
                  </a:lnTo>
                  <a:lnTo>
                    <a:pt x="175" y="38"/>
                  </a:lnTo>
                  <a:lnTo>
                    <a:pt x="175" y="35"/>
                  </a:lnTo>
                  <a:lnTo>
                    <a:pt x="172" y="35"/>
                  </a:lnTo>
                  <a:lnTo>
                    <a:pt x="172" y="33"/>
                  </a:lnTo>
                  <a:lnTo>
                    <a:pt x="172" y="33"/>
                  </a:lnTo>
                  <a:lnTo>
                    <a:pt x="172" y="33"/>
                  </a:lnTo>
                  <a:lnTo>
                    <a:pt x="172" y="31"/>
                  </a:lnTo>
                  <a:lnTo>
                    <a:pt x="172" y="31"/>
                  </a:lnTo>
                  <a:lnTo>
                    <a:pt x="172" y="31"/>
                  </a:lnTo>
                  <a:lnTo>
                    <a:pt x="172" y="28"/>
                  </a:lnTo>
                  <a:lnTo>
                    <a:pt x="172" y="28"/>
                  </a:lnTo>
                  <a:lnTo>
                    <a:pt x="170" y="28"/>
                  </a:lnTo>
                  <a:lnTo>
                    <a:pt x="168" y="28"/>
                  </a:lnTo>
                  <a:lnTo>
                    <a:pt x="168" y="28"/>
                  </a:lnTo>
                  <a:lnTo>
                    <a:pt x="168" y="28"/>
                  </a:lnTo>
                  <a:lnTo>
                    <a:pt x="168" y="26"/>
                  </a:lnTo>
                  <a:lnTo>
                    <a:pt x="170" y="26"/>
                  </a:lnTo>
                  <a:lnTo>
                    <a:pt x="170" y="26"/>
                  </a:lnTo>
                  <a:lnTo>
                    <a:pt x="170" y="26"/>
                  </a:lnTo>
                  <a:lnTo>
                    <a:pt x="168" y="24"/>
                  </a:lnTo>
                  <a:lnTo>
                    <a:pt x="168" y="21"/>
                  </a:lnTo>
                  <a:lnTo>
                    <a:pt x="168" y="21"/>
                  </a:lnTo>
                  <a:lnTo>
                    <a:pt x="170" y="19"/>
                  </a:lnTo>
                  <a:lnTo>
                    <a:pt x="170" y="19"/>
                  </a:lnTo>
                  <a:lnTo>
                    <a:pt x="168" y="19"/>
                  </a:lnTo>
                  <a:lnTo>
                    <a:pt x="165" y="17"/>
                  </a:lnTo>
                  <a:lnTo>
                    <a:pt x="165" y="17"/>
                  </a:lnTo>
                  <a:lnTo>
                    <a:pt x="163" y="17"/>
                  </a:lnTo>
                  <a:lnTo>
                    <a:pt x="163" y="14"/>
                  </a:lnTo>
                  <a:lnTo>
                    <a:pt x="161" y="12"/>
                  </a:lnTo>
                  <a:lnTo>
                    <a:pt x="158" y="12"/>
                  </a:lnTo>
                  <a:lnTo>
                    <a:pt x="158" y="12"/>
                  </a:lnTo>
                  <a:lnTo>
                    <a:pt x="151" y="9"/>
                  </a:lnTo>
                  <a:lnTo>
                    <a:pt x="149" y="9"/>
                  </a:lnTo>
                  <a:lnTo>
                    <a:pt x="146" y="9"/>
                  </a:lnTo>
                  <a:lnTo>
                    <a:pt x="144" y="7"/>
                  </a:lnTo>
                  <a:lnTo>
                    <a:pt x="144" y="7"/>
                  </a:lnTo>
                  <a:lnTo>
                    <a:pt x="142" y="7"/>
                  </a:lnTo>
                  <a:lnTo>
                    <a:pt x="139" y="7"/>
                  </a:lnTo>
                  <a:lnTo>
                    <a:pt x="139" y="5"/>
                  </a:lnTo>
                  <a:lnTo>
                    <a:pt x="137" y="5"/>
                  </a:lnTo>
                  <a:lnTo>
                    <a:pt x="135" y="2"/>
                  </a:lnTo>
                  <a:lnTo>
                    <a:pt x="132" y="2"/>
                  </a:lnTo>
                  <a:lnTo>
                    <a:pt x="132" y="2"/>
                  </a:lnTo>
                  <a:lnTo>
                    <a:pt x="132" y="0"/>
                  </a:lnTo>
                  <a:lnTo>
                    <a:pt x="130" y="0"/>
                  </a:lnTo>
                  <a:lnTo>
                    <a:pt x="128" y="0"/>
                  </a:lnTo>
                  <a:lnTo>
                    <a:pt x="125" y="0"/>
                  </a:lnTo>
                  <a:lnTo>
                    <a:pt x="121" y="0"/>
                  </a:lnTo>
                  <a:lnTo>
                    <a:pt x="123" y="2"/>
                  </a:lnTo>
                  <a:lnTo>
                    <a:pt x="123" y="2"/>
                  </a:lnTo>
                  <a:lnTo>
                    <a:pt x="123" y="2"/>
                  </a:lnTo>
                  <a:lnTo>
                    <a:pt x="123" y="5"/>
                  </a:lnTo>
                  <a:lnTo>
                    <a:pt x="123" y="7"/>
                  </a:lnTo>
                  <a:lnTo>
                    <a:pt x="121" y="7"/>
                  </a:lnTo>
                  <a:lnTo>
                    <a:pt x="118" y="9"/>
                  </a:lnTo>
                  <a:lnTo>
                    <a:pt x="123" y="9"/>
                  </a:lnTo>
                  <a:lnTo>
                    <a:pt x="121" y="12"/>
                  </a:lnTo>
                  <a:lnTo>
                    <a:pt x="121" y="12"/>
                  </a:lnTo>
                  <a:lnTo>
                    <a:pt x="118" y="12"/>
                  </a:lnTo>
                  <a:lnTo>
                    <a:pt x="116" y="12"/>
                  </a:lnTo>
                  <a:lnTo>
                    <a:pt x="109" y="9"/>
                  </a:lnTo>
                  <a:lnTo>
                    <a:pt x="106" y="9"/>
                  </a:lnTo>
                  <a:lnTo>
                    <a:pt x="104" y="9"/>
                  </a:lnTo>
                  <a:lnTo>
                    <a:pt x="104" y="9"/>
                  </a:lnTo>
                  <a:lnTo>
                    <a:pt x="97" y="7"/>
                  </a:lnTo>
                  <a:lnTo>
                    <a:pt x="97" y="9"/>
                  </a:lnTo>
                  <a:lnTo>
                    <a:pt x="95" y="9"/>
                  </a:lnTo>
                  <a:lnTo>
                    <a:pt x="95" y="9"/>
                  </a:lnTo>
                  <a:lnTo>
                    <a:pt x="95" y="12"/>
                  </a:lnTo>
                  <a:lnTo>
                    <a:pt x="95" y="14"/>
                  </a:lnTo>
                  <a:lnTo>
                    <a:pt x="95" y="17"/>
                  </a:lnTo>
                  <a:lnTo>
                    <a:pt x="95" y="17"/>
                  </a:lnTo>
                  <a:lnTo>
                    <a:pt x="92" y="19"/>
                  </a:lnTo>
                  <a:lnTo>
                    <a:pt x="88" y="17"/>
                  </a:lnTo>
                  <a:lnTo>
                    <a:pt x="83" y="17"/>
                  </a:lnTo>
                  <a:lnTo>
                    <a:pt x="83" y="19"/>
                  </a:lnTo>
                  <a:lnTo>
                    <a:pt x="76" y="21"/>
                  </a:lnTo>
                  <a:lnTo>
                    <a:pt x="73" y="26"/>
                  </a:lnTo>
                  <a:lnTo>
                    <a:pt x="73" y="26"/>
                  </a:lnTo>
                  <a:lnTo>
                    <a:pt x="73" y="26"/>
                  </a:lnTo>
                  <a:lnTo>
                    <a:pt x="71" y="26"/>
                  </a:lnTo>
                  <a:lnTo>
                    <a:pt x="69" y="28"/>
                  </a:lnTo>
                  <a:lnTo>
                    <a:pt x="69" y="28"/>
                  </a:lnTo>
                  <a:lnTo>
                    <a:pt x="71" y="31"/>
                  </a:lnTo>
                  <a:lnTo>
                    <a:pt x="71" y="31"/>
                  </a:lnTo>
                  <a:lnTo>
                    <a:pt x="73" y="33"/>
                  </a:lnTo>
                  <a:lnTo>
                    <a:pt x="71" y="35"/>
                  </a:lnTo>
                  <a:lnTo>
                    <a:pt x="71" y="35"/>
                  </a:lnTo>
                  <a:lnTo>
                    <a:pt x="69" y="38"/>
                  </a:lnTo>
                  <a:lnTo>
                    <a:pt x="64" y="40"/>
                  </a:lnTo>
                  <a:lnTo>
                    <a:pt x="62" y="45"/>
                  </a:lnTo>
                  <a:lnTo>
                    <a:pt x="59" y="45"/>
                  </a:lnTo>
                  <a:lnTo>
                    <a:pt x="59" y="50"/>
                  </a:lnTo>
                  <a:lnTo>
                    <a:pt x="59" y="50"/>
                  </a:lnTo>
                  <a:lnTo>
                    <a:pt x="55" y="52"/>
                  </a:lnTo>
                  <a:lnTo>
                    <a:pt x="55" y="52"/>
                  </a:lnTo>
                  <a:lnTo>
                    <a:pt x="52" y="52"/>
                  </a:lnTo>
                  <a:lnTo>
                    <a:pt x="47" y="52"/>
                  </a:lnTo>
                  <a:lnTo>
                    <a:pt x="47" y="57"/>
                  </a:lnTo>
                  <a:lnTo>
                    <a:pt x="47" y="57"/>
                  </a:lnTo>
                  <a:lnTo>
                    <a:pt x="47" y="59"/>
                  </a:lnTo>
                  <a:lnTo>
                    <a:pt x="47" y="59"/>
                  </a:lnTo>
                  <a:lnTo>
                    <a:pt x="47" y="61"/>
                  </a:lnTo>
                  <a:lnTo>
                    <a:pt x="47" y="69"/>
                  </a:lnTo>
                  <a:lnTo>
                    <a:pt x="45" y="69"/>
                  </a:lnTo>
                  <a:lnTo>
                    <a:pt x="45" y="71"/>
                  </a:lnTo>
                  <a:lnTo>
                    <a:pt x="40" y="73"/>
                  </a:lnTo>
                  <a:lnTo>
                    <a:pt x="38" y="78"/>
                  </a:lnTo>
                  <a:lnTo>
                    <a:pt x="36" y="80"/>
                  </a:lnTo>
                  <a:lnTo>
                    <a:pt x="38" y="83"/>
                  </a:lnTo>
                  <a:lnTo>
                    <a:pt x="40" y="83"/>
                  </a:lnTo>
                  <a:lnTo>
                    <a:pt x="43" y="85"/>
                  </a:lnTo>
                  <a:lnTo>
                    <a:pt x="43" y="87"/>
                  </a:lnTo>
                  <a:lnTo>
                    <a:pt x="43" y="90"/>
                  </a:lnTo>
                  <a:lnTo>
                    <a:pt x="40" y="90"/>
                  </a:lnTo>
                  <a:lnTo>
                    <a:pt x="40" y="92"/>
                  </a:lnTo>
                  <a:lnTo>
                    <a:pt x="40" y="92"/>
                  </a:lnTo>
                  <a:lnTo>
                    <a:pt x="36" y="92"/>
                  </a:lnTo>
                  <a:lnTo>
                    <a:pt x="31" y="90"/>
                  </a:lnTo>
                  <a:lnTo>
                    <a:pt x="29" y="90"/>
                  </a:lnTo>
                  <a:lnTo>
                    <a:pt x="26" y="90"/>
                  </a:lnTo>
                  <a:lnTo>
                    <a:pt x="24" y="92"/>
                  </a:lnTo>
                  <a:lnTo>
                    <a:pt x="22" y="92"/>
                  </a:lnTo>
                  <a:lnTo>
                    <a:pt x="22" y="92"/>
                  </a:lnTo>
                  <a:lnTo>
                    <a:pt x="19" y="95"/>
                  </a:lnTo>
                  <a:lnTo>
                    <a:pt x="17" y="97"/>
                  </a:lnTo>
                  <a:lnTo>
                    <a:pt x="14" y="99"/>
                  </a:lnTo>
                  <a:lnTo>
                    <a:pt x="14" y="102"/>
                  </a:lnTo>
                  <a:lnTo>
                    <a:pt x="12" y="106"/>
                  </a:lnTo>
                  <a:lnTo>
                    <a:pt x="14" y="109"/>
                  </a:lnTo>
                  <a:lnTo>
                    <a:pt x="14" y="109"/>
                  </a:lnTo>
                  <a:lnTo>
                    <a:pt x="14" y="111"/>
                  </a:lnTo>
                  <a:lnTo>
                    <a:pt x="14" y="111"/>
                  </a:lnTo>
                  <a:lnTo>
                    <a:pt x="14" y="111"/>
                  </a:lnTo>
                  <a:lnTo>
                    <a:pt x="14" y="113"/>
                  </a:lnTo>
                  <a:lnTo>
                    <a:pt x="14" y="116"/>
                  </a:lnTo>
                  <a:lnTo>
                    <a:pt x="14" y="118"/>
                  </a:lnTo>
                  <a:lnTo>
                    <a:pt x="14" y="118"/>
                  </a:lnTo>
                  <a:lnTo>
                    <a:pt x="17" y="125"/>
                  </a:lnTo>
                  <a:lnTo>
                    <a:pt x="17" y="125"/>
                  </a:lnTo>
                  <a:lnTo>
                    <a:pt x="17" y="128"/>
                  </a:lnTo>
                  <a:lnTo>
                    <a:pt x="14" y="130"/>
                  </a:lnTo>
                  <a:lnTo>
                    <a:pt x="14" y="135"/>
                  </a:lnTo>
                  <a:lnTo>
                    <a:pt x="17" y="137"/>
                  </a:lnTo>
                  <a:lnTo>
                    <a:pt x="19" y="137"/>
                  </a:lnTo>
                  <a:lnTo>
                    <a:pt x="22" y="139"/>
                  </a:lnTo>
                  <a:lnTo>
                    <a:pt x="24" y="139"/>
                  </a:lnTo>
                  <a:lnTo>
                    <a:pt x="24" y="142"/>
                  </a:lnTo>
                  <a:lnTo>
                    <a:pt x="24" y="144"/>
                  </a:lnTo>
                  <a:lnTo>
                    <a:pt x="24" y="144"/>
                  </a:lnTo>
                  <a:lnTo>
                    <a:pt x="24" y="147"/>
                  </a:lnTo>
                  <a:lnTo>
                    <a:pt x="22" y="147"/>
                  </a:lnTo>
                  <a:lnTo>
                    <a:pt x="22" y="147"/>
                  </a:lnTo>
                  <a:lnTo>
                    <a:pt x="22" y="149"/>
                  </a:lnTo>
                  <a:lnTo>
                    <a:pt x="19" y="149"/>
                  </a:lnTo>
                  <a:lnTo>
                    <a:pt x="17" y="149"/>
                  </a:lnTo>
                  <a:lnTo>
                    <a:pt x="17" y="149"/>
                  </a:lnTo>
                  <a:lnTo>
                    <a:pt x="17" y="151"/>
                  </a:lnTo>
                  <a:lnTo>
                    <a:pt x="19" y="154"/>
                  </a:lnTo>
                  <a:lnTo>
                    <a:pt x="19" y="158"/>
                  </a:lnTo>
                  <a:lnTo>
                    <a:pt x="22" y="158"/>
                  </a:lnTo>
                  <a:lnTo>
                    <a:pt x="19" y="161"/>
                  </a:lnTo>
                  <a:lnTo>
                    <a:pt x="19" y="163"/>
                  </a:lnTo>
                  <a:lnTo>
                    <a:pt x="19" y="163"/>
                  </a:lnTo>
                  <a:lnTo>
                    <a:pt x="19" y="166"/>
                  </a:lnTo>
                  <a:lnTo>
                    <a:pt x="19" y="168"/>
                  </a:lnTo>
                  <a:lnTo>
                    <a:pt x="17" y="168"/>
                  </a:lnTo>
                  <a:lnTo>
                    <a:pt x="14" y="170"/>
                  </a:lnTo>
                  <a:lnTo>
                    <a:pt x="12" y="170"/>
                  </a:lnTo>
                  <a:lnTo>
                    <a:pt x="12" y="170"/>
                  </a:lnTo>
                  <a:lnTo>
                    <a:pt x="12" y="170"/>
                  </a:lnTo>
                  <a:lnTo>
                    <a:pt x="10" y="173"/>
                  </a:lnTo>
                  <a:lnTo>
                    <a:pt x="10" y="175"/>
                  </a:lnTo>
                  <a:lnTo>
                    <a:pt x="7" y="175"/>
                  </a:lnTo>
                  <a:lnTo>
                    <a:pt x="7" y="177"/>
                  </a:lnTo>
                  <a:lnTo>
                    <a:pt x="7" y="180"/>
                  </a:lnTo>
                  <a:lnTo>
                    <a:pt x="10" y="182"/>
                  </a:lnTo>
                  <a:lnTo>
                    <a:pt x="7" y="184"/>
                  </a:lnTo>
                  <a:lnTo>
                    <a:pt x="7" y="187"/>
                  </a:lnTo>
                  <a:lnTo>
                    <a:pt x="7" y="189"/>
                  </a:lnTo>
                  <a:lnTo>
                    <a:pt x="5" y="189"/>
                  </a:lnTo>
                  <a:lnTo>
                    <a:pt x="5" y="189"/>
                  </a:lnTo>
                  <a:lnTo>
                    <a:pt x="3" y="187"/>
                  </a:lnTo>
                  <a:lnTo>
                    <a:pt x="3" y="187"/>
                  </a:lnTo>
                  <a:lnTo>
                    <a:pt x="0" y="187"/>
                  </a:lnTo>
                  <a:lnTo>
                    <a:pt x="0" y="187"/>
                  </a:lnTo>
                  <a:lnTo>
                    <a:pt x="0" y="187"/>
                  </a:lnTo>
                  <a:lnTo>
                    <a:pt x="0" y="189"/>
                  </a:lnTo>
                  <a:lnTo>
                    <a:pt x="0" y="189"/>
                  </a:lnTo>
                  <a:lnTo>
                    <a:pt x="0" y="194"/>
                  </a:lnTo>
                  <a:lnTo>
                    <a:pt x="0" y="199"/>
                  </a:lnTo>
                  <a:lnTo>
                    <a:pt x="0" y="199"/>
                  </a:lnTo>
                  <a:lnTo>
                    <a:pt x="0" y="201"/>
                  </a:lnTo>
                  <a:lnTo>
                    <a:pt x="3" y="199"/>
                  </a:lnTo>
                  <a:lnTo>
                    <a:pt x="3" y="201"/>
                  </a:lnTo>
                  <a:lnTo>
                    <a:pt x="5" y="206"/>
                  </a:lnTo>
                  <a:lnTo>
                    <a:pt x="5" y="208"/>
                  </a:lnTo>
                  <a:lnTo>
                    <a:pt x="7" y="208"/>
                  </a:lnTo>
                  <a:lnTo>
                    <a:pt x="7" y="213"/>
                  </a:lnTo>
                  <a:lnTo>
                    <a:pt x="7" y="213"/>
                  </a:lnTo>
                  <a:lnTo>
                    <a:pt x="10" y="213"/>
                  </a:lnTo>
                  <a:lnTo>
                    <a:pt x="10" y="215"/>
                  </a:lnTo>
                  <a:lnTo>
                    <a:pt x="12" y="218"/>
                  </a:lnTo>
                  <a:lnTo>
                    <a:pt x="12" y="218"/>
                  </a:lnTo>
                  <a:lnTo>
                    <a:pt x="14" y="218"/>
                  </a:lnTo>
                  <a:lnTo>
                    <a:pt x="14" y="222"/>
                  </a:lnTo>
                  <a:lnTo>
                    <a:pt x="19" y="229"/>
                  </a:lnTo>
                  <a:lnTo>
                    <a:pt x="22" y="229"/>
                  </a:lnTo>
                  <a:lnTo>
                    <a:pt x="24" y="234"/>
                  </a:lnTo>
                  <a:lnTo>
                    <a:pt x="24" y="234"/>
                  </a:lnTo>
                  <a:lnTo>
                    <a:pt x="26" y="234"/>
                  </a:lnTo>
                  <a:lnTo>
                    <a:pt x="26" y="236"/>
                  </a:lnTo>
                  <a:lnTo>
                    <a:pt x="26" y="236"/>
                  </a:lnTo>
                  <a:lnTo>
                    <a:pt x="24" y="236"/>
                  </a:lnTo>
                  <a:lnTo>
                    <a:pt x="22" y="239"/>
                  </a:lnTo>
                  <a:lnTo>
                    <a:pt x="24" y="239"/>
                  </a:lnTo>
                  <a:lnTo>
                    <a:pt x="24" y="239"/>
                  </a:lnTo>
                  <a:lnTo>
                    <a:pt x="24" y="241"/>
                  </a:lnTo>
                  <a:lnTo>
                    <a:pt x="24" y="241"/>
                  </a:lnTo>
                  <a:lnTo>
                    <a:pt x="24" y="241"/>
                  </a:lnTo>
                  <a:lnTo>
                    <a:pt x="22" y="241"/>
                  </a:lnTo>
                  <a:lnTo>
                    <a:pt x="19" y="241"/>
                  </a:lnTo>
                  <a:lnTo>
                    <a:pt x="22" y="241"/>
                  </a:lnTo>
                  <a:lnTo>
                    <a:pt x="22" y="244"/>
                  </a:lnTo>
                  <a:lnTo>
                    <a:pt x="26" y="248"/>
                  </a:lnTo>
                  <a:lnTo>
                    <a:pt x="26" y="251"/>
                  </a:lnTo>
                  <a:lnTo>
                    <a:pt x="29" y="251"/>
                  </a:lnTo>
                  <a:lnTo>
                    <a:pt x="29" y="253"/>
                  </a:lnTo>
                  <a:lnTo>
                    <a:pt x="29" y="253"/>
                  </a:lnTo>
                  <a:lnTo>
                    <a:pt x="26" y="255"/>
                  </a:lnTo>
                  <a:lnTo>
                    <a:pt x="26" y="258"/>
                  </a:lnTo>
                  <a:lnTo>
                    <a:pt x="26" y="258"/>
                  </a:lnTo>
                  <a:lnTo>
                    <a:pt x="33" y="260"/>
                  </a:lnTo>
                  <a:lnTo>
                    <a:pt x="40" y="258"/>
                  </a:lnTo>
                  <a:lnTo>
                    <a:pt x="45" y="258"/>
                  </a:lnTo>
                  <a:lnTo>
                    <a:pt x="47" y="258"/>
                  </a:lnTo>
                  <a:lnTo>
                    <a:pt x="50" y="255"/>
                  </a:lnTo>
                  <a:lnTo>
                    <a:pt x="47" y="253"/>
                  </a:lnTo>
                  <a:lnTo>
                    <a:pt x="47" y="253"/>
                  </a:lnTo>
                  <a:lnTo>
                    <a:pt x="47" y="251"/>
                  </a:lnTo>
                  <a:lnTo>
                    <a:pt x="47" y="248"/>
                  </a:lnTo>
                  <a:lnTo>
                    <a:pt x="50" y="246"/>
                  </a:lnTo>
                  <a:lnTo>
                    <a:pt x="50" y="246"/>
                  </a:lnTo>
                  <a:lnTo>
                    <a:pt x="52" y="246"/>
                  </a:lnTo>
                  <a:lnTo>
                    <a:pt x="55" y="246"/>
                  </a:lnTo>
                  <a:lnTo>
                    <a:pt x="55" y="246"/>
                  </a:lnTo>
                  <a:lnTo>
                    <a:pt x="55" y="244"/>
                  </a:lnTo>
                  <a:lnTo>
                    <a:pt x="55" y="244"/>
                  </a:lnTo>
                  <a:lnTo>
                    <a:pt x="59" y="244"/>
                  </a:lnTo>
                  <a:lnTo>
                    <a:pt x="64" y="244"/>
                  </a:lnTo>
                  <a:lnTo>
                    <a:pt x="66" y="244"/>
                  </a:lnTo>
                  <a:lnTo>
                    <a:pt x="69" y="244"/>
                  </a:lnTo>
                  <a:lnTo>
                    <a:pt x="71" y="244"/>
                  </a:lnTo>
                  <a:lnTo>
                    <a:pt x="71" y="244"/>
                  </a:lnTo>
                  <a:lnTo>
                    <a:pt x="73" y="244"/>
                  </a:lnTo>
                  <a:lnTo>
                    <a:pt x="73" y="241"/>
                  </a:lnTo>
                  <a:lnTo>
                    <a:pt x="76" y="236"/>
                  </a:lnTo>
                  <a:lnTo>
                    <a:pt x="78" y="234"/>
                  </a:lnTo>
                  <a:lnTo>
                    <a:pt x="78" y="232"/>
                  </a:lnTo>
                  <a:lnTo>
                    <a:pt x="80" y="229"/>
                  </a:lnTo>
                  <a:lnTo>
                    <a:pt x="80" y="227"/>
                  </a:lnTo>
                  <a:lnTo>
                    <a:pt x="80" y="225"/>
                  </a:lnTo>
                  <a:lnTo>
                    <a:pt x="80" y="225"/>
                  </a:lnTo>
                  <a:lnTo>
                    <a:pt x="80" y="222"/>
                  </a:lnTo>
                  <a:lnTo>
                    <a:pt x="80" y="222"/>
                  </a:lnTo>
                  <a:lnTo>
                    <a:pt x="83" y="218"/>
                  </a:lnTo>
                  <a:lnTo>
                    <a:pt x="83" y="218"/>
                  </a:lnTo>
                  <a:lnTo>
                    <a:pt x="83" y="215"/>
                  </a:lnTo>
                  <a:lnTo>
                    <a:pt x="83" y="215"/>
                  </a:lnTo>
                  <a:lnTo>
                    <a:pt x="83" y="213"/>
                  </a:lnTo>
                  <a:lnTo>
                    <a:pt x="80" y="210"/>
                  </a:lnTo>
                  <a:lnTo>
                    <a:pt x="83" y="208"/>
                  </a:lnTo>
                  <a:lnTo>
                    <a:pt x="83" y="208"/>
                  </a:lnTo>
                  <a:lnTo>
                    <a:pt x="83" y="203"/>
                  </a:lnTo>
                  <a:lnTo>
                    <a:pt x="85" y="203"/>
                  </a:lnTo>
                  <a:lnTo>
                    <a:pt x="83" y="201"/>
                  </a:lnTo>
                  <a:lnTo>
                    <a:pt x="83" y="199"/>
                  </a:lnTo>
                  <a:lnTo>
                    <a:pt x="85" y="199"/>
                  </a:lnTo>
                  <a:lnTo>
                    <a:pt x="88" y="196"/>
                  </a:lnTo>
                  <a:lnTo>
                    <a:pt x="85" y="196"/>
                  </a:lnTo>
                  <a:lnTo>
                    <a:pt x="83" y="196"/>
                  </a:lnTo>
                  <a:lnTo>
                    <a:pt x="80" y="194"/>
                  </a:lnTo>
                  <a:lnTo>
                    <a:pt x="78" y="196"/>
                  </a:lnTo>
                  <a:lnTo>
                    <a:pt x="78" y="194"/>
                  </a:lnTo>
                  <a:lnTo>
                    <a:pt x="76" y="194"/>
                  </a:lnTo>
                  <a:lnTo>
                    <a:pt x="78" y="194"/>
                  </a:lnTo>
                  <a:lnTo>
                    <a:pt x="83" y="194"/>
                  </a:lnTo>
                  <a:lnTo>
                    <a:pt x="88" y="194"/>
                  </a:lnTo>
                  <a:lnTo>
                    <a:pt x="90" y="194"/>
                  </a:lnTo>
                  <a:lnTo>
                    <a:pt x="92" y="192"/>
                  </a:lnTo>
                  <a:lnTo>
                    <a:pt x="95" y="189"/>
                  </a:lnTo>
                  <a:lnTo>
                    <a:pt x="97" y="189"/>
                  </a:lnTo>
                  <a:lnTo>
                    <a:pt x="99" y="189"/>
                  </a:lnTo>
                  <a:lnTo>
                    <a:pt x="99" y="189"/>
                  </a:lnTo>
                  <a:lnTo>
                    <a:pt x="102" y="187"/>
                  </a:lnTo>
                  <a:lnTo>
                    <a:pt x="104" y="187"/>
                  </a:lnTo>
                  <a:lnTo>
                    <a:pt x="106" y="184"/>
                  </a:lnTo>
                  <a:lnTo>
                    <a:pt x="106" y="184"/>
                  </a:lnTo>
                  <a:lnTo>
                    <a:pt x="109" y="184"/>
                  </a:lnTo>
                  <a:lnTo>
                    <a:pt x="109" y="182"/>
                  </a:lnTo>
                  <a:lnTo>
                    <a:pt x="109" y="182"/>
                  </a:lnTo>
                  <a:lnTo>
                    <a:pt x="111" y="182"/>
                  </a:lnTo>
                  <a:lnTo>
                    <a:pt x="111" y="180"/>
                  </a:lnTo>
                  <a:lnTo>
                    <a:pt x="109" y="180"/>
                  </a:lnTo>
                  <a:lnTo>
                    <a:pt x="109" y="180"/>
                  </a:lnTo>
                  <a:lnTo>
                    <a:pt x="109" y="180"/>
                  </a:lnTo>
                  <a:lnTo>
                    <a:pt x="106" y="180"/>
                  </a:lnTo>
                  <a:lnTo>
                    <a:pt x="106" y="180"/>
                  </a:lnTo>
                  <a:lnTo>
                    <a:pt x="104" y="182"/>
                  </a:lnTo>
                  <a:lnTo>
                    <a:pt x="104" y="182"/>
                  </a:lnTo>
                  <a:lnTo>
                    <a:pt x="102" y="182"/>
                  </a:lnTo>
                  <a:lnTo>
                    <a:pt x="102" y="180"/>
                  </a:lnTo>
                  <a:lnTo>
                    <a:pt x="104" y="180"/>
                  </a:lnTo>
                  <a:lnTo>
                    <a:pt x="104" y="180"/>
                  </a:lnTo>
                  <a:lnTo>
                    <a:pt x="106" y="180"/>
                  </a:lnTo>
                  <a:lnTo>
                    <a:pt x="106" y="177"/>
                  </a:lnTo>
                  <a:lnTo>
                    <a:pt x="109" y="177"/>
                  </a:lnTo>
                  <a:lnTo>
                    <a:pt x="111" y="177"/>
                  </a:lnTo>
                  <a:lnTo>
                    <a:pt x="111" y="175"/>
                  </a:lnTo>
                  <a:lnTo>
                    <a:pt x="113" y="175"/>
                  </a:lnTo>
                  <a:lnTo>
                    <a:pt x="116" y="173"/>
                  </a:lnTo>
                  <a:lnTo>
                    <a:pt x="116" y="173"/>
                  </a:lnTo>
                  <a:lnTo>
                    <a:pt x="116" y="173"/>
                  </a:lnTo>
                  <a:lnTo>
                    <a:pt x="116" y="170"/>
                  </a:lnTo>
                  <a:lnTo>
                    <a:pt x="113" y="168"/>
                  </a:lnTo>
                  <a:lnTo>
                    <a:pt x="113" y="168"/>
                  </a:lnTo>
                  <a:lnTo>
                    <a:pt x="113" y="166"/>
                  </a:lnTo>
                  <a:lnTo>
                    <a:pt x="111" y="166"/>
                  </a:lnTo>
                  <a:lnTo>
                    <a:pt x="109" y="166"/>
                  </a:lnTo>
                  <a:lnTo>
                    <a:pt x="109" y="163"/>
                  </a:lnTo>
                  <a:lnTo>
                    <a:pt x="106" y="161"/>
                  </a:lnTo>
                  <a:lnTo>
                    <a:pt x="104" y="161"/>
                  </a:lnTo>
                  <a:lnTo>
                    <a:pt x="104" y="161"/>
                  </a:lnTo>
                  <a:lnTo>
                    <a:pt x="102" y="158"/>
                  </a:lnTo>
                  <a:lnTo>
                    <a:pt x="99" y="156"/>
                  </a:lnTo>
                  <a:lnTo>
                    <a:pt x="99" y="156"/>
                  </a:lnTo>
                  <a:lnTo>
                    <a:pt x="97" y="158"/>
                  </a:lnTo>
                  <a:lnTo>
                    <a:pt x="95" y="158"/>
                  </a:lnTo>
                  <a:lnTo>
                    <a:pt x="95" y="156"/>
                  </a:lnTo>
                  <a:lnTo>
                    <a:pt x="95" y="156"/>
                  </a:lnTo>
                  <a:lnTo>
                    <a:pt x="95" y="156"/>
                  </a:lnTo>
                  <a:lnTo>
                    <a:pt x="92" y="156"/>
                  </a:lnTo>
                  <a:lnTo>
                    <a:pt x="92" y="156"/>
                  </a:lnTo>
                  <a:lnTo>
                    <a:pt x="90" y="154"/>
                  </a:lnTo>
                  <a:lnTo>
                    <a:pt x="90" y="154"/>
                  </a:lnTo>
                  <a:lnTo>
                    <a:pt x="90" y="151"/>
                  </a:lnTo>
                  <a:lnTo>
                    <a:pt x="88" y="149"/>
                  </a:lnTo>
                  <a:lnTo>
                    <a:pt x="88" y="149"/>
                  </a:lnTo>
                  <a:lnTo>
                    <a:pt x="88" y="147"/>
                  </a:lnTo>
                  <a:lnTo>
                    <a:pt x="88" y="144"/>
                  </a:lnTo>
                  <a:lnTo>
                    <a:pt x="88" y="144"/>
                  </a:lnTo>
                  <a:lnTo>
                    <a:pt x="88" y="142"/>
                  </a:lnTo>
                  <a:lnTo>
                    <a:pt x="88" y="142"/>
                  </a:lnTo>
                  <a:lnTo>
                    <a:pt x="88" y="142"/>
                  </a:lnTo>
                  <a:lnTo>
                    <a:pt x="88" y="139"/>
                  </a:lnTo>
                  <a:lnTo>
                    <a:pt x="88" y="139"/>
                  </a:lnTo>
                  <a:lnTo>
                    <a:pt x="88" y="137"/>
                  </a:lnTo>
                  <a:lnTo>
                    <a:pt x="88" y="137"/>
                  </a:lnTo>
                  <a:lnTo>
                    <a:pt x="88" y="135"/>
                  </a:lnTo>
                  <a:lnTo>
                    <a:pt x="90" y="135"/>
                  </a:lnTo>
                  <a:lnTo>
                    <a:pt x="92" y="135"/>
                  </a:lnTo>
                  <a:lnTo>
                    <a:pt x="90" y="135"/>
                  </a:lnTo>
                  <a:lnTo>
                    <a:pt x="90" y="135"/>
                  </a:lnTo>
                  <a:lnTo>
                    <a:pt x="90" y="132"/>
                  </a:lnTo>
                  <a:lnTo>
                    <a:pt x="90" y="130"/>
                  </a:lnTo>
                  <a:lnTo>
                    <a:pt x="92" y="130"/>
                  </a:lnTo>
                  <a:lnTo>
                    <a:pt x="92" y="128"/>
                  </a:lnTo>
                  <a:lnTo>
                    <a:pt x="92" y="125"/>
                  </a:lnTo>
                  <a:lnTo>
                    <a:pt x="95" y="125"/>
                  </a:lnTo>
                  <a:lnTo>
                    <a:pt x="92" y="125"/>
                  </a:lnTo>
                  <a:lnTo>
                    <a:pt x="90" y="123"/>
                  </a:lnTo>
                  <a:lnTo>
                    <a:pt x="90" y="121"/>
                  </a:lnTo>
                  <a:lnTo>
                    <a:pt x="90" y="121"/>
                  </a:lnTo>
                  <a:lnTo>
                    <a:pt x="90" y="121"/>
                  </a:lnTo>
                  <a:lnTo>
                    <a:pt x="92" y="121"/>
                  </a:lnTo>
                  <a:lnTo>
                    <a:pt x="92" y="121"/>
                  </a:lnTo>
                  <a:lnTo>
                    <a:pt x="95" y="121"/>
                  </a:lnTo>
                  <a:lnTo>
                    <a:pt x="95" y="121"/>
                  </a:lnTo>
                  <a:lnTo>
                    <a:pt x="97" y="121"/>
                  </a:lnTo>
                  <a:lnTo>
                    <a:pt x="97" y="118"/>
                  </a:lnTo>
                  <a:lnTo>
                    <a:pt x="99" y="118"/>
                  </a:lnTo>
                  <a:lnTo>
                    <a:pt x="99" y="118"/>
                  </a:lnTo>
                  <a:lnTo>
                    <a:pt x="97" y="118"/>
                  </a:lnTo>
                  <a:lnTo>
                    <a:pt x="97" y="118"/>
                  </a:lnTo>
                  <a:lnTo>
                    <a:pt x="97" y="116"/>
                  </a:lnTo>
                  <a:lnTo>
                    <a:pt x="99" y="116"/>
                  </a:lnTo>
                  <a:lnTo>
                    <a:pt x="97" y="116"/>
                  </a:lnTo>
                  <a:lnTo>
                    <a:pt x="97" y="113"/>
                  </a:lnTo>
                  <a:lnTo>
                    <a:pt x="97" y="113"/>
                  </a:lnTo>
                  <a:lnTo>
                    <a:pt x="97" y="113"/>
                  </a:lnTo>
                  <a:lnTo>
                    <a:pt x="97" y="113"/>
                  </a:lnTo>
                  <a:lnTo>
                    <a:pt x="99" y="113"/>
                  </a:lnTo>
                  <a:lnTo>
                    <a:pt x="99" y="113"/>
                  </a:lnTo>
                  <a:lnTo>
                    <a:pt x="99" y="116"/>
                  </a:lnTo>
                  <a:lnTo>
                    <a:pt x="102" y="116"/>
                  </a:lnTo>
                  <a:lnTo>
                    <a:pt x="102" y="113"/>
                  </a:lnTo>
                  <a:lnTo>
                    <a:pt x="102" y="113"/>
                  </a:lnTo>
                  <a:lnTo>
                    <a:pt x="104" y="113"/>
                  </a:lnTo>
                  <a:lnTo>
                    <a:pt x="106" y="111"/>
                  </a:lnTo>
                  <a:lnTo>
                    <a:pt x="106" y="111"/>
                  </a:lnTo>
                  <a:lnTo>
                    <a:pt x="106" y="111"/>
                  </a:lnTo>
                  <a:lnTo>
                    <a:pt x="102" y="111"/>
                  </a:lnTo>
                  <a:lnTo>
                    <a:pt x="104" y="111"/>
                  </a:lnTo>
                  <a:lnTo>
                    <a:pt x="104" y="111"/>
                  </a:lnTo>
                  <a:lnTo>
                    <a:pt x="106" y="109"/>
                  </a:lnTo>
                  <a:lnTo>
                    <a:pt x="106" y="109"/>
                  </a:lnTo>
                  <a:lnTo>
                    <a:pt x="106" y="106"/>
                  </a:lnTo>
                  <a:lnTo>
                    <a:pt x="109" y="106"/>
                  </a:lnTo>
                  <a:lnTo>
                    <a:pt x="109" y="106"/>
                  </a:lnTo>
                  <a:lnTo>
                    <a:pt x="109" y="106"/>
                  </a:lnTo>
                  <a:lnTo>
                    <a:pt x="111" y="106"/>
                  </a:lnTo>
                  <a:lnTo>
                    <a:pt x="111" y="106"/>
                  </a:lnTo>
                  <a:lnTo>
                    <a:pt x="109" y="106"/>
                  </a:lnTo>
                  <a:lnTo>
                    <a:pt x="109" y="106"/>
                  </a:lnTo>
                  <a:lnTo>
                    <a:pt x="113" y="106"/>
                  </a:lnTo>
                  <a:lnTo>
                    <a:pt x="116" y="104"/>
                  </a:lnTo>
                  <a:lnTo>
                    <a:pt x="116" y="102"/>
                  </a:lnTo>
                  <a:lnTo>
                    <a:pt x="118" y="102"/>
                  </a:lnTo>
                  <a:lnTo>
                    <a:pt x="118" y="102"/>
                  </a:lnTo>
                  <a:lnTo>
                    <a:pt x="118" y="102"/>
                  </a:lnTo>
                  <a:lnTo>
                    <a:pt x="118" y="102"/>
                  </a:lnTo>
                  <a:lnTo>
                    <a:pt x="121" y="102"/>
                  </a:lnTo>
                  <a:lnTo>
                    <a:pt x="121" y="102"/>
                  </a:lnTo>
                  <a:lnTo>
                    <a:pt x="123" y="102"/>
                  </a:lnTo>
                  <a:lnTo>
                    <a:pt x="123" y="102"/>
                  </a:lnTo>
                  <a:lnTo>
                    <a:pt x="125" y="99"/>
                  </a:lnTo>
                  <a:lnTo>
                    <a:pt x="130" y="99"/>
                  </a:lnTo>
                  <a:lnTo>
                    <a:pt x="132" y="97"/>
                  </a:lnTo>
                  <a:lnTo>
                    <a:pt x="132" y="97"/>
                  </a:lnTo>
                  <a:lnTo>
                    <a:pt x="135" y="95"/>
                  </a:lnTo>
                  <a:lnTo>
                    <a:pt x="137" y="95"/>
                  </a:lnTo>
                  <a:lnTo>
                    <a:pt x="139" y="87"/>
                  </a:lnTo>
                  <a:lnTo>
                    <a:pt x="144" y="87"/>
                  </a:lnTo>
                  <a:lnTo>
                    <a:pt x="146" y="85"/>
                  </a:lnTo>
                  <a:lnTo>
                    <a:pt x="146" y="85"/>
                  </a:lnTo>
                  <a:lnTo>
                    <a:pt x="146" y="83"/>
                  </a:lnTo>
                  <a:lnTo>
                    <a:pt x="144" y="83"/>
                  </a:lnTo>
                  <a:lnTo>
                    <a:pt x="144" y="80"/>
                  </a:lnTo>
                  <a:lnTo>
                    <a:pt x="144" y="78"/>
                  </a:lnTo>
                  <a:lnTo>
                    <a:pt x="142" y="78"/>
                  </a:lnTo>
                  <a:lnTo>
                    <a:pt x="142" y="76"/>
                  </a:lnTo>
                  <a:lnTo>
                    <a:pt x="142" y="76"/>
                  </a:lnTo>
                  <a:lnTo>
                    <a:pt x="142" y="73"/>
                  </a:lnTo>
                  <a:lnTo>
                    <a:pt x="144" y="73"/>
                  </a:lnTo>
                  <a:lnTo>
                    <a:pt x="146" y="71"/>
                  </a:lnTo>
                  <a:lnTo>
                    <a:pt x="146" y="71"/>
                  </a:lnTo>
                  <a:lnTo>
                    <a:pt x="146" y="69"/>
                  </a:lnTo>
                  <a:lnTo>
                    <a:pt x="146" y="69"/>
                  </a:lnTo>
                  <a:lnTo>
                    <a:pt x="144" y="69"/>
                  </a:lnTo>
                  <a:lnTo>
                    <a:pt x="144" y="69"/>
                  </a:lnTo>
                  <a:lnTo>
                    <a:pt x="144" y="66"/>
                  </a:lnTo>
                  <a:lnTo>
                    <a:pt x="146" y="69"/>
                  </a:lnTo>
                  <a:lnTo>
                    <a:pt x="146" y="69"/>
                  </a:lnTo>
                  <a:lnTo>
                    <a:pt x="146" y="69"/>
                  </a:lnTo>
                  <a:lnTo>
                    <a:pt x="146" y="69"/>
                  </a:lnTo>
                  <a:lnTo>
                    <a:pt x="146" y="66"/>
                  </a:lnTo>
                  <a:lnTo>
                    <a:pt x="146" y="66"/>
                  </a:lnTo>
                  <a:lnTo>
                    <a:pt x="146" y="66"/>
                  </a:lnTo>
                  <a:lnTo>
                    <a:pt x="146" y="66"/>
                  </a:lnTo>
                  <a:lnTo>
                    <a:pt x="146" y="66"/>
                  </a:lnTo>
                  <a:lnTo>
                    <a:pt x="151" y="66"/>
                  </a:lnTo>
                  <a:lnTo>
                    <a:pt x="151" y="66"/>
                  </a:lnTo>
                  <a:lnTo>
                    <a:pt x="151" y="64"/>
                  </a:lnTo>
                  <a:lnTo>
                    <a:pt x="151" y="64"/>
                  </a:lnTo>
                  <a:lnTo>
                    <a:pt x="151" y="64"/>
                  </a:lnTo>
                  <a:lnTo>
                    <a:pt x="154" y="64"/>
                  </a:lnTo>
                  <a:lnTo>
                    <a:pt x="154" y="64"/>
                  </a:lnTo>
                  <a:lnTo>
                    <a:pt x="154" y="64"/>
                  </a:lnTo>
                  <a:lnTo>
                    <a:pt x="154" y="61"/>
                  </a:lnTo>
                  <a:lnTo>
                    <a:pt x="154" y="61"/>
                  </a:lnTo>
                  <a:lnTo>
                    <a:pt x="156" y="61"/>
                  </a:lnTo>
                  <a:lnTo>
                    <a:pt x="156" y="61"/>
                  </a:lnTo>
                  <a:lnTo>
                    <a:pt x="156" y="59"/>
                  </a:lnTo>
                  <a:lnTo>
                    <a:pt x="156" y="59"/>
                  </a:lnTo>
                  <a:lnTo>
                    <a:pt x="156" y="59"/>
                  </a:lnTo>
                  <a:lnTo>
                    <a:pt x="156" y="57"/>
                  </a:lnTo>
                  <a:lnTo>
                    <a:pt x="156" y="57"/>
                  </a:lnTo>
                  <a:lnTo>
                    <a:pt x="158" y="57"/>
                  </a:lnTo>
                  <a:lnTo>
                    <a:pt x="158" y="59"/>
                  </a:lnTo>
                  <a:lnTo>
                    <a:pt x="161" y="59"/>
                  </a:lnTo>
                  <a:lnTo>
                    <a:pt x="161" y="57"/>
                  </a:lnTo>
                  <a:lnTo>
                    <a:pt x="165" y="59"/>
                  </a:lnTo>
                  <a:lnTo>
                    <a:pt x="168" y="59"/>
                  </a:lnTo>
                  <a:lnTo>
                    <a:pt x="168" y="59"/>
                  </a:lnTo>
                  <a:lnTo>
                    <a:pt x="168" y="59"/>
                  </a:lnTo>
                  <a:lnTo>
                    <a:pt x="172" y="59"/>
                  </a:lnTo>
                  <a:lnTo>
                    <a:pt x="175" y="59"/>
                  </a:lnTo>
                  <a:lnTo>
                    <a:pt x="175" y="59"/>
                  </a:lnTo>
                  <a:lnTo>
                    <a:pt x="177" y="59"/>
                  </a:lnTo>
                  <a:lnTo>
                    <a:pt x="182" y="59"/>
                  </a:lnTo>
                  <a:lnTo>
                    <a:pt x="179"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4" name="Freeform 230"/>
            <p:cNvSpPr>
              <a:spLocks/>
            </p:cNvSpPr>
            <p:nvPr userDrawn="1"/>
          </p:nvSpPr>
          <p:spPr bwMode="auto">
            <a:xfrm>
              <a:off x="4214" y="3352"/>
              <a:ext cx="23" cy="33"/>
            </a:xfrm>
            <a:custGeom>
              <a:avLst/>
              <a:gdLst>
                <a:gd name="T0" fmla="*/ 23 w 23"/>
                <a:gd name="T1" fmla="*/ 14 h 33"/>
                <a:gd name="T2" fmla="*/ 23 w 23"/>
                <a:gd name="T3" fmla="*/ 11 h 33"/>
                <a:gd name="T4" fmla="*/ 23 w 23"/>
                <a:gd name="T5" fmla="*/ 11 h 33"/>
                <a:gd name="T6" fmla="*/ 23 w 23"/>
                <a:gd name="T7" fmla="*/ 9 h 33"/>
                <a:gd name="T8" fmla="*/ 23 w 23"/>
                <a:gd name="T9" fmla="*/ 7 h 33"/>
                <a:gd name="T10" fmla="*/ 23 w 23"/>
                <a:gd name="T11" fmla="*/ 4 h 33"/>
                <a:gd name="T12" fmla="*/ 21 w 23"/>
                <a:gd name="T13" fmla="*/ 4 h 33"/>
                <a:gd name="T14" fmla="*/ 21 w 23"/>
                <a:gd name="T15" fmla="*/ 4 h 33"/>
                <a:gd name="T16" fmla="*/ 21 w 23"/>
                <a:gd name="T17" fmla="*/ 4 h 33"/>
                <a:gd name="T18" fmla="*/ 21 w 23"/>
                <a:gd name="T19" fmla="*/ 4 h 33"/>
                <a:gd name="T20" fmla="*/ 16 w 23"/>
                <a:gd name="T21" fmla="*/ 2 h 33"/>
                <a:gd name="T22" fmla="*/ 12 w 23"/>
                <a:gd name="T23" fmla="*/ 0 h 33"/>
                <a:gd name="T24" fmla="*/ 12 w 23"/>
                <a:gd name="T25" fmla="*/ 0 h 33"/>
                <a:gd name="T26" fmla="*/ 12 w 23"/>
                <a:gd name="T27" fmla="*/ 0 h 33"/>
                <a:gd name="T28" fmla="*/ 9 w 23"/>
                <a:gd name="T29" fmla="*/ 2 h 33"/>
                <a:gd name="T30" fmla="*/ 7 w 23"/>
                <a:gd name="T31" fmla="*/ 4 h 33"/>
                <a:gd name="T32" fmla="*/ 5 w 23"/>
                <a:gd name="T33" fmla="*/ 7 h 33"/>
                <a:gd name="T34" fmla="*/ 2 w 23"/>
                <a:gd name="T35" fmla="*/ 9 h 33"/>
                <a:gd name="T36" fmla="*/ 0 w 23"/>
                <a:gd name="T37" fmla="*/ 14 h 33"/>
                <a:gd name="T38" fmla="*/ 0 w 23"/>
                <a:gd name="T39" fmla="*/ 14 h 33"/>
                <a:gd name="T40" fmla="*/ 0 w 23"/>
                <a:gd name="T41" fmla="*/ 18 h 33"/>
                <a:gd name="T42" fmla="*/ 0 w 23"/>
                <a:gd name="T43" fmla="*/ 21 h 33"/>
                <a:gd name="T44" fmla="*/ 0 w 23"/>
                <a:gd name="T45" fmla="*/ 21 h 33"/>
                <a:gd name="T46" fmla="*/ 2 w 23"/>
                <a:gd name="T47" fmla="*/ 21 h 33"/>
                <a:gd name="T48" fmla="*/ 2 w 23"/>
                <a:gd name="T49" fmla="*/ 23 h 33"/>
                <a:gd name="T50" fmla="*/ 5 w 23"/>
                <a:gd name="T51" fmla="*/ 28 h 33"/>
                <a:gd name="T52" fmla="*/ 7 w 23"/>
                <a:gd name="T53" fmla="*/ 30 h 33"/>
                <a:gd name="T54" fmla="*/ 12 w 23"/>
                <a:gd name="T55" fmla="*/ 33 h 33"/>
                <a:gd name="T56" fmla="*/ 16 w 23"/>
                <a:gd name="T57" fmla="*/ 33 h 33"/>
                <a:gd name="T58" fmla="*/ 21 w 23"/>
                <a:gd name="T59" fmla="*/ 33 h 33"/>
                <a:gd name="T60" fmla="*/ 21 w 23"/>
                <a:gd name="T61" fmla="*/ 30 h 33"/>
                <a:gd name="T62" fmla="*/ 21 w 23"/>
                <a:gd name="T63" fmla="*/ 26 h 33"/>
                <a:gd name="T64" fmla="*/ 21 w 23"/>
                <a:gd name="T65" fmla="*/ 21 h 33"/>
                <a:gd name="T66" fmla="*/ 21 w 23"/>
                <a:gd name="T67" fmla="*/ 21 h 33"/>
                <a:gd name="T68" fmla="*/ 23 w 23"/>
                <a:gd name="T69" fmla="*/ 23 h 33"/>
                <a:gd name="T70" fmla="*/ 23 w 23"/>
                <a:gd name="T71" fmla="*/ 23 h 33"/>
                <a:gd name="T72" fmla="*/ 23 w 23"/>
                <a:gd name="T73" fmla="*/ 16 h 33"/>
                <a:gd name="T74" fmla="*/ 23 w 23"/>
                <a:gd name="T7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33">
                  <a:moveTo>
                    <a:pt x="23" y="14"/>
                  </a:moveTo>
                  <a:lnTo>
                    <a:pt x="23" y="11"/>
                  </a:lnTo>
                  <a:lnTo>
                    <a:pt x="23" y="11"/>
                  </a:lnTo>
                  <a:lnTo>
                    <a:pt x="23" y="9"/>
                  </a:lnTo>
                  <a:lnTo>
                    <a:pt x="23" y="7"/>
                  </a:lnTo>
                  <a:lnTo>
                    <a:pt x="23" y="4"/>
                  </a:lnTo>
                  <a:lnTo>
                    <a:pt x="21" y="4"/>
                  </a:lnTo>
                  <a:lnTo>
                    <a:pt x="21" y="4"/>
                  </a:lnTo>
                  <a:lnTo>
                    <a:pt x="21" y="4"/>
                  </a:lnTo>
                  <a:lnTo>
                    <a:pt x="21" y="4"/>
                  </a:lnTo>
                  <a:lnTo>
                    <a:pt x="16" y="2"/>
                  </a:lnTo>
                  <a:lnTo>
                    <a:pt x="12" y="0"/>
                  </a:lnTo>
                  <a:lnTo>
                    <a:pt x="12" y="0"/>
                  </a:lnTo>
                  <a:lnTo>
                    <a:pt x="12" y="0"/>
                  </a:lnTo>
                  <a:lnTo>
                    <a:pt x="9" y="2"/>
                  </a:lnTo>
                  <a:lnTo>
                    <a:pt x="7" y="4"/>
                  </a:lnTo>
                  <a:lnTo>
                    <a:pt x="5" y="7"/>
                  </a:lnTo>
                  <a:lnTo>
                    <a:pt x="2" y="9"/>
                  </a:lnTo>
                  <a:lnTo>
                    <a:pt x="0" y="14"/>
                  </a:lnTo>
                  <a:lnTo>
                    <a:pt x="0" y="14"/>
                  </a:lnTo>
                  <a:lnTo>
                    <a:pt x="0" y="18"/>
                  </a:lnTo>
                  <a:lnTo>
                    <a:pt x="0" y="21"/>
                  </a:lnTo>
                  <a:lnTo>
                    <a:pt x="0" y="21"/>
                  </a:lnTo>
                  <a:lnTo>
                    <a:pt x="2" y="21"/>
                  </a:lnTo>
                  <a:lnTo>
                    <a:pt x="2" y="23"/>
                  </a:lnTo>
                  <a:lnTo>
                    <a:pt x="5" y="28"/>
                  </a:lnTo>
                  <a:lnTo>
                    <a:pt x="7" y="30"/>
                  </a:lnTo>
                  <a:lnTo>
                    <a:pt x="12" y="33"/>
                  </a:lnTo>
                  <a:lnTo>
                    <a:pt x="16" y="33"/>
                  </a:lnTo>
                  <a:lnTo>
                    <a:pt x="21" y="33"/>
                  </a:lnTo>
                  <a:lnTo>
                    <a:pt x="21" y="30"/>
                  </a:lnTo>
                  <a:lnTo>
                    <a:pt x="21" y="26"/>
                  </a:lnTo>
                  <a:lnTo>
                    <a:pt x="21" y="21"/>
                  </a:lnTo>
                  <a:lnTo>
                    <a:pt x="21" y="21"/>
                  </a:lnTo>
                  <a:lnTo>
                    <a:pt x="23" y="23"/>
                  </a:lnTo>
                  <a:lnTo>
                    <a:pt x="23" y="23"/>
                  </a:lnTo>
                  <a:lnTo>
                    <a:pt x="23" y="16"/>
                  </a:lnTo>
                  <a:lnTo>
                    <a:pt x="2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5" name="Freeform 231"/>
            <p:cNvSpPr>
              <a:spLocks/>
            </p:cNvSpPr>
            <p:nvPr userDrawn="1"/>
          </p:nvSpPr>
          <p:spPr bwMode="auto">
            <a:xfrm>
              <a:off x="2574" y="2682"/>
              <a:ext cx="77" cy="88"/>
            </a:xfrm>
            <a:custGeom>
              <a:avLst/>
              <a:gdLst>
                <a:gd name="T0" fmla="*/ 75 w 77"/>
                <a:gd name="T1" fmla="*/ 10 h 88"/>
                <a:gd name="T2" fmla="*/ 75 w 77"/>
                <a:gd name="T3" fmla="*/ 3 h 88"/>
                <a:gd name="T4" fmla="*/ 61 w 77"/>
                <a:gd name="T5" fmla="*/ 0 h 88"/>
                <a:gd name="T6" fmla="*/ 47 w 77"/>
                <a:gd name="T7" fmla="*/ 0 h 88"/>
                <a:gd name="T8" fmla="*/ 42 w 77"/>
                <a:gd name="T9" fmla="*/ 3 h 88"/>
                <a:gd name="T10" fmla="*/ 35 w 77"/>
                <a:gd name="T11" fmla="*/ 0 h 88"/>
                <a:gd name="T12" fmla="*/ 21 w 77"/>
                <a:gd name="T13" fmla="*/ 0 h 88"/>
                <a:gd name="T14" fmla="*/ 18 w 77"/>
                <a:gd name="T15" fmla="*/ 7 h 88"/>
                <a:gd name="T16" fmla="*/ 16 w 77"/>
                <a:gd name="T17" fmla="*/ 10 h 88"/>
                <a:gd name="T18" fmla="*/ 16 w 77"/>
                <a:gd name="T19" fmla="*/ 12 h 88"/>
                <a:gd name="T20" fmla="*/ 16 w 77"/>
                <a:gd name="T21" fmla="*/ 15 h 88"/>
                <a:gd name="T22" fmla="*/ 16 w 77"/>
                <a:gd name="T23" fmla="*/ 17 h 88"/>
                <a:gd name="T24" fmla="*/ 16 w 77"/>
                <a:gd name="T25" fmla="*/ 19 h 88"/>
                <a:gd name="T26" fmla="*/ 11 w 77"/>
                <a:gd name="T27" fmla="*/ 19 h 88"/>
                <a:gd name="T28" fmla="*/ 7 w 77"/>
                <a:gd name="T29" fmla="*/ 22 h 88"/>
                <a:gd name="T30" fmla="*/ 4 w 77"/>
                <a:gd name="T31" fmla="*/ 22 h 88"/>
                <a:gd name="T32" fmla="*/ 4 w 77"/>
                <a:gd name="T33" fmla="*/ 26 h 88"/>
                <a:gd name="T34" fmla="*/ 4 w 77"/>
                <a:gd name="T35" fmla="*/ 31 h 88"/>
                <a:gd name="T36" fmla="*/ 2 w 77"/>
                <a:gd name="T37" fmla="*/ 36 h 88"/>
                <a:gd name="T38" fmla="*/ 2 w 77"/>
                <a:gd name="T39" fmla="*/ 41 h 88"/>
                <a:gd name="T40" fmla="*/ 4 w 77"/>
                <a:gd name="T41" fmla="*/ 48 h 88"/>
                <a:gd name="T42" fmla="*/ 7 w 77"/>
                <a:gd name="T43" fmla="*/ 52 h 88"/>
                <a:gd name="T44" fmla="*/ 9 w 77"/>
                <a:gd name="T45" fmla="*/ 55 h 88"/>
                <a:gd name="T46" fmla="*/ 11 w 77"/>
                <a:gd name="T47" fmla="*/ 55 h 88"/>
                <a:gd name="T48" fmla="*/ 14 w 77"/>
                <a:gd name="T49" fmla="*/ 57 h 88"/>
                <a:gd name="T50" fmla="*/ 16 w 77"/>
                <a:gd name="T51" fmla="*/ 59 h 88"/>
                <a:gd name="T52" fmla="*/ 16 w 77"/>
                <a:gd name="T53" fmla="*/ 64 h 88"/>
                <a:gd name="T54" fmla="*/ 16 w 77"/>
                <a:gd name="T55" fmla="*/ 67 h 88"/>
                <a:gd name="T56" fmla="*/ 18 w 77"/>
                <a:gd name="T57" fmla="*/ 67 h 88"/>
                <a:gd name="T58" fmla="*/ 18 w 77"/>
                <a:gd name="T59" fmla="*/ 69 h 88"/>
                <a:gd name="T60" fmla="*/ 21 w 77"/>
                <a:gd name="T61" fmla="*/ 74 h 88"/>
                <a:gd name="T62" fmla="*/ 21 w 77"/>
                <a:gd name="T63" fmla="*/ 76 h 88"/>
                <a:gd name="T64" fmla="*/ 23 w 77"/>
                <a:gd name="T65" fmla="*/ 81 h 88"/>
                <a:gd name="T66" fmla="*/ 28 w 77"/>
                <a:gd name="T67" fmla="*/ 83 h 88"/>
                <a:gd name="T68" fmla="*/ 30 w 77"/>
                <a:gd name="T69" fmla="*/ 85 h 88"/>
                <a:gd name="T70" fmla="*/ 37 w 77"/>
                <a:gd name="T71" fmla="*/ 88 h 88"/>
                <a:gd name="T72" fmla="*/ 40 w 77"/>
                <a:gd name="T73" fmla="*/ 83 h 88"/>
                <a:gd name="T74" fmla="*/ 37 w 77"/>
                <a:gd name="T75" fmla="*/ 81 h 88"/>
                <a:gd name="T76" fmla="*/ 35 w 77"/>
                <a:gd name="T77" fmla="*/ 76 h 88"/>
                <a:gd name="T78" fmla="*/ 37 w 77"/>
                <a:gd name="T79" fmla="*/ 76 h 88"/>
                <a:gd name="T80" fmla="*/ 40 w 77"/>
                <a:gd name="T81" fmla="*/ 74 h 88"/>
                <a:gd name="T82" fmla="*/ 42 w 77"/>
                <a:gd name="T83" fmla="*/ 76 h 88"/>
                <a:gd name="T84" fmla="*/ 51 w 77"/>
                <a:gd name="T85" fmla="*/ 74 h 88"/>
                <a:gd name="T86" fmla="*/ 54 w 77"/>
                <a:gd name="T87" fmla="*/ 71 h 88"/>
                <a:gd name="T88" fmla="*/ 56 w 77"/>
                <a:gd name="T89" fmla="*/ 71 h 88"/>
                <a:gd name="T90" fmla="*/ 58 w 77"/>
                <a:gd name="T91" fmla="*/ 74 h 88"/>
                <a:gd name="T92" fmla="*/ 61 w 77"/>
                <a:gd name="T93" fmla="*/ 74 h 88"/>
                <a:gd name="T94" fmla="*/ 63 w 77"/>
                <a:gd name="T95" fmla="*/ 76 h 88"/>
                <a:gd name="T96" fmla="*/ 63 w 77"/>
                <a:gd name="T97" fmla="*/ 76 h 88"/>
                <a:gd name="T98" fmla="*/ 65 w 77"/>
                <a:gd name="T99" fmla="*/ 74 h 88"/>
                <a:gd name="T100" fmla="*/ 73 w 77"/>
                <a:gd name="T101" fmla="*/ 67 h 88"/>
                <a:gd name="T102" fmla="*/ 73 w 77"/>
                <a:gd name="T103" fmla="*/ 59 h 88"/>
                <a:gd name="T104" fmla="*/ 75 w 77"/>
                <a:gd name="T105" fmla="*/ 52 h 88"/>
                <a:gd name="T106" fmla="*/ 75 w 77"/>
                <a:gd name="T107" fmla="*/ 50 h 88"/>
                <a:gd name="T108" fmla="*/ 73 w 77"/>
                <a:gd name="T109" fmla="*/ 45 h 88"/>
                <a:gd name="T110" fmla="*/ 70 w 77"/>
                <a:gd name="T111" fmla="*/ 41 h 88"/>
                <a:gd name="T112" fmla="*/ 68 w 77"/>
                <a:gd name="T113" fmla="*/ 38 h 88"/>
                <a:gd name="T114" fmla="*/ 68 w 77"/>
                <a:gd name="T115" fmla="*/ 31 h 88"/>
                <a:gd name="T116" fmla="*/ 68 w 77"/>
                <a:gd name="T117" fmla="*/ 26 h 88"/>
                <a:gd name="T118" fmla="*/ 68 w 77"/>
                <a:gd name="T119" fmla="*/ 22 h 88"/>
                <a:gd name="T120" fmla="*/ 70 w 77"/>
                <a:gd name="T121" fmla="*/ 1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 h="88">
                  <a:moveTo>
                    <a:pt x="73" y="15"/>
                  </a:moveTo>
                  <a:lnTo>
                    <a:pt x="75" y="12"/>
                  </a:lnTo>
                  <a:lnTo>
                    <a:pt x="75" y="10"/>
                  </a:lnTo>
                  <a:lnTo>
                    <a:pt x="75" y="7"/>
                  </a:lnTo>
                  <a:lnTo>
                    <a:pt x="77" y="5"/>
                  </a:lnTo>
                  <a:lnTo>
                    <a:pt x="75" y="3"/>
                  </a:lnTo>
                  <a:lnTo>
                    <a:pt x="75" y="3"/>
                  </a:lnTo>
                  <a:lnTo>
                    <a:pt x="70" y="0"/>
                  </a:lnTo>
                  <a:lnTo>
                    <a:pt x="61" y="0"/>
                  </a:lnTo>
                  <a:lnTo>
                    <a:pt x="56" y="0"/>
                  </a:lnTo>
                  <a:lnTo>
                    <a:pt x="51" y="0"/>
                  </a:lnTo>
                  <a:lnTo>
                    <a:pt x="47" y="0"/>
                  </a:lnTo>
                  <a:lnTo>
                    <a:pt x="44" y="0"/>
                  </a:lnTo>
                  <a:lnTo>
                    <a:pt x="42" y="0"/>
                  </a:lnTo>
                  <a:lnTo>
                    <a:pt x="42" y="3"/>
                  </a:lnTo>
                  <a:lnTo>
                    <a:pt x="42" y="5"/>
                  </a:lnTo>
                  <a:lnTo>
                    <a:pt x="42" y="3"/>
                  </a:lnTo>
                  <a:lnTo>
                    <a:pt x="35" y="0"/>
                  </a:lnTo>
                  <a:lnTo>
                    <a:pt x="30" y="0"/>
                  </a:lnTo>
                  <a:lnTo>
                    <a:pt x="23" y="0"/>
                  </a:lnTo>
                  <a:lnTo>
                    <a:pt x="21" y="0"/>
                  </a:lnTo>
                  <a:lnTo>
                    <a:pt x="18" y="3"/>
                  </a:lnTo>
                  <a:lnTo>
                    <a:pt x="18" y="5"/>
                  </a:lnTo>
                  <a:lnTo>
                    <a:pt x="18" y="7"/>
                  </a:lnTo>
                  <a:lnTo>
                    <a:pt x="18" y="10"/>
                  </a:lnTo>
                  <a:lnTo>
                    <a:pt x="18" y="7"/>
                  </a:lnTo>
                  <a:lnTo>
                    <a:pt x="16" y="10"/>
                  </a:lnTo>
                  <a:lnTo>
                    <a:pt x="16" y="10"/>
                  </a:lnTo>
                  <a:lnTo>
                    <a:pt x="16" y="12"/>
                  </a:lnTo>
                  <a:lnTo>
                    <a:pt x="16" y="12"/>
                  </a:lnTo>
                  <a:lnTo>
                    <a:pt x="16" y="15"/>
                  </a:lnTo>
                  <a:lnTo>
                    <a:pt x="16" y="15"/>
                  </a:lnTo>
                  <a:lnTo>
                    <a:pt x="16" y="15"/>
                  </a:lnTo>
                  <a:lnTo>
                    <a:pt x="16" y="15"/>
                  </a:lnTo>
                  <a:lnTo>
                    <a:pt x="16" y="17"/>
                  </a:lnTo>
                  <a:lnTo>
                    <a:pt x="16" y="17"/>
                  </a:lnTo>
                  <a:lnTo>
                    <a:pt x="16" y="17"/>
                  </a:lnTo>
                  <a:lnTo>
                    <a:pt x="16" y="17"/>
                  </a:lnTo>
                  <a:lnTo>
                    <a:pt x="16" y="19"/>
                  </a:lnTo>
                  <a:lnTo>
                    <a:pt x="14" y="19"/>
                  </a:lnTo>
                  <a:lnTo>
                    <a:pt x="14" y="19"/>
                  </a:lnTo>
                  <a:lnTo>
                    <a:pt x="11" y="19"/>
                  </a:lnTo>
                  <a:lnTo>
                    <a:pt x="9" y="19"/>
                  </a:lnTo>
                  <a:lnTo>
                    <a:pt x="7" y="19"/>
                  </a:lnTo>
                  <a:lnTo>
                    <a:pt x="7" y="22"/>
                  </a:lnTo>
                  <a:lnTo>
                    <a:pt x="7" y="22"/>
                  </a:lnTo>
                  <a:lnTo>
                    <a:pt x="4" y="22"/>
                  </a:lnTo>
                  <a:lnTo>
                    <a:pt x="4" y="22"/>
                  </a:lnTo>
                  <a:lnTo>
                    <a:pt x="4" y="24"/>
                  </a:lnTo>
                  <a:lnTo>
                    <a:pt x="4" y="24"/>
                  </a:lnTo>
                  <a:lnTo>
                    <a:pt x="4" y="26"/>
                  </a:lnTo>
                  <a:lnTo>
                    <a:pt x="4" y="26"/>
                  </a:lnTo>
                  <a:lnTo>
                    <a:pt x="4" y="29"/>
                  </a:lnTo>
                  <a:lnTo>
                    <a:pt x="4" y="31"/>
                  </a:lnTo>
                  <a:lnTo>
                    <a:pt x="4" y="31"/>
                  </a:lnTo>
                  <a:lnTo>
                    <a:pt x="2" y="33"/>
                  </a:lnTo>
                  <a:lnTo>
                    <a:pt x="2" y="36"/>
                  </a:lnTo>
                  <a:lnTo>
                    <a:pt x="2" y="38"/>
                  </a:lnTo>
                  <a:lnTo>
                    <a:pt x="0" y="38"/>
                  </a:lnTo>
                  <a:lnTo>
                    <a:pt x="2" y="41"/>
                  </a:lnTo>
                  <a:lnTo>
                    <a:pt x="4" y="45"/>
                  </a:lnTo>
                  <a:lnTo>
                    <a:pt x="4" y="45"/>
                  </a:lnTo>
                  <a:lnTo>
                    <a:pt x="4" y="48"/>
                  </a:lnTo>
                  <a:lnTo>
                    <a:pt x="7" y="50"/>
                  </a:lnTo>
                  <a:lnTo>
                    <a:pt x="9" y="52"/>
                  </a:lnTo>
                  <a:lnTo>
                    <a:pt x="7" y="52"/>
                  </a:lnTo>
                  <a:lnTo>
                    <a:pt x="9" y="55"/>
                  </a:lnTo>
                  <a:lnTo>
                    <a:pt x="9" y="55"/>
                  </a:lnTo>
                  <a:lnTo>
                    <a:pt x="9" y="55"/>
                  </a:lnTo>
                  <a:lnTo>
                    <a:pt x="11" y="55"/>
                  </a:lnTo>
                  <a:lnTo>
                    <a:pt x="11" y="55"/>
                  </a:lnTo>
                  <a:lnTo>
                    <a:pt x="11" y="55"/>
                  </a:lnTo>
                  <a:lnTo>
                    <a:pt x="14" y="55"/>
                  </a:lnTo>
                  <a:lnTo>
                    <a:pt x="14" y="55"/>
                  </a:lnTo>
                  <a:lnTo>
                    <a:pt x="14" y="57"/>
                  </a:lnTo>
                  <a:lnTo>
                    <a:pt x="14" y="59"/>
                  </a:lnTo>
                  <a:lnTo>
                    <a:pt x="16" y="59"/>
                  </a:lnTo>
                  <a:lnTo>
                    <a:pt x="16" y="59"/>
                  </a:lnTo>
                  <a:lnTo>
                    <a:pt x="16" y="62"/>
                  </a:lnTo>
                  <a:lnTo>
                    <a:pt x="16" y="62"/>
                  </a:lnTo>
                  <a:lnTo>
                    <a:pt x="16" y="64"/>
                  </a:lnTo>
                  <a:lnTo>
                    <a:pt x="16" y="64"/>
                  </a:lnTo>
                  <a:lnTo>
                    <a:pt x="16" y="67"/>
                  </a:lnTo>
                  <a:lnTo>
                    <a:pt x="16" y="67"/>
                  </a:lnTo>
                  <a:lnTo>
                    <a:pt x="18" y="67"/>
                  </a:lnTo>
                  <a:lnTo>
                    <a:pt x="18" y="67"/>
                  </a:lnTo>
                  <a:lnTo>
                    <a:pt x="18" y="67"/>
                  </a:lnTo>
                  <a:lnTo>
                    <a:pt x="18" y="69"/>
                  </a:lnTo>
                  <a:lnTo>
                    <a:pt x="18" y="69"/>
                  </a:lnTo>
                  <a:lnTo>
                    <a:pt x="18" y="69"/>
                  </a:lnTo>
                  <a:lnTo>
                    <a:pt x="18" y="71"/>
                  </a:lnTo>
                  <a:lnTo>
                    <a:pt x="21" y="71"/>
                  </a:lnTo>
                  <a:lnTo>
                    <a:pt x="21" y="74"/>
                  </a:lnTo>
                  <a:lnTo>
                    <a:pt x="21" y="74"/>
                  </a:lnTo>
                  <a:lnTo>
                    <a:pt x="21" y="76"/>
                  </a:lnTo>
                  <a:lnTo>
                    <a:pt x="21" y="76"/>
                  </a:lnTo>
                  <a:lnTo>
                    <a:pt x="23" y="78"/>
                  </a:lnTo>
                  <a:lnTo>
                    <a:pt x="23" y="78"/>
                  </a:lnTo>
                  <a:lnTo>
                    <a:pt x="23" y="81"/>
                  </a:lnTo>
                  <a:lnTo>
                    <a:pt x="25" y="83"/>
                  </a:lnTo>
                  <a:lnTo>
                    <a:pt x="25" y="83"/>
                  </a:lnTo>
                  <a:lnTo>
                    <a:pt x="28" y="83"/>
                  </a:lnTo>
                  <a:lnTo>
                    <a:pt x="28" y="83"/>
                  </a:lnTo>
                  <a:lnTo>
                    <a:pt x="28" y="85"/>
                  </a:lnTo>
                  <a:lnTo>
                    <a:pt x="30" y="85"/>
                  </a:lnTo>
                  <a:lnTo>
                    <a:pt x="30" y="85"/>
                  </a:lnTo>
                  <a:lnTo>
                    <a:pt x="33" y="85"/>
                  </a:lnTo>
                  <a:lnTo>
                    <a:pt x="37" y="88"/>
                  </a:lnTo>
                  <a:lnTo>
                    <a:pt x="40" y="85"/>
                  </a:lnTo>
                  <a:lnTo>
                    <a:pt x="40" y="85"/>
                  </a:lnTo>
                  <a:lnTo>
                    <a:pt x="40" y="83"/>
                  </a:lnTo>
                  <a:lnTo>
                    <a:pt x="40" y="83"/>
                  </a:lnTo>
                  <a:lnTo>
                    <a:pt x="40" y="81"/>
                  </a:lnTo>
                  <a:lnTo>
                    <a:pt x="37" y="81"/>
                  </a:lnTo>
                  <a:lnTo>
                    <a:pt x="37" y="78"/>
                  </a:lnTo>
                  <a:lnTo>
                    <a:pt x="35" y="78"/>
                  </a:lnTo>
                  <a:lnTo>
                    <a:pt x="35" y="76"/>
                  </a:lnTo>
                  <a:lnTo>
                    <a:pt x="37" y="76"/>
                  </a:lnTo>
                  <a:lnTo>
                    <a:pt x="37" y="76"/>
                  </a:lnTo>
                  <a:lnTo>
                    <a:pt x="37" y="76"/>
                  </a:lnTo>
                  <a:lnTo>
                    <a:pt x="37" y="74"/>
                  </a:lnTo>
                  <a:lnTo>
                    <a:pt x="40" y="74"/>
                  </a:lnTo>
                  <a:lnTo>
                    <a:pt x="40" y="74"/>
                  </a:lnTo>
                  <a:lnTo>
                    <a:pt x="40" y="74"/>
                  </a:lnTo>
                  <a:lnTo>
                    <a:pt x="40" y="74"/>
                  </a:lnTo>
                  <a:lnTo>
                    <a:pt x="42" y="76"/>
                  </a:lnTo>
                  <a:lnTo>
                    <a:pt x="44" y="74"/>
                  </a:lnTo>
                  <a:lnTo>
                    <a:pt x="49" y="74"/>
                  </a:lnTo>
                  <a:lnTo>
                    <a:pt x="51" y="74"/>
                  </a:lnTo>
                  <a:lnTo>
                    <a:pt x="51" y="74"/>
                  </a:lnTo>
                  <a:lnTo>
                    <a:pt x="54" y="71"/>
                  </a:lnTo>
                  <a:lnTo>
                    <a:pt x="54" y="71"/>
                  </a:lnTo>
                  <a:lnTo>
                    <a:pt x="54" y="71"/>
                  </a:lnTo>
                  <a:lnTo>
                    <a:pt x="56" y="71"/>
                  </a:lnTo>
                  <a:lnTo>
                    <a:pt x="56" y="71"/>
                  </a:lnTo>
                  <a:lnTo>
                    <a:pt x="56" y="71"/>
                  </a:lnTo>
                  <a:lnTo>
                    <a:pt x="58" y="71"/>
                  </a:lnTo>
                  <a:lnTo>
                    <a:pt x="58" y="74"/>
                  </a:lnTo>
                  <a:lnTo>
                    <a:pt x="58" y="74"/>
                  </a:lnTo>
                  <a:lnTo>
                    <a:pt x="58" y="74"/>
                  </a:lnTo>
                  <a:lnTo>
                    <a:pt x="61" y="74"/>
                  </a:lnTo>
                  <a:lnTo>
                    <a:pt x="61" y="74"/>
                  </a:lnTo>
                  <a:lnTo>
                    <a:pt x="63" y="76"/>
                  </a:lnTo>
                  <a:lnTo>
                    <a:pt x="63" y="76"/>
                  </a:lnTo>
                  <a:lnTo>
                    <a:pt x="63" y="76"/>
                  </a:lnTo>
                  <a:lnTo>
                    <a:pt x="63" y="76"/>
                  </a:lnTo>
                  <a:lnTo>
                    <a:pt x="63" y="76"/>
                  </a:lnTo>
                  <a:lnTo>
                    <a:pt x="65" y="76"/>
                  </a:lnTo>
                  <a:lnTo>
                    <a:pt x="65" y="76"/>
                  </a:lnTo>
                  <a:lnTo>
                    <a:pt x="65" y="74"/>
                  </a:lnTo>
                  <a:lnTo>
                    <a:pt x="68" y="74"/>
                  </a:lnTo>
                  <a:lnTo>
                    <a:pt x="70" y="69"/>
                  </a:lnTo>
                  <a:lnTo>
                    <a:pt x="73" y="67"/>
                  </a:lnTo>
                  <a:lnTo>
                    <a:pt x="73" y="64"/>
                  </a:lnTo>
                  <a:lnTo>
                    <a:pt x="73" y="62"/>
                  </a:lnTo>
                  <a:lnTo>
                    <a:pt x="73" y="59"/>
                  </a:lnTo>
                  <a:lnTo>
                    <a:pt x="73" y="59"/>
                  </a:lnTo>
                  <a:lnTo>
                    <a:pt x="75" y="55"/>
                  </a:lnTo>
                  <a:lnTo>
                    <a:pt x="75" y="52"/>
                  </a:lnTo>
                  <a:lnTo>
                    <a:pt x="75" y="52"/>
                  </a:lnTo>
                  <a:lnTo>
                    <a:pt x="75" y="50"/>
                  </a:lnTo>
                  <a:lnTo>
                    <a:pt x="75" y="50"/>
                  </a:lnTo>
                  <a:lnTo>
                    <a:pt x="75" y="50"/>
                  </a:lnTo>
                  <a:lnTo>
                    <a:pt x="75" y="48"/>
                  </a:lnTo>
                  <a:lnTo>
                    <a:pt x="73" y="45"/>
                  </a:lnTo>
                  <a:lnTo>
                    <a:pt x="73" y="45"/>
                  </a:lnTo>
                  <a:lnTo>
                    <a:pt x="70" y="43"/>
                  </a:lnTo>
                  <a:lnTo>
                    <a:pt x="70" y="41"/>
                  </a:lnTo>
                  <a:lnTo>
                    <a:pt x="70" y="38"/>
                  </a:lnTo>
                  <a:lnTo>
                    <a:pt x="70" y="38"/>
                  </a:lnTo>
                  <a:lnTo>
                    <a:pt x="68" y="38"/>
                  </a:lnTo>
                  <a:lnTo>
                    <a:pt x="68" y="36"/>
                  </a:lnTo>
                  <a:lnTo>
                    <a:pt x="68" y="33"/>
                  </a:lnTo>
                  <a:lnTo>
                    <a:pt x="68" y="31"/>
                  </a:lnTo>
                  <a:lnTo>
                    <a:pt x="68" y="31"/>
                  </a:lnTo>
                  <a:lnTo>
                    <a:pt x="68" y="29"/>
                  </a:lnTo>
                  <a:lnTo>
                    <a:pt x="68" y="26"/>
                  </a:lnTo>
                  <a:lnTo>
                    <a:pt x="68" y="26"/>
                  </a:lnTo>
                  <a:lnTo>
                    <a:pt x="68" y="24"/>
                  </a:lnTo>
                  <a:lnTo>
                    <a:pt x="68" y="22"/>
                  </a:lnTo>
                  <a:lnTo>
                    <a:pt x="68" y="22"/>
                  </a:lnTo>
                  <a:lnTo>
                    <a:pt x="68" y="19"/>
                  </a:lnTo>
                  <a:lnTo>
                    <a:pt x="70" y="17"/>
                  </a:lnTo>
                  <a:lnTo>
                    <a:pt x="73" y="1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6" name="Freeform 232"/>
            <p:cNvSpPr>
              <a:spLocks/>
            </p:cNvSpPr>
            <p:nvPr userDrawn="1"/>
          </p:nvSpPr>
          <p:spPr bwMode="auto">
            <a:xfrm>
              <a:off x="4056" y="2340"/>
              <a:ext cx="306" cy="286"/>
            </a:xfrm>
            <a:custGeom>
              <a:avLst/>
              <a:gdLst>
                <a:gd name="T0" fmla="*/ 297 w 306"/>
                <a:gd name="T1" fmla="*/ 80 h 286"/>
                <a:gd name="T2" fmla="*/ 280 w 306"/>
                <a:gd name="T3" fmla="*/ 54 h 286"/>
                <a:gd name="T4" fmla="*/ 278 w 306"/>
                <a:gd name="T5" fmla="*/ 26 h 286"/>
                <a:gd name="T6" fmla="*/ 276 w 306"/>
                <a:gd name="T7" fmla="*/ 18 h 286"/>
                <a:gd name="T8" fmla="*/ 247 w 306"/>
                <a:gd name="T9" fmla="*/ 4 h 286"/>
                <a:gd name="T10" fmla="*/ 196 w 306"/>
                <a:gd name="T11" fmla="*/ 4 h 286"/>
                <a:gd name="T12" fmla="*/ 174 w 306"/>
                <a:gd name="T13" fmla="*/ 0 h 286"/>
                <a:gd name="T14" fmla="*/ 153 w 306"/>
                <a:gd name="T15" fmla="*/ 4 h 286"/>
                <a:gd name="T16" fmla="*/ 104 w 306"/>
                <a:gd name="T17" fmla="*/ 4 h 286"/>
                <a:gd name="T18" fmla="*/ 57 w 306"/>
                <a:gd name="T19" fmla="*/ 26 h 286"/>
                <a:gd name="T20" fmla="*/ 52 w 306"/>
                <a:gd name="T21" fmla="*/ 47 h 286"/>
                <a:gd name="T22" fmla="*/ 38 w 306"/>
                <a:gd name="T23" fmla="*/ 56 h 286"/>
                <a:gd name="T24" fmla="*/ 40 w 306"/>
                <a:gd name="T25" fmla="*/ 122 h 286"/>
                <a:gd name="T26" fmla="*/ 33 w 306"/>
                <a:gd name="T27" fmla="*/ 134 h 286"/>
                <a:gd name="T28" fmla="*/ 21 w 306"/>
                <a:gd name="T29" fmla="*/ 146 h 286"/>
                <a:gd name="T30" fmla="*/ 16 w 306"/>
                <a:gd name="T31" fmla="*/ 156 h 286"/>
                <a:gd name="T32" fmla="*/ 12 w 306"/>
                <a:gd name="T33" fmla="*/ 163 h 286"/>
                <a:gd name="T34" fmla="*/ 14 w 306"/>
                <a:gd name="T35" fmla="*/ 170 h 286"/>
                <a:gd name="T36" fmla="*/ 7 w 306"/>
                <a:gd name="T37" fmla="*/ 177 h 286"/>
                <a:gd name="T38" fmla="*/ 7 w 306"/>
                <a:gd name="T39" fmla="*/ 189 h 286"/>
                <a:gd name="T40" fmla="*/ 2 w 306"/>
                <a:gd name="T41" fmla="*/ 200 h 286"/>
                <a:gd name="T42" fmla="*/ 12 w 306"/>
                <a:gd name="T43" fmla="*/ 205 h 286"/>
                <a:gd name="T44" fmla="*/ 14 w 306"/>
                <a:gd name="T45" fmla="*/ 222 h 286"/>
                <a:gd name="T46" fmla="*/ 21 w 306"/>
                <a:gd name="T47" fmla="*/ 229 h 286"/>
                <a:gd name="T48" fmla="*/ 28 w 306"/>
                <a:gd name="T49" fmla="*/ 248 h 286"/>
                <a:gd name="T50" fmla="*/ 35 w 306"/>
                <a:gd name="T51" fmla="*/ 271 h 286"/>
                <a:gd name="T52" fmla="*/ 33 w 306"/>
                <a:gd name="T53" fmla="*/ 281 h 286"/>
                <a:gd name="T54" fmla="*/ 47 w 306"/>
                <a:gd name="T55" fmla="*/ 283 h 286"/>
                <a:gd name="T56" fmla="*/ 54 w 306"/>
                <a:gd name="T57" fmla="*/ 274 h 286"/>
                <a:gd name="T58" fmla="*/ 57 w 306"/>
                <a:gd name="T59" fmla="*/ 262 h 286"/>
                <a:gd name="T60" fmla="*/ 61 w 306"/>
                <a:gd name="T61" fmla="*/ 250 h 286"/>
                <a:gd name="T62" fmla="*/ 78 w 306"/>
                <a:gd name="T63" fmla="*/ 253 h 286"/>
                <a:gd name="T64" fmla="*/ 89 w 306"/>
                <a:gd name="T65" fmla="*/ 267 h 286"/>
                <a:gd name="T66" fmla="*/ 113 w 306"/>
                <a:gd name="T67" fmla="*/ 264 h 286"/>
                <a:gd name="T68" fmla="*/ 134 w 306"/>
                <a:gd name="T69" fmla="*/ 264 h 286"/>
                <a:gd name="T70" fmla="*/ 146 w 306"/>
                <a:gd name="T71" fmla="*/ 257 h 286"/>
                <a:gd name="T72" fmla="*/ 167 w 306"/>
                <a:gd name="T73" fmla="*/ 262 h 286"/>
                <a:gd name="T74" fmla="*/ 170 w 306"/>
                <a:gd name="T75" fmla="*/ 262 h 286"/>
                <a:gd name="T76" fmla="*/ 188 w 306"/>
                <a:gd name="T77" fmla="*/ 243 h 286"/>
                <a:gd name="T78" fmla="*/ 196 w 306"/>
                <a:gd name="T79" fmla="*/ 226 h 286"/>
                <a:gd name="T80" fmla="*/ 203 w 306"/>
                <a:gd name="T81" fmla="*/ 215 h 286"/>
                <a:gd name="T82" fmla="*/ 203 w 306"/>
                <a:gd name="T83" fmla="*/ 210 h 286"/>
                <a:gd name="T84" fmla="*/ 212 w 306"/>
                <a:gd name="T85" fmla="*/ 210 h 286"/>
                <a:gd name="T86" fmla="*/ 210 w 306"/>
                <a:gd name="T87" fmla="*/ 222 h 286"/>
                <a:gd name="T88" fmla="*/ 212 w 306"/>
                <a:gd name="T89" fmla="*/ 238 h 286"/>
                <a:gd name="T90" fmla="*/ 214 w 306"/>
                <a:gd name="T91" fmla="*/ 243 h 286"/>
                <a:gd name="T92" fmla="*/ 226 w 306"/>
                <a:gd name="T93" fmla="*/ 257 h 286"/>
                <a:gd name="T94" fmla="*/ 226 w 306"/>
                <a:gd name="T95" fmla="*/ 260 h 286"/>
                <a:gd name="T96" fmla="*/ 226 w 306"/>
                <a:gd name="T97" fmla="*/ 269 h 286"/>
                <a:gd name="T98" fmla="*/ 231 w 306"/>
                <a:gd name="T99" fmla="*/ 260 h 286"/>
                <a:gd name="T100" fmla="*/ 236 w 306"/>
                <a:gd name="T101" fmla="*/ 241 h 286"/>
                <a:gd name="T102" fmla="*/ 243 w 306"/>
                <a:gd name="T103" fmla="*/ 241 h 286"/>
                <a:gd name="T104" fmla="*/ 247 w 306"/>
                <a:gd name="T105" fmla="*/ 219 h 286"/>
                <a:gd name="T106" fmla="*/ 257 w 306"/>
                <a:gd name="T107" fmla="*/ 200 h 286"/>
                <a:gd name="T108" fmla="*/ 266 w 306"/>
                <a:gd name="T109" fmla="*/ 191 h 286"/>
                <a:gd name="T110" fmla="*/ 271 w 306"/>
                <a:gd name="T111" fmla="*/ 172 h 286"/>
                <a:gd name="T112" fmla="*/ 271 w 306"/>
                <a:gd name="T113" fmla="*/ 144 h 286"/>
                <a:gd name="T114" fmla="*/ 276 w 306"/>
                <a:gd name="T115" fmla="*/ 118 h 286"/>
                <a:gd name="T116" fmla="*/ 280 w 306"/>
                <a:gd name="T117" fmla="*/ 108 h 286"/>
                <a:gd name="T118" fmla="*/ 290 w 306"/>
                <a:gd name="T119" fmla="*/ 101 h 286"/>
                <a:gd name="T120" fmla="*/ 295 w 306"/>
                <a:gd name="T121" fmla="*/ 99 h 286"/>
                <a:gd name="T122" fmla="*/ 302 w 306"/>
                <a:gd name="T123" fmla="*/ 96 h 286"/>
                <a:gd name="T124" fmla="*/ 306 w 306"/>
                <a:gd name="T125" fmla="*/ 8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86">
                  <a:moveTo>
                    <a:pt x="306" y="87"/>
                  </a:moveTo>
                  <a:lnTo>
                    <a:pt x="302" y="82"/>
                  </a:lnTo>
                  <a:lnTo>
                    <a:pt x="302" y="82"/>
                  </a:lnTo>
                  <a:lnTo>
                    <a:pt x="299" y="82"/>
                  </a:lnTo>
                  <a:lnTo>
                    <a:pt x="299" y="82"/>
                  </a:lnTo>
                  <a:lnTo>
                    <a:pt x="299" y="80"/>
                  </a:lnTo>
                  <a:lnTo>
                    <a:pt x="297" y="80"/>
                  </a:lnTo>
                  <a:lnTo>
                    <a:pt x="295" y="75"/>
                  </a:lnTo>
                  <a:lnTo>
                    <a:pt x="290" y="73"/>
                  </a:lnTo>
                  <a:lnTo>
                    <a:pt x="287" y="73"/>
                  </a:lnTo>
                  <a:lnTo>
                    <a:pt x="287" y="73"/>
                  </a:lnTo>
                  <a:lnTo>
                    <a:pt x="285" y="70"/>
                  </a:lnTo>
                  <a:lnTo>
                    <a:pt x="283" y="66"/>
                  </a:lnTo>
                  <a:lnTo>
                    <a:pt x="280" y="54"/>
                  </a:lnTo>
                  <a:lnTo>
                    <a:pt x="280" y="49"/>
                  </a:lnTo>
                  <a:lnTo>
                    <a:pt x="280" y="42"/>
                  </a:lnTo>
                  <a:lnTo>
                    <a:pt x="278" y="37"/>
                  </a:lnTo>
                  <a:lnTo>
                    <a:pt x="280" y="33"/>
                  </a:lnTo>
                  <a:lnTo>
                    <a:pt x="278" y="30"/>
                  </a:lnTo>
                  <a:lnTo>
                    <a:pt x="278" y="26"/>
                  </a:lnTo>
                  <a:lnTo>
                    <a:pt x="278" y="26"/>
                  </a:lnTo>
                  <a:lnTo>
                    <a:pt x="278" y="23"/>
                  </a:lnTo>
                  <a:lnTo>
                    <a:pt x="278" y="23"/>
                  </a:lnTo>
                  <a:lnTo>
                    <a:pt x="280" y="23"/>
                  </a:lnTo>
                  <a:lnTo>
                    <a:pt x="280" y="23"/>
                  </a:lnTo>
                  <a:lnTo>
                    <a:pt x="280" y="23"/>
                  </a:lnTo>
                  <a:lnTo>
                    <a:pt x="278" y="21"/>
                  </a:lnTo>
                  <a:lnTo>
                    <a:pt x="276" y="18"/>
                  </a:lnTo>
                  <a:lnTo>
                    <a:pt x="273" y="11"/>
                  </a:lnTo>
                  <a:lnTo>
                    <a:pt x="273" y="9"/>
                  </a:lnTo>
                  <a:lnTo>
                    <a:pt x="271" y="4"/>
                  </a:lnTo>
                  <a:lnTo>
                    <a:pt x="266" y="4"/>
                  </a:lnTo>
                  <a:lnTo>
                    <a:pt x="259" y="4"/>
                  </a:lnTo>
                  <a:lnTo>
                    <a:pt x="254" y="4"/>
                  </a:lnTo>
                  <a:lnTo>
                    <a:pt x="247" y="4"/>
                  </a:lnTo>
                  <a:lnTo>
                    <a:pt x="243" y="4"/>
                  </a:lnTo>
                  <a:lnTo>
                    <a:pt x="236" y="4"/>
                  </a:lnTo>
                  <a:lnTo>
                    <a:pt x="231" y="4"/>
                  </a:lnTo>
                  <a:lnTo>
                    <a:pt x="224" y="4"/>
                  </a:lnTo>
                  <a:lnTo>
                    <a:pt x="219" y="4"/>
                  </a:lnTo>
                  <a:lnTo>
                    <a:pt x="200" y="4"/>
                  </a:lnTo>
                  <a:lnTo>
                    <a:pt x="196" y="4"/>
                  </a:lnTo>
                  <a:lnTo>
                    <a:pt x="188" y="4"/>
                  </a:lnTo>
                  <a:lnTo>
                    <a:pt x="181" y="4"/>
                  </a:lnTo>
                  <a:lnTo>
                    <a:pt x="177" y="4"/>
                  </a:lnTo>
                  <a:lnTo>
                    <a:pt x="174" y="4"/>
                  </a:lnTo>
                  <a:lnTo>
                    <a:pt x="174" y="2"/>
                  </a:lnTo>
                  <a:lnTo>
                    <a:pt x="174" y="0"/>
                  </a:lnTo>
                  <a:lnTo>
                    <a:pt x="174" y="0"/>
                  </a:lnTo>
                  <a:lnTo>
                    <a:pt x="172" y="0"/>
                  </a:lnTo>
                  <a:lnTo>
                    <a:pt x="172" y="0"/>
                  </a:lnTo>
                  <a:lnTo>
                    <a:pt x="170" y="4"/>
                  </a:lnTo>
                  <a:lnTo>
                    <a:pt x="170" y="4"/>
                  </a:lnTo>
                  <a:lnTo>
                    <a:pt x="167" y="4"/>
                  </a:lnTo>
                  <a:lnTo>
                    <a:pt x="160" y="4"/>
                  </a:lnTo>
                  <a:lnTo>
                    <a:pt x="153" y="4"/>
                  </a:lnTo>
                  <a:lnTo>
                    <a:pt x="146" y="4"/>
                  </a:lnTo>
                  <a:lnTo>
                    <a:pt x="139" y="4"/>
                  </a:lnTo>
                  <a:lnTo>
                    <a:pt x="132" y="4"/>
                  </a:lnTo>
                  <a:lnTo>
                    <a:pt x="125" y="4"/>
                  </a:lnTo>
                  <a:lnTo>
                    <a:pt x="118" y="4"/>
                  </a:lnTo>
                  <a:lnTo>
                    <a:pt x="111" y="4"/>
                  </a:lnTo>
                  <a:lnTo>
                    <a:pt x="104" y="4"/>
                  </a:lnTo>
                  <a:lnTo>
                    <a:pt x="89" y="4"/>
                  </a:lnTo>
                  <a:lnTo>
                    <a:pt x="82" y="4"/>
                  </a:lnTo>
                  <a:lnTo>
                    <a:pt x="78" y="4"/>
                  </a:lnTo>
                  <a:lnTo>
                    <a:pt x="71" y="4"/>
                  </a:lnTo>
                  <a:lnTo>
                    <a:pt x="57" y="4"/>
                  </a:lnTo>
                  <a:lnTo>
                    <a:pt x="57" y="14"/>
                  </a:lnTo>
                  <a:lnTo>
                    <a:pt x="57" y="26"/>
                  </a:lnTo>
                  <a:lnTo>
                    <a:pt x="57" y="35"/>
                  </a:lnTo>
                  <a:lnTo>
                    <a:pt x="57" y="44"/>
                  </a:lnTo>
                  <a:lnTo>
                    <a:pt x="57" y="44"/>
                  </a:lnTo>
                  <a:lnTo>
                    <a:pt x="57" y="44"/>
                  </a:lnTo>
                  <a:lnTo>
                    <a:pt x="57" y="44"/>
                  </a:lnTo>
                  <a:lnTo>
                    <a:pt x="57" y="47"/>
                  </a:lnTo>
                  <a:lnTo>
                    <a:pt x="52" y="47"/>
                  </a:lnTo>
                  <a:lnTo>
                    <a:pt x="47" y="47"/>
                  </a:lnTo>
                  <a:lnTo>
                    <a:pt x="42" y="47"/>
                  </a:lnTo>
                  <a:lnTo>
                    <a:pt x="38" y="47"/>
                  </a:lnTo>
                  <a:lnTo>
                    <a:pt x="38" y="49"/>
                  </a:lnTo>
                  <a:lnTo>
                    <a:pt x="38" y="52"/>
                  </a:lnTo>
                  <a:lnTo>
                    <a:pt x="38" y="54"/>
                  </a:lnTo>
                  <a:lnTo>
                    <a:pt x="38" y="56"/>
                  </a:lnTo>
                  <a:lnTo>
                    <a:pt x="38" y="66"/>
                  </a:lnTo>
                  <a:lnTo>
                    <a:pt x="40" y="75"/>
                  </a:lnTo>
                  <a:lnTo>
                    <a:pt x="40" y="85"/>
                  </a:lnTo>
                  <a:lnTo>
                    <a:pt x="40" y="94"/>
                  </a:lnTo>
                  <a:lnTo>
                    <a:pt x="40" y="104"/>
                  </a:lnTo>
                  <a:lnTo>
                    <a:pt x="40" y="113"/>
                  </a:lnTo>
                  <a:lnTo>
                    <a:pt x="40" y="122"/>
                  </a:lnTo>
                  <a:lnTo>
                    <a:pt x="40" y="132"/>
                  </a:lnTo>
                  <a:lnTo>
                    <a:pt x="40" y="134"/>
                  </a:lnTo>
                  <a:lnTo>
                    <a:pt x="40" y="137"/>
                  </a:lnTo>
                  <a:lnTo>
                    <a:pt x="40" y="137"/>
                  </a:lnTo>
                  <a:lnTo>
                    <a:pt x="40" y="137"/>
                  </a:lnTo>
                  <a:lnTo>
                    <a:pt x="35" y="134"/>
                  </a:lnTo>
                  <a:lnTo>
                    <a:pt x="33" y="134"/>
                  </a:lnTo>
                  <a:lnTo>
                    <a:pt x="31" y="137"/>
                  </a:lnTo>
                  <a:lnTo>
                    <a:pt x="26" y="137"/>
                  </a:lnTo>
                  <a:lnTo>
                    <a:pt x="24" y="137"/>
                  </a:lnTo>
                  <a:lnTo>
                    <a:pt x="21" y="139"/>
                  </a:lnTo>
                  <a:lnTo>
                    <a:pt x="21" y="139"/>
                  </a:lnTo>
                  <a:lnTo>
                    <a:pt x="21" y="144"/>
                  </a:lnTo>
                  <a:lnTo>
                    <a:pt x="21" y="146"/>
                  </a:lnTo>
                  <a:lnTo>
                    <a:pt x="21" y="148"/>
                  </a:lnTo>
                  <a:lnTo>
                    <a:pt x="19" y="148"/>
                  </a:lnTo>
                  <a:lnTo>
                    <a:pt x="19" y="151"/>
                  </a:lnTo>
                  <a:lnTo>
                    <a:pt x="19" y="151"/>
                  </a:lnTo>
                  <a:lnTo>
                    <a:pt x="16" y="153"/>
                  </a:lnTo>
                  <a:lnTo>
                    <a:pt x="16" y="153"/>
                  </a:lnTo>
                  <a:lnTo>
                    <a:pt x="16" y="156"/>
                  </a:lnTo>
                  <a:lnTo>
                    <a:pt x="16" y="158"/>
                  </a:lnTo>
                  <a:lnTo>
                    <a:pt x="16" y="158"/>
                  </a:lnTo>
                  <a:lnTo>
                    <a:pt x="14" y="158"/>
                  </a:lnTo>
                  <a:lnTo>
                    <a:pt x="12" y="158"/>
                  </a:lnTo>
                  <a:lnTo>
                    <a:pt x="12" y="160"/>
                  </a:lnTo>
                  <a:lnTo>
                    <a:pt x="12" y="160"/>
                  </a:lnTo>
                  <a:lnTo>
                    <a:pt x="12" y="163"/>
                  </a:lnTo>
                  <a:lnTo>
                    <a:pt x="12" y="163"/>
                  </a:lnTo>
                  <a:lnTo>
                    <a:pt x="12" y="165"/>
                  </a:lnTo>
                  <a:lnTo>
                    <a:pt x="12" y="165"/>
                  </a:lnTo>
                  <a:lnTo>
                    <a:pt x="14" y="167"/>
                  </a:lnTo>
                  <a:lnTo>
                    <a:pt x="14" y="167"/>
                  </a:lnTo>
                  <a:lnTo>
                    <a:pt x="14" y="170"/>
                  </a:lnTo>
                  <a:lnTo>
                    <a:pt x="14" y="170"/>
                  </a:lnTo>
                  <a:lnTo>
                    <a:pt x="12" y="172"/>
                  </a:lnTo>
                  <a:lnTo>
                    <a:pt x="9" y="172"/>
                  </a:lnTo>
                  <a:lnTo>
                    <a:pt x="9" y="172"/>
                  </a:lnTo>
                  <a:lnTo>
                    <a:pt x="9" y="172"/>
                  </a:lnTo>
                  <a:lnTo>
                    <a:pt x="7" y="174"/>
                  </a:lnTo>
                  <a:lnTo>
                    <a:pt x="7" y="174"/>
                  </a:lnTo>
                  <a:lnTo>
                    <a:pt x="7" y="177"/>
                  </a:lnTo>
                  <a:lnTo>
                    <a:pt x="7" y="177"/>
                  </a:lnTo>
                  <a:lnTo>
                    <a:pt x="7" y="179"/>
                  </a:lnTo>
                  <a:lnTo>
                    <a:pt x="7" y="182"/>
                  </a:lnTo>
                  <a:lnTo>
                    <a:pt x="9" y="184"/>
                  </a:lnTo>
                  <a:lnTo>
                    <a:pt x="9" y="184"/>
                  </a:lnTo>
                  <a:lnTo>
                    <a:pt x="9" y="186"/>
                  </a:lnTo>
                  <a:lnTo>
                    <a:pt x="7" y="189"/>
                  </a:lnTo>
                  <a:lnTo>
                    <a:pt x="7" y="189"/>
                  </a:lnTo>
                  <a:lnTo>
                    <a:pt x="5" y="191"/>
                  </a:lnTo>
                  <a:lnTo>
                    <a:pt x="2" y="193"/>
                  </a:lnTo>
                  <a:lnTo>
                    <a:pt x="2" y="196"/>
                  </a:lnTo>
                  <a:lnTo>
                    <a:pt x="0" y="198"/>
                  </a:lnTo>
                  <a:lnTo>
                    <a:pt x="2" y="198"/>
                  </a:lnTo>
                  <a:lnTo>
                    <a:pt x="2" y="200"/>
                  </a:lnTo>
                  <a:lnTo>
                    <a:pt x="2" y="200"/>
                  </a:lnTo>
                  <a:lnTo>
                    <a:pt x="5" y="200"/>
                  </a:lnTo>
                  <a:lnTo>
                    <a:pt x="7" y="200"/>
                  </a:lnTo>
                  <a:lnTo>
                    <a:pt x="9" y="200"/>
                  </a:lnTo>
                  <a:lnTo>
                    <a:pt x="12" y="200"/>
                  </a:lnTo>
                  <a:lnTo>
                    <a:pt x="12" y="203"/>
                  </a:lnTo>
                  <a:lnTo>
                    <a:pt x="12" y="205"/>
                  </a:lnTo>
                  <a:lnTo>
                    <a:pt x="12" y="208"/>
                  </a:lnTo>
                  <a:lnTo>
                    <a:pt x="14" y="212"/>
                  </a:lnTo>
                  <a:lnTo>
                    <a:pt x="14" y="212"/>
                  </a:lnTo>
                  <a:lnTo>
                    <a:pt x="14" y="212"/>
                  </a:lnTo>
                  <a:lnTo>
                    <a:pt x="14" y="215"/>
                  </a:lnTo>
                  <a:lnTo>
                    <a:pt x="14" y="215"/>
                  </a:lnTo>
                  <a:lnTo>
                    <a:pt x="14" y="222"/>
                  </a:lnTo>
                  <a:lnTo>
                    <a:pt x="16" y="224"/>
                  </a:lnTo>
                  <a:lnTo>
                    <a:pt x="16" y="224"/>
                  </a:lnTo>
                  <a:lnTo>
                    <a:pt x="16" y="226"/>
                  </a:lnTo>
                  <a:lnTo>
                    <a:pt x="19" y="226"/>
                  </a:lnTo>
                  <a:lnTo>
                    <a:pt x="19" y="226"/>
                  </a:lnTo>
                  <a:lnTo>
                    <a:pt x="21" y="226"/>
                  </a:lnTo>
                  <a:lnTo>
                    <a:pt x="21" y="229"/>
                  </a:lnTo>
                  <a:lnTo>
                    <a:pt x="21" y="229"/>
                  </a:lnTo>
                  <a:lnTo>
                    <a:pt x="21" y="231"/>
                  </a:lnTo>
                  <a:lnTo>
                    <a:pt x="21" y="236"/>
                  </a:lnTo>
                  <a:lnTo>
                    <a:pt x="21" y="238"/>
                  </a:lnTo>
                  <a:lnTo>
                    <a:pt x="21" y="241"/>
                  </a:lnTo>
                  <a:lnTo>
                    <a:pt x="24" y="241"/>
                  </a:lnTo>
                  <a:lnTo>
                    <a:pt x="28" y="248"/>
                  </a:lnTo>
                  <a:lnTo>
                    <a:pt x="28" y="248"/>
                  </a:lnTo>
                  <a:lnTo>
                    <a:pt x="33" y="253"/>
                  </a:lnTo>
                  <a:lnTo>
                    <a:pt x="33" y="255"/>
                  </a:lnTo>
                  <a:lnTo>
                    <a:pt x="35" y="260"/>
                  </a:lnTo>
                  <a:lnTo>
                    <a:pt x="35" y="262"/>
                  </a:lnTo>
                  <a:lnTo>
                    <a:pt x="35" y="264"/>
                  </a:lnTo>
                  <a:lnTo>
                    <a:pt x="35" y="271"/>
                  </a:lnTo>
                  <a:lnTo>
                    <a:pt x="35" y="271"/>
                  </a:lnTo>
                  <a:lnTo>
                    <a:pt x="33" y="276"/>
                  </a:lnTo>
                  <a:lnTo>
                    <a:pt x="33" y="276"/>
                  </a:lnTo>
                  <a:lnTo>
                    <a:pt x="33" y="279"/>
                  </a:lnTo>
                  <a:lnTo>
                    <a:pt x="33" y="279"/>
                  </a:lnTo>
                  <a:lnTo>
                    <a:pt x="33" y="279"/>
                  </a:lnTo>
                  <a:lnTo>
                    <a:pt x="33" y="281"/>
                  </a:lnTo>
                  <a:lnTo>
                    <a:pt x="35" y="283"/>
                  </a:lnTo>
                  <a:lnTo>
                    <a:pt x="35" y="283"/>
                  </a:lnTo>
                  <a:lnTo>
                    <a:pt x="40" y="283"/>
                  </a:lnTo>
                  <a:lnTo>
                    <a:pt x="42" y="283"/>
                  </a:lnTo>
                  <a:lnTo>
                    <a:pt x="45" y="286"/>
                  </a:lnTo>
                  <a:lnTo>
                    <a:pt x="45" y="283"/>
                  </a:lnTo>
                  <a:lnTo>
                    <a:pt x="47" y="283"/>
                  </a:lnTo>
                  <a:lnTo>
                    <a:pt x="47" y="281"/>
                  </a:lnTo>
                  <a:lnTo>
                    <a:pt x="52" y="281"/>
                  </a:lnTo>
                  <a:lnTo>
                    <a:pt x="52" y="279"/>
                  </a:lnTo>
                  <a:lnTo>
                    <a:pt x="52" y="279"/>
                  </a:lnTo>
                  <a:lnTo>
                    <a:pt x="52" y="276"/>
                  </a:lnTo>
                  <a:lnTo>
                    <a:pt x="54" y="274"/>
                  </a:lnTo>
                  <a:lnTo>
                    <a:pt x="54" y="274"/>
                  </a:lnTo>
                  <a:lnTo>
                    <a:pt x="54" y="271"/>
                  </a:lnTo>
                  <a:lnTo>
                    <a:pt x="54" y="269"/>
                  </a:lnTo>
                  <a:lnTo>
                    <a:pt x="54" y="269"/>
                  </a:lnTo>
                  <a:lnTo>
                    <a:pt x="57" y="267"/>
                  </a:lnTo>
                  <a:lnTo>
                    <a:pt x="57" y="267"/>
                  </a:lnTo>
                  <a:lnTo>
                    <a:pt x="57" y="264"/>
                  </a:lnTo>
                  <a:lnTo>
                    <a:pt x="57" y="262"/>
                  </a:lnTo>
                  <a:lnTo>
                    <a:pt x="57" y="260"/>
                  </a:lnTo>
                  <a:lnTo>
                    <a:pt x="59" y="257"/>
                  </a:lnTo>
                  <a:lnTo>
                    <a:pt x="61" y="255"/>
                  </a:lnTo>
                  <a:lnTo>
                    <a:pt x="61" y="255"/>
                  </a:lnTo>
                  <a:lnTo>
                    <a:pt x="61" y="253"/>
                  </a:lnTo>
                  <a:lnTo>
                    <a:pt x="61" y="253"/>
                  </a:lnTo>
                  <a:lnTo>
                    <a:pt x="61" y="250"/>
                  </a:lnTo>
                  <a:lnTo>
                    <a:pt x="61" y="250"/>
                  </a:lnTo>
                  <a:lnTo>
                    <a:pt x="64" y="250"/>
                  </a:lnTo>
                  <a:lnTo>
                    <a:pt x="66" y="250"/>
                  </a:lnTo>
                  <a:lnTo>
                    <a:pt x="75" y="248"/>
                  </a:lnTo>
                  <a:lnTo>
                    <a:pt x="75" y="248"/>
                  </a:lnTo>
                  <a:lnTo>
                    <a:pt x="78" y="250"/>
                  </a:lnTo>
                  <a:lnTo>
                    <a:pt x="78" y="253"/>
                  </a:lnTo>
                  <a:lnTo>
                    <a:pt x="78" y="253"/>
                  </a:lnTo>
                  <a:lnTo>
                    <a:pt x="78" y="253"/>
                  </a:lnTo>
                  <a:lnTo>
                    <a:pt x="80" y="255"/>
                  </a:lnTo>
                  <a:lnTo>
                    <a:pt x="80" y="255"/>
                  </a:lnTo>
                  <a:lnTo>
                    <a:pt x="80" y="257"/>
                  </a:lnTo>
                  <a:lnTo>
                    <a:pt x="82" y="257"/>
                  </a:lnTo>
                  <a:lnTo>
                    <a:pt x="89" y="267"/>
                  </a:lnTo>
                  <a:lnTo>
                    <a:pt x="92" y="267"/>
                  </a:lnTo>
                  <a:lnTo>
                    <a:pt x="94" y="267"/>
                  </a:lnTo>
                  <a:lnTo>
                    <a:pt x="97" y="264"/>
                  </a:lnTo>
                  <a:lnTo>
                    <a:pt x="99" y="264"/>
                  </a:lnTo>
                  <a:lnTo>
                    <a:pt x="113" y="264"/>
                  </a:lnTo>
                  <a:lnTo>
                    <a:pt x="113" y="264"/>
                  </a:lnTo>
                  <a:lnTo>
                    <a:pt x="113" y="264"/>
                  </a:lnTo>
                  <a:lnTo>
                    <a:pt x="115" y="269"/>
                  </a:lnTo>
                  <a:lnTo>
                    <a:pt x="118" y="271"/>
                  </a:lnTo>
                  <a:lnTo>
                    <a:pt x="132" y="271"/>
                  </a:lnTo>
                  <a:lnTo>
                    <a:pt x="132" y="269"/>
                  </a:lnTo>
                  <a:lnTo>
                    <a:pt x="132" y="269"/>
                  </a:lnTo>
                  <a:lnTo>
                    <a:pt x="134" y="267"/>
                  </a:lnTo>
                  <a:lnTo>
                    <a:pt x="134" y="264"/>
                  </a:lnTo>
                  <a:lnTo>
                    <a:pt x="134" y="264"/>
                  </a:lnTo>
                  <a:lnTo>
                    <a:pt x="134" y="264"/>
                  </a:lnTo>
                  <a:lnTo>
                    <a:pt x="137" y="264"/>
                  </a:lnTo>
                  <a:lnTo>
                    <a:pt x="139" y="262"/>
                  </a:lnTo>
                  <a:lnTo>
                    <a:pt x="144" y="262"/>
                  </a:lnTo>
                  <a:lnTo>
                    <a:pt x="144" y="260"/>
                  </a:lnTo>
                  <a:lnTo>
                    <a:pt x="146" y="257"/>
                  </a:lnTo>
                  <a:lnTo>
                    <a:pt x="146" y="255"/>
                  </a:lnTo>
                  <a:lnTo>
                    <a:pt x="146" y="255"/>
                  </a:lnTo>
                  <a:lnTo>
                    <a:pt x="146" y="255"/>
                  </a:lnTo>
                  <a:lnTo>
                    <a:pt x="153" y="253"/>
                  </a:lnTo>
                  <a:lnTo>
                    <a:pt x="153" y="250"/>
                  </a:lnTo>
                  <a:lnTo>
                    <a:pt x="163" y="257"/>
                  </a:lnTo>
                  <a:lnTo>
                    <a:pt x="167" y="262"/>
                  </a:lnTo>
                  <a:lnTo>
                    <a:pt x="167" y="262"/>
                  </a:lnTo>
                  <a:lnTo>
                    <a:pt x="167" y="262"/>
                  </a:lnTo>
                  <a:lnTo>
                    <a:pt x="167" y="262"/>
                  </a:lnTo>
                  <a:lnTo>
                    <a:pt x="167" y="262"/>
                  </a:lnTo>
                  <a:lnTo>
                    <a:pt x="167" y="262"/>
                  </a:lnTo>
                  <a:lnTo>
                    <a:pt x="167" y="262"/>
                  </a:lnTo>
                  <a:lnTo>
                    <a:pt x="170" y="262"/>
                  </a:lnTo>
                  <a:lnTo>
                    <a:pt x="174" y="262"/>
                  </a:lnTo>
                  <a:lnTo>
                    <a:pt x="177" y="262"/>
                  </a:lnTo>
                  <a:lnTo>
                    <a:pt x="184" y="253"/>
                  </a:lnTo>
                  <a:lnTo>
                    <a:pt x="186" y="250"/>
                  </a:lnTo>
                  <a:lnTo>
                    <a:pt x="186" y="248"/>
                  </a:lnTo>
                  <a:lnTo>
                    <a:pt x="186" y="245"/>
                  </a:lnTo>
                  <a:lnTo>
                    <a:pt x="188" y="243"/>
                  </a:lnTo>
                  <a:lnTo>
                    <a:pt x="188" y="243"/>
                  </a:lnTo>
                  <a:lnTo>
                    <a:pt x="198" y="234"/>
                  </a:lnTo>
                  <a:lnTo>
                    <a:pt x="198" y="234"/>
                  </a:lnTo>
                  <a:lnTo>
                    <a:pt x="198" y="234"/>
                  </a:lnTo>
                  <a:lnTo>
                    <a:pt x="196" y="231"/>
                  </a:lnTo>
                  <a:lnTo>
                    <a:pt x="196" y="229"/>
                  </a:lnTo>
                  <a:lnTo>
                    <a:pt x="196" y="226"/>
                  </a:lnTo>
                  <a:lnTo>
                    <a:pt x="196" y="224"/>
                  </a:lnTo>
                  <a:lnTo>
                    <a:pt x="196" y="222"/>
                  </a:lnTo>
                  <a:lnTo>
                    <a:pt x="196" y="222"/>
                  </a:lnTo>
                  <a:lnTo>
                    <a:pt x="196" y="219"/>
                  </a:lnTo>
                  <a:lnTo>
                    <a:pt x="196" y="219"/>
                  </a:lnTo>
                  <a:lnTo>
                    <a:pt x="191" y="215"/>
                  </a:lnTo>
                  <a:lnTo>
                    <a:pt x="203" y="215"/>
                  </a:lnTo>
                  <a:lnTo>
                    <a:pt x="203" y="215"/>
                  </a:lnTo>
                  <a:lnTo>
                    <a:pt x="203" y="212"/>
                  </a:lnTo>
                  <a:lnTo>
                    <a:pt x="203" y="212"/>
                  </a:lnTo>
                  <a:lnTo>
                    <a:pt x="203" y="212"/>
                  </a:lnTo>
                  <a:lnTo>
                    <a:pt x="203" y="212"/>
                  </a:lnTo>
                  <a:lnTo>
                    <a:pt x="203" y="212"/>
                  </a:lnTo>
                  <a:lnTo>
                    <a:pt x="203" y="210"/>
                  </a:lnTo>
                  <a:lnTo>
                    <a:pt x="203" y="210"/>
                  </a:lnTo>
                  <a:lnTo>
                    <a:pt x="203" y="210"/>
                  </a:lnTo>
                  <a:lnTo>
                    <a:pt x="203" y="210"/>
                  </a:lnTo>
                  <a:lnTo>
                    <a:pt x="203" y="210"/>
                  </a:lnTo>
                  <a:lnTo>
                    <a:pt x="203" y="210"/>
                  </a:lnTo>
                  <a:lnTo>
                    <a:pt x="203" y="210"/>
                  </a:lnTo>
                  <a:lnTo>
                    <a:pt x="212" y="210"/>
                  </a:lnTo>
                  <a:lnTo>
                    <a:pt x="212" y="212"/>
                  </a:lnTo>
                  <a:lnTo>
                    <a:pt x="210" y="215"/>
                  </a:lnTo>
                  <a:lnTo>
                    <a:pt x="210" y="217"/>
                  </a:lnTo>
                  <a:lnTo>
                    <a:pt x="210" y="222"/>
                  </a:lnTo>
                  <a:lnTo>
                    <a:pt x="210" y="222"/>
                  </a:lnTo>
                  <a:lnTo>
                    <a:pt x="210" y="222"/>
                  </a:lnTo>
                  <a:lnTo>
                    <a:pt x="210" y="222"/>
                  </a:lnTo>
                  <a:lnTo>
                    <a:pt x="210" y="222"/>
                  </a:lnTo>
                  <a:lnTo>
                    <a:pt x="210" y="222"/>
                  </a:lnTo>
                  <a:lnTo>
                    <a:pt x="210" y="222"/>
                  </a:lnTo>
                  <a:lnTo>
                    <a:pt x="210" y="224"/>
                  </a:lnTo>
                  <a:lnTo>
                    <a:pt x="212" y="238"/>
                  </a:lnTo>
                  <a:lnTo>
                    <a:pt x="212" y="238"/>
                  </a:lnTo>
                  <a:lnTo>
                    <a:pt x="212" y="238"/>
                  </a:lnTo>
                  <a:lnTo>
                    <a:pt x="210" y="241"/>
                  </a:lnTo>
                  <a:lnTo>
                    <a:pt x="210" y="241"/>
                  </a:lnTo>
                  <a:lnTo>
                    <a:pt x="210" y="241"/>
                  </a:lnTo>
                  <a:lnTo>
                    <a:pt x="210" y="241"/>
                  </a:lnTo>
                  <a:lnTo>
                    <a:pt x="214" y="243"/>
                  </a:lnTo>
                  <a:lnTo>
                    <a:pt x="214" y="243"/>
                  </a:lnTo>
                  <a:lnTo>
                    <a:pt x="214" y="243"/>
                  </a:lnTo>
                  <a:lnTo>
                    <a:pt x="217" y="245"/>
                  </a:lnTo>
                  <a:lnTo>
                    <a:pt x="224" y="253"/>
                  </a:lnTo>
                  <a:lnTo>
                    <a:pt x="226" y="253"/>
                  </a:lnTo>
                  <a:lnTo>
                    <a:pt x="226" y="255"/>
                  </a:lnTo>
                  <a:lnTo>
                    <a:pt x="226" y="255"/>
                  </a:lnTo>
                  <a:lnTo>
                    <a:pt x="226" y="255"/>
                  </a:lnTo>
                  <a:lnTo>
                    <a:pt x="226" y="257"/>
                  </a:lnTo>
                  <a:lnTo>
                    <a:pt x="226" y="257"/>
                  </a:lnTo>
                  <a:lnTo>
                    <a:pt x="226" y="260"/>
                  </a:lnTo>
                  <a:lnTo>
                    <a:pt x="226" y="260"/>
                  </a:lnTo>
                  <a:lnTo>
                    <a:pt x="226" y="260"/>
                  </a:lnTo>
                  <a:lnTo>
                    <a:pt x="226" y="260"/>
                  </a:lnTo>
                  <a:lnTo>
                    <a:pt x="226" y="260"/>
                  </a:lnTo>
                  <a:lnTo>
                    <a:pt x="226" y="260"/>
                  </a:lnTo>
                  <a:lnTo>
                    <a:pt x="226" y="262"/>
                  </a:lnTo>
                  <a:lnTo>
                    <a:pt x="224" y="264"/>
                  </a:lnTo>
                  <a:lnTo>
                    <a:pt x="224" y="267"/>
                  </a:lnTo>
                  <a:lnTo>
                    <a:pt x="224" y="267"/>
                  </a:lnTo>
                  <a:lnTo>
                    <a:pt x="224" y="267"/>
                  </a:lnTo>
                  <a:lnTo>
                    <a:pt x="224" y="267"/>
                  </a:lnTo>
                  <a:lnTo>
                    <a:pt x="226" y="269"/>
                  </a:lnTo>
                  <a:lnTo>
                    <a:pt x="226" y="269"/>
                  </a:lnTo>
                  <a:lnTo>
                    <a:pt x="226" y="269"/>
                  </a:lnTo>
                  <a:lnTo>
                    <a:pt x="229" y="269"/>
                  </a:lnTo>
                  <a:lnTo>
                    <a:pt x="229" y="269"/>
                  </a:lnTo>
                  <a:lnTo>
                    <a:pt x="229" y="267"/>
                  </a:lnTo>
                  <a:lnTo>
                    <a:pt x="229" y="262"/>
                  </a:lnTo>
                  <a:lnTo>
                    <a:pt x="231" y="260"/>
                  </a:lnTo>
                  <a:lnTo>
                    <a:pt x="231" y="257"/>
                  </a:lnTo>
                  <a:lnTo>
                    <a:pt x="233" y="255"/>
                  </a:lnTo>
                  <a:lnTo>
                    <a:pt x="233" y="253"/>
                  </a:lnTo>
                  <a:lnTo>
                    <a:pt x="233" y="253"/>
                  </a:lnTo>
                  <a:lnTo>
                    <a:pt x="231" y="245"/>
                  </a:lnTo>
                  <a:lnTo>
                    <a:pt x="233" y="243"/>
                  </a:lnTo>
                  <a:lnTo>
                    <a:pt x="236" y="241"/>
                  </a:lnTo>
                  <a:lnTo>
                    <a:pt x="236" y="238"/>
                  </a:lnTo>
                  <a:lnTo>
                    <a:pt x="238" y="238"/>
                  </a:lnTo>
                  <a:lnTo>
                    <a:pt x="238" y="238"/>
                  </a:lnTo>
                  <a:lnTo>
                    <a:pt x="238" y="241"/>
                  </a:lnTo>
                  <a:lnTo>
                    <a:pt x="240" y="241"/>
                  </a:lnTo>
                  <a:lnTo>
                    <a:pt x="243" y="241"/>
                  </a:lnTo>
                  <a:lnTo>
                    <a:pt x="243" y="241"/>
                  </a:lnTo>
                  <a:lnTo>
                    <a:pt x="245" y="238"/>
                  </a:lnTo>
                  <a:lnTo>
                    <a:pt x="243" y="236"/>
                  </a:lnTo>
                  <a:lnTo>
                    <a:pt x="245" y="231"/>
                  </a:lnTo>
                  <a:lnTo>
                    <a:pt x="245" y="229"/>
                  </a:lnTo>
                  <a:lnTo>
                    <a:pt x="245" y="226"/>
                  </a:lnTo>
                  <a:lnTo>
                    <a:pt x="245" y="222"/>
                  </a:lnTo>
                  <a:lnTo>
                    <a:pt x="247" y="219"/>
                  </a:lnTo>
                  <a:lnTo>
                    <a:pt x="247" y="219"/>
                  </a:lnTo>
                  <a:lnTo>
                    <a:pt x="250" y="215"/>
                  </a:lnTo>
                  <a:lnTo>
                    <a:pt x="252" y="212"/>
                  </a:lnTo>
                  <a:lnTo>
                    <a:pt x="252" y="208"/>
                  </a:lnTo>
                  <a:lnTo>
                    <a:pt x="254" y="203"/>
                  </a:lnTo>
                  <a:lnTo>
                    <a:pt x="257" y="200"/>
                  </a:lnTo>
                  <a:lnTo>
                    <a:pt x="257" y="200"/>
                  </a:lnTo>
                  <a:lnTo>
                    <a:pt x="259" y="200"/>
                  </a:lnTo>
                  <a:lnTo>
                    <a:pt x="262" y="200"/>
                  </a:lnTo>
                  <a:lnTo>
                    <a:pt x="264" y="198"/>
                  </a:lnTo>
                  <a:lnTo>
                    <a:pt x="264" y="198"/>
                  </a:lnTo>
                  <a:lnTo>
                    <a:pt x="266" y="198"/>
                  </a:lnTo>
                  <a:lnTo>
                    <a:pt x="266" y="196"/>
                  </a:lnTo>
                  <a:lnTo>
                    <a:pt x="266" y="191"/>
                  </a:lnTo>
                  <a:lnTo>
                    <a:pt x="266" y="189"/>
                  </a:lnTo>
                  <a:lnTo>
                    <a:pt x="269" y="184"/>
                  </a:lnTo>
                  <a:lnTo>
                    <a:pt x="269" y="184"/>
                  </a:lnTo>
                  <a:lnTo>
                    <a:pt x="269" y="182"/>
                  </a:lnTo>
                  <a:lnTo>
                    <a:pt x="269" y="179"/>
                  </a:lnTo>
                  <a:lnTo>
                    <a:pt x="271" y="174"/>
                  </a:lnTo>
                  <a:lnTo>
                    <a:pt x="271" y="172"/>
                  </a:lnTo>
                  <a:lnTo>
                    <a:pt x="271" y="167"/>
                  </a:lnTo>
                  <a:lnTo>
                    <a:pt x="271" y="160"/>
                  </a:lnTo>
                  <a:lnTo>
                    <a:pt x="271" y="156"/>
                  </a:lnTo>
                  <a:lnTo>
                    <a:pt x="269" y="153"/>
                  </a:lnTo>
                  <a:lnTo>
                    <a:pt x="269" y="148"/>
                  </a:lnTo>
                  <a:lnTo>
                    <a:pt x="271" y="146"/>
                  </a:lnTo>
                  <a:lnTo>
                    <a:pt x="271" y="144"/>
                  </a:lnTo>
                  <a:lnTo>
                    <a:pt x="273" y="137"/>
                  </a:lnTo>
                  <a:lnTo>
                    <a:pt x="273" y="134"/>
                  </a:lnTo>
                  <a:lnTo>
                    <a:pt x="276" y="130"/>
                  </a:lnTo>
                  <a:lnTo>
                    <a:pt x="276" y="130"/>
                  </a:lnTo>
                  <a:lnTo>
                    <a:pt x="278" y="125"/>
                  </a:lnTo>
                  <a:lnTo>
                    <a:pt x="278" y="120"/>
                  </a:lnTo>
                  <a:lnTo>
                    <a:pt x="276" y="118"/>
                  </a:lnTo>
                  <a:lnTo>
                    <a:pt x="278" y="115"/>
                  </a:lnTo>
                  <a:lnTo>
                    <a:pt x="278" y="113"/>
                  </a:lnTo>
                  <a:lnTo>
                    <a:pt x="278" y="111"/>
                  </a:lnTo>
                  <a:lnTo>
                    <a:pt x="278" y="108"/>
                  </a:lnTo>
                  <a:lnTo>
                    <a:pt x="278" y="108"/>
                  </a:lnTo>
                  <a:lnTo>
                    <a:pt x="280" y="108"/>
                  </a:lnTo>
                  <a:lnTo>
                    <a:pt x="280" y="108"/>
                  </a:lnTo>
                  <a:lnTo>
                    <a:pt x="283" y="108"/>
                  </a:lnTo>
                  <a:lnTo>
                    <a:pt x="285" y="108"/>
                  </a:lnTo>
                  <a:lnTo>
                    <a:pt x="285" y="108"/>
                  </a:lnTo>
                  <a:lnTo>
                    <a:pt x="287" y="106"/>
                  </a:lnTo>
                  <a:lnTo>
                    <a:pt x="287" y="104"/>
                  </a:lnTo>
                  <a:lnTo>
                    <a:pt x="287" y="101"/>
                  </a:lnTo>
                  <a:lnTo>
                    <a:pt x="290" y="101"/>
                  </a:lnTo>
                  <a:lnTo>
                    <a:pt x="290" y="101"/>
                  </a:lnTo>
                  <a:lnTo>
                    <a:pt x="292" y="99"/>
                  </a:lnTo>
                  <a:lnTo>
                    <a:pt x="292" y="99"/>
                  </a:lnTo>
                  <a:lnTo>
                    <a:pt x="292" y="99"/>
                  </a:lnTo>
                  <a:lnTo>
                    <a:pt x="295" y="99"/>
                  </a:lnTo>
                  <a:lnTo>
                    <a:pt x="295" y="99"/>
                  </a:lnTo>
                  <a:lnTo>
                    <a:pt x="295" y="99"/>
                  </a:lnTo>
                  <a:lnTo>
                    <a:pt x="297" y="96"/>
                  </a:lnTo>
                  <a:lnTo>
                    <a:pt x="299" y="99"/>
                  </a:lnTo>
                  <a:lnTo>
                    <a:pt x="299" y="96"/>
                  </a:lnTo>
                  <a:lnTo>
                    <a:pt x="299" y="96"/>
                  </a:lnTo>
                  <a:lnTo>
                    <a:pt x="299" y="96"/>
                  </a:lnTo>
                  <a:lnTo>
                    <a:pt x="302" y="96"/>
                  </a:lnTo>
                  <a:lnTo>
                    <a:pt x="302" y="96"/>
                  </a:lnTo>
                  <a:lnTo>
                    <a:pt x="302" y="96"/>
                  </a:lnTo>
                  <a:lnTo>
                    <a:pt x="302" y="94"/>
                  </a:lnTo>
                  <a:lnTo>
                    <a:pt x="304" y="94"/>
                  </a:lnTo>
                  <a:lnTo>
                    <a:pt x="304" y="94"/>
                  </a:lnTo>
                  <a:lnTo>
                    <a:pt x="304" y="92"/>
                  </a:lnTo>
                  <a:lnTo>
                    <a:pt x="304" y="92"/>
                  </a:lnTo>
                  <a:lnTo>
                    <a:pt x="306" y="89"/>
                  </a:lnTo>
                  <a:lnTo>
                    <a:pt x="306" y="87"/>
                  </a:lnTo>
                  <a:lnTo>
                    <a:pt x="306" y="8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7" name="Freeform 233"/>
            <p:cNvSpPr>
              <a:spLocks noEditPoints="1"/>
            </p:cNvSpPr>
            <p:nvPr userDrawn="1"/>
          </p:nvSpPr>
          <p:spPr bwMode="auto">
            <a:xfrm>
              <a:off x="4282" y="2129"/>
              <a:ext cx="387" cy="333"/>
            </a:xfrm>
            <a:custGeom>
              <a:avLst/>
              <a:gdLst>
                <a:gd name="T0" fmla="*/ 40 w 387"/>
                <a:gd name="T1" fmla="*/ 140 h 333"/>
                <a:gd name="T2" fmla="*/ 40 w 387"/>
                <a:gd name="T3" fmla="*/ 140 h 333"/>
                <a:gd name="T4" fmla="*/ 38 w 387"/>
                <a:gd name="T5" fmla="*/ 137 h 333"/>
                <a:gd name="T6" fmla="*/ 377 w 387"/>
                <a:gd name="T7" fmla="*/ 199 h 333"/>
                <a:gd name="T8" fmla="*/ 368 w 387"/>
                <a:gd name="T9" fmla="*/ 201 h 333"/>
                <a:gd name="T10" fmla="*/ 342 w 387"/>
                <a:gd name="T11" fmla="*/ 196 h 333"/>
                <a:gd name="T12" fmla="*/ 330 w 387"/>
                <a:gd name="T13" fmla="*/ 194 h 333"/>
                <a:gd name="T14" fmla="*/ 321 w 387"/>
                <a:gd name="T15" fmla="*/ 182 h 333"/>
                <a:gd name="T16" fmla="*/ 314 w 387"/>
                <a:gd name="T17" fmla="*/ 173 h 333"/>
                <a:gd name="T18" fmla="*/ 309 w 387"/>
                <a:gd name="T19" fmla="*/ 166 h 333"/>
                <a:gd name="T20" fmla="*/ 304 w 387"/>
                <a:gd name="T21" fmla="*/ 158 h 333"/>
                <a:gd name="T22" fmla="*/ 295 w 387"/>
                <a:gd name="T23" fmla="*/ 156 h 333"/>
                <a:gd name="T24" fmla="*/ 283 w 387"/>
                <a:gd name="T25" fmla="*/ 137 h 333"/>
                <a:gd name="T26" fmla="*/ 281 w 387"/>
                <a:gd name="T27" fmla="*/ 128 h 333"/>
                <a:gd name="T28" fmla="*/ 278 w 387"/>
                <a:gd name="T29" fmla="*/ 116 h 333"/>
                <a:gd name="T30" fmla="*/ 269 w 387"/>
                <a:gd name="T31" fmla="*/ 106 h 333"/>
                <a:gd name="T32" fmla="*/ 257 w 387"/>
                <a:gd name="T33" fmla="*/ 95 h 333"/>
                <a:gd name="T34" fmla="*/ 248 w 387"/>
                <a:gd name="T35" fmla="*/ 80 h 333"/>
                <a:gd name="T36" fmla="*/ 231 w 387"/>
                <a:gd name="T37" fmla="*/ 73 h 333"/>
                <a:gd name="T38" fmla="*/ 212 w 387"/>
                <a:gd name="T39" fmla="*/ 64 h 333"/>
                <a:gd name="T40" fmla="*/ 172 w 387"/>
                <a:gd name="T41" fmla="*/ 57 h 333"/>
                <a:gd name="T42" fmla="*/ 132 w 387"/>
                <a:gd name="T43" fmla="*/ 26 h 333"/>
                <a:gd name="T44" fmla="*/ 99 w 387"/>
                <a:gd name="T45" fmla="*/ 5 h 333"/>
                <a:gd name="T46" fmla="*/ 71 w 387"/>
                <a:gd name="T47" fmla="*/ 2 h 333"/>
                <a:gd name="T48" fmla="*/ 36 w 387"/>
                <a:gd name="T49" fmla="*/ 14 h 333"/>
                <a:gd name="T50" fmla="*/ 54 w 387"/>
                <a:gd name="T51" fmla="*/ 36 h 333"/>
                <a:gd name="T52" fmla="*/ 43 w 387"/>
                <a:gd name="T53" fmla="*/ 47 h 333"/>
                <a:gd name="T54" fmla="*/ 24 w 387"/>
                <a:gd name="T55" fmla="*/ 62 h 333"/>
                <a:gd name="T56" fmla="*/ 3 w 387"/>
                <a:gd name="T57" fmla="*/ 73 h 333"/>
                <a:gd name="T58" fmla="*/ 7 w 387"/>
                <a:gd name="T59" fmla="*/ 85 h 333"/>
                <a:gd name="T60" fmla="*/ 28 w 387"/>
                <a:gd name="T61" fmla="*/ 114 h 333"/>
                <a:gd name="T62" fmla="*/ 43 w 387"/>
                <a:gd name="T63" fmla="*/ 137 h 333"/>
                <a:gd name="T64" fmla="*/ 52 w 387"/>
                <a:gd name="T65" fmla="*/ 158 h 333"/>
                <a:gd name="T66" fmla="*/ 64 w 387"/>
                <a:gd name="T67" fmla="*/ 170 h 333"/>
                <a:gd name="T68" fmla="*/ 80 w 387"/>
                <a:gd name="T69" fmla="*/ 192 h 333"/>
                <a:gd name="T70" fmla="*/ 85 w 387"/>
                <a:gd name="T71" fmla="*/ 201 h 333"/>
                <a:gd name="T72" fmla="*/ 87 w 387"/>
                <a:gd name="T73" fmla="*/ 222 h 333"/>
                <a:gd name="T74" fmla="*/ 99 w 387"/>
                <a:gd name="T75" fmla="*/ 248 h 333"/>
                <a:gd name="T76" fmla="*/ 120 w 387"/>
                <a:gd name="T77" fmla="*/ 265 h 333"/>
                <a:gd name="T78" fmla="*/ 127 w 387"/>
                <a:gd name="T79" fmla="*/ 284 h 333"/>
                <a:gd name="T80" fmla="*/ 151 w 387"/>
                <a:gd name="T81" fmla="*/ 315 h 333"/>
                <a:gd name="T82" fmla="*/ 158 w 387"/>
                <a:gd name="T83" fmla="*/ 326 h 333"/>
                <a:gd name="T84" fmla="*/ 165 w 387"/>
                <a:gd name="T85" fmla="*/ 326 h 333"/>
                <a:gd name="T86" fmla="*/ 165 w 387"/>
                <a:gd name="T87" fmla="*/ 317 h 333"/>
                <a:gd name="T88" fmla="*/ 168 w 387"/>
                <a:gd name="T89" fmla="*/ 310 h 333"/>
                <a:gd name="T90" fmla="*/ 177 w 387"/>
                <a:gd name="T91" fmla="*/ 312 h 333"/>
                <a:gd name="T92" fmla="*/ 186 w 387"/>
                <a:gd name="T93" fmla="*/ 312 h 333"/>
                <a:gd name="T94" fmla="*/ 208 w 387"/>
                <a:gd name="T95" fmla="*/ 312 h 333"/>
                <a:gd name="T96" fmla="*/ 231 w 387"/>
                <a:gd name="T97" fmla="*/ 315 h 333"/>
                <a:gd name="T98" fmla="*/ 243 w 387"/>
                <a:gd name="T99" fmla="*/ 317 h 333"/>
                <a:gd name="T100" fmla="*/ 257 w 387"/>
                <a:gd name="T101" fmla="*/ 296 h 333"/>
                <a:gd name="T102" fmla="*/ 285 w 387"/>
                <a:gd name="T103" fmla="*/ 284 h 333"/>
                <a:gd name="T104" fmla="*/ 321 w 387"/>
                <a:gd name="T105" fmla="*/ 279 h 333"/>
                <a:gd name="T106" fmla="*/ 342 w 387"/>
                <a:gd name="T107" fmla="*/ 270 h 333"/>
                <a:gd name="T108" fmla="*/ 363 w 387"/>
                <a:gd name="T109" fmla="*/ 263 h 333"/>
                <a:gd name="T110" fmla="*/ 380 w 387"/>
                <a:gd name="T111" fmla="*/ 251 h 333"/>
                <a:gd name="T112" fmla="*/ 382 w 387"/>
                <a:gd name="T113" fmla="*/ 234 h 333"/>
                <a:gd name="T114" fmla="*/ 387 w 387"/>
                <a:gd name="T115" fmla="*/ 21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7" h="333">
                  <a:moveTo>
                    <a:pt x="40" y="140"/>
                  </a:moveTo>
                  <a:lnTo>
                    <a:pt x="38" y="137"/>
                  </a:lnTo>
                  <a:lnTo>
                    <a:pt x="38" y="137"/>
                  </a:lnTo>
                  <a:lnTo>
                    <a:pt x="36" y="137"/>
                  </a:lnTo>
                  <a:lnTo>
                    <a:pt x="36" y="137"/>
                  </a:lnTo>
                  <a:lnTo>
                    <a:pt x="36" y="137"/>
                  </a:lnTo>
                  <a:lnTo>
                    <a:pt x="40" y="140"/>
                  </a:lnTo>
                  <a:lnTo>
                    <a:pt x="40" y="140"/>
                  </a:lnTo>
                  <a:lnTo>
                    <a:pt x="43" y="142"/>
                  </a:lnTo>
                  <a:lnTo>
                    <a:pt x="43" y="142"/>
                  </a:lnTo>
                  <a:lnTo>
                    <a:pt x="43" y="142"/>
                  </a:lnTo>
                  <a:lnTo>
                    <a:pt x="45" y="142"/>
                  </a:lnTo>
                  <a:lnTo>
                    <a:pt x="45" y="142"/>
                  </a:lnTo>
                  <a:lnTo>
                    <a:pt x="40" y="140"/>
                  </a:lnTo>
                  <a:close/>
                  <a:moveTo>
                    <a:pt x="38" y="135"/>
                  </a:moveTo>
                  <a:lnTo>
                    <a:pt x="38" y="135"/>
                  </a:lnTo>
                  <a:lnTo>
                    <a:pt x="38" y="135"/>
                  </a:lnTo>
                  <a:lnTo>
                    <a:pt x="38" y="132"/>
                  </a:lnTo>
                  <a:lnTo>
                    <a:pt x="36" y="135"/>
                  </a:lnTo>
                  <a:lnTo>
                    <a:pt x="36" y="135"/>
                  </a:lnTo>
                  <a:lnTo>
                    <a:pt x="38" y="137"/>
                  </a:lnTo>
                  <a:lnTo>
                    <a:pt x="38" y="135"/>
                  </a:lnTo>
                  <a:close/>
                  <a:moveTo>
                    <a:pt x="387" y="213"/>
                  </a:moveTo>
                  <a:lnTo>
                    <a:pt x="384" y="211"/>
                  </a:lnTo>
                  <a:lnTo>
                    <a:pt x="382" y="206"/>
                  </a:lnTo>
                  <a:lnTo>
                    <a:pt x="382" y="203"/>
                  </a:lnTo>
                  <a:lnTo>
                    <a:pt x="380" y="201"/>
                  </a:lnTo>
                  <a:lnTo>
                    <a:pt x="377" y="199"/>
                  </a:lnTo>
                  <a:lnTo>
                    <a:pt x="377" y="201"/>
                  </a:lnTo>
                  <a:lnTo>
                    <a:pt x="377" y="201"/>
                  </a:lnTo>
                  <a:lnTo>
                    <a:pt x="375" y="201"/>
                  </a:lnTo>
                  <a:lnTo>
                    <a:pt x="375" y="201"/>
                  </a:lnTo>
                  <a:lnTo>
                    <a:pt x="373" y="201"/>
                  </a:lnTo>
                  <a:lnTo>
                    <a:pt x="373" y="201"/>
                  </a:lnTo>
                  <a:lnTo>
                    <a:pt x="368" y="201"/>
                  </a:lnTo>
                  <a:lnTo>
                    <a:pt x="365" y="199"/>
                  </a:lnTo>
                  <a:lnTo>
                    <a:pt x="361" y="199"/>
                  </a:lnTo>
                  <a:lnTo>
                    <a:pt x="358" y="199"/>
                  </a:lnTo>
                  <a:lnTo>
                    <a:pt x="354" y="199"/>
                  </a:lnTo>
                  <a:lnTo>
                    <a:pt x="349" y="196"/>
                  </a:lnTo>
                  <a:lnTo>
                    <a:pt x="347" y="196"/>
                  </a:lnTo>
                  <a:lnTo>
                    <a:pt x="342" y="196"/>
                  </a:lnTo>
                  <a:lnTo>
                    <a:pt x="340" y="196"/>
                  </a:lnTo>
                  <a:lnTo>
                    <a:pt x="335" y="196"/>
                  </a:lnTo>
                  <a:lnTo>
                    <a:pt x="333" y="194"/>
                  </a:lnTo>
                  <a:lnTo>
                    <a:pt x="333" y="194"/>
                  </a:lnTo>
                  <a:lnTo>
                    <a:pt x="333" y="194"/>
                  </a:lnTo>
                  <a:lnTo>
                    <a:pt x="330" y="194"/>
                  </a:lnTo>
                  <a:lnTo>
                    <a:pt x="330" y="194"/>
                  </a:lnTo>
                  <a:lnTo>
                    <a:pt x="328" y="192"/>
                  </a:lnTo>
                  <a:lnTo>
                    <a:pt x="328" y="192"/>
                  </a:lnTo>
                  <a:lnTo>
                    <a:pt x="325" y="189"/>
                  </a:lnTo>
                  <a:lnTo>
                    <a:pt x="323" y="187"/>
                  </a:lnTo>
                  <a:lnTo>
                    <a:pt x="323" y="184"/>
                  </a:lnTo>
                  <a:lnTo>
                    <a:pt x="321" y="184"/>
                  </a:lnTo>
                  <a:lnTo>
                    <a:pt x="321" y="182"/>
                  </a:lnTo>
                  <a:lnTo>
                    <a:pt x="318" y="182"/>
                  </a:lnTo>
                  <a:lnTo>
                    <a:pt x="318" y="180"/>
                  </a:lnTo>
                  <a:lnTo>
                    <a:pt x="318" y="177"/>
                  </a:lnTo>
                  <a:lnTo>
                    <a:pt x="316" y="177"/>
                  </a:lnTo>
                  <a:lnTo>
                    <a:pt x="316" y="175"/>
                  </a:lnTo>
                  <a:lnTo>
                    <a:pt x="314" y="175"/>
                  </a:lnTo>
                  <a:lnTo>
                    <a:pt x="314" y="173"/>
                  </a:lnTo>
                  <a:lnTo>
                    <a:pt x="311" y="170"/>
                  </a:lnTo>
                  <a:lnTo>
                    <a:pt x="311" y="170"/>
                  </a:lnTo>
                  <a:lnTo>
                    <a:pt x="311" y="170"/>
                  </a:lnTo>
                  <a:lnTo>
                    <a:pt x="311" y="166"/>
                  </a:lnTo>
                  <a:lnTo>
                    <a:pt x="311" y="166"/>
                  </a:lnTo>
                  <a:lnTo>
                    <a:pt x="309" y="166"/>
                  </a:lnTo>
                  <a:lnTo>
                    <a:pt x="309" y="166"/>
                  </a:lnTo>
                  <a:lnTo>
                    <a:pt x="307" y="166"/>
                  </a:lnTo>
                  <a:lnTo>
                    <a:pt x="307" y="166"/>
                  </a:lnTo>
                  <a:lnTo>
                    <a:pt x="307" y="161"/>
                  </a:lnTo>
                  <a:lnTo>
                    <a:pt x="307" y="161"/>
                  </a:lnTo>
                  <a:lnTo>
                    <a:pt x="307" y="161"/>
                  </a:lnTo>
                  <a:lnTo>
                    <a:pt x="307" y="161"/>
                  </a:lnTo>
                  <a:lnTo>
                    <a:pt x="304" y="158"/>
                  </a:lnTo>
                  <a:lnTo>
                    <a:pt x="302" y="161"/>
                  </a:lnTo>
                  <a:lnTo>
                    <a:pt x="302" y="161"/>
                  </a:lnTo>
                  <a:lnTo>
                    <a:pt x="300" y="161"/>
                  </a:lnTo>
                  <a:lnTo>
                    <a:pt x="300" y="161"/>
                  </a:lnTo>
                  <a:lnTo>
                    <a:pt x="297" y="158"/>
                  </a:lnTo>
                  <a:lnTo>
                    <a:pt x="297" y="158"/>
                  </a:lnTo>
                  <a:lnTo>
                    <a:pt x="295" y="156"/>
                  </a:lnTo>
                  <a:lnTo>
                    <a:pt x="295" y="154"/>
                  </a:lnTo>
                  <a:lnTo>
                    <a:pt x="292" y="151"/>
                  </a:lnTo>
                  <a:lnTo>
                    <a:pt x="290" y="149"/>
                  </a:lnTo>
                  <a:lnTo>
                    <a:pt x="290" y="144"/>
                  </a:lnTo>
                  <a:lnTo>
                    <a:pt x="288" y="142"/>
                  </a:lnTo>
                  <a:lnTo>
                    <a:pt x="285" y="140"/>
                  </a:lnTo>
                  <a:lnTo>
                    <a:pt x="283" y="137"/>
                  </a:lnTo>
                  <a:lnTo>
                    <a:pt x="283" y="135"/>
                  </a:lnTo>
                  <a:lnTo>
                    <a:pt x="281" y="132"/>
                  </a:lnTo>
                  <a:lnTo>
                    <a:pt x="281" y="130"/>
                  </a:lnTo>
                  <a:lnTo>
                    <a:pt x="281" y="128"/>
                  </a:lnTo>
                  <a:lnTo>
                    <a:pt x="281" y="128"/>
                  </a:lnTo>
                  <a:lnTo>
                    <a:pt x="281" y="128"/>
                  </a:lnTo>
                  <a:lnTo>
                    <a:pt x="281" y="128"/>
                  </a:lnTo>
                  <a:lnTo>
                    <a:pt x="283" y="128"/>
                  </a:lnTo>
                  <a:lnTo>
                    <a:pt x="283" y="123"/>
                  </a:lnTo>
                  <a:lnTo>
                    <a:pt x="283" y="121"/>
                  </a:lnTo>
                  <a:lnTo>
                    <a:pt x="281" y="121"/>
                  </a:lnTo>
                  <a:lnTo>
                    <a:pt x="278" y="118"/>
                  </a:lnTo>
                  <a:lnTo>
                    <a:pt x="278" y="116"/>
                  </a:lnTo>
                  <a:lnTo>
                    <a:pt x="278" y="116"/>
                  </a:lnTo>
                  <a:lnTo>
                    <a:pt x="278" y="116"/>
                  </a:lnTo>
                  <a:lnTo>
                    <a:pt x="281" y="116"/>
                  </a:lnTo>
                  <a:lnTo>
                    <a:pt x="281" y="116"/>
                  </a:lnTo>
                  <a:lnTo>
                    <a:pt x="281" y="116"/>
                  </a:lnTo>
                  <a:lnTo>
                    <a:pt x="278" y="111"/>
                  </a:lnTo>
                  <a:lnTo>
                    <a:pt x="274" y="109"/>
                  </a:lnTo>
                  <a:lnTo>
                    <a:pt x="269" y="106"/>
                  </a:lnTo>
                  <a:lnTo>
                    <a:pt x="267" y="104"/>
                  </a:lnTo>
                  <a:lnTo>
                    <a:pt x="264" y="102"/>
                  </a:lnTo>
                  <a:lnTo>
                    <a:pt x="262" y="99"/>
                  </a:lnTo>
                  <a:lnTo>
                    <a:pt x="262" y="99"/>
                  </a:lnTo>
                  <a:lnTo>
                    <a:pt x="262" y="97"/>
                  </a:lnTo>
                  <a:lnTo>
                    <a:pt x="259" y="97"/>
                  </a:lnTo>
                  <a:lnTo>
                    <a:pt x="257" y="95"/>
                  </a:lnTo>
                  <a:lnTo>
                    <a:pt x="255" y="92"/>
                  </a:lnTo>
                  <a:lnTo>
                    <a:pt x="255" y="92"/>
                  </a:lnTo>
                  <a:lnTo>
                    <a:pt x="255" y="92"/>
                  </a:lnTo>
                  <a:lnTo>
                    <a:pt x="255" y="90"/>
                  </a:lnTo>
                  <a:lnTo>
                    <a:pt x="255" y="88"/>
                  </a:lnTo>
                  <a:lnTo>
                    <a:pt x="250" y="85"/>
                  </a:lnTo>
                  <a:lnTo>
                    <a:pt x="248" y="80"/>
                  </a:lnTo>
                  <a:lnTo>
                    <a:pt x="248" y="78"/>
                  </a:lnTo>
                  <a:lnTo>
                    <a:pt x="248" y="76"/>
                  </a:lnTo>
                  <a:lnTo>
                    <a:pt x="243" y="76"/>
                  </a:lnTo>
                  <a:lnTo>
                    <a:pt x="241" y="76"/>
                  </a:lnTo>
                  <a:lnTo>
                    <a:pt x="236" y="76"/>
                  </a:lnTo>
                  <a:lnTo>
                    <a:pt x="234" y="76"/>
                  </a:lnTo>
                  <a:lnTo>
                    <a:pt x="231" y="73"/>
                  </a:lnTo>
                  <a:lnTo>
                    <a:pt x="231" y="71"/>
                  </a:lnTo>
                  <a:lnTo>
                    <a:pt x="229" y="71"/>
                  </a:lnTo>
                  <a:lnTo>
                    <a:pt x="229" y="66"/>
                  </a:lnTo>
                  <a:lnTo>
                    <a:pt x="222" y="66"/>
                  </a:lnTo>
                  <a:lnTo>
                    <a:pt x="219" y="66"/>
                  </a:lnTo>
                  <a:lnTo>
                    <a:pt x="215" y="64"/>
                  </a:lnTo>
                  <a:lnTo>
                    <a:pt x="212" y="64"/>
                  </a:lnTo>
                  <a:lnTo>
                    <a:pt x="208" y="66"/>
                  </a:lnTo>
                  <a:lnTo>
                    <a:pt x="201" y="64"/>
                  </a:lnTo>
                  <a:lnTo>
                    <a:pt x="193" y="64"/>
                  </a:lnTo>
                  <a:lnTo>
                    <a:pt x="184" y="64"/>
                  </a:lnTo>
                  <a:lnTo>
                    <a:pt x="179" y="62"/>
                  </a:lnTo>
                  <a:lnTo>
                    <a:pt x="179" y="62"/>
                  </a:lnTo>
                  <a:lnTo>
                    <a:pt x="172" y="57"/>
                  </a:lnTo>
                  <a:lnTo>
                    <a:pt x="168" y="54"/>
                  </a:lnTo>
                  <a:lnTo>
                    <a:pt x="160" y="50"/>
                  </a:lnTo>
                  <a:lnTo>
                    <a:pt x="153" y="43"/>
                  </a:lnTo>
                  <a:lnTo>
                    <a:pt x="149" y="38"/>
                  </a:lnTo>
                  <a:lnTo>
                    <a:pt x="144" y="36"/>
                  </a:lnTo>
                  <a:lnTo>
                    <a:pt x="137" y="31"/>
                  </a:lnTo>
                  <a:lnTo>
                    <a:pt x="132" y="26"/>
                  </a:lnTo>
                  <a:lnTo>
                    <a:pt x="127" y="24"/>
                  </a:lnTo>
                  <a:lnTo>
                    <a:pt x="123" y="19"/>
                  </a:lnTo>
                  <a:lnTo>
                    <a:pt x="118" y="17"/>
                  </a:lnTo>
                  <a:lnTo>
                    <a:pt x="113" y="14"/>
                  </a:lnTo>
                  <a:lnTo>
                    <a:pt x="109" y="12"/>
                  </a:lnTo>
                  <a:lnTo>
                    <a:pt x="104" y="10"/>
                  </a:lnTo>
                  <a:lnTo>
                    <a:pt x="99" y="5"/>
                  </a:lnTo>
                  <a:lnTo>
                    <a:pt x="97" y="5"/>
                  </a:lnTo>
                  <a:lnTo>
                    <a:pt x="90" y="2"/>
                  </a:lnTo>
                  <a:lnTo>
                    <a:pt x="85" y="2"/>
                  </a:lnTo>
                  <a:lnTo>
                    <a:pt x="78" y="2"/>
                  </a:lnTo>
                  <a:lnTo>
                    <a:pt x="73" y="0"/>
                  </a:lnTo>
                  <a:lnTo>
                    <a:pt x="71" y="2"/>
                  </a:lnTo>
                  <a:lnTo>
                    <a:pt x="71" y="2"/>
                  </a:lnTo>
                  <a:lnTo>
                    <a:pt x="69" y="5"/>
                  </a:lnTo>
                  <a:lnTo>
                    <a:pt x="61" y="7"/>
                  </a:lnTo>
                  <a:lnTo>
                    <a:pt x="57" y="7"/>
                  </a:lnTo>
                  <a:lnTo>
                    <a:pt x="50" y="10"/>
                  </a:lnTo>
                  <a:lnTo>
                    <a:pt x="45" y="12"/>
                  </a:lnTo>
                  <a:lnTo>
                    <a:pt x="40" y="12"/>
                  </a:lnTo>
                  <a:lnTo>
                    <a:pt x="36" y="14"/>
                  </a:lnTo>
                  <a:lnTo>
                    <a:pt x="40" y="17"/>
                  </a:lnTo>
                  <a:lnTo>
                    <a:pt x="43" y="21"/>
                  </a:lnTo>
                  <a:lnTo>
                    <a:pt x="47" y="24"/>
                  </a:lnTo>
                  <a:lnTo>
                    <a:pt x="50" y="28"/>
                  </a:lnTo>
                  <a:lnTo>
                    <a:pt x="52" y="31"/>
                  </a:lnTo>
                  <a:lnTo>
                    <a:pt x="57" y="36"/>
                  </a:lnTo>
                  <a:lnTo>
                    <a:pt x="54" y="36"/>
                  </a:lnTo>
                  <a:lnTo>
                    <a:pt x="50" y="38"/>
                  </a:lnTo>
                  <a:lnTo>
                    <a:pt x="50" y="38"/>
                  </a:lnTo>
                  <a:lnTo>
                    <a:pt x="50" y="38"/>
                  </a:lnTo>
                  <a:lnTo>
                    <a:pt x="50" y="43"/>
                  </a:lnTo>
                  <a:lnTo>
                    <a:pt x="47" y="45"/>
                  </a:lnTo>
                  <a:lnTo>
                    <a:pt x="47" y="45"/>
                  </a:lnTo>
                  <a:lnTo>
                    <a:pt x="43" y="47"/>
                  </a:lnTo>
                  <a:lnTo>
                    <a:pt x="38" y="47"/>
                  </a:lnTo>
                  <a:lnTo>
                    <a:pt x="36" y="47"/>
                  </a:lnTo>
                  <a:lnTo>
                    <a:pt x="33" y="50"/>
                  </a:lnTo>
                  <a:lnTo>
                    <a:pt x="33" y="52"/>
                  </a:lnTo>
                  <a:lnTo>
                    <a:pt x="31" y="57"/>
                  </a:lnTo>
                  <a:lnTo>
                    <a:pt x="28" y="59"/>
                  </a:lnTo>
                  <a:lnTo>
                    <a:pt x="24" y="62"/>
                  </a:lnTo>
                  <a:lnTo>
                    <a:pt x="24" y="62"/>
                  </a:lnTo>
                  <a:lnTo>
                    <a:pt x="19" y="62"/>
                  </a:lnTo>
                  <a:lnTo>
                    <a:pt x="14" y="62"/>
                  </a:lnTo>
                  <a:lnTo>
                    <a:pt x="10" y="59"/>
                  </a:lnTo>
                  <a:lnTo>
                    <a:pt x="7" y="59"/>
                  </a:lnTo>
                  <a:lnTo>
                    <a:pt x="3" y="59"/>
                  </a:lnTo>
                  <a:lnTo>
                    <a:pt x="3" y="73"/>
                  </a:lnTo>
                  <a:lnTo>
                    <a:pt x="3" y="76"/>
                  </a:lnTo>
                  <a:lnTo>
                    <a:pt x="0" y="83"/>
                  </a:lnTo>
                  <a:lnTo>
                    <a:pt x="0" y="85"/>
                  </a:lnTo>
                  <a:lnTo>
                    <a:pt x="0" y="85"/>
                  </a:lnTo>
                  <a:lnTo>
                    <a:pt x="0" y="85"/>
                  </a:lnTo>
                  <a:lnTo>
                    <a:pt x="3" y="85"/>
                  </a:lnTo>
                  <a:lnTo>
                    <a:pt x="7" y="85"/>
                  </a:lnTo>
                  <a:lnTo>
                    <a:pt x="10" y="88"/>
                  </a:lnTo>
                  <a:lnTo>
                    <a:pt x="14" y="92"/>
                  </a:lnTo>
                  <a:lnTo>
                    <a:pt x="17" y="99"/>
                  </a:lnTo>
                  <a:lnTo>
                    <a:pt x="21" y="104"/>
                  </a:lnTo>
                  <a:lnTo>
                    <a:pt x="24" y="106"/>
                  </a:lnTo>
                  <a:lnTo>
                    <a:pt x="26" y="111"/>
                  </a:lnTo>
                  <a:lnTo>
                    <a:pt x="28" y="114"/>
                  </a:lnTo>
                  <a:lnTo>
                    <a:pt x="31" y="118"/>
                  </a:lnTo>
                  <a:lnTo>
                    <a:pt x="36" y="128"/>
                  </a:lnTo>
                  <a:lnTo>
                    <a:pt x="38" y="130"/>
                  </a:lnTo>
                  <a:lnTo>
                    <a:pt x="40" y="132"/>
                  </a:lnTo>
                  <a:lnTo>
                    <a:pt x="40" y="135"/>
                  </a:lnTo>
                  <a:lnTo>
                    <a:pt x="43" y="137"/>
                  </a:lnTo>
                  <a:lnTo>
                    <a:pt x="43" y="137"/>
                  </a:lnTo>
                  <a:lnTo>
                    <a:pt x="47" y="144"/>
                  </a:lnTo>
                  <a:lnTo>
                    <a:pt x="50" y="147"/>
                  </a:lnTo>
                  <a:lnTo>
                    <a:pt x="50" y="149"/>
                  </a:lnTo>
                  <a:lnTo>
                    <a:pt x="50" y="151"/>
                  </a:lnTo>
                  <a:lnTo>
                    <a:pt x="50" y="154"/>
                  </a:lnTo>
                  <a:lnTo>
                    <a:pt x="50" y="154"/>
                  </a:lnTo>
                  <a:lnTo>
                    <a:pt x="52" y="158"/>
                  </a:lnTo>
                  <a:lnTo>
                    <a:pt x="54" y="163"/>
                  </a:lnTo>
                  <a:lnTo>
                    <a:pt x="57" y="166"/>
                  </a:lnTo>
                  <a:lnTo>
                    <a:pt x="59" y="166"/>
                  </a:lnTo>
                  <a:lnTo>
                    <a:pt x="59" y="166"/>
                  </a:lnTo>
                  <a:lnTo>
                    <a:pt x="61" y="168"/>
                  </a:lnTo>
                  <a:lnTo>
                    <a:pt x="64" y="168"/>
                  </a:lnTo>
                  <a:lnTo>
                    <a:pt x="64" y="170"/>
                  </a:lnTo>
                  <a:lnTo>
                    <a:pt x="66" y="170"/>
                  </a:lnTo>
                  <a:lnTo>
                    <a:pt x="71" y="175"/>
                  </a:lnTo>
                  <a:lnTo>
                    <a:pt x="73" y="177"/>
                  </a:lnTo>
                  <a:lnTo>
                    <a:pt x="76" y="182"/>
                  </a:lnTo>
                  <a:lnTo>
                    <a:pt x="78" y="187"/>
                  </a:lnTo>
                  <a:lnTo>
                    <a:pt x="80" y="189"/>
                  </a:lnTo>
                  <a:lnTo>
                    <a:pt x="80" y="192"/>
                  </a:lnTo>
                  <a:lnTo>
                    <a:pt x="80" y="194"/>
                  </a:lnTo>
                  <a:lnTo>
                    <a:pt x="83" y="196"/>
                  </a:lnTo>
                  <a:lnTo>
                    <a:pt x="83" y="196"/>
                  </a:lnTo>
                  <a:lnTo>
                    <a:pt x="83" y="196"/>
                  </a:lnTo>
                  <a:lnTo>
                    <a:pt x="85" y="199"/>
                  </a:lnTo>
                  <a:lnTo>
                    <a:pt x="85" y="199"/>
                  </a:lnTo>
                  <a:lnTo>
                    <a:pt x="85" y="201"/>
                  </a:lnTo>
                  <a:lnTo>
                    <a:pt x="87" y="206"/>
                  </a:lnTo>
                  <a:lnTo>
                    <a:pt x="85" y="208"/>
                  </a:lnTo>
                  <a:lnTo>
                    <a:pt x="85" y="211"/>
                  </a:lnTo>
                  <a:lnTo>
                    <a:pt x="85" y="213"/>
                  </a:lnTo>
                  <a:lnTo>
                    <a:pt x="85" y="218"/>
                  </a:lnTo>
                  <a:lnTo>
                    <a:pt x="85" y="220"/>
                  </a:lnTo>
                  <a:lnTo>
                    <a:pt x="87" y="222"/>
                  </a:lnTo>
                  <a:lnTo>
                    <a:pt x="87" y="225"/>
                  </a:lnTo>
                  <a:lnTo>
                    <a:pt x="87" y="227"/>
                  </a:lnTo>
                  <a:lnTo>
                    <a:pt x="87" y="229"/>
                  </a:lnTo>
                  <a:lnTo>
                    <a:pt x="90" y="237"/>
                  </a:lnTo>
                  <a:lnTo>
                    <a:pt x="94" y="241"/>
                  </a:lnTo>
                  <a:lnTo>
                    <a:pt x="97" y="246"/>
                  </a:lnTo>
                  <a:lnTo>
                    <a:pt x="99" y="248"/>
                  </a:lnTo>
                  <a:lnTo>
                    <a:pt x="102" y="251"/>
                  </a:lnTo>
                  <a:lnTo>
                    <a:pt x="106" y="251"/>
                  </a:lnTo>
                  <a:lnTo>
                    <a:pt x="113" y="258"/>
                  </a:lnTo>
                  <a:lnTo>
                    <a:pt x="116" y="260"/>
                  </a:lnTo>
                  <a:lnTo>
                    <a:pt x="118" y="263"/>
                  </a:lnTo>
                  <a:lnTo>
                    <a:pt x="120" y="263"/>
                  </a:lnTo>
                  <a:lnTo>
                    <a:pt x="120" y="265"/>
                  </a:lnTo>
                  <a:lnTo>
                    <a:pt x="120" y="265"/>
                  </a:lnTo>
                  <a:lnTo>
                    <a:pt x="123" y="267"/>
                  </a:lnTo>
                  <a:lnTo>
                    <a:pt x="125" y="277"/>
                  </a:lnTo>
                  <a:lnTo>
                    <a:pt x="127" y="277"/>
                  </a:lnTo>
                  <a:lnTo>
                    <a:pt x="127" y="281"/>
                  </a:lnTo>
                  <a:lnTo>
                    <a:pt x="127" y="281"/>
                  </a:lnTo>
                  <a:lnTo>
                    <a:pt x="127" y="284"/>
                  </a:lnTo>
                  <a:lnTo>
                    <a:pt x="132" y="289"/>
                  </a:lnTo>
                  <a:lnTo>
                    <a:pt x="135" y="293"/>
                  </a:lnTo>
                  <a:lnTo>
                    <a:pt x="137" y="298"/>
                  </a:lnTo>
                  <a:lnTo>
                    <a:pt x="139" y="300"/>
                  </a:lnTo>
                  <a:lnTo>
                    <a:pt x="144" y="305"/>
                  </a:lnTo>
                  <a:lnTo>
                    <a:pt x="149" y="310"/>
                  </a:lnTo>
                  <a:lnTo>
                    <a:pt x="151" y="315"/>
                  </a:lnTo>
                  <a:lnTo>
                    <a:pt x="151" y="317"/>
                  </a:lnTo>
                  <a:lnTo>
                    <a:pt x="153" y="319"/>
                  </a:lnTo>
                  <a:lnTo>
                    <a:pt x="153" y="322"/>
                  </a:lnTo>
                  <a:lnTo>
                    <a:pt x="153" y="322"/>
                  </a:lnTo>
                  <a:lnTo>
                    <a:pt x="156" y="324"/>
                  </a:lnTo>
                  <a:lnTo>
                    <a:pt x="158" y="326"/>
                  </a:lnTo>
                  <a:lnTo>
                    <a:pt x="158" y="326"/>
                  </a:lnTo>
                  <a:lnTo>
                    <a:pt x="158" y="329"/>
                  </a:lnTo>
                  <a:lnTo>
                    <a:pt x="158" y="331"/>
                  </a:lnTo>
                  <a:lnTo>
                    <a:pt x="160" y="333"/>
                  </a:lnTo>
                  <a:lnTo>
                    <a:pt x="163" y="331"/>
                  </a:lnTo>
                  <a:lnTo>
                    <a:pt x="163" y="329"/>
                  </a:lnTo>
                  <a:lnTo>
                    <a:pt x="165" y="329"/>
                  </a:lnTo>
                  <a:lnTo>
                    <a:pt x="165" y="326"/>
                  </a:lnTo>
                  <a:lnTo>
                    <a:pt x="165" y="326"/>
                  </a:lnTo>
                  <a:lnTo>
                    <a:pt x="165" y="324"/>
                  </a:lnTo>
                  <a:lnTo>
                    <a:pt x="165" y="324"/>
                  </a:lnTo>
                  <a:lnTo>
                    <a:pt x="165" y="324"/>
                  </a:lnTo>
                  <a:lnTo>
                    <a:pt x="165" y="322"/>
                  </a:lnTo>
                  <a:lnTo>
                    <a:pt x="165" y="319"/>
                  </a:lnTo>
                  <a:lnTo>
                    <a:pt x="165" y="317"/>
                  </a:lnTo>
                  <a:lnTo>
                    <a:pt x="165" y="315"/>
                  </a:lnTo>
                  <a:lnTo>
                    <a:pt x="168" y="315"/>
                  </a:lnTo>
                  <a:lnTo>
                    <a:pt x="168" y="315"/>
                  </a:lnTo>
                  <a:lnTo>
                    <a:pt x="165" y="312"/>
                  </a:lnTo>
                  <a:lnTo>
                    <a:pt x="165" y="312"/>
                  </a:lnTo>
                  <a:lnTo>
                    <a:pt x="168" y="310"/>
                  </a:lnTo>
                  <a:lnTo>
                    <a:pt x="168" y="310"/>
                  </a:lnTo>
                  <a:lnTo>
                    <a:pt x="170" y="310"/>
                  </a:lnTo>
                  <a:lnTo>
                    <a:pt x="170" y="310"/>
                  </a:lnTo>
                  <a:lnTo>
                    <a:pt x="172" y="310"/>
                  </a:lnTo>
                  <a:lnTo>
                    <a:pt x="172" y="310"/>
                  </a:lnTo>
                  <a:lnTo>
                    <a:pt x="175" y="310"/>
                  </a:lnTo>
                  <a:lnTo>
                    <a:pt x="175" y="312"/>
                  </a:lnTo>
                  <a:lnTo>
                    <a:pt x="177" y="312"/>
                  </a:lnTo>
                  <a:lnTo>
                    <a:pt x="179" y="312"/>
                  </a:lnTo>
                  <a:lnTo>
                    <a:pt x="179" y="312"/>
                  </a:lnTo>
                  <a:lnTo>
                    <a:pt x="179" y="312"/>
                  </a:lnTo>
                  <a:lnTo>
                    <a:pt x="182" y="312"/>
                  </a:lnTo>
                  <a:lnTo>
                    <a:pt x="182" y="312"/>
                  </a:lnTo>
                  <a:lnTo>
                    <a:pt x="184" y="312"/>
                  </a:lnTo>
                  <a:lnTo>
                    <a:pt x="186" y="312"/>
                  </a:lnTo>
                  <a:lnTo>
                    <a:pt x="191" y="312"/>
                  </a:lnTo>
                  <a:lnTo>
                    <a:pt x="193" y="310"/>
                  </a:lnTo>
                  <a:lnTo>
                    <a:pt x="198" y="310"/>
                  </a:lnTo>
                  <a:lnTo>
                    <a:pt x="201" y="310"/>
                  </a:lnTo>
                  <a:lnTo>
                    <a:pt x="203" y="310"/>
                  </a:lnTo>
                  <a:lnTo>
                    <a:pt x="203" y="312"/>
                  </a:lnTo>
                  <a:lnTo>
                    <a:pt x="208" y="312"/>
                  </a:lnTo>
                  <a:lnTo>
                    <a:pt x="210" y="315"/>
                  </a:lnTo>
                  <a:lnTo>
                    <a:pt x="215" y="315"/>
                  </a:lnTo>
                  <a:lnTo>
                    <a:pt x="219" y="315"/>
                  </a:lnTo>
                  <a:lnTo>
                    <a:pt x="224" y="315"/>
                  </a:lnTo>
                  <a:lnTo>
                    <a:pt x="226" y="315"/>
                  </a:lnTo>
                  <a:lnTo>
                    <a:pt x="229" y="315"/>
                  </a:lnTo>
                  <a:lnTo>
                    <a:pt x="231" y="315"/>
                  </a:lnTo>
                  <a:lnTo>
                    <a:pt x="231" y="315"/>
                  </a:lnTo>
                  <a:lnTo>
                    <a:pt x="234" y="319"/>
                  </a:lnTo>
                  <a:lnTo>
                    <a:pt x="236" y="322"/>
                  </a:lnTo>
                  <a:lnTo>
                    <a:pt x="238" y="322"/>
                  </a:lnTo>
                  <a:lnTo>
                    <a:pt x="241" y="319"/>
                  </a:lnTo>
                  <a:lnTo>
                    <a:pt x="243" y="319"/>
                  </a:lnTo>
                  <a:lnTo>
                    <a:pt x="243" y="317"/>
                  </a:lnTo>
                  <a:lnTo>
                    <a:pt x="245" y="312"/>
                  </a:lnTo>
                  <a:lnTo>
                    <a:pt x="245" y="310"/>
                  </a:lnTo>
                  <a:lnTo>
                    <a:pt x="248" y="307"/>
                  </a:lnTo>
                  <a:lnTo>
                    <a:pt x="250" y="305"/>
                  </a:lnTo>
                  <a:lnTo>
                    <a:pt x="252" y="300"/>
                  </a:lnTo>
                  <a:lnTo>
                    <a:pt x="255" y="300"/>
                  </a:lnTo>
                  <a:lnTo>
                    <a:pt x="257" y="296"/>
                  </a:lnTo>
                  <a:lnTo>
                    <a:pt x="259" y="293"/>
                  </a:lnTo>
                  <a:lnTo>
                    <a:pt x="264" y="291"/>
                  </a:lnTo>
                  <a:lnTo>
                    <a:pt x="269" y="289"/>
                  </a:lnTo>
                  <a:lnTo>
                    <a:pt x="271" y="286"/>
                  </a:lnTo>
                  <a:lnTo>
                    <a:pt x="274" y="286"/>
                  </a:lnTo>
                  <a:lnTo>
                    <a:pt x="278" y="284"/>
                  </a:lnTo>
                  <a:lnTo>
                    <a:pt x="285" y="284"/>
                  </a:lnTo>
                  <a:lnTo>
                    <a:pt x="290" y="284"/>
                  </a:lnTo>
                  <a:lnTo>
                    <a:pt x="295" y="281"/>
                  </a:lnTo>
                  <a:lnTo>
                    <a:pt x="302" y="281"/>
                  </a:lnTo>
                  <a:lnTo>
                    <a:pt x="307" y="281"/>
                  </a:lnTo>
                  <a:lnTo>
                    <a:pt x="311" y="279"/>
                  </a:lnTo>
                  <a:lnTo>
                    <a:pt x="316" y="279"/>
                  </a:lnTo>
                  <a:lnTo>
                    <a:pt x="321" y="279"/>
                  </a:lnTo>
                  <a:lnTo>
                    <a:pt x="325" y="277"/>
                  </a:lnTo>
                  <a:lnTo>
                    <a:pt x="328" y="277"/>
                  </a:lnTo>
                  <a:lnTo>
                    <a:pt x="330" y="274"/>
                  </a:lnTo>
                  <a:lnTo>
                    <a:pt x="333" y="274"/>
                  </a:lnTo>
                  <a:lnTo>
                    <a:pt x="337" y="272"/>
                  </a:lnTo>
                  <a:lnTo>
                    <a:pt x="340" y="272"/>
                  </a:lnTo>
                  <a:lnTo>
                    <a:pt x="342" y="270"/>
                  </a:lnTo>
                  <a:lnTo>
                    <a:pt x="347" y="270"/>
                  </a:lnTo>
                  <a:lnTo>
                    <a:pt x="349" y="267"/>
                  </a:lnTo>
                  <a:lnTo>
                    <a:pt x="351" y="267"/>
                  </a:lnTo>
                  <a:lnTo>
                    <a:pt x="356" y="265"/>
                  </a:lnTo>
                  <a:lnTo>
                    <a:pt x="358" y="265"/>
                  </a:lnTo>
                  <a:lnTo>
                    <a:pt x="361" y="263"/>
                  </a:lnTo>
                  <a:lnTo>
                    <a:pt x="363" y="263"/>
                  </a:lnTo>
                  <a:lnTo>
                    <a:pt x="368" y="260"/>
                  </a:lnTo>
                  <a:lnTo>
                    <a:pt x="370" y="260"/>
                  </a:lnTo>
                  <a:lnTo>
                    <a:pt x="373" y="258"/>
                  </a:lnTo>
                  <a:lnTo>
                    <a:pt x="377" y="258"/>
                  </a:lnTo>
                  <a:lnTo>
                    <a:pt x="377" y="258"/>
                  </a:lnTo>
                  <a:lnTo>
                    <a:pt x="380" y="253"/>
                  </a:lnTo>
                  <a:lnTo>
                    <a:pt x="380" y="251"/>
                  </a:lnTo>
                  <a:lnTo>
                    <a:pt x="380" y="248"/>
                  </a:lnTo>
                  <a:lnTo>
                    <a:pt x="380" y="246"/>
                  </a:lnTo>
                  <a:lnTo>
                    <a:pt x="382" y="244"/>
                  </a:lnTo>
                  <a:lnTo>
                    <a:pt x="382" y="241"/>
                  </a:lnTo>
                  <a:lnTo>
                    <a:pt x="382" y="239"/>
                  </a:lnTo>
                  <a:lnTo>
                    <a:pt x="382" y="237"/>
                  </a:lnTo>
                  <a:lnTo>
                    <a:pt x="382" y="234"/>
                  </a:lnTo>
                  <a:lnTo>
                    <a:pt x="384" y="232"/>
                  </a:lnTo>
                  <a:lnTo>
                    <a:pt x="384" y="229"/>
                  </a:lnTo>
                  <a:lnTo>
                    <a:pt x="384" y="227"/>
                  </a:lnTo>
                  <a:lnTo>
                    <a:pt x="387" y="222"/>
                  </a:lnTo>
                  <a:lnTo>
                    <a:pt x="387" y="220"/>
                  </a:lnTo>
                  <a:lnTo>
                    <a:pt x="387" y="218"/>
                  </a:lnTo>
                  <a:lnTo>
                    <a:pt x="387" y="218"/>
                  </a:lnTo>
                  <a:lnTo>
                    <a:pt x="387" y="215"/>
                  </a:lnTo>
                  <a:lnTo>
                    <a:pt x="387" y="21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8" name="Freeform 234"/>
            <p:cNvSpPr>
              <a:spLocks/>
            </p:cNvSpPr>
            <p:nvPr userDrawn="1"/>
          </p:nvSpPr>
          <p:spPr bwMode="auto">
            <a:xfrm>
              <a:off x="2524" y="2526"/>
              <a:ext cx="2" cy="5"/>
            </a:xfrm>
            <a:custGeom>
              <a:avLst/>
              <a:gdLst>
                <a:gd name="T0" fmla="*/ 2 w 2"/>
                <a:gd name="T1" fmla="*/ 0 h 5"/>
                <a:gd name="T2" fmla="*/ 2 w 2"/>
                <a:gd name="T3" fmla="*/ 0 h 5"/>
                <a:gd name="T4" fmla="*/ 0 w 2"/>
                <a:gd name="T5" fmla="*/ 0 h 5"/>
                <a:gd name="T6" fmla="*/ 0 w 2"/>
                <a:gd name="T7" fmla="*/ 0 h 5"/>
                <a:gd name="T8" fmla="*/ 0 w 2"/>
                <a:gd name="T9" fmla="*/ 3 h 5"/>
                <a:gd name="T10" fmla="*/ 0 w 2"/>
                <a:gd name="T11" fmla="*/ 5 h 5"/>
                <a:gd name="T12" fmla="*/ 2 w 2"/>
                <a:gd name="T13" fmla="*/ 5 h 5"/>
                <a:gd name="T14" fmla="*/ 2 w 2"/>
                <a:gd name="T15" fmla="*/ 3 h 5"/>
                <a:gd name="T16" fmla="*/ 2 w 2"/>
                <a:gd name="T17" fmla="*/ 0 h 5"/>
                <a:gd name="T18" fmla="*/ 2 w 2"/>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0"/>
                  </a:moveTo>
                  <a:lnTo>
                    <a:pt x="2" y="0"/>
                  </a:lnTo>
                  <a:lnTo>
                    <a:pt x="0" y="0"/>
                  </a:lnTo>
                  <a:lnTo>
                    <a:pt x="0" y="0"/>
                  </a:lnTo>
                  <a:lnTo>
                    <a:pt x="0" y="3"/>
                  </a:lnTo>
                  <a:lnTo>
                    <a:pt x="0" y="5"/>
                  </a:lnTo>
                  <a:lnTo>
                    <a:pt x="2" y="5"/>
                  </a:lnTo>
                  <a:lnTo>
                    <a:pt x="2" y="3"/>
                  </a:lnTo>
                  <a:lnTo>
                    <a:pt x="2" y="0"/>
                  </a:lnTo>
                  <a:lnTo>
                    <a:pt x="2"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9" name="Freeform 235"/>
            <p:cNvSpPr>
              <a:spLocks/>
            </p:cNvSpPr>
            <p:nvPr userDrawn="1"/>
          </p:nvSpPr>
          <p:spPr bwMode="auto">
            <a:xfrm>
              <a:off x="2529" y="2510"/>
              <a:ext cx="4" cy="9"/>
            </a:xfrm>
            <a:custGeom>
              <a:avLst/>
              <a:gdLst>
                <a:gd name="T0" fmla="*/ 2 w 4"/>
                <a:gd name="T1" fmla="*/ 0 h 9"/>
                <a:gd name="T2" fmla="*/ 2 w 4"/>
                <a:gd name="T3" fmla="*/ 0 h 9"/>
                <a:gd name="T4" fmla="*/ 2 w 4"/>
                <a:gd name="T5" fmla="*/ 2 h 9"/>
                <a:gd name="T6" fmla="*/ 0 w 4"/>
                <a:gd name="T7" fmla="*/ 4 h 9"/>
                <a:gd name="T8" fmla="*/ 0 w 4"/>
                <a:gd name="T9" fmla="*/ 4 h 9"/>
                <a:gd name="T10" fmla="*/ 0 w 4"/>
                <a:gd name="T11" fmla="*/ 7 h 9"/>
                <a:gd name="T12" fmla="*/ 2 w 4"/>
                <a:gd name="T13" fmla="*/ 9 h 9"/>
                <a:gd name="T14" fmla="*/ 2 w 4"/>
                <a:gd name="T15" fmla="*/ 7 h 9"/>
                <a:gd name="T16" fmla="*/ 4 w 4"/>
                <a:gd name="T17" fmla="*/ 2 h 9"/>
                <a:gd name="T18" fmla="*/ 2 w 4"/>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2" y="0"/>
                  </a:moveTo>
                  <a:lnTo>
                    <a:pt x="2" y="0"/>
                  </a:lnTo>
                  <a:lnTo>
                    <a:pt x="2" y="2"/>
                  </a:lnTo>
                  <a:lnTo>
                    <a:pt x="0" y="4"/>
                  </a:lnTo>
                  <a:lnTo>
                    <a:pt x="0" y="4"/>
                  </a:lnTo>
                  <a:lnTo>
                    <a:pt x="0" y="7"/>
                  </a:lnTo>
                  <a:lnTo>
                    <a:pt x="2" y="9"/>
                  </a:lnTo>
                  <a:lnTo>
                    <a:pt x="2" y="7"/>
                  </a:lnTo>
                  <a:lnTo>
                    <a:pt x="4" y="2"/>
                  </a:lnTo>
                  <a:lnTo>
                    <a:pt x="2"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0" name="Freeform 236"/>
            <p:cNvSpPr>
              <a:spLocks/>
            </p:cNvSpPr>
            <p:nvPr userDrawn="1"/>
          </p:nvSpPr>
          <p:spPr bwMode="auto">
            <a:xfrm>
              <a:off x="5131" y="2600"/>
              <a:ext cx="40" cy="82"/>
            </a:xfrm>
            <a:custGeom>
              <a:avLst/>
              <a:gdLst>
                <a:gd name="T0" fmla="*/ 40 w 40"/>
                <a:gd name="T1" fmla="*/ 52 h 82"/>
                <a:gd name="T2" fmla="*/ 37 w 40"/>
                <a:gd name="T3" fmla="*/ 47 h 82"/>
                <a:gd name="T4" fmla="*/ 37 w 40"/>
                <a:gd name="T5" fmla="*/ 45 h 82"/>
                <a:gd name="T6" fmla="*/ 37 w 40"/>
                <a:gd name="T7" fmla="*/ 45 h 82"/>
                <a:gd name="T8" fmla="*/ 30 w 40"/>
                <a:gd name="T9" fmla="*/ 35 h 82"/>
                <a:gd name="T10" fmla="*/ 30 w 40"/>
                <a:gd name="T11" fmla="*/ 30 h 82"/>
                <a:gd name="T12" fmla="*/ 28 w 40"/>
                <a:gd name="T13" fmla="*/ 28 h 82"/>
                <a:gd name="T14" fmla="*/ 28 w 40"/>
                <a:gd name="T15" fmla="*/ 28 h 82"/>
                <a:gd name="T16" fmla="*/ 28 w 40"/>
                <a:gd name="T17" fmla="*/ 26 h 82"/>
                <a:gd name="T18" fmla="*/ 23 w 40"/>
                <a:gd name="T19" fmla="*/ 19 h 82"/>
                <a:gd name="T20" fmla="*/ 21 w 40"/>
                <a:gd name="T21" fmla="*/ 16 h 82"/>
                <a:gd name="T22" fmla="*/ 16 w 40"/>
                <a:gd name="T23" fmla="*/ 9 h 82"/>
                <a:gd name="T24" fmla="*/ 9 w 40"/>
                <a:gd name="T25" fmla="*/ 2 h 82"/>
                <a:gd name="T26" fmla="*/ 4 w 40"/>
                <a:gd name="T27" fmla="*/ 0 h 82"/>
                <a:gd name="T28" fmla="*/ 2 w 40"/>
                <a:gd name="T29" fmla="*/ 2 h 82"/>
                <a:gd name="T30" fmla="*/ 4 w 40"/>
                <a:gd name="T31" fmla="*/ 2 h 82"/>
                <a:gd name="T32" fmla="*/ 9 w 40"/>
                <a:gd name="T33" fmla="*/ 4 h 82"/>
                <a:gd name="T34" fmla="*/ 11 w 40"/>
                <a:gd name="T35" fmla="*/ 7 h 82"/>
                <a:gd name="T36" fmla="*/ 9 w 40"/>
                <a:gd name="T37" fmla="*/ 9 h 82"/>
                <a:gd name="T38" fmla="*/ 7 w 40"/>
                <a:gd name="T39" fmla="*/ 7 h 82"/>
                <a:gd name="T40" fmla="*/ 7 w 40"/>
                <a:gd name="T41" fmla="*/ 9 h 82"/>
                <a:gd name="T42" fmla="*/ 7 w 40"/>
                <a:gd name="T43" fmla="*/ 14 h 82"/>
                <a:gd name="T44" fmla="*/ 2 w 40"/>
                <a:gd name="T45" fmla="*/ 21 h 82"/>
                <a:gd name="T46" fmla="*/ 4 w 40"/>
                <a:gd name="T47" fmla="*/ 23 h 82"/>
                <a:gd name="T48" fmla="*/ 2 w 40"/>
                <a:gd name="T49" fmla="*/ 30 h 82"/>
                <a:gd name="T50" fmla="*/ 2 w 40"/>
                <a:gd name="T51" fmla="*/ 37 h 82"/>
                <a:gd name="T52" fmla="*/ 0 w 40"/>
                <a:gd name="T53" fmla="*/ 37 h 82"/>
                <a:gd name="T54" fmla="*/ 0 w 40"/>
                <a:gd name="T55" fmla="*/ 35 h 82"/>
                <a:gd name="T56" fmla="*/ 2 w 40"/>
                <a:gd name="T57" fmla="*/ 42 h 82"/>
                <a:gd name="T58" fmla="*/ 4 w 40"/>
                <a:gd name="T59" fmla="*/ 63 h 82"/>
                <a:gd name="T60" fmla="*/ 7 w 40"/>
                <a:gd name="T61" fmla="*/ 73 h 82"/>
                <a:gd name="T62" fmla="*/ 11 w 40"/>
                <a:gd name="T63" fmla="*/ 80 h 82"/>
                <a:gd name="T64" fmla="*/ 21 w 40"/>
                <a:gd name="T65" fmla="*/ 82 h 82"/>
                <a:gd name="T66" fmla="*/ 30 w 40"/>
                <a:gd name="T67" fmla="*/ 78 h 82"/>
                <a:gd name="T68" fmla="*/ 37 w 40"/>
                <a:gd name="T69" fmla="*/ 73 h 82"/>
                <a:gd name="T70" fmla="*/ 40 w 40"/>
                <a:gd name="T71" fmla="*/ 68 h 82"/>
                <a:gd name="T72" fmla="*/ 40 w 40"/>
                <a:gd name="T73" fmla="*/ 61 h 82"/>
                <a:gd name="T74" fmla="*/ 40 w 40"/>
                <a:gd name="T75"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82">
                  <a:moveTo>
                    <a:pt x="40" y="54"/>
                  </a:moveTo>
                  <a:lnTo>
                    <a:pt x="40" y="52"/>
                  </a:lnTo>
                  <a:lnTo>
                    <a:pt x="40" y="49"/>
                  </a:lnTo>
                  <a:lnTo>
                    <a:pt x="37" y="47"/>
                  </a:lnTo>
                  <a:lnTo>
                    <a:pt x="37" y="45"/>
                  </a:lnTo>
                  <a:lnTo>
                    <a:pt x="37" y="45"/>
                  </a:lnTo>
                  <a:lnTo>
                    <a:pt x="37" y="45"/>
                  </a:lnTo>
                  <a:lnTo>
                    <a:pt x="37" y="45"/>
                  </a:lnTo>
                  <a:lnTo>
                    <a:pt x="33" y="37"/>
                  </a:lnTo>
                  <a:lnTo>
                    <a:pt x="30" y="35"/>
                  </a:lnTo>
                  <a:lnTo>
                    <a:pt x="30" y="35"/>
                  </a:lnTo>
                  <a:lnTo>
                    <a:pt x="30" y="30"/>
                  </a:lnTo>
                  <a:lnTo>
                    <a:pt x="30" y="28"/>
                  </a:lnTo>
                  <a:lnTo>
                    <a:pt x="28" y="28"/>
                  </a:lnTo>
                  <a:lnTo>
                    <a:pt x="28" y="28"/>
                  </a:lnTo>
                  <a:lnTo>
                    <a:pt x="28" y="28"/>
                  </a:lnTo>
                  <a:lnTo>
                    <a:pt x="28" y="26"/>
                  </a:lnTo>
                  <a:lnTo>
                    <a:pt x="28" y="26"/>
                  </a:lnTo>
                  <a:lnTo>
                    <a:pt x="23" y="19"/>
                  </a:lnTo>
                  <a:lnTo>
                    <a:pt x="23" y="19"/>
                  </a:lnTo>
                  <a:lnTo>
                    <a:pt x="21" y="19"/>
                  </a:lnTo>
                  <a:lnTo>
                    <a:pt x="21" y="16"/>
                  </a:lnTo>
                  <a:lnTo>
                    <a:pt x="21" y="16"/>
                  </a:lnTo>
                  <a:lnTo>
                    <a:pt x="16" y="9"/>
                  </a:lnTo>
                  <a:lnTo>
                    <a:pt x="11" y="4"/>
                  </a:lnTo>
                  <a:lnTo>
                    <a:pt x="9" y="2"/>
                  </a:lnTo>
                  <a:lnTo>
                    <a:pt x="7" y="0"/>
                  </a:lnTo>
                  <a:lnTo>
                    <a:pt x="4" y="0"/>
                  </a:lnTo>
                  <a:lnTo>
                    <a:pt x="2" y="0"/>
                  </a:lnTo>
                  <a:lnTo>
                    <a:pt x="2" y="2"/>
                  </a:lnTo>
                  <a:lnTo>
                    <a:pt x="2" y="2"/>
                  </a:lnTo>
                  <a:lnTo>
                    <a:pt x="4" y="2"/>
                  </a:lnTo>
                  <a:lnTo>
                    <a:pt x="4" y="4"/>
                  </a:lnTo>
                  <a:lnTo>
                    <a:pt x="9" y="4"/>
                  </a:lnTo>
                  <a:lnTo>
                    <a:pt x="11" y="7"/>
                  </a:lnTo>
                  <a:lnTo>
                    <a:pt x="11" y="7"/>
                  </a:lnTo>
                  <a:lnTo>
                    <a:pt x="11" y="7"/>
                  </a:lnTo>
                  <a:lnTo>
                    <a:pt x="9" y="9"/>
                  </a:lnTo>
                  <a:lnTo>
                    <a:pt x="9" y="7"/>
                  </a:lnTo>
                  <a:lnTo>
                    <a:pt x="7" y="7"/>
                  </a:lnTo>
                  <a:lnTo>
                    <a:pt x="4" y="7"/>
                  </a:lnTo>
                  <a:lnTo>
                    <a:pt x="7" y="9"/>
                  </a:lnTo>
                  <a:lnTo>
                    <a:pt x="7" y="11"/>
                  </a:lnTo>
                  <a:lnTo>
                    <a:pt x="7" y="14"/>
                  </a:lnTo>
                  <a:lnTo>
                    <a:pt x="4" y="16"/>
                  </a:lnTo>
                  <a:lnTo>
                    <a:pt x="2" y="21"/>
                  </a:lnTo>
                  <a:lnTo>
                    <a:pt x="2" y="21"/>
                  </a:lnTo>
                  <a:lnTo>
                    <a:pt x="4" y="23"/>
                  </a:lnTo>
                  <a:lnTo>
                    <a:pt x="4" y="23"/>
                  </a:lnTo>
                  <a:lnTo>
                    <a:pt x="2" y="30"/>
                  </a:lnTo>
                  <a:lnTo>
                    <a:pt x="2" y="33"/>
                  </a:lnTo>
                  <a:lnTo>
                    <a:pt x="2" y="37"/>
                  </a:lnTo>
                  <a:lnTo>
                    <a:pt x="2" y="37"/>
                  </a:lnTo>
                  <a:lnTo>
                    <a:pt x="0" y="37"/>
                  </a:lnTo>
                  <a:lnTo>
                    <a:pt x="0" y="33"/>
                  </a:lnTo>
                  <a:lnTo>
                    <a:pt x="0" y="35"/>
                  </a:lnTo>
                  <a:lnTo>
                    <a:pt x="0" y="37"/>
                  </a:lnTo>
                  <a:lnTo>
                    <a:pt x="2" y="42"/>
                  </a:lnTo>
                  <a:lnTo>
                    <a:pt x="2" y="47"/>
                  </a:lnTo>
                  <a:lnTo>
                    <a:pt x="4" y="63"/>
                  </a:lnTo>
                  <a:lnTo>
                    <a:pt x="4" y="68"/>
                  </a:lnTo>
                  <a:lnTo>
                    <a:pt x="7" y="73"/>
                  </a:lnTo>
                  <a:lnTo>
                    <a:pt x="9" y="78"/>
                  </a:lnTo>
                  <a:lnTo>
                    <a:pt x="11" y="80"/>
                  </a:lnTo>
                  <a:lnTo>
                    <a:pt x="16" y="82"/>
                  </a:lnTo>
                  <a:lnTo>
                    <a:pt x="21" y="82"/>
                  </a:lnTo>
                  <a:lnTo>
                    <a:pt x="26" y="80"/>
                  </a:lnTo>
                  <a:lnTo>
                    <a:pt x="30" y="78"/>
                  </a:lnTo>
                  <a:lnTo>
                    <a:pt x="33" y="75"/>
                  </a:lnTo>
                  <a:lnTo>
                    <a:pt x="37" y="73"/>
                  </a:lnTo>
                  <a:lnTo>
                    <a:pt x="37" y="71"/>
                  </a:lnTo>
                  <a:lnTo>
                    <a:pt x="40" y="68"/>
                  </a:lnTo>
                  <a:lnTo>
                    <a:pt x="40" y="66"/>
                  </a:lnTo>
                  <a:lnTo>
                    <a:pt x="40" y="61"/>
                  </a:lnTo>
                  <a:lnTo>
                    <a:pt x="40" y="59"/>
                  </a:lnTo>
                  <a:lnTo>
                    <a:pt x="40"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1" name="Freeform 237"/>
            <p:cNvSpPr>
              <a:spLocks noEditPoints="1"/>
            </p:cNvSpPr>
            <p:nvPr userDrawn="1"/>
          </p:nvSpPr>
          <p:spPr bwMode="auto">
            <a:xfrm>
              <a:off x="3516" y="1886"/>
              <a:ext cx="212" cy="160"/>
            </a:xfrm>
            <a:custGeom>
              <a:avLst/>
              <a:gdLst>
                <a:gd name="T0" fmla="*/ 208 w 212"/>
                <a:gd name="T1" fmla="*/ 78 h 160"/>
                <a:gd name="T2" fmla="*/ 193 w 212"/>
                <a:gd name="T3" fmla="*/ 85 h 160"/>
                <a:gd name="T4" fmla="*/ 198 w 212"/>
                <a:gd name="T5" fmla="*/ 85 h 160"/>
                <a:gd name="T6" fmla="*/ 208 w 212"/>
                <a:gd name="T7" fmla="*/ 89 h 160"/>
                <a:gd name="T8" fmla="*/ 205 w 212"/>
                <a:gd name="T9" fmla="*/ 42 h 160"/>
                <a:gd name="T10" fmla="*/ 208 w 212"/>
                <a:gd name="T11" fmla="*/ 30 h 160"/>
                <a:gd name="T12" fmla="*/ 208 w 212"/>
                <a:gd name="T13" fmla="*/ 28 h 160"/>
                <a:gd name="T14" fmla="*/ 201 w 212"/>
                <a:gd name="T15" fmla="*/ 28 h 160"/>
                <a:gd name="T16" fmla="*/ 189 w 212"/>
                <a:gd name="T17" fmla="*/ 28 h 160"/>
                <a:gd name="T18" fmla="*/ 182 w 212"/>
                <a:gd name="T19" fmla="*/ 28 h 160"/>
                <a:gd name="T20" fmla="*/ 179 w 212"/>
                <a:gd name="T21" fmla="*/ 23 h 160"/>
                <a:gd name="T22" fmla="*/ 168 w 212"/>
                <a:gd name="T23" fmla="*/ 18 h 160"/>
                <a:gd name="T24" fmla="*/ 160 w 212"/>
                <a:gd name="T25" fmla="*/ 23 h 160"/>
                <a:gd name="T26" fmla="*/ 151 w 212"/>
                <a:gd name="T27" fmla="*/ 21 h 160"/>
                <a:gd name="T28" fmla="*/ 144 w 212"/>
                <a:gd name="T29" fmla="*/ 18 h 160"/>
                <a:gd name="T30" fmla="*/ 135 w 212"/>
                <a:gd name="T31" fmla="*/ 14 h 160"/>
                <a:gd name="T32" fmla="*/ 130 w 212"/>
                <a:gd name="T33" fmla="*/ 14 h 160"/>
                <a:gd name="T34" fmla="*/ 130 w 212"/>
                <a:gd name="T35" fmla="*/ 9 h 160"/>
                <a:gd name="T36" fmla="*/ 118 w 212"/>
                <a:gd name="T37" fmla="*/ 9 h 160"/>
                <a:gd name="T38" fmla="*/ 97 w 212"/>
                <a:gd name="T39" fmla="*/ 4 h 160"/>
                <a:gd name="T40" fmla="*/ 71 w 212"/>
                <a:gd name="T41" fmla="*/ 7 h 160"/>
                <a:gd name="T42" fmla="*/ 45 w 212"/>
                <a:gd name="T43" fmla="*/ 4 h 160"/>
                <a:gd name="T44" fmla="*/ 29 w 212"/>
                <a:gd name="T45" fmla="*/ 0 h 160"/>
                <a:gd name="T46" fmla="*/ 17 w 212"/>
                <a:gd name="T47" fmla="*/ 7 h 160"/>
                <a:gd name="T48" fmla="*/ 3 w 212"/>
                <a:gd name="T49" fmla="*/ 11 h 160"/>
                <a:gd name="T50" fmla="*/ 5 w 212"/>
                <a:gd name="T51" fmla="*/ 21 h 160"/>
                <a:gd name="T52" fmla="*/ 7 w 212"/>
                <a:gd name="T53" fmla="*/ 26 h 160"/>
                <a:gd name="T54" fmla="*/ 7 w 212"/>
                <a:gd name="T55" fmla="*/ 30 h 160"/>
                <a:gd name="T56" fmla="*/ 7 w 212"/>
                <a:gd name="T57" fmla="*/ 35 h 160"/>
                <a:gd name="T58" fmla="*/ 17 w 212"/>
                <a:gd name="T59" fmla="*/ 35 h 160"/>
                <a:gd name="T60" fmla="*/ 17 w 212"/>
                <a:gd name="T61" fmla="*/ 40 h 160"/>
                <a:gd name="T62" fmla="*/ 26 w 212"/>
                <a:gd name="T63" fmla="*/ 40 h 160"/>
                <a:gd name="T64" fmla="*/ 33 w 212"/>
                <a:gd name="T65" fmla="*/ 37 h 160"/>
                <a:gd name="T66" fmla="*/ 40 w 212"/>
                <a:gd name="T67" fmla="*/ 37 h 160"/>
                <a:gd name="T68" fmla="*/ 45 w 212"/>
                <a:gd name="T69" fmla="*/ 42 h 160"/>
                <a:gd name="T70" fmla="*/ 47 w 212"/>
                <a:gd name="T71" fmla="*/ 47 h 160"/>
                <a:gd name="T72" fmla="*/ 36 w 212"/>
                <a:gd name="T73" fmla="*/ 56 h 160"/>
                <a:gd name="T74" fmla="*/ 36 w 212"/>
                <a:gd name="T75" fmla="*/ 68 h 160"/>
                <a:gd name="T76" fmla="*/ 33 w 212"/>
                <a:gd name="T77" fmla="*/ 75 h 160"/>
                <a:gd name="T78" fmla="*/ 31 w 212"/>
                <a:gd name="T79" fmla="*/ 82 h 160"/>
                <a:gd name="T80" fmla="*/ 26 w 212"/>
                <a:gd name="T81" fmla="*/ 89 h 160"/>
                <a:gd name="T82" fmla="*/ 26 w 212"/>
                <a:gd name="T83" fmla="*/ 101 h 160"/>
                <a:gd name="T84" fmla="*/ 31 w 212"/>
                <a:gd name="T85" fmla="*/ 115 h 160"/>
                <a:gd name="T86" fmla="*/ 24 w 212"/>
                <a:gd name="T87" fmla="*/ 122 h 160"/>
                <a:gd name="T88" fmla="*/ 29 w 212"/>
                <a:gd name="T89" fmla="*/ 137 h 160"/>
                <a:gd name="T90" fmla="*/ 40 w 212"/>
                <a:gd name="T91" fmla="*/ 141 h 160"/>
                <a:gd name="T92" fmla="*/ 40 w 212"/>
                <a:gd name="T93" fmla="*/ 148 h 160"/>
                <a:gd name="T94" fmla="*/ 52 w 212"/>
                <a:gd name="T95" fmla="*/ 160 h 160"/>
                <a:gd name="T96" fmla="*/ 57 w 212"/>
                <a:gd name="T97" fmla="*/ 156 h 160"/>
                <a:gd name="T98" fmla="*/ 73 w 212"/>
                <a:gd name="T99" fmla="*/ 146 h 160"/>
                <a:gd name="T100" fmla="*/ 102 w 212"/>
                <a:gd name="T101" fmla="*/ 146 h 160"/>
                <a:gd name="T102" fmla="*/ 116 w 212"/>
                <a:gd name="T103" fmla="*/ 141 h 160"/>
                <a:gd name="T104" fmla="*/ 139 w 212"/>
                <a:gd name="T105" fmla="*/ 127 h 160"/>
                <a:gd name="T106" fmla="*/ 142 w 212"/>
                <a:gd name="T107" fmla="*/ 113 h 160"/>
                <a:gd name="T108" fmla="*/ 151 w 212"/>
                <a:gd name="T109" fmla="*/ 99 h 160"/>
                <a:gd name="T110" fmla="*/ 156 w 212"/>
                <a:gd name="T111" fmla="*/ 75 h 160"/>
                <a:gd name="T112" fmla="*/ 168 w 212"/>
                <a:gd name="T113" fmla="*/ 63 h 160"/>
                <a:gd name="T114" fmla="*/ 189 w 212"/>
                <a:gd name="T115" fmla="*/ 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 h="160">
                  <a:moveTo>
                    <a:pt x="210" y="80"/>
                  </a:moveTo>
                  <a:lnTo>
                    <a:pt x="210" y="80"/>
                  </a:lnTo>
                  <a:lnTo>
                    <a:pt x="208" y="80"/>
                  </a:lnTo>
                  <a:lnTo>
                    <a:pt x="208" y="80"/>
                  </a:lnTo>
                  <a:lnTo>
                    <a:pt x="208" y="80"/>
                  </a:lnTo>
                  <a:lnTo>
                    <a:pt x="208" y="80"/>
                  </a:lnTo>
                  <a:lnTo>
                    <a:pt x="208" y="78"/>
                  </a:lnTo>
                  <a:lnTo>
                    <a:pt x="208" y="78"/>
                  </a:lnTo>
                  <a:lnTo>
                    <a:pt x="208" y="78"/>
                  </a:lnTo>
                  <a:lnTo>
                    <a:pt x="208" y="78"/>
                  </a:lnTo>
                  <a:lnTo>
                    <a:pt x="208" y="78"/>
                  </a:lnTo>
                  <a:lnTo>
                    <a:pt x="203" y="78"/>
                  </a:lnTo>
                  <a:lnTo>
                    <a:pt x="201" y="80"/>
                  </a:lnTo>
                  <a:lnTo>
                    <a:pt x="193" y="85"/>
                  </a:lnTo>
                  <a:lnTo>
                    <a:pt x="193" y="85"/>
                  </a:lnTo>
                  <a:lnTo>
                    <a:pt x="193" y="85"/>
                  </a:lnTo>
                  <a:lnTo>
                    <a:pt x="193" y="87"/>
                  </a:lnTo>
                  <a:lnTo>
                    <a:pt x="196" y="87"/>
                  </a:lnTo>
                  <a:lnTo>
                    <a:pt x="196" y="85"/>
                  </a:lnTo>
                  <a:lnTo>
                    <a:pt x="198" y="85"/>
                  </a:lnTo>
                  <a:lnTo>
                    <a:pt x="198" y="85"/>
                  </a:lnTo>
                  <a:lnTo>
                    <a:pt x="201" y="87"/>
                  </a:lnTo>
                  <a:lnTo>
                    <a:pt x="201" y="89"/>
                  </a:lnTo>
                  <a:lnTo>
                    <a:pt x="201" y="89"/>
                  </a:lnTo>
                  <a:lnTo>
                    <a:pt x="203" y="89"/>
                  </a:lnTo>
                  <a:lnTo>
                    <a:pt x="205" y="92"/>
                  </a:lnTo>
                  <a:lnTo>
                    <a:pt x="205" y="89"/>
                  </a:lnTo>
                  <a:lnTo>
                    <a:pt x="208" y="89"/>
                  </a:lnTo>
                  <a:lnTo>
                    <a:pt x="210" y="87"/>
                  </a:lnTo>
                  <a:lnTo>
                    <a:pt x="210" y="85"/>
                  </a:lnTo>
                  <a:lnTo>
                    <a:pt x="210" y="85"/>
                  </a:lnTo>
                  <a:lnTo>
                    <a:pt x="212" y="82"/>
                  </a:lnTo>
                  <a:lnTo>
                    <a:pt x="212" y="80"/>
                  </a:lnTo>
                  <a:lnTo>
                    <a:pt x="210" y="80"/>
                  </a:lnTo>
                  <a:close/>
                  <a:moveTo>
                    <a:pt x="205" y="42"/>
                  </a:moveTo>
                  <a:lnTo>
                    <a:pt x="208" y="40"/>
                  </a:lnTo>
                  <a:lnTo>
                    <a:pt x="210" y="37"/>
                  </a:lnTo>
                  <a:lnTo>
                    <a:pt x="210" y="35"/>
                  </a:lnTo>
                  <a:lnTo>
                    <a:pt x="210" y="35"/>
                  </a:lnTo>
                  <a:lnTo>
                    <a:pt x="208" y="33"/>
                  </a:lnTo>
                  <a:lnTo>
                    <a:pt x="208" y="33"/>
                  </a:lnTo>
                  <a:lnTo>
                    <a:pt x="208" y="30"/>
                  </a:lnTo>
                  <a:lnTo>
                    <a:pt x="210" y="30"/>
                  </a:lnTo>
                  <a:lnTo>
                    <a:pt x="210" y="30"/>
                  </a:lnTo>
                  <a:lnTo>
                    <a:pt x="210" y="30"/>
                  </a:lnTo>
                  <a:lnTo>
                    <a:pt x="210" y="28"/>
                  </a:lnTo>
                  <a:lnTo>
                    <a:pt x="210" y="28"/>
                  </a:lnTo>
                  <a:lnTo>
                    <a:pt x="208" y="28"/>
                  </a:lnTo>
                  <a:lnTo>
                    <a:pt x="208" y="28"/>
                  </a:lnTo>
                  <a:lnTo>
                    <a:pt x="205" y="26"/>
                  </a:lnTo>
                  <a:lnTo>
                    <a:pt x="205" y="28"/>
                  </a:lnTo>
                  <a:lnTo>
                    <a:pt x="203" y="28"/>
                  </a:lnTo>
                  <a:lnTo>
                    <a:pt x="203" y="28"/>
                  </a:lnTo>
                  <a:lnTo>
                    <a:pt x="201" y="28"/>
                  </a:lnTo>
                  <a:lnTo>
                    <a:pt x="201" y="28"/>
                  </a:lnTo>
                  <a:lnTo>
                    <a:pt x="201" y="28"/>
                  </a:lnTo>
                  <a:lnTo>
                    <a:pt x="201" y="30"/>
                  </a:lnTo>
                  <a:lnTo>
                    <a:pt x="198" y="30"/>
                  </a:lnTo>
                  <a:lnTo>
                    <a:pt x="196" y="28"/>
                  </a:lnTo>
                  <a:lnTo>
                    <a:pt x="193" y="28"/>
                  </a:lnTo>
                  <a:lnTo>
                    <a:pt x="191" y="28"/>
                  </a:lnTo>
                  <a:lnTo>
                    <a:pt x="189" y="28"/>
                  </a:lnTo>
                  <a:lnTo>
                    <a:pt x="189" y="28"/>
                  </a:lnTo>
                  <a:lnTo>
                    <a:pt x="189" y="28"/>
                  </a:lnTo>
                  <a:lnTo>
                    <a:pt x="189" y="28"/>
                  </a:lnTo>
                  <a:lnTo>
                    <a:pt x="186" y="28"/>
                  </a:lnTo>
                  <a:lnTo>
                    <a:pt x="184" y="26"/>
                  </a:lnTo>
                  <a:lnTo>
                    <a:pt x="184" y="26"/>
                  </a:lnTo>
                  <a:lnTo>
                    <a:pt x="182" y="28"/>
                  </a:lnTo>
                  <a:lnTo>
                    <a:pt x="182" y="28"/>
                  </a:lnTo>
                  <a:lnTo>
                    <a:pt x="179" y="28"/>
                  </a:lnTo>
                  <a:lnTo>
                    <a:pt x="179" y="28"/>
                  </a:lnTo>
                  <a:lnTo>
                    <a:pt x="179" y="28"/>
                  </a:lnTo>
                  <a:lnTo>
                    <a:pt x="179" y="26"/>
                  </a:lnTo>
                  <a:lnTo>
                    <a:pt x="179" y="26"/>
                  </a:lnTo>
                  <a:lnTo>
                    <a:pt x="179" y="26"/>
                  </a:lnTo>
                  <a:lnTo>
                    <a:pt x="179" y="23"/>
                  </a:lnTo>
                  <a:lnTo>
                    <a:pt x="179" y="23"/>
                  </a:lnTo>
                  <a:lnTo>
                    <a:pt x="177" y="21"/>
                  </a:lnTo>
                  <a:lnTo>
                    <a:pt x="177" y="21"/>
                  </a:lnTo>
                  <a:lnTo>
                    <a:pt x="175" y="21"/>
                  </a:lnTo>
                  <a:lnTo>
                    <a:pt x="172" y="21"/>
                  </a:lnTo>
                  <a:lnTo>
                    <a:pt x="168" y="18"/>
                  </a:lnTo>
                  <a:lnTo>
                    <a:pt x="168" y="18"/>
                  </a:lnTo>
                  <a:lnTo>
                    <a:pt x="168" y="18"/>
                  </a:lnTo>
                  <a:lnTo>
                    <a:pt x="168" y="21"/>
                  </a:lnTo>
                  <a:lnTo>
                    <a:pt x="165" y="21"/>
                  </a:lnTo>
                  <a:lnTo>
                    <a:pt x="165" y="23"/>
                  </a:lnTo>
                  <a:lnTo>
                    <a:pt x="165" y="23"/>
                  </a:lnTo>
                  <a:lnTo>
                    <a:pt x="163" y="21"/>
                  </a:lnTo>
                  <a:lnTo>
                    <a:pt x="160" y="23"/>
                  </a:lnTo>
                  <a:lnTo>
                    <a:pt x="160" y="23"/>
                  </a:lnTo>
                  <a:lnTo>
                    <a:pt x="158" y="21"/>
                  </a:lnTo>
                  <a:lnTo>
                    <a:pt x="156" y="23"/>
                  </a:lnTo>
                  <a:lnTo>
                    <a:pt x="153" y="21"/>
                  </a:lnTo>
                  <a:lnTo>
                    <a:pt x="153" y="21"/>
                  </a:lnTo>
                  <a:lnTo>
                    <a:pt x="151" y="21"/>
                  </a:lnTo>
                  <a:lnTo>
                    <a:pt x="151" y="21"/>
                  </a:lnTo>
                  <a:lnTo>
                    <a:pt x="151" y="18"/>
                  </a:lnTo>
                  <a:lnTo>
                    <a:pt x="151" y="18"/>
                  </a:lnTo>
                  <a:lnTo>
                    <a:pt x="149" y="21"/>
                  </a:lnTo>
                  <a:lnTo>
                    <a:pt x="146" y="21"/>
                  </a:lnTo>
                  <a:lnTo>
                    <a:pt x="146" y="21"/>
                  </a:lnTo>
                  <a:lnTo>
                    <a:pt x="146" y="21"/>
                  </a:lnTo>
                  <a:lnTo>
                    <a:pt x="144" y="18"/>
                  </a:lnTo>
                  <a:lnTo>
                    <a:pt x="144" y="16"/>
                  </a:lnTo>
                  <a:lnTo>
                    <a:pt x="142" y="16"/>
                  </a:lnTo>
                  <a:lnTo>
                    <a:pt x="139" y="16"/>
                  </a:lnTo>
                  <a:lnTo>
                    <a:pt x="137" y="16"/>
                  </a:lnTo>
                  <a:lnTo>
                    <a:pt x="135" y="14"/>
                  </a:lnTo>
                  <a:lnTo>
                    <a:pt x="135" y="14"/>
                  </a:lnTo>
                  <a:lnTo>
                    <a:pt x="135" y="14"/>
                  </a:lnTo>
                  <a:lnTo>
                    <a:pt x="135" y="14"/>
                  </a:lnTo>
                  <a:lnTo>
                    <a:pt x="132" y="14"/>
                  </a:lnTo>
                  <a:lnTo>
                    <a:pt x="132" y="16"/>
                  </a:lnTo>
                  <a:lnTo>
                    <a:pt x="132" y="16"/>
                  </a:lnTo>
                  <a:lnTo>
                    <a:pt x="132" y="16"/>
                  </a:lnTo>
                  <a:lnTo>
                    <a:pt x="132" y="14"/>
                  </a:lnTo>
                  <a:lnTo>
                    <a:pt x="130" y="14"/>
                  </a:lnTo>
                  <a:lnTo>
                    <a:pt x="132" y="14"/>
                  </a:lnTo>
                  <a:lnTo>
                    <a:pt x="132" y="14"/>
                  </a:lnTo>
                  <a:lnTo>
                    <a:pt x="132" y="11"/>
                  </a:lnTo>
                  <a:lnTo>
                    <a:pt x="132" y="11"/>
                  </a:lnTo>
                  <a:lnTo>
                    <a:pt x="132" y="11"/>
                  </a:lnTo>
                  <a:lnTo>
                    <a:pt x="130" y="9"/>
                  </a:lnTo>
                  <a:lnTo>
                    <a:pt x="130" y="9"/>
                  </a:lnTo>
                  <a:lnTo>
                    <a:pt x="127" y="9"/>
                  </a:lnTo>
                  <a:lnTo>
                    <a:pt x="127" y="9"/>
                  </a:lnTo>
                  <a:lnTo>
                    <a:pt x="125" y="9"/>
                  </a:lnTo>
                  <a:lnTo>
                    <a:pt x="125" y="7"/>
                  </a:lnTo>
                  <a:lnTo>
                    <a:pt x="125" y="7"/>
                  </a:lnTo>
                  <a:lnTo>
                    <a:pt x="123" y="9"/>
                  </a:lnTo>
                  <a:lnTo>
                    <a:pt x="118" y="9"/>
                  </a:lnTo>
                  <a:lnTo>
                    <a:pt x="116" y="9"/>
                  </a:lnTo>
                  <a:lnTo>
                    <a:pt x="113" y="7"/>
                  </a:lnTo>
                  <a:lnTo>
                    <a:pt x="109" y="7"/>
                  </a:lnTo>
                  <a:lnTo>
                    <a:pt x="106" y="7"/>
                  </a:lnTo>
                  <a:lnTo>
                    <a:pt x="104" y="9"/>
                  </a:lnTo>
                  <a:lnTo>
                    <a:pt x="99" y="7"/>
                  </a:lnTo>
                  <a:lnTo>
                    <a:pt x="97" y="4"/>
                  </a:lnTo>
                  <a:lnTo>
                    <a:pt x="97" y="4"/>
                  </a:lnTo>
                  <a:lnTo>
                    <a:pt x="92" y="7"/>
                  </a:lnTo>
                  <a:lnTo>
                    <a:pt x="92" y="7"/>
                  </a:lnTo>
                  <a:lnTo>
                    <a:pt x="90" y="7"/>
                  </a:lnTo>
                  <a:lnTo>
                    <a:pt x="83" y="7"/>
                  </a:lnTo>
                  <a:lnTo>
                    <a:pt x="80" y="7"/>
                  </a:lnTo>
                  <a:lnTo>
                    <a:pt x="71" y="7"/>
                  </a:lnTo>
                  <a:lnTo>
                    <a:pt x="66" y="4"/>
                  </a:lnTo>
                  <a:lnTo>
                    <a:pt x="62" y="4"/>
                  </a:lnTo>
                  <a:lnTo>
                    <a:pt x="59" y="2"/>
                  </a:lnTo>
                  <a:lnTo>
                    <a:pt x="54" y="4"/>
                  </a:lnTo>
                  <a:lnTo>
                    <a:pt x="52" y="4"/>
                  </a:lnTo>
                  <a:lnTo>
                    <a:pt x="47" y="4"/>
                  </a:lnTo>
                  <a:lnTo>
                    <a:pt x="45" y="4"/>
                  </a:lnTo>
                  <a:lnTo>
                    <a:pt x="40" y="4"/>
                  </a:lnTo>
                  <a:lnTo>
                    <a:pt x="38" y="4"/>
                  </a:lnTo>
                  <a:lnTo>
                    <a:pt x="36" y="4"/>
                  </a:lnTo>
                  <a:lnTo>
                    <a:pt x="33" y="2"/>
                  </a:lnTo>
                  <a:lnTo>
                    <a:pt x="31" y="2"/>
                  </a:lnTo>
                  <a:lnTo>
                    <a:pt x="29" y="2"/>
                  </a:lnTo>
                  <a:lnTo>
                    <a:pt x="29" y="0"/>
                  </a:lnTo>
                  <a:lnTo>
                    <a:pt x="24" y="2"/>
                  </a:lnTo>
                  <a:lnTo>
                    <a:pt x="21" y="2"/>
                  </a:lnTo>
                  <a:lnTo>
                    <a:pt x="19" y="2"/>
                  </a:lnTo>
                  <a:lnTo>
                    <a:pt x="17" y="4"/>
                  </a:lnTo>
                  <a:lnTo>
                    <a:pt x="17" y="4"/>
                  </a:lnTo>
                  <a:lnTo>
                    <a:pt x="17" y="7"/>
                  </a:lnTo>
                  <a:lnTo>
                    <a:pt x="17" y="7"/>
                  </a:lnTo>
                  <a:lnTo>
                    <a:pt x="17" y="7"/>
                  </a:lnTo>
                  <a:lnTo>
                    <a:pt x="14" y="9"/>
                  </a:lnTo>
                  <a:lnTo>
                    <a:pt x="12" y="9"/>
                  </a:lnTo>
                  <a:lnTo>
                    <a:pt x="10" y="9"/>
                  </a:lnTo>
                  <a:lnTo>
                    <a:pt x="7" y="9"/>
                  </a:lnTo>
                  <a:lnTo>
                    <a:pt x="5" y="11"/>
                  </a:lnTo>
                  <a:lnTo>
                    <a:pt x="3" y="11"/>
                  </a:lnTo>
                  <a:lnTo>
                    <a:pt x="3" y="11"/>
                  </a:lnTo>
                  <a:lnTo>
                    <a:pt x="0" y="16"/>
                  </a:lnTo>
                  <a:lnTo>
                    <a:pt x="0" y="16"/>
                  </a:lnTo>
                  <a:lnTo>
                    <a:pt x="0" y="18"/>
                  </a:lnTo>
                  <a:lnTo>
                    <a:pt x="3" y="18"/>
                  </a:lnTo>
                  <a:lnTo>
                    <a:pt x="3" y="18"/>
                  </a:lnTo>
                  <a:lnTo>
                    <a:pt x="5" y="21"/>
                  </a:lnTo>
                  <a:lnTo>
                    <a:pt x="5" y="21"/>
                  </a:lnTo>
                  <a:lnTo>
                    <a:pt x="3" y="23"/>
                  </a:lnTo>
                  <a:lnTo>
                    <a:pt x="3" y="23"/>
                  </a:lnTo>
                  <a:lnTo>
                    <a:pt x="3" y="23"/>
                  </a:lnTo>
                  <a:lnTo>
                    <a:pt x="7" y="23"/>
                  </a:lnTo>
                  <a:lnTo>
                    <a:pt x="7" y="23"/>
                  </a:lnTo>
                  <a:lnTo>
                    <a:pt x="7" y="26"/>
                  </a:lnTo>
                  <a:lnTo>
                    <a:pt x="7" y="26"/>
                  </a:lnTo>
                  <a:lnTo>
                    <a:pt x="7" y="28"/>
                  </a:lnTo>
                  <a:lnTo>
                    <a:pt x="7" y="28"/>
                  </a:lnTo>
                  <a:lnTo>
                    <a:pt x="7" y="28"/>
                  </a:lnTo>
                  <a:lnTo>
                    <a:pt x="5" y="30"/>
                  </a:lnTo>
                  <a:lnTo>
                    <a:pt x="5" y="30"/>
                  </a:lnTo>
                  <a:lnTo>
                    <a:pt x="7" y="30"/>
                  </a:lnTo>
                  <a:lnTo>
                    <a:pt x="7" y="30"/>
                  </a:lnTo>
                  <a:lnTo>
                    <a:pt x="7" y="33"/>
                  </a:lnTo>
                  <a:lnTo>
                    <a:pt x="5" y="35"/>
                  </a:lnTo>
                  <a:lnTo>
                    <a:pt x="5" y="37"/>
                  </a:lnTo>
                  <a:lnTo>
                    <a:pt x="5" y="37"/>
                  </a:lnTo>
                  <a:lnTo>
                    <a:pt x="5" y="37"/>
                  </a:lnTo>
                  <a:lnTo>
                    <a:pt x="7" y="35"/>
                  </a:lnTo>
                  <a:lnTo>
                    <a:pt x="10" y="35"/>
                  </a:lnTo>
                  <a:lnTo>
                    <a:pt x="10" y="35"/>
                  </a:lnTo>
                  <a:lnTo>
                    <a:pt x="14" y="35"/>
                  </a:lnTo>
                  <a:lnTo>
                    <a:pt x="14" y="33"/>
                  </a:lnTo>
                  <a:lnTo>
                    <a:pt x="17" y="33"/>
                  </a:lnTo>
                  <a:lnTo>
                    <a:pt x="17" y="35"/>
                  </a:lnTo>
                  <a:lnTo>
                    <a:pt x="17" y="35"/>
                  </a:lnTo>
                  <a:lnTo>
                    <a:pt x="17" y="35"/>
                  </a:lnTo>
                  <a:lnTo>
                    <a:pt x="17" y="35"/>
                  </a:lnTo>
                  <a:lnTo>
                    <a:pt x="14" y="37"/>
                  </a:lnTo>
                  <a:lnTo>
                    <a:pt x="14" y="37"/>
                  </a:lnTo>
                  <a:lnTo>
                    <a:pt x="17" y="40"/>
                  </a:lnTo>
                  <a:lnTo>
                    <a:pt x="17" y="40"/>
                  </a:lnTo>
                  <a:lnTo>
                    <a:pt x="17" y="40"/>
                  </a:lnTo>
                  <a:lnTo>
                    <a:pt x="17" y="40"/>
                  </a:lnTo>
                  <a:lnTo>
                    <a:pt x="19" y="40"/>
                  </a:lnTo>
                  <a:lnTo>
                    <a:pt x="21" y="40"/>
                  </a:lnTo>
                  <a:lnTo>
                    <a:pt x="21" y="40"/>
                  </a:lnTo>
                  <a:lnTo>
                    <a:pt x="24" y="37"/>
                  </a:lnTo>
                  <a:lnTo>
                    <a:pt x="26" y="40"/>
                  </a:lnTo>
                  <a:lnTo>
                    <a:pt x="26" y="40"/>
                  </a:lnTo>
                  <a:lnTo>
                    <a:pt x="26" y="40"/>
                  </a:lnTo>
                  <a:lnTo>
                    <a:pt x="29" y="40"/>
                  </a:lnTo>
                  <a:lnTo>
                    <a:pt x="31" y="40"/>
                  </a:lnTo>
                  <a:lnTo>
                    <a:pt x="33" y="37"/>
                  </a:lnTo>
                  <a:lnTo>
                    <a:pt x="33" y="37"/>
                  </a:lnTo>
                  <a:lnTo>
                    <a:pt x="33" y="37"/>
                  </a:lnTo>
                  <a:lnTo>
                    <a:pt x="33" y="37"/>
                  </a:lnTo>
                  <a:lnTo>
                    <a:pt x="33" y="37"/>
                  </a:lnTo>
                  <a:lnTo>
                    <a:pt x="33" y="37"/>
                  </a:lnTo>
                  <a:lnTo>
                    <a:pt x="36" y="37"/>
                  </a:lnTo>
                  <a:lnTo>
                    <a:pt x="38" y="37"/>
                  </a:lnTo>
                  <a:lnTo>
                    <a:pt x="38" y="37"/>
                  </a:lnTo>
                  <a:lnTo>
                    <a:pt x="40" y="37"/>
                  </a:lnTo>
                  <a:lnTo>
                    <a:pt x="40" y="37"/>
                  </a:lnTo>
                  <a:lnTo>
                    <a:pt x="43" y="37"/>
                  </a:lnTo>
                  <a:lnTo>
                    <a:pt x="43" y="37"/>
                  </a:lnTo>
                  <a:lnTo>
                    <a:pt x="43" y="40"/>
                  </a:lnTo>
                  <a:lnTo>
                    <a:pt x="43" y="40"/>
                  </a:lnTo>
                  <a:lnTo>
                    <a:pt x="43" y="42"/>
                  </a:lnTo>
                  <a:lnTo>
                    <a:pt x="43" y="42"/>
                  </a:lnTo>
                  <a:lnTo>
                    <a:pt x="45" y="42"/>
                  </a:lnTo>
                  <a:lnTo>
                    <a:pt x="45" y="42"/>
                  </a:lnTo>
                  <a:lnTo>
                    <a:pt x="47" y="44"/>
                  </a:lnTo>
                  <a:lnTo>
                    <a:pt x="47" y="44"/>
                  </a:lnTo>
                  <a:lnTo>
                    <a:pt x="50" y="44"/>
                  </a:lnTo>
                  <a:lnTo>
                    <a:pt x="50" y="47"/>
                  </a:lnTo>
                  <a:lnTo>
                    <a:pt x="47" y="47"/>
                  </a:lnTo>
                  <a:lnTo>
                    <a:pt x="47" y="47"/>
                  </a:lnTo>
                  <a:lnTo>
                    <a:pt x="45" y="49"/>
                  </a:lnTo>
                  <a:lnTo>
                    <a:pt x="43" y="52"/>
                  </a:lnTo>
                  <a:lnTo>
                    <a:pt x="40" y="52"/>
                  </a:lnTo>
                  <a:lnTo>
                    <a:pt x="38" y="54"/>
                  </a:lnTo>
                  <a:lnTo>
                    <a:pt x="36" y="56"/>
                  </a:lnTo>
                  <a:lnTo>
                    <a:pt x="36" y="56"/>
                  </a:lnTo>
                  <a:lnTo>
                    <a:pt x="36" y="56"/>
                  </a:lnTo>
                  <a:lnTo>
                    <a:pt x="36" y="59"/>
                  </a:lnTo>
                  <a:lnTo>
                    <a:pt x="38" y="61"/>
                  </a:lnTo>
                  <a:lnTo>
                    <a:pt x="38" y="63"/>
                  </a:lnTo>
                  <a:lnTo>
                    <a:pt x="36" y="66"/>
                  </a:lnTo>
                  <a:lnTo>
                    <a:pt x="36" y="68"/>
                  </a:lnTo>
                  <a:lnTo>
                    <a:pt x="36" y="68"/>
                  </a:lnTo>
                  <a:lnTo>
                    <a:pt x="36" y="68"/>
                  </a:lnTo>
                  <a:lnTo>
                    <a:pt x="36" y="70"/>
                  </a:lnTo>
                  <a:lnTo>
                    <a:pt x="36" y="70"/>
                  </a:lnTo>
                  <a:lnTo>
                    <a:pt x="36" y="70"/>
                  </a:lnTo>
                  <a:lnTo>
                    <a:pt x="33" y="73"/>
                  </a:lnTo>
                  <a:lnTo>
                    <a:pt x="33" y="73"/>
                  </a:lnTo>
                  <a:lnTo>
                    <a:pt x="33" y="75"/>
                  </a:lnTo>
                  <a:lnTo>
                    <a:pt x="33" y="75"/>
                  </a:lnTo>
                  <a:lnTo>
                    <a:pt x="33" y="78"/>
                  </a:lnTo>
                  <a:lnTo>
                    <a:pt x="36" y="78"/>
                  </a:lnTo>
                  <a:lnTo>
                    <a:pt x="33" y="78"/>
                  </a:lnTo>
                  <a:lnTo>
                    <a:pt x="33" y="80"/>
                  </a:lnTo>
                  <a:lnTo>
                    <a:pt x="31" y="82"/>
                  </a:lnTo>
                  <a:lnTo>
                    <a:pt x="31" y="82"/>
                  </a:lnTo>
                  <a:lnTo>
                    <a:pt x="31" y="82"/>
                  </a:lnTo>
                  <a:lnTo>
                    <a:pt x="24" y="82"/>
                  </a:lnTo>
                  <a:lnTo>
                    <a:pt x="24" y="82"/>
                  </a:lnTo>
                  <a:lnTo>
                    <a:pt x="24" y="82"/>
                  </a:lnTo>
                  <a:lnTo>
                    <a:pt x="24" y="85"/>
                  </a:lnTo>
                  <a:lnTo>
                    <a:pt x="26" y="87"/>
                  </a:lnTo>
                  <a:lnTo>
                    <a:pt x="26" y="87"/>
                  </a:lnTo>
                  <a:lnTo>
                    <a:pt x="26" y="89"/>
                  </a:lnTo>
                  <a:lnTo>
                    <a:pt x="29" y="94"/>
                  </a:lnTo>
                  <a:lnTo>
                    <a:pt x="31" y="94"/>
                  </a:lnTo>
                  <a:lnTo>
                    <a:pt x="31" y="96"/>
                  </a:lnTo>
                  <a:lnTo>
                    <a:pt x="31" y="96"/>
                  </a:lnTo>
                  <a:lnTo>
                    <a:pt x="31" y="99"/>
                  </a:lnTo>
                  <a:lnTo>
                    <a:pt x="29" y="101"/>
                  </a:lnTo>
                  <a:lnTo>
                    <a:pt x="26" y="101"/>
                  </a:lnTo>
                  <a:lnTo>
                    <a:pt x="26" y="104"/>
                  </a:lnTo>
                  <a:lnTo>
                    <a:pt x="26" y="104"/>
                  </a:lnTo>
                  <a:lnTo>
                    <a:pt x="26" y="106"/>
                  </a:lnTo>
                  <a:lnTo>
                    <a:pt x="24" y="108"/>
                  </a:lnTo>
                  <a:lnTo>
                    <a:pt x="24" y="108"/>
                  </a:lnTo>
                  <a:lnTo>
                    <a:pt x="29" y="115"/>
                  </a:lnTo>
                  <a:lnTo>
                    <a:pt x="31" y="115"/>
                  </a:lnTo>
                  <a:lnTo>
                    <a:pt x="31" y="115"/>
                  </a:lnTo>
                  <a:lnTo>
                    <a:pt x="31" y="115"/>
                  </a:lnTo>
                  <a:lnTo>
                    <a:pt x="29" y="118"/>
                  </a:lnTo>
                  <a:lnTo>
                    <a:pt x="29" y="118"/>
                  </a:lnTo>
                  <a:lnTo>
                    <a:pt x="26" y="118"/>
                  </a:lnTo>
                  <a:lnTo>
                    <a:pt x="24" y="120"/>
                  </a:lnTo>
                  <a:lnTo>
                    <a:pt x="24" y="122"/>
                  </a:lnTo>
                  <a:lnTo>
                    <a:pt x="21" y="125"/>
                  </a:lnTo>
                  <a:lnTo>
                    <a:pt x="21" y="127"/>
                  </a:lnTo>
                  <a:lnTo>
                    <a:pt x="21" y="130"/>
                  </a:lnTo>
                  <a:lnTo>
                    <a:pt x="21" y="130"/>
                  </a:lnTo>
                  <a:lnTo>
                    <a:pt x="21" y="137"/>
                  </a:lnTo>
                  <a:lnTo>
                    <a:pt x="26" y="134"/>
                  </a:lnTo>
                  <a:lnTo>
                    <a:pt x="29" y="137"/>
                  </a:lnTo>
                  <a:lnTo>
                    <a:pt x="31" y="134"/>
                  </a:lnTo>
                  <a:lnTo>
                    <a:pt x="31" y="134"/>
                  </a:lnTo>
                  <a:lnTo>
                    <a:pt x="31" y="134"/>
                  </a:lnTo>
                  <a:lnTo>
                    <a:pt x="31" y="137"/>
                  </a:lnTo>
                  <a:lnTo>
                    <a:pt x="38" y="141"/>
                  </a:lnTo>
                  <a:lnTo>
                    <a:pt x="38" y="144"/>
                  </a:lnTo>
                  <a:lnTo>
                    <a:pt x="40" y="141"/>
                  </a:lnTo>
                  <a:lnTo>
                    <a:pt x="43" y="141"/>
                  </a:lnTo>
                  <a:lnTo>
                    <a:pt x="40" y="141"/>
                  </a:lnTo>
                  <a:lnTo>
                    <a:pt x="40" y="144"/>
                  </a:lnTo>
                  <a:lnTo>
                    <a:pt x="38" y="146"/>
                  </a:lnTo>
                  <a:lnTo>
                    <a:pt x="38" y="148"/>
                  </a:lnTo>
                  <a:lnTo>
                    <a:pt x="40" y="148"/>
                  </a:lnTo>
                  <a:lnTo>
                    <a:pt x="40" y="148"/>
                  </a:lnTo>
                  <a:lnTo>
                    <a:pt x="40" y="151"/>
                  </a:lnTo>
                  <a:lnTo>
                    <a:pt x="40" y="153"/>
                  </a:lnTo>
                  <a:lnTo>
                    <a:pt x="43" y="153"/>
                  </a:lnTo>
                  <a:lnTo>
                    <a:pt x="45" y="158"/>
                  </a:lnTo>
                  <a:lnTo>
                    <a:pt x="45" y="158"/>
                  </a:lnTo>
                  <a:lnTo>
                    <a:pt x="47" y="160"/>
                  </a:lnTo>
                  <a:lnTo>
                    <a:pt x="52" y="160"/>
                  </a:lnTo>
                  <a:lnTo>
                    <a:pt x="52" y="160"/>
                  </a:lnTo>
                  <a:lnTo>
                    <a:pt x="54" y="160"/>
                  </a:lnTo>
                  <a:lnTo>
                    <a:pt x="54" y="158"/>
                  </a:lnTo>
                  <a:lnTo>
                    <a:pt x="54" y="158"/>
                  </a:lnTo>
                  <a:lnTo>
                    <a:pt x="54" y="158"/>
                  </a:lnTo>
                  <a:lnTo>
                    <a:pt x="57" y="158"/>
                  </a:lnTo>
                  <a:lnTo>
                    <a:pt x="57" y="156"/>
                  </a:lnTo>
                  <a:lnTo>
                    <a:pt x="59" y="153"/>
                  </a:lnTo>
                  <a:lnTo>
                    <a:pt x="59" y="153"/>
                  </a:lnTo>
                  <a:lnTo>
                    <a:pt x="64" y="151"/>
                  </a:lnTo>
                  <a:lnTo>
                    <a:pt x="69" y="151"/>
                  </a:lnTo>
                  <a:lnTo>
                    <a:pt x="71" y="148"/>
                  </a:lnTo>
                  <a:lnTo>
                    <a:pt x="73" y="146"/>
                  </a:lnTo>
                  <a:lnTo>
                    <a:pt x="73" y="146"/>
                  </a:lnTo>
                  <a:lnTo>
                    <a:pt x="83" y="146"/>
                  </a:lnTo>
                  <a:lnTo>
                    <a:pt x="87" y="146"/>
                  </a:lnTo>
                  <a:lnTo>
                    <a:pt x="90" y="146"/>
                  </a:lnTo>
                  <a:lnTo>
                    <a:pt x="92" y="146"/>
                  </a:lnTo>
                  <a:lnTo>
                    <a:pt x="95" y="146"/>
                  </a:lnTo>
                  <a:lnTo>
                    <a:pt x="99" y="146"/>
                  </a:lnTo>
                  <a:lnTo>
                    <a:pt x="102" y="146"/>
                  </a:lnTo>
                  <a:lnTo>
                    <a:pt x="104" y="146"/>
                  </a:lnTo>
                  <a:lnTo>
                    <a:pt x="104" y="144"/>
                  </a:lnTo>
                  <a:lnTo>
                    <a:pt x="106" y="144"/>
                  </a:lnTo>
                  <a:lnTo>
                    <a:pt x="111" y="144"/>
                  </a:lnTo>
                  <a:lnTo>
                    <a:pt x="111" y="146"/>
                  </a:lnTo>
                  <a:lnTo>
                    <a:pt x="113" y="144"/>
                  </a:lnTo>
                  <a:lnTo>
                    <a:pt x="116" y="141"/>
                  </a:lnTo>
                  <a:lnTo>
                    <a:pt x="118" y="134"/>
                  </a:lnTo>
                  <a:lnTo>
                    <a:pt x="123" y="132"/>
                  </a:lnTo>
                  <a:lnTo>
                    <a:pt x="127" y="127"/>
                  </a:lnTo>
                  <a:lnTo>
                    <a:pt x="135" y="127"/>
                  </a:lnTo>
                  <a:lnTo>
                    <a:pt x="137" y="127"/>
                  </a:lnTo>
                  <a:lnTo>
                    <a:pt x="137" y="127"/>
                  </a:lnTo>
                  <a:lnTo>
                    <a:pt x="139" y="127"/>
                  </a:lnTo>
                  <a:lnTo>
                    <a:pt x="137" y="125"/>
                  </a:lnTo>
                  <a:lnTo>
                    <a:pt x="137" y="122"/>
                  </a:lnTo>
                  <a:lnTo>
                    <a:pt x="137" y="122"/>
                  </a:lnTo>
                  <a:lnTo>
                    <a:pt x="137" y="120"/>
                  </a:lnTo>
                  <a:lnTo>
                    <a:pt x="139" y="118"/>
                  </a:lnTo>
                  <a:lnTo>
                    <a:pt x="139" y="115"/>
                  </a:lnTo>
                  <a:lnTo>
                    <a:pt x="142" y="113"/>
                  </a:lnTo>
                  <a:lnTo>
                    <a:pt x="142" y="111"/>
                  </a:lnTo>
                  <a:lnTo>
                    <a:pt x="144" y="108"/>
                  </a:lnTo>
                  <a:lnTo>
                    <a:pt x="151" y="106"/>
                  </a:lnTo>
                  <a:lnTo>
                    <a:pt x="153" y="104"/>
                  </a:lnTo>
                  <a:lnTo>
                    <a:pt x="156" y="101"/>
                  </a:lnTo>
                  <a:lnTo>
                    <a:pt x="153" y="101"/>
                  </a:lnTo>
                  <a:lnTo>
                    <a:pt x="151" y="99"/>
                  </a:lnTo>
                  <a:lnTo>
                    <a:pt x="149" y="99"/>
                  </a:lnTo>
                  <a:lnTo>
                    <a:pt x="149" y="96"/>
                  </a:lnTo>
                  <a:lnTo>
                    <a:pt x="146" y="89"/>
                  </a:lnTo>
                  <a:lnTo>
                    <a:pt x="146" y="87"/>
                  </a:lnTo>
                  <a:lnTo>
                    <a:pt x="151" y="78"/>
                  </a:lnTo>
                  <a:lnTo>
                    <a:pt x="153" y="78"/>
                  </a:lnTo>
                  <a:lnTo>
                    <a:pt x="156" y="75"/>
                  </a:lnTo>
                  <a:lnTo>
                    <a:pt x="160" y="70"/>
                  </a:lnTo>
                  <a:lnTo>
                    <a:pt x="163" y="66"/>
                  </a:lnTo>
                  <a:lnTo>
                    <a:pt x="165" y="66"/>
                  </a:lnTo>
                  <a:lnTo>
                    <a:pt x="165" y="66"/>
                  </a:lnTo>
                  <a:lnTo>
                    <a:pt x="165" y="63"/>
                  </a:lnTo>
                  <a:lnTo>
                    <a:pt x="168" y="63"/>
                  </a:lnTo>
                  <a:lnTo>
                    <a:pt x="168" y="63"/>
                  </a:lnTo>
                  <a:lnTo>
                    <a:pt x="168" y="61"/>
                  </a:lnTo>
                  <a:lnTo>
                    <a:pt x="165" y="61"/>
                  </a:lnTo>
                  <a:lnTo>
                    <a:pt x="168" y="59"/>
                  </a:lnTo>
                  <a:lnTo>
                    <a:pt x="172" y="56"/>
                  </a:lnTo>
                  <a:lnTo>
                    <a:pt x="175" y="54"/>
                  </a:lnTo>
                  <a:lnTo>
                    <a:pt x="182" y="54"/>
                  </a:lnTo>
                  <a:lnTo>
                    <a:pt x="189" y="52"/>
                  </a:lnTo>
                  <a:lnTo>
                    <a:pt x="191" y="49"/>
                  </a:lnTo>
                  <a:lnTo>
                    <a:pt x="193" y="47"/>
                  </a:lnTo>
                  <a:lnTo>
                    <a:pt x="205" y="4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2" name="Freeform 238"/>
            <p:cNvSpPr>
              <a:spLocks/>
            </p:cNvSpPr>
            <p:nvPr userDrawn="1"/>
          </p:nvSpPr>
          <p:spPr bwMode="auto">
            <a:xfrm>
              <a:off x="4101" y="2550"/>
              <a:ext cx="207" cy="184"/>
            </a:xfrm>
            <a:custGeom>
              <a:avLst/>
              <a:gdLst>
                <a:gd name="T0" fmla="*/ 200 w 207"/>
                <a:gd name="T1" fmla="*/ 130 h 184"/>
                <a:gd name="T2" fmla="*/ 193 w 207"/>
                <a:gd name="T3" fmla="*/ 113 h 184"/>
                <a:gd name="T4" fmla="*/ 184 w 207"/>
                <a:gd name="T5" fmla="*/ 102 h 184"/>
                <a:gd name="T6" fmla="*/ 172 w 207"/>
                <a:gd name="T7" fmla="*/ 95 h 184"/>
                <a:gd name="T8" fmla="*/ 165 w 207"/>
                <a:gd name="T9" fmla="*/ 87 h 184"/>
                <a:gd name="T10" fmla="*/ 176 w 207"/>
                <a:gd name="T11" fmla="*/ 80 h 184"/>
                <a:gd name="T12" fmla="*/ 184 w 207"/>
                <a:gd name="T13" fmla="*/ 76 h 184"/>
                <a:gd name="T14" fmla="*/ 184 w 207"/>
                <a:gd name="T15" fmla="*/ 59 h 184"/>
                <a:gd name="T16" fmla="*/ 179 w 207"/>
                <a:gd name="T17" fmla="*/ 57 h 184"/>
                <a:gd name="T18" fmla="*/ 181 w 207"/>
                <a:gd name="T19" fmla="*/ 50 h 184"/>
                <a:gd name="T20" fmla="*/ 181 w 207"/>
                <a:gd name="T21" fmla="*/ 45 h 184"/>
                <a:gd name="T22" fmla="*/ 169 w 207"/>
                <a:gd name="T23" fmla="*/ 33 h 184"/>
                <a:gd name="T24" fmla="*/ 165 w 207"/>
                <a:gd name="T25" fmla="*/ 31 h 184"/>
                <a:gd name="T26" fmla="*/ 165 w 207"/>
                <a:gd name="T27" fmla="*/ 12 h 184"/>
                <a:gd name="T28" fmla="*/ 165 w 207"/>
                <a:gd name="T29" fmla="*/ 7 h 184"/>
                <a:gd name="T30" fmla="*/ 158 w 207"/>
                <a:gd name="T31" fmla="*/ 0 h 184"/>
                <a:gd name="T32" fmla="*/ 158 w 207"/>
                <a:gd name="T33" fmla="*/ 2 h 184"/>
                <a:gd name="T34" fmla="*/ 146 w 207"/>
                <a:gd name="T35" fmla="*/ 5 h 184"/>
                <a:gd name="T36" fmla="*/ 151 w 207"/>
                <a:gd name="T37" fmla="*/ 16 h 184"/>
                <a:gd name="T38" fmla="*/ 143 w 207"/>
                <a:gd name="T39" fmla="*/ 33 h 184"/>
                <a:gd name="T40" fmla="*/ 132 w 207"/>
                <a:gd name="T41" fmla="*/ 52 h 184"/>
                <a:gd name="T42" fmla="*/ 122 w 207"/>
                <a:gd name="T43" fmla="*/ 52 h 184"/>
                <a:gd name="T44" fmla="*/ 108 w 207"/>
                <a:gd name="T45" fmla="*/ 43 h 184"/>
                <a:gd name="T46" fmla="*/ 99 w 207"/>
                <a:gd name="T47" fmla="*/ 52 h 184"/>
                <a:gd name="T48" fmla="*/ 89 w 207"/>
                <a:gd name="T49" fmla="*/ 57 h 184"/>
                <a:gd name="T50" fmla="*/ 68 w 207"/>
                <a:gd name="T51" fmla="*/ 54 h 184"/>
                <a:gd name="T52" fmla="*/ 47 w 207"/>
                <a:gd name="T53" fmla="*/ 57 h 184"/>
                <a:gd name="T54" fmla="*/ 33 w 207"/>
                <a:gd name="T55" fmla="*/ 43 h 184"/>
                <a:gd name="T56" fmla="*/ 21 w 207"/>
                <a:gd name="T57" fmla="*/ 40 h 184"/>
                <a:gd name="T58" fmla="*/ 16 w 207"/>
                <a:gd name="T59" fmla="*/ 45 h 184"/>
                <a:gd name="T60" fmla="*/ 12 w 207"/>
                <a:gd name="T61" fmla="*/ 57 h 184"/>
                <a:gd name="T62" fmla="*/ 9 w 207"/>
                <a:gd name="T63" fmla="*/ 64 h 184"/>
                <a:gd name="T64" fmla="*/ 2 w 207"/>
                <a:gd name="T65" fmla="*/ 73 h 184"/>
                <a:gd name="T66" fmla="*/ 2 w 207"/>
                <a:gd name="T67" fmla="*/ 80 h 184"/>
                <a:gd name="T68" fmla="*/ 16 w 207"/>
                <a:gd name="T69" fmla="*/ 90 h 184"/>
                <a:gd name="T70" fmla="*/ 21 w 207"/>
                <a:gd name="T71" fmla="*/ 102 h 184"/>
                <a:gd name="T72" fmla="*/ 37 w 207"/>
                <a:gd name="T73" fmla="*/ 113 h 184"/>
                <a:gd name="T74" fmla="*/ 42 w 207"/>
                <a:gd name="T75" fmla="*/ 125 h 184"/>
                <a:gd name="T76" fmla="*/ 52 w 207"/>
                <a:gd name="T77" fmla="*/ 135 h 184"/>
                <a:gd name="T78" fmla="*/ 59 w 207"/>
                <a:gd name="T79" fmla="*/ 142 h 184"/>
                <a:gd name="T80" fmla="*/ 66 w 207"/>
                <a:gd name="T81" fmla="*/ 156 h 184"/>
                <a:gd name="T82" fmla="*/ 73 w 207"/>
                <a:gd name="T83" fmla="*/ 163 h 184"/>
                <a:gd name="T84" fmla="*/ 80 w 207"/>
                <a:gd name="T85" fmla="*/ 165 h 184"/>
                <a:gd name="T86" fmla="*/ 92 w 207"/>
                <a:gd name="T87" fmla="*/ 163 h 184"/>
                <a:gd name="T88" fmla="*/ 103 w 207"/>
                <a:gd name="T89" fmla="*/ 161 h 184"/>
                <a:gd name="T90" fmla="*/ 118 w 207"/>
                <a:gd name="T91" fmla="*/ 175 h 184"/>
                <a:gd name="T92" fmla="*/ 122 w 207"/>
                <a:gd name="T93" fmla="*/ 182 h 184"/>
                <a:gd name="T94" fmla="*/ 125 w 207"/>
                <a:gd name="T95" fmla="*/ 182 h 184"/>
                <a:gd name="T96" fmla="*/ 136 w 207"/>
                <a:gd name="T97" fmla="*/ 180 h 184"/>
                <a:gd name="T98" fmla="*/ 146 w 207"/>
                <a:gd name="T99" fmla="*/ 182 h 184"/>
                <a:gd name="T100" fmla="*/ 151 w 207"/>
                <a:gd name="T101" fmla="*/ 180 h 184"/>
                <a:gd name="T102" fmla="*/ 165 w 207"/>
                <a:gd name="T103" fmla="*/ 175 h 184"/>
                <a:gd name="T104" fmla="*/ 179 w 207"/>
                <a:gd name="T105" fmla="*/ 173 h 184"/>
                <a:gd name="T106" fmla="*/ 202 w 207"/>
                <a:gd name="T107" fmla="*/ 1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4">
                  <a:moveTo>
                    <a:pt x="207" y="142"/>
                  </a:moveTo>
                  <a:lnTo>
                    <a:pt x="205" y="139"/>
                  </a:lnTo>
                  <a:lnTo>
                    <a:pt x="202" y="137"/>
                  </a:lnTo>
                  <a:lnTo>
                    <a:pt x="202" y="135"/>
                  </a:lnTo>
                  <a:lnTo>
                    <a:pt x="202" y="135"/>
                  </a:lnTo>
                  <a:lnTo>
                    <a:pt x="200" y="130"/>
                  </a:lnTo>
                  <a:lnTo>
                    <a:pt x="200" y="128"/>
                  </a:lnTo>
                  <a:lnTo>
                    <a:pt x="198" y="125"/>
                  </a:lnTo>
                  <a:lnTo>
                    <a:pt x="198" y="118"/>
                  </a:lnTo>
                  <a:lnTo>
                    <a:pt x="195" y="118"/>
                  </a:lnTo>
                  <a:lnTo>
                    <a:pt x="195" y="116"/>
                  </a:lnTo>
                  <a:lnTo>
                    <a:pt x="193" y="113"/>
                  </a:lnTo>
                  <a:lnTo>
                    <a:pt x="193" y="111"/>
                  </a:lnTo>
                  <a:lnTo>
                    <a:pt x="188" y="111"/>
                  </a:lnTo>
                  <a:lnTo>
                    <a:pt x="186" y="109"/>
                  </a:lnTo>
                  <a:lnTo>
                    <a:pt x="184" y="106"/>
                  </a:lnTo>
                  <a:lnTo>
                    <a:pt x="184" y="104"/>
                  </a:lnTo>
                  <a:lnTo>
                    <a:pt x="184" y="102"/>
                  </a:lnTo>
                  <a:lnTo>
                    <a:pt x="181" y="102"/>
                  </a:lnTo>
                  <a:lnTo>
                    <a:pt x="181" y="99"/>
                  </a:lnTo>
                  <a:lnTo>
                    <a:pt x="176" y="97"/>
                  </a:lnTo>
                  <a:lnTo>
                    <a:pt x="174" y="95"/>
                  </a:lnTo>
                  <a:lnTo>
                    <a:pt x="174" y="95"/>
                  </a:lnTo>
                  <a:lnTo>
                    <a:pt x="172" y="95"/>
                  </a:lnTo>
                  <a:lnTo>
                    <a:pt x="169" y="95"/>
                  </a:lnTo>
                  <a:lnTo>
                    <a:pt x="165" y="92"/>
                  </a:lnTo>
                  <a:lnTo>
                    <a:pt x="165" y="92"/>
                  </a:lnTo>
                  <a:lnTo>
                    <a:pt x="165" y="92"/>
                  </a:lnTo>
                  <a:lnTo>
                    <a:pt x="165" y="90"/>
                  </a:lnTo>
                  <a:lnTo>
                    <a:pt x="165" y="87"/>
                  </a:lnTo>
                  <a:lnTo>
                    <a:pt x="167" y="83"/>
                  </a:lnTo>
                  <a:lnTo>
                    <a:pt x="169" y="80"/>
                  </a:lnTo>
                  <a:lnTo>
                    <a:pt x="169" y="80"/>
                  </a:lnTo>
                  <a:lnTo>
                    <a:pt x="172" y="80"/>
                  </a:lnTo>
                  <a:lnTo>
                    <a:pt x="174" y="80"/>
                  </a:lnTo>
                  <a:lnTo>
                    <a:pt x="176" y="80"/>
                  </a:lnTo>
                  <a:lnTo>
                    <a:pt x="179" y="80"/>
                  </a:lnTo>
                  <a:lnTo>
                    <a:pt x="181" y="80"/>
                  </a:lnTo>
                  <a:lnTo>
                    <a:pt x="184" y="78"/>
                  </a:lnTo>
                  <a:lnTo>
                    <a:pt x="184" y="78"/>
                  </a:lnTo>
                  <a:lnTo>
                    <a:pt x="184" y="76"/>
                  </a:lnTo>
                  <a:lnTo>
                    <a:pt x="184" y="76"/>
                  </a:lnTo>
                  <a:lnTo>
                    <a:pt x="184" y="73"/>
                  </a:lnTo>
                  <a:lnTo>
                    <a:pt x="184" y="66"/>
                  </a:lnTo>
                  <a:lnTo>
                    <a:pt x="184" y="64"/>
                  </a:lnTo>
                  <a:lnTo>
                    <a:pt x="184" y="59"/>
                  </a:lnTo>
                  <a:lnTo>
                    <a:pt x="184" y="59"/>
                  </a:lnTo>
                  <a:lnTo>
                    <a:pt x="184" y="59"/>
                  </a:lnTo>
                  <a:lnTo>
                    <a:pt x="181" y="59"/>
                  </a:lnTo>
                  <a:lnTo>
                    <a:pt x="181" y="59"/>
                  </a:lnTo>
                  <a:lnTo>
                    <a:pt x="181" y="59"/>
                  </a:lnTo>
                  <a:lnTo>
                    <a:pt x="179" y="57"/>
                  </a:lnTo>
                  <a:lnTo>
                    <a:pt x="179" y="57"/>
                  </a:lnTo>
                  <a:lnTo>
                    <a:pt x="179" y="57"/>
                  </a:lnTo>
                  <a:lnTo>
                    <a:pt x="179" y="57"/>
                  </a:lnTo>
                  <a:lnTo>
                    <a:pt x="179" y="54"/>
                  </a:lnTo>
                  <a:lnTo>
                    <a:pt x="181" y="52"/>
                  </a:lnTo>
                  <a:lnTo>
                    <a:pt x="181" y="50"/>
                  </a:lnTo>
                  <a:lnTo>
                    <a:pt x="181" y="50"/>
                  </a:lnTo>
                  <a:lnTo>
                    <a:pt x="181" y="50"/>
                  </a:lnTo>
                  <a:lnTo>
                    <a:pt x="181" y="50"/>
                  </a:lnTo>
                  <a:lnTo>
                    <a:pt x="181" y="50"/>
                  </a:lnTo>
                  <a:lnTo>
                    <a:pt x="181" y="50"/>
                  </a:lnTo>
                  <a:lnTo>
                    <a:pt x="181" y="47"/>
                  </a:lnTo>
                  <a:lnTo>
                    <a:pt x="181" y="47"/>
                  </a:lnTo>
                  <a:lnTo>
                    <a:pt x="181" y="45"/>
                  </a:lnTo>
                  <a:lnTo>
                    <a:pt x="181" y="45"/>
                  </a:lnTo>
                  <a:lnTo>
                    <a:pt x="181" y="45"/>
                  </a:lnTo>
                  <a:lnTo>
                    <a:pt x="181" y="43"/>
                  </a:lnTo>
                  <a:lnTo>
                    <a:pt x="179" y="43"/>
                  </a:lnTo>
                  <a:lnTo>
                    <a:pt x="172" y="35"/>
                  </a:lnTo>
                  <a:lnTo>
                    <a:pt x="169" y="33"/>
                  </a:lnTo>
                  <a:lnTo>
                    <a:pt x="169" y="33"/>
                  </a:lnTo>
                  <a:lnTo>
                    <a:pt x="169" y="33"/>
                  </a:lnTo>
                  <a:lnTo>
                    <a:pt x="165" y="31"/>
                  </a:lnTo>
                  <a:lnTo>
                    <a:pt x="165" y="31"/>
                  </a:lnTo>
                  <a:lnTo>
                    <a:pt x="165" y="31"/>
                  </a:lnTo>
                  <a:lnTo>
                    <a:pt x="165" y="31"/>
                  </a:lnTo>
                  <a:lnTo>
                    <a:pt x="167" y="28"/>
                  </a:lnTo>
                  <a:lnTo>
                    <a:pt x="167" y="28"/>
                  </a:lnTo>
                  <a:lnTo>
                    <a:pt x="167" y="28"/>
                  </a:lnTo>
                  <a:lnTo>
                    <a:pt x="165" y="14"/>
                  </a:lnTo>
                  <a:lnTo>
                    <a:pt x="165" y="12"/>
                  </a:lnTo>
                  <a:lnTo>
                    <a:pt x="165" y="12"/>
                  </a:lnTo>
                  <a:lnTo>
                    <a:pt x="165" y="12"/>
                  </a:lnTo>
                  <a:lnTo>
                    <a:pt x="165" y="12"/>
                  </a:lnTo>
                  <a:lnTo>
                    <a:pt x="165" y="12"/>
                  </a:lnTo>
                  <a:lnTo>
                    <a:pt x="165" y="12"/>
                  </a:lnTo>
                  <a:lnTo>
                    <a:pt x="165" y="12"/>
                  </a:lnTo>
                  <a:lnTo>
                    <a:pt x="165" y="7"/>
                  </a:lnTo>
                  <a:lnTo>
                    <a:pt x="165" y="5"/>
                  </a:lnTo>
                  <a:lnTo>
                    <a:pt x="167" y="2"/>
                  </a:lnTo>
                  <a:lnTo>
                    <a:pt x="167" y="0"/>
                  </a:lnTo>
                  <a:lnTo>
                    <a:pt x="158" y="0"/>
                  </a:lnTo>
                  <a:lnTo>
                    <a:pt x="158" y="0"/>
                  </a:lnTo>
                  <a:lnTo>
                    <a:pt x="158" y="0"/>
                  </a:lnTo>
                  <a:lnTo>
                    <a:pt x="158" y="0"/>
                  </a:lnTo>
                  <a:lnTo>
                    <a:pt x="158" y="0"/>
                  </a:lnTo>
                  <a:lnTo>
                    <a:pt x="158" y="0"/>
                  </a:lnTo>
                  <a:lnTo>
                    <a:pt x="158" y="0"/>
                  </a:lnTo>
                  <a:lnTo>
                    <a:pt x="158" y="2"/>
                  </a:lnTo>
                  <a:lnTo>
                    <a:pt x="158" y="2"/>
                  </a:lnTo>
                  <a:lnTo>
                    <a:pt x="158" y="2"/>
                  </a:lnTo>
                  <a:lnTo>
                    <a:pt x="158" y="2"/>
                  </a:lnTo>
                  <a:lnTo>
                    <a:pt x="158" y="2"/>
                  </a:lnTo>
                  <a:lnTo>
                    <a:pt x="158" y="5"/>
                  </a:lnTo>
                  <a:lnTo>
                    <a:pt x="158" y="5"/>
                  </a:lnTo>
                  <a:lnTo>
                    <a:pt x="146" y="5"/>
                  </a:lnTo>
                  <a:lnTo>
                    <a:pt x="151" y="9"/>
                  </a:lnTo>
                  <a:lnTo>
                    <a:pt x="151" y="9"/>
                  </a:lnTo>
                  <a:lnTo>
                    <a:pt x="151" y="12"/>
                  </a:lnTo>
                  <a:lnTo>
                    <a:pt x="151" y="12"/>
                  </a:lnTo>
                  <a:lnTo>
                    <a:pt x="151" y="14"/>
                  </a:lnTo>
                  <a:lnTo>
                    <a:pt x="151" y="16"/>
                  </a:lnTo>
                  <a:lnTo>
                    <a:pt x="151" y="19"/>
                  </a:lnTo>
                  <a:lnTo>
                    <a:pt x="151" y="21"/>
                  </a:lnTo>
                  <a:lnTo>
                    <a:pt x="153" y="24"/>
                  </a:lnTo>
                  <a:lnTo>
                    <a:pt x="153" y="24"/>
                  </a:lnTo>
                  <a:lnTo>
                    <a:pt x="153" y="24"/>
                  </a:lnTo>
                  <a:lnTo>
                    <a:pt x="143" y="33"/>
                  </a:lnTo>
                  <a:lnTo>
                    <a:pt x="143" y="33"/>
                  </a:lnTo>
                  <a:lnTo>
                    <a:pt x="141" y="35"/>
                  </a:lnTo>
                  <a:lnTo>
                    <a:pt x="141" y="38"/>
                  </a:lnTo>
                  <a:lnTo>
                    <a:pt x="141" y="40"/>
                  </a:lnTo>
                  <a:lnTo>
                    <a:pt x="139" y="43"/>
                  </a:lnTo>
                  <a:lnTo>
                    <a:pt x="132" y="52"/>
                  </a:lnTo>
                  <a:lnTo>
                    <a:pt x="129" y="52"/>
                  </a:lnTo>
                  <a:lnTo>
                    <a:pt x="125" y="52"/>
                  </a:lnTo>
                  <a:lnTo>
                    <a:pt x="122" y="52"/>
                  </a:lnTo>
                  <a:lnTo>
                    <a:pt x="122" y="52"/>
                  </a:lnTo>
                  <a:lnTo>
                    <a:pt x="122" y="52"/>
                  </a:lnTo>
                  <a:lnTo>
                    <a:pt x="122" y="52"/>
                  </a:lnTo>
                  <a:lnTo>
                    <a:pt x="122" y="52"/>
                  </a:lnTo>
                  <a:lnTo>
                    <a:pt x="122" y="52"/>
                  </a:lnTo>
                  <a:lnTo>
                    <a:pt x="122" y="52"/>
                  </a:lnTo>
                  <a:lnTo>
                    <a:pt x="118" y="47"/>
                  </a:lnTo>
                  <a:lnTo>
                    <a:pt x="108" y="40"/>
                  </a:lnTo>
                  <a:lnTo>
                    <a:pt x="108" y="43"/>
                  </a:lnTo>
                  <a:lnTo>
                    <a:pt x="101" y="45"/>
                  </a:lnTo>
                  <a:lnTo>
                    <a:pt x="101" y="45"/>
                  </a:lnTo>
                  <a:lnTo>
                    <a:pt x="101" y="45"/>
                  </a:lnTo>
                  <a:lnTo>
                    <a:pt x="101" y="47"/>
                  </a:lnTo>
                  <a:lnTo>
                    <a:pt x="99" y="50"/>
                  </a:lnTo>
                  <a:lnTo>
                    <a:pt x="99" y="52"/>
                  </a:lnTo>
                  <a:lnTo>
                    <a:pt x="94" y="52"/>
                  </a:lnTo>
                  <a:lnTo>
                    <a:pt x="92" y="54"/>
                  </a:lnTo>
                  <a:lnTo>
                    <a:pt x="89" y="54"/>
                  </a:lnTo>
                  <a:lnTo>
                    <a:pt x="89" y="54"/>
                  </a:lnTo>
                  <a:lnTo>
                    <a:pt x="89" y="54"/>
                  </a:lnTo>
                  <a:lnTo>
                    <a:pt x="89" y="57"/>
                  </a:lnTo>
                  <a:lnTo>
                    <a:pt x="87" y="59"/>
                  </a:lnTo>
                  <a:lnTo>
                    <a:pt x="87" y="59"/>
                  </a:lnTo>
                  <a:lnTo>
                    <a:pt x="87" y="61"/>
                  </a:lnTo>
                  <a:lnTo>
                    <a:pt x="73" y="61"/>
                  </a:lnTo>
                  <a:lnTo>
                    <a:pt x="70" y="59"/>
                  </a:lnTo>
                  <a:lnTo>
                    <a:pt x="68" y="54"/>
                  </a:lnTo>
                  <a:lnTo>
                    <a:pt x="68" y="54"/>
                  </a:lnTo>
                  <a:lnTo>
                    <a:pt x="68" y="54"/>
                  </a:lnTo>
                  <a:lnTo>
                    <a:pt x="54" y="54"/>
                  </a:lnTo>
                  <a:lnTo>
                    <a:pt x="52" y="54"/>
                  </a:lnTo>
                  <a:lnTo>
                    <a:pt x="49" y="57"/>
                  </a:lnTo>
                  <a:lnTo>
                    <a:pt x="47" y="57"/>
                  </a:lnTo>
                  <a:lnTo>
                    <a:pt x="44" y="57"/>
                  </a:lnTo>
                  <a:lnTo>
                    <a:pt x="37" y="47"/>
                  </a:lnTo>
                  <a:lnTo>
                    <a:pt x="35" y="47"/>
                  </a:lnTo>
                  <a:lnTo>
                    <a:pt x="35" y="45"/>
                  </a:lnTo>
                  <a:lnTo>
                    <a:pt x="35" y="45"/>
                  </a:lnTo>
                  <a:lnTo>
                    <a:pt x="33" y="43"/>
                  </a:lnTo>
                  <a:lnTo>
                    <a:pt x="33" y="43"/>
                  </a:lnTo>
                  <a:lnTo>
                    <a:pt x="33" y="43"/>
                  </a:lnTo>
                  <a:lnTo>
                    <a:pt x="33" y="40"/>
                  </a:lnTo>
                  <a:lnTo>
                    <a:pt x="30" y="38"/>
                  </a:lnTo>
                  <a:lnTo>
                    <a:pt x="30" y="38"/>
                  </a:lnTo>
                  <a:lnTo>
                    <a:pt x="21" y="40"/>
                  </a:lnTo>
                  <a:lnTo>
                    <a:pt x="19" y="40"/>
                  </a:lnTo>
                  <a:lnTo>
                    <a:pt x="16" y="40"/>
                  </a:lnTo>
                  <a:lnTo>
                    <a:pt x="16" y="40"/>
                  </a:lnTo>
                  <a:lnTo>
                    <a:pt x="16" y="43"/>
                  </a:lnTo>
                  <a:lnTo>
                    <a:pt x="16" y="43"/>
                  </a:lnTo>
                  <a:lnTo>
                    <a:pt x="16" y="45"/>
                  </a:lnTo>
                  <a:lnTo>
                    <a:pt x="16" y="45"/>
                  </a:lnTo>
                  <a:lnTo>
                    <a:pt x="14" y="47"/>
                  </a:lnTo>
                  <a:lnTo>
                    <a:pt x="12" y="50"/>
                  </a:lnTo>
                  <a:lnTo>
                    <a:pt x="12" y="52"/>
                  </a:lnTo>
                  <a:lnTo>
                    <a:pt x="12" y="54"/>
                  </a:lnTo>
                  <a:lnTo>
                    <a:pt x="12" y="57"/>
                  </a:lnTo>
                  <a:lnTo>
                    <a:pt x="12" y="57"/>
                  </a:lnTo>
                  <a:lnTo>
                    <a:pt x="9" y="59"/>
                  </a:lnTo>
                  <a:lnTo>
                    <a:pt x="9" y="59"/>
                  </a:lnTo>
                  <a:lnTo>
                    <a:pt x="9" y="61"/>
                  </a:lnTo>
                  <a:lnTo>
                    <a:pt x="9" y="64"/>
                  </a:lnTo>
                  <a:lnTo>
                    <a:pt x="9" y="64"/>
                  </a:lnTo>
                  <a:lnTo>
                    <a:pt x="7" y="66"/>
                  </a:lnTo>
                  <a:lnTo>
                    <a:pt x="7" y="69"/>
                  </a:lnTo>
                  <a:lnTo>
                    <a:pt x="7" y="69"/>
                  </a:lnTo>
                  <a:lnTo>
                    <a:pt x="7" y="71"/>
                  </a:lnTo>
                  <a:lnTo>
                    <a:pt x="2" y="71"/>
                  </a:lnTo>
                  <a:lnTo>
                    <a:pt x="2" y="73"/>
                  </a:lnTo>
                  <a:lnTo>
                    <a:pt x="0" y="73"/>
                  </a:lnTo>
                  <a:lnTo>
                    <a:pt x="0" y="76"/>
                  </a:lnTo>
                  <a:lnTo>
                    <a:pt x="0" y="76"/>
                  </a:lnTo>
                  <a:lnTo>
                    <a:pt x="2" y="76"/>
                  </a:lnTo>
                  <a:lnTo>
                    <a:pt x="0" y="78"/>
                  </a:lnTo>
                  <a:lnTo>
                    <a:pt x="2" y="80"/>
                  </a:lnTo>
                  <a:lnTo>
                    <a:pt x="2" y="83"/>
                  </a:lnTo>
                  <a:lnTo>
                    <a:pt x="4" y="83"/>
                  </a:lnTo>
                  <a:lnTo>
                    <a:pt x="7" y="83"/>
                  </a:lnTo>
                  <a:lnTo>
                    <a:pt x="12" y="85"/>
                  </a:lnTo>
                  <a:lnTo>
                    <a:pt x="14" y="85"/>
                  </a:lnTo>
                  <a:lnTo>
                    <a:pt x="16" y="90"/>
                  </a:lnTo>
                  <a:lnTo>
                    <a:pt x="19" y="92"/>
                  </a:lnTo>
                  <a:lnTo>
                    <a:pt x="21" y="95"/>
                  </a:lnTo>
                  <a:lnTo>
                    <a:pt x="21" y="97"/>
                  </a:lnTo>
                  <a:lnTo>
                    <a:pt x="19" y="99"/>
                  </a:lnTo>
                  <a:lnTo>
                    <a:pt x="19" y="99"/>
                  </a:lnTo>
                  <a:lnTo>
                    <a:pt x="21" y="102"/>
                  </a:lnTo>
                  <a:lnTo>
                    <a:pt x="23" y="104"/>
                  </a:lnTo>
                  <a:lnTo>
                    <a:pt x="26" y="104"/>
                  </a:lnTo>
                  <a:lnTo>
                    <a:pt x="33" y="109"/>
                  </a:lnTo>
                  <a:lnTo>
                    <a:pt x="35" y="111"/>
                  </a:lnTo>
                  <a:lnTo>
                    <a:pt x="35" y="113"/>
                  </a:lnTo>
                  <a:lnTo>
                    <a:pt x="37" y="113"/>
                  </a:lnTo>
                  <a:lnTo>
                    <a:pt x="40" y="116"/>
                  </a:lnTo>
                  <a:lnTo>
                    <a:pt x="42" y="118"/>
                  </a:lnTo>
                  <a:lnTo>
                    <a:pt x="40" y="121"/>
                  </a:lnTo>
                  <a:lnTo>
                    <a:pt x="40" y="123"/>
                  </a:lnTo>
                  <a:lnTo>
                    <a:pt x="42" y="123"/>
                  </a:lnTo>
                  <a:lnTo>
                    <a:pt x="42" y="125"/>
                  </a:lnTo>
                  <a:lnTo>
                    <a:pt x="42" y="128"/>
                  </a:lnTo>
                  <a:lnTo>
                    <a:pt x="44" y="130"/>
                  </a:lnTo>
                  <a:lnTo>
                    <a:pt x="44" y="130"/>
                  </a:lnTo>
                  <a:lnTo>
                    <a:pt x="49" y="130"/>
                  </a:lnTo>
                  <a:lnTo>
                    <a:pt x="49" y="132"/>
                  </a:lnTo>
                  <a:lnTo>
                    <a:pt x="52" y="135"/>
                  </a:lnTo>
                  <a:lnTo>
                    <a:pt x="54" y="135"/>
                  </a:lnTo>
                  <a:lnTo>
                    <a:pt x="56" y="137"/>
                  </a:lnTo>
                  <a:lnTo>
                    <a:pt x="56" y="137"/>
                  </a:lnTo>
                  <a:lnTo>
                    <a:pt x="56" y="139"/>
                  </a:lnTo>
                  <a:lnTo>
                    <a:pt x="59" y="139"/>
                  </a:lnTo>
                  <a:lnTo>
                    <a:pt x="59" y="142"/>
                  </a:lnTo>
                  <a:lnTo>
                    <a:pt x="59" y="147"/>
                  </a:lnTo>
                  <a:lnTo>
                    <a:pt x="59" y="149"/>
                  </a:lnTo>
                  <a:lnTo>
                    <a:pt x="61" y="149"/>
                  </a:lnTo>
                  <a:lnTo>
                    <a:pt x="61" y="151"/>
                  </a:lnTo>
                  <a:lnTo>
                    <a:pt x="63" y="154"/>
                  </a:lnTo>
                  <a:lnTo>
                    <a:pt x="66" y="156"/>
                  </a:lnTo>
                  <a:lnTo>
                    <a:pt x="66" y="156"/>
                  </a:lnTo>
                  <a:lnTo>
                    <a:pt x="68" y="158"/>
                  </a:lnTo>
                  <a:lnTo>
                    <a:pt x="68" y="161"/>
                  </a:lnTo>
                  <a:lnTo>
                    <a:pt x="68" y="161"/>
                  </a:lnTo>
                  <a:lnTo>
                    <a:pt x="70" y="161"/>
                  </a:lnTo>
                  <a:lnTo>
                    <a:pt x="73" y="163"/>
                  </a:lnTo>
                  <a:lnTo>
                    <a:pt x="73" y="163"/>
                  </a:lnTo>
                  <a:lnTo>
                    <a:pt x="73" y="165"/>
                  </a:lnTo>
                  <a:lnTo>
                    <a:pt x="75" y="165"/>
                  </a:lnTo>
                  <a:lnTo>
                    <a:pt x="77" y="165"/>
                  </a:lnTo>
                  <a:lnTo>
                    <a:pt x="77" y="165"/>
                  </a:lnTo>
                  <a:lnTo>
                    <a:pt x="80" y="165"/>
                  </a:lnTo>
                  <a:lnTo>
                    <a:pt x="80" y="165"/>
                  </a:lnTo>
                  <a:lnTo>
                    <a:pt x="82" y="165"/>
                  </a:lnTo>
                  <a:lnTo>
                    <a:pt x="85" y="163"/>
                  </a:lnTo>
                  <a:lnTo>
                    <a:pt x="85" y="163"/>
                  </a:lnTo>
                  <a:lnTo>
                    <a:pt x="89" y="163"/>
                  </a:lnTo>
                  <a:lnTo>
                    <a:pt x="92" y="163"/>
                  </a:lnTo>
                  <a:lnTo>
                    <a:pt x="94" y="165"/>
                  </a:lnTo>
                  <a:lnTo>
                    <a:pt x="94" y="165"/>
                  </a:lnTo>
                  <a:lnTo>
                    <a:pt x="99" y="163"/>
                  </a:lnTo>
                  <a:lnTo>
                    <a:pt x="99" y="161"/>
                  </a:lnTo>
                  <a:lnTo>
                    <a:pt x="101" y="161"/>
                  </a:lnTo>
                  <a:lnTo>
                    <a:pt x="103" y="161"/>
                  </a:lnTo>
                  <a:lnTo>
                    <a:pt x="106" y="163"/>
                  </a:lnTo>
                  <a:lnTo>
                    <a:pt x="106" y="165"/>
                  </a:lnTo>
                  <a:lnTo>
                    <a:pt x="108" y="168"/>
                  </a:lnTo>
                  <a:lnTo>
                    <a:pt x="110" y="170"/>
                  </a:lnTo>
                  <a:lnTo>
                    <a:pt x="113" y="173"/>
                  </a:lnTo>
                  <a:lnTo>
                    <a:pt x="118" y="175"/>
                  </a:lnTo>
                  <a:lnTo>
                    <a:pt x="118" y="177"/>
                  </a:lnTo>
                  <a:lnTo>
                    <a:pt x="120" y="177"/>
                  </a:lnTo>
                  <a:lnTo>
                    <a:pt x="120" y="180"/>
                  </a:lnTo>
                  <a:lnTo>
                    <a:pt x="120" y="180"/>
                  </a:lnTo>
                  <a:lnTo>
                    <a:pt x="120" y="182"/>
                  </a:lnTo>
                  <a:lnTo>
                    <a:pt x="122" y="182"/>
                  </a:lnTo>
                  <a:lnTo>
                    <a:pt x="122" y="180"/>
                  </a:lnTo>
                  <a:lnTo>
                    <a:pt x="122" y="182"/>
                  </a:lnTo>
                  <a:lnTo>
                    <a:pt x="125" y="182"/>
                  </a:lnTo>
                  <a:lnTo>
                    <a:pt x="125" y="182"/>
                  </a:lnTo>
                  <a:lnTo>
                    <a:pt x="125" y="184"/>
                  </a:lnTo>
                  <a:lnTo>
                    <a:pt x="125" y="182"/>
                  </a:lnTo>
                  <a:lnTo>
                    <a:pt x="127" y="182"/>
                  </a:lnTo>
                  <a:lnTo>
                    <a:pt x="129" y="180"/>
                  </a:lnTo>
                  <a:lnTo>
                    <a:pt x="132" y="177"/>
                  </a:lnTo>
                  <a:lnTo>
                    <a:pt x="132" y="177"/>
                  </a:lnTo>
                  <a:lnTo>
                    <a:pt x="134" y="180"/>
                  </a:lnTo>
                  <a:lnTo>
                    <a:pt x="136" y="180"/>
                  </a:lnTo>
                  <a:lnTo>
                    <a:pt x="139" y="180"/>
                  </a:lnTo>
                  <a:lnTo>
                    <a:pt x="139" y="180"/>
                  </a:lnTo>
                  <a:lnTo>
                    <a:pt x="143" y="177"/>
                  </a:lnTo>
                  <a:lnTo>
                    <a:pt x="143" y="177"/>
                  </a:lnTo>
                  <a:lnTo>
                    <a:pt x="143" y="180"/>
                  </a:lnTo>
                  <a:lnTo>
                    <a:pt x="146" y="182"/>
                  </a:lnTo>
                  <a:lnTo>
                    <a:pt x="148" y="182"/>
                  </a:lnTo>
                  <a:lnTo>
                    <a:pt x="148" y="184"/>
                  </a:lnTo>
                  <a:lnTo>
                    <a:pt x="148" y="184"/>
                  </a:lnTo>
                  <a:lnTo>
                    <a:pt x="148" y="184"/>
                  </a:lnTo>
                  <a:lnTo>
                    <a:pt x="151" y="182"/>
                  </a:lnTo>
                  <a:lnTo>
                    <a:pt x="151" y="180"/>
                  </a:lnTo>
                  <a:lnTo>
                    <a:pt x="153" y="180"/>
                  </a:lnTo>
                  <a:lnTo>
                    <a:pt x="155" y="180"/>
                  </a:lnTo>
                  <a:lnTo>
                    <a:pt x="160" y="177"/>
                  </a:lnTo>
                  <a:lnTo>
                    <a:pt x="160" y="177"/>
                  </a:lnTo>
                  <a:lnTo>
                    <a:pt x="162" y="177"/>
                  </a:lnTo>
                  <a:lnTo>
                    <a:pt x="165" y="175"/>
                  </a:lnTo>
                  <a:lnTo>
                    <a:pt x="167" y="177"/>
                  </a:lnTo>
                  <a:lnTo>
                    <a:pt x="172" y="180"/>
                  </a:lnTo>
                  <a:lnTo>
                    <a:pt x="174" y="180"/>
                  </a:lnTo>
                  <a:lnTo>
                    <a:pt x="174" y="177"/>
                  </a:lnTo>
                  <a:lnTo>
                    <a:pt x="176" y="177"/>
                  </a:lnTo>
                  <a:lnTo>
                    <a:pt x="179" y="173"/>
                  </a:lnTo>
                  <a:lnTo>
                    <a:pt x="184" y="168"/>
                  </a:lnTo>
                  <a:lnTo>
                    <a:pt x="186" y="165"/>
                  </a:lnTo>
                  <a:lnTo>
                    <a:pt x="191" y="161"/>
                  </a:lnTo>
                  <a:lnTo>
                    <a:pt x="195" y="156"/>
                  </a:lnTo>
                  <a:lnTo>
                    <a:pt x="200" y="149"/>
                  </a:lnTo>
                  <a:lnTo>
                    <a:pt x="202" y="147"/>
                  </a:lnTo>
                  <a:lnTo>
                    <a:pt x="207" y="142"/>
                  </a:lnTo>
                  <a:lnTo>
                    <a:pt x="207" y="14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3" name="Freeform 239"/>
            <p:cNvSpPr>
              <a:spLocks noEditPoints="1"/>
            </p:cNvSpPr>
            <p:nvPr userDrawn="1"/>
          </p:nvSpPr>
          <p:spPr bwMode="auto">
            <a:xfrm>
              <a:off x="5857" y="1992"/>
              <a:ext cx="73" cy="92"/>
            </a:xfrm>
            <a:custGeom>
              <a:avLst/>
              <a:gdLst>
                <a:gd name="T0" fmla="*/ 33 w 73"/>
                <a:gd name="T1" fmla="*/ 90 h 92"/>
                <a:gd name="T2" fmla="*/ 23 w 73"/>
                <a:gd name="T3" fmla="*/ 85 h 92"/>
                <a:gd name="T4" fmla="*/ 23 w 73"/>
                <a:gd name="T5" fmla="*/ 90 h 92"/>
                <a:gd name="T6" fmla="*/ 28 w 73"/>
                <a:gd name="T7" fmla="*/ 87 h 92"/>
                <a:gd name="T8" fmla="*/ 49 w 73"/>
                <a:gd name="T9" fmla="*/ 85 h 92"/>
                <a:gd name="T10" fmla="*/ 18 w 73"/>
                <a:gd name="T11" fmla="*/ 78 h 92"/>
                <a:gd name="T12" fmla="*/ 21 w 73"/>
                <a:gd name="T13" fmla="*/ 83 h 92"/>
                <a:gd name="T14" fmla="*/ 18 w 73"/>
                <a:gd name="T15" fmla="*/ 78 h 92"/>
                <a:gd name="T16" fmla="*/ 49 w 73"/>
                <a:gd name="T17" fmla="*/ 80 h 92"/>
                <a:gd name="T18" fmla="*/ 51 w 73"/>
                <a:gd name="T19" fmla="*/ 83 h 92"/>
                <a:gd name="T20" fmla="*/ 54 w 73"/>
                <a:gd name="T21" fmla="*/ 80 h 92"/>
                <a:gd name="T22" fmla="*/ 61 w 73"/>
                <a:gd name="T23" fmla="*/ 80 h 92"/>
                <a:gd name="T24" fmla="*/ 63 w 73"/>
                <a:gd name="T25" fmla="*/ 76 h 92"/>
                <a:gd name="T26" fmla="*/ 11 w 73"/>
                <a:gd name="T27" fmla="*/ 47 h 92"/>
                <a:gd name="T28" fmla="*/ 0 w 73"/>
                <a:gd name="T29" fmla="*/ 16 h 92"/>
                <a:gd name="T30" fmla="*/ 2 w 73"/>
                <a:gd name="T31" fmla="*/ 21 h 92"/>
                <a:gd name="T32" fmla="*/ 70 w 73"/>
                <a:gd name="T33" fmla="*/ 57 h 92"/>
                <a:gd name="T34" fmla="*/ 68 w 73"/>
                <a:gd name="T35" fmla="*/ 54 h 92"/>
                <a:gd name="T36" fmla="*/ 63 w 73"/>
                <a:gd name="T37" fmla="*/ 50 h 92"/>
                <a:gd name="T38" fmla="*/ 61 w 73"/>
                <a:gd name="T39" fmla="*/ 40 h 92"/>
                <a:gd name="T40" fmla="*/ 47 w 73"/>
                <a:gd name="T41" fmla="*/ 19 h 92"/>
                <a:gd name="T42" fmla="*/ 25 w 73"/>
                <a:gd name="T43" fmla="*/ 0 h 92"/>
                <a:gd name="T44" fmla="*/ 23 w 73"/>
                <a:gd name="T45" fmla="*/ 5 h 92"/>
                <a:gd name="T46" fmla="*/ 16 w 73"/>
                <a:gd name="T47" fmla="*/ 5 h 92"/>
                <a:gd name="T48" fmla="*/ 7 w 73"/>
                <a:gd name="T49" fmla="*/ 7 h 92"/>
                <a:gd name="T50" fmla="*/ 4 w 73"/>
                <a:gd name="T51" fmla="*/ 9 h 92"/>
                <a:gd name="T52" fmla="*/ 4 w 73"/>
                <a:gd name="T53" fmla="*/ 16 h 92"/>
                <a:gd name="T54" fmla="*/ 2 w 73"/>
                <a:gd name="T55" fmla="*/ 19 h 92"/>
                <a:gd name="T56" fmla="*/ 7 w 73"/>
                <a:gd name="T57" fmla="*/ 24 h 92"/>
                <a:gd name="T58" fmla="*/ 11 w 73"/>
                <a:gd name="T59" fmla="*/ 31 h 92"/>
                <a:gd name="T60" fmla="*/ 16 w 73"/>
                <a:gd name="T61" fmla="*/ 35 h 92"/>
                <a:gd name="T62" fmla="*/ 16 w 73"/>
                <a:gd name="T63" fmla="*/ 38 h 92"/>
                <a:gd name="T64" fmla="*/ 7 w 73"/>
                <a:gd name="T65" fmla="*/ 33 h 92"/>
                <a:gd name="T66" fmla="*/ 4 w 73"/>
                <a:gd name="T67" fmla="*/ 38 h 92"/>
                <a:gd name="T68" fmla="*/ 9 w 73"/>
                <a:gd name="T69" fmla="*/ 40 h 92"/>
                <a:gd name="T70" fmla="*/ 14 w 73"/>
                <a:gd name="T71" fmla="*/ 47 h 92"/>
                <a:gd name="T72" fmla="*/ 16 w 73"/>
                <a:gd name="T73" fmla="*/ 54 h 92"/>
                <a:gd name="T74" fmla="*/ 21 w 73"/>
                <a:gd name="T75" fmla="*/ 57 h 92"/>
                <a:gd name="T76" fmla="*/ 21 w 73"/>
                <a:gd name="T77" fmla="*/ 61 h 92"/>
                <a:gd name="T78" fmla="*/ 21 w 73"/>
                <a:gd name="T79" fmla="*/ 64 h 92"/>
                <a:gd name="T80" fmla="*/ 21 w 73"/>
                <a:gd name="T81" fmla="*/ 66 h 92"/>
                <a:gd name="T82" fmla="*/ 21 w 73"/>
                <a:gd name="T83" fmla="*/ 76 h 92"/>
                <a:gd name="T84" fmla="*/ 28 w 73"/>
                <a:gd name="T85" fmla="*/ 80 h 92"/>
                <a:gd name="T86" fmla="*/ 28 w 73"/>
                <a:gd name="T87" fmla="*/ 83 h 92"/>
                <a:gd name="T88" fmla="*/ 23 w 73"/>
                <a:gd name="T89" fmla="*/ 83 h 92"/>
                <a:gd name="T90" fmla="*/ 30 w 73"/>
                <a:gd name="T91" fmla="*/ 90 h 92"/>
                <a:gd name="T92" fmla="*/ 33 w 73"/>
                <a:gd name="T93" fmla="*/ 87 h 92"/>
                <a:gd name="T94" fmla="*/ 37 w 73"/>
                <a:gd name="T95" fmla="*/ 85 h 92"/>
                <a:gd name="T96" fmla="*/ 40 w 73"/>
                <a:gd name="T97" fmla="*/ 85 h 92"/>
                <a:gd name="T98" fmla="*/ 44 w 73"/>
                <a:gd name="T99" fmla="*/ 87 h 92"/>
                <a:gd name="T100" fmla="*/ 42 w 73"/>
                <a:gd name="T101" fmla="*/ 80 h 92"/>
                <a:gd name="T102" fmla="*/ 47 w 73"/>
                <a:gd name="T103" fmla="*/ 83 h 92"/>
                <a:gd name="T104" fmla="*/ 47 w 73"/>
                <a:gd name="T105" fmla="*/ 80 h 92"/>
                <a:gd name="T106" fmla="*/ 51 w 73"/>
                <a:gd name="T107" fmla="*/ 76 h 92"/>
                <a:gd name="T108" fmla="*/ 56 w 73"/>
                <a:gd name="T109" fmla="*/ 78 h 92"/>
                <a:gd name="T110" fmla="*/ 58 w 73"/>
                <a:gd name="T111" fmla="*/ 76 h 92"/>
                <a:gd name="T112" fmla="*/ 63 w 73"/>
                <a:gd name="T113" fmla="*/ 76 h 92"/>
                <a:gd name="T114" fmla="*/ 73 w 73"/>
                <a:gd name="T115" fmla="*/ 7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 h="92">
                  <a:moveTo>
                    <a:pt x="33" y="92"/>
                  </a:moveTo>
                  <a:lnTo>
                    <a:pt x="35" y="92"/>
                  </a:lnTo>
                  <a:lnTo>
                    <a:pt x="35" y="90"/>
                  </a:lnTo>
                  <a:lnTo>
                    <a:pt x="33" y="90"/>
                  </a:lnTo>
                  <a:lnTo>
                    <a:pt x="33" y="90"/>
                  </a:lnTo>
                  <a:lnTo>
                    <a:pt x="33" y="90"/>
                  </a:lnTo>
                  <a:lnTo>
                    <a:pt x="33" y="92"/>
                  </a:lnTo>
                  <a:close/>
                  <a:moveTo>
                    <a:pt x="23" y="85"/>
                  </a:moveTo>
                  <a:lnTo>
                    <a:pt x="23" y="87"/>
                  </a:lnTo>
                  <a:lnTo>
                    <a:pt x="23" y="90"/>
                  </a:lnTo>
                  <a:lnTo>
                    <a:pt x="23" y="90"/>
                  </a:lnTo>
                  <a:lnTo>
                    <a:pt x="23" y="90"/>
                  </a:lnTo>
                  <a:lnTo>
                    <a:pt x="23" y="90"/>
                  </a:lnTo>
                  <a:lnTo>
                    <a:pt x="25" y="90"/>
                  </a:lnTo>
                  <a:lnTo>
                    <a:pt x="25" y="90"/>
                  </a:lnTo>
                  <a:lnTo>
                    <a:pt x="28" y="87"/>
                  </a:lnTo>
                  <a:lnTo>
                    <a:pt x="25" y="87"/>
                  </a:lnTo>
                  <a:lnTo>
                    <a:pt x="23" y="85"/>
                  </a:lnTo>
                  <a:close/>
                  <a:moveTo>
                    <a:pt x="49" y="83"/>
                  </a:moveTo>
                  <a:lnTo>
                    <a:pt x="49" y="85"/>
                  </a:lnTo>
                  <a:lnTo>
                    <a:pt x="51" y="85"/>
                  </a:lnTo>
                  <a:lnTo>
                    <a:pt x="51" y="85"/>
                  </a:lnTo>
                  <a:lnTo>
                    <a:pt x="49" y="83"/>
                  </a:lnTo>
                  <a:close/>
                  <a:moveTo>
                    <a:pt x="18" y="78"/>
                  </a:moveTo>
                  <a:lnTo>
                    <a:pt x="16" y="80"/>
                  </a:lnTo>
                  <a:lnTo>
                    <a:pt x="18" y="80"/>
                  </a:lnTo>
                  <a:lnTo>
                    <a:pt x="18" y="80"/>
                  </a:lnTo>
                  <a:lnTo>
                    <a:pt x="21" y="83"/>
                  </a:lnTo>
                  <a:lnTo>
                    <a:pt x="21" y="83"/>
                  </a:lnTo>
                  <a:lnTo>
                    <a:pt x="21" y="83"/>
                  </a:lnTo>
                  <a:lnTo>
                    <a:pt x="21" y="80"/>
                  </a:lnTo>
                  <a:lnTo>
                    <a:pt x="18" y="78"/>
                  </a:lnTo>
                  <a:close/>
                  <a:moveTo>
                    <a:pt x="54" y="80"/>
                  </a:moveTo>
                  <a:lnTo>
                    <a:pt x="51" y="80"/>
                  </a:lnTo>
                  <a:lnTo>
                    <a:pt x="49" y="78"/>
                  </a:lnTo>
                  <a:lnTo>
                    <a:pt x="49" y="80"/>
                  </a:lnTo>
                  <a:lnTo>
                    <a:pt x="49" y="80"/>
                  </a:lnTo>
                  <a:lnTo>
                    <a:pt x="51" y="83"/>
                  </a:lnTo>
                  <a:lnTo>
                    <a:pt x="51" y="83"/>
                  </a:lnTo>
                  <a:lnTo>
                    <a:pt x="51" y="83"/>
                  </a:lnTo>
                  <a:lnTo>
                    <a:pt x="54" y="83"/>
                  </a:lnTo>
                  <a:lnTo>
                    <a:pt x="54" y="83"/>
                  </a:lnTo>
                  <a:lnTo>
                    <a:pt x="54" y="80"/>
                  </a:lnTo>
                  <a:lnTo>
                    <a:pt x="54" y="80"/>
                  </a:lnTo>
                  <a:close/>
                  <a:moveTo>
                    <a:pt x="63" y="76"/>
                  </a:moveTo>
                  <a:lnTo>
                    <a:pt x="61" y="78"/>
                  </a:lnTo>
                  <a:lnTo>
                    <a:pt x="61" y="80"/>
                  </a:lnTo>
                  <a:lnTo>
                    <a:pt x="61" y="80"/>
                  </a:lnTo>
                  <a:lnTo>
                    <a:pt x="66" y="83"/>
                  </a:lnTo>
                  <a:lnTo>
                    <a:pt x="66" y="80"/>
                  </a:lnTo>
                  <a:lnTo>
                    <a:pt x="63" y="76"/>
                  </a:lnTo>
                  <a:lnTo>
                    <a:pt x="63" y="76"/>
                  </a:lnTo>
                  <a:close/>
                  <a:moveTo>
                    <a:pt x="9" y="42"/>
                  </a:moveTo>
                  <a:lnTo>
                    <a:pt x="9" y="42"/>
                  </a:lnTo>
                  <a:lnTo>
                    <a:pt x="9" y="45"/>
                  </a:lnTo>
                  <a:lnTo>
                    <a:pt x="11" y="47"/>
                  </a:lnTo>
                  <a:lnTo>
                    <a:pt x="11" y="45"/>
                  </a:lnTo>
                  <a:lnTo>
                    <a:pt x="9" y="42"/>
                  </a:lnTo>
                  <a:close/>
                  <a:moveTo>
                    <a:pt x="0" y="16"/>
                  </a:moveTo>
                  <a:lnTo>
                    <a:pt x="0" y="16"/>
                  </a:lnTo>
                  <a:lnTo>
                    <a:pt x="0" y="16"/>
                  </a:lnTo>
                  <a:lnTo>
                    <a:pt x="0" y="19"/>
                  </a:lnTo>
                  <a:lnTo>
                    <a:pt x="2" y="21"/>
                  </a:lnTo>
                  <a:lnTo>
                    <a:pt x="2" y="21"/>
                  </a:lnTo>
                  <a:lnTo>
                    <a:pt x="2" y="21"/>
                  </a:lnTo>
                  <a:lnTo>
                    <a:pt x="2" y="19"/>
                  </a:lnTo>
                  <a:lnTo>
                    <a:pt x="0" y="16"/>
                  </a:lnTo>
                  <a:close/>
                  <a:moveTo>
                    <a:pt x="70" y="57"/>
                  </a:moveTo>
                  <a:lnTo>
                    <a:pt x="70" y="54"/>
                  </a:lnTo>
                  <a:lnTo>
                    <a:pt x="68" y="54"/>
                  </a:lnTo>
                  <a:lnTo>
                    <a:pt x="68" y="54"/>
                  </a:lnTo>
                  <a:lnTo>
                    <a:pt x="68" y="54"/>
                  </a:lnTo>
                  <a:lnTo>
                    <a:pt x="66" y="54"/>
                  </a:lnTo>
                  <a:lnTo>
                    <a:pt x="66" y="52"/>
                  </a:lnTo>
                  <a:lnTo>
                    <a:pt x="66" y="52"/>
                  </a:lnTo>
                  <a:lnTo>
                    <a:pt x="63" y="50"/>
                  </a:lnTo>
                  <a:lnTo>
                    <a:pt x="63" y="47"/>
                  </a:lnTo>
                  <a:lnTo>
                    <a:pt x="63" y="45"/>
                  </a:lnTo>
                  <a:lnTo>
                    <a:pt x="61" y="42"/>
                  </a:lnTo>
                  <a:lnTo>
                    <a:pt x="61" y="40"/>
                  </a:lnTo>
                  <a:lnTo>
                    <a:pt x="58" y="35"/>
                  </a:lnTo>
                  <a:lnTo>
                    <a:pt x="58" y="33"/>
                  </a:lnTo>
                  <a:lnTo>
                    <a:pt x="54" y="28"/>
                  </a:lnTo>
                  <a:lnTo>
                    <a:pt x="47" y="19"/>
                  </a:lnTo>
                  <a:lnTo>
                    <a:pt x="40" y="14"/>
                  </a:lnTo>
                  <a:lnTo>
                    <a:pt x="33" y="9"/>
                  </a:lnTo>
                  <a:lnTo>
                    <a:pt x="25" y="0"/>
                  </a:lnTo>
                  <a:lnTo>
                    <a:pt x="25" y="0"/>
                  </a:lnTo>
                  <a:lnTo>
                    <a:pt x="25" y="2"/>
                  </a:lnTo>
                  <a:lnTo>
                    <a:pt x="25" y="5"/>
                  </a:lnTo>
                  <a:lnTo>
                    <a:pt x="23" y="5"/>
                  </a:lnTo>
                  <a:lnTo>
                    <a:pt x="23" y="5"/>
                  </a:lnTo>
                  <a:lnTo>
                    <a:pt x="23" y="5"/>
                  </a:lnTo>
                  <a:lnTo>
                    <a:pt x="21" y="7"/>
                  </a:lnTo>
                  <a:lnTo>
                    <a:pt x="18" y="7"/>
                  </a:lnTo>
                  <a:lnTo>
                    <a:pt x="16" y="5"/>
                  </a:lnTo>
                  <a:lnTo>
                    <a:pt x="14" y="5"/>
                  </a:lnTo>
                  <a:lnTo>
                    <a:pt x="14" y="7"/>
                  </a:lnTo>
                  <a:lnTo>
                    <a:pt x="9" y="5"/>
                  </a:lnTo>
                  <a:lnTo>
                    <a:pt x="7" y="7"/>
                  </a:lnTo>
                  <a:lnTo>
                    <a:pt x="7" y="7"/>
                  </a:lnTo>
                  <a:lnTo>
                    <a:pt x="4" y="7"/>
                  </a:lnTo>
                  <a:lnTo>
                    <a:pt x="4" y="9"/>
                  </a:lnTo>
                  <a:lnTo>
                    <a:pt x="4" y="9"/>
                  </a:lnTo>
                  <a:lnTo>
                    <a:pt x="4" y="12"/>
                  </a:lnTo>
                  <a:lnTo>
                    <a:pt x="2" y="14"/>
                  </a:lnTo>
                  <a:lnTo>
                    <a:pt x="4" y="16"/>
                  </a:lnTo>
                  <a:lnTo>
                    <a:pt x="4" y="16"/>
                  </a:lnTo>
                  <a:lnTo>
                    <a:pt x="2" y="16"/>
                  </a:lnTo>
                  <a:lnTo>
                    <a:pt x="2" y="19"/>
                  </a:lnTo>
                  <a:lnTo>
                    <a:pt x="2" y="19"/>
                  </a:lnTo>
                  <a:lnTo>
                    <a:pt x="2" y="19"/>
                  </a:lnTo>
                  <a:lnTo>
                    <a:pt x="4" y="19"/>
                  </a:lnTo>
                  <a:lnTo>
                    <a:pt x="4" y="21"/>
                  </a:lnTo>
                  <a:lnTo>
                    <a:pt x="7" y="21"/>
                  </a:lnTo>
                  <a:lnTo>
                    <a:pt x="7" y="24"/>
                  </a:lnTo>
                  <a:lnTo>
                    <a:pt x="7" y="26"/>
                  </a:lnTo>
                  <a:lnTo>
                    <a:pt x="9" y="28"/>
                  </a:lnTo>
                  <a:lnTo>
                    <a:pt x="11" y="31"/>
                  </a:lnTo>
                  <a:lnTo>
                    <a:pt x="11" y="31"/>
                  </a:lnTo>
                  <a:lnTo>
                    <a:pt x="11" y="31"/>
                  </a:lnTo>
                  <a:lnTo>
                    <a:pt x="14" y="35"/>
                  </a:lnTo>
                  <a:lnTo>
                    <a:pt x="16" y="35"/>
                  </a:lnTo>
                  <a:lnTo>
                    <a:pt x="16" y="35"/>
                  </a:lnTo>
                  <a:lnTo>
                    <a:pt x="16" y="35"/>
                  </a:lnTo>
                  <a:lnTo>
                    <a:pt x="16" y="38"/>
                  </a:lnTo>
                  <a:lnTo>
                    <a:pt x="16" y="38"/>
                  </a:lnTo>
                  <a:lnTo>
                    <a:pt x="16" y="38"/>
                  </a:lnTo>
                  <a:lnTo>
                    <a:pt x="14" y="35"/>
                  </a:lnTo>
                  <a:lnTo>
                    <a:pt x="11" y="35"/>
                  </a:lnTo>
                  <a:lnTo>
                    <a:pt x="9" y="33"/>
                  </a:lnTo>
                  <a:lnTo>
                    <a:pt x="7" y="33"/>
                  </a:lnTo>
                  <a:lnTo>
                    <a:pt x="7" y="35"/>
                  </a:lnTo>
                  <a:lnTo>
                    <a:pt x="7" y="35"/>
                  </a:lnTo>
                  <a:lnTo>
                    <a:pt x="4" y="38"/>
                  </a:lnTo>
                  <a:lnTo>
                    <a:pt x="4" y="38"/>
                  </a:lnTo>
                  <a:lnTo>
                    <a:pt x="4" y="40"/>
                  </a:lnTo>
                  <a:lnTo>
                    <a:pt x="7" y="40"/>
                  </a:lnTo>
                  <a:lnTo>
                    <a:pt x="9" y="42"/>
                  </a:lnTo>
                  <a:lnTo>
                    <a:pt x="9" y="40"/>
                  </a:lnTo>
                  <a:lnTo>
                    <a:pt x="11" y="40"/>
                  </a:lnTo>
                  <a:lnTo>
                    <a:pt x="11" y="42"/>
                  </a:lnTo>
                  <a:lnTo>
                    <a:pt x="14" y="45"/>
                  </a:lnTo>
                  <a:lnTo>
                    <a:pt x="14" y="47"/>
                  </a:lnTo>
                  <a:lnTo>
                    <a:pt x="14" y="47"/>
                  </a:lnTo>
                  <a:lnTo>
                    <a:pt x="16" y="50"/>
                  </a:lnTo>
                  <a:lnTo>
                    <a:pt x="16" y="52"/>
                  </a:lnTo>
                  <a:lnTo>
                    <a:pt x="16" y="54"/>
                  </a:lnTo>
                  <a:lnTo>
                    <a:pt x="18" y="54"/>
                  </a:lnTo>
                  <a:lnTo>
                    <a:pt x="21" y="54"/>
                  </a:lnTo>
                  <a:lnTo>
                    <a:pt x="18" y="57"/>
                  </a:lnTo>
                  <a:lnTo>
                    <a:pt x="21" y="57"/>
                  </a:lnTo>
                  <a:lnTo>
                    <a:pt x="21" y="57"/>
                  </a:lnTo>
                  <a:lnTo>
                    <a:pt x="21" y="59"/>
                  </a:lnTo>
                  <a:lnTo>
                    <a:pt x="23" y="61"/>
                  </a:lnTo>
                  <a:lnTo>
                    <a:pt x="21" y="61"/>
                  </a:lnTo>
                  <a:lnTo>
                    <a:pt x="21" y="61"/>
                  </a:lnTo>
                  <a:lnTo>
                    <a:pt x="18" y="64"/>
                  </a:lnTo>
                  <a:lnTo>
                    <a:pt x="18" y="64"/>
                  </a:lnTo>
                  <a:lnTo>
                    <a:pt x="21" y="64"/>
                  </a:lnTo>
                  <a:lnTo>
                    <a:pt x="23" y="64"/>
                  </a:lnTo>
                  <a:lnTo>
                    <a:pt x="21" y="66"/>
                  </a:lnTo>
                  <a:lnTo>
                    <a:pt x="21" y="66"/>
                  </a:lnTo>
                  <a:lnTo>
                    <a:pt x="21" y="66"/>
                  </a:lnTo>
                  <a:lnTo>
                    <a:pt x="21" y="71"/>
                  </a:lnTo>
                  <a:lnTo>
                    <a:pt x="21" y="73"/>
                  </a:lnTo>
                  <a:lnTo>
                    <a:pt x="21" y="73"/>
                  </a:lnTo>
                  <a:lnTo>
                    <a:pt x="21" y="76"/>
                  </a:lnTo>
                  <a:lnTo>
                    <a:pt x="23" y="78"/>
                  </a:lnTo>
                  <a:lnTo>
                    <a:pt x="25" y="80"/>
                  </a:lnTo>
                  <a:lnTo>
                    <a:pt x="25" y="80"/>
                  </a:lnTo>
                  <a:lnTo>
                    <a:pt x="28" y="80"/>
                  </a:lnTo>
                  <a:lnTo>
                    <a:pt x="28" y="80"/>
                  </a:lnTo>
                  <a:lnTo>
                    <a:pt x="28" y="83"/>
                  </a:lnTo>
                  <a:lnTo>
                    <a:pt x="25" y="83"/>
                  </a:lnTo>
                  <a:lnTo>
                    <a:pt x="28" y="83"/>
                  </a:lnTo>
                  <a:lnTo>
                    <a:pt x="28" y="83"/>
                  </a:lnTo>
                  <a:lnTo>
                    <a:pt x="25" y="83"/>
                  </a:lnTo>
                  <a:lnTo>
                    <a:pt x="23" y="83"/>
                  </a:lnTo>
                  <a:lnTo>
                    <a:pt x="23" y="83"/>
                  </a:lnTo>
                  <a:lnTo>
                    <a:pt x="25" y="85"/>
                  </a:lnTo>
                  <a:lnTo>
                    <a:pt x="28" y="87"/>
                  </a:lnTo>
                  <a:lnTo>
                    <a:pt x="30" y="90"/>
                  </a:lnTo>
                  <a:lnTo>
                    <a:pt x="30" y="90"/>
                  </a:lnTo>
                  <a:lnTo>
                    <a:pt x="30" y="92"/>
                  </a:lnTo>
                  <a:lnTo>
                    <a:pt x="33" y="92"/>
                  </a:lnTo>
                  <a:lnTo>
                    <a:pt x="33" y="90"/>
                  </a:lnTo>
                  <a:lnTo>
                    <a:pt x="33" y="87"/>
                  </a:lnTo>
                  <a:lnTo>
                    <a:pt x="35" y="87"/>
                  </a:lnTo>
                  <a:lnTo>
                    <a:pt x="35" y="87"/>
                  </a:lnTo>
                  <a:lnTo>
                    <a:pt x="37" y="90"/>
                  </a:lnTo>
                  <a:lnTo>
                    <a:pt x="37" y="85"/>
                  </a:lnTo>
                  <a:lnTo>
                    <a:pt x="40" y="83"/>
                  </a:lnTo>
                  <a:lnTo>
                    <a:pt x="40" y="83"/>
                  </a:lnTo>
                  <a:lnTo>
                    <a:pt x="42" y="85"/>
                  </a:lnTo>
                  <a:lnTo>
                    <a:pt x="40" y="85"/>
                  </a:lnTo>
                  <a:lnTo>
                    <a:pt x="40" y="87"/>
                  </a:lnTo>
                  <a:lnTo>
                    <a:pt x="44" y="87"/>
                  </a:lnTo>
                  <a:lnTo>
                    <a:pt x="44" y="87"/>
                  </a:lnTo>
                  <a:lnTo>
                    <a:pt x="44" y="87"/>
                  </a:lnTo>
                  <a:lnTo>
                    <a:pt x="44" y="85"/>
                  </a:lnTo>
                  <a:lnTo>
                    <a:pt x="44" y="83"/>
                  </a:lnTo>
                  <a:lnTo>
                    <a:pt x="42" y="83"/>
                  </a:lnTo>
                  <a:lnTo>
                    <a:pt x="42" y="80"/>
                  </a:lnTo>
                  <a:lnTo>
                    <a:pt x="42" y="80"/>
                  </a:lnTo>
                  <a:lnTo>
                    <a:pt x="44" y="80"/>
                  </a:lnTo>
                  <a:lnTo>
                    <a:pt x="44" y="83"/>
                  </a:lnTo>
                  <a:lnTo>
                    <a:pt x="47" y="83"/>
                  </a:lnTo>
                  <a:lnTo>
                    <a:pt x="49" y="83"/>
                  </a:lnTo>
                  <a:lnTo>
                    <a:pt x="49" y="83"/>
                  </a:lnTo>
                  <a:lnTo>
                    <a:pt x="47" y="80"/>
                  </a:lnTo>
                  <a:lnTo>
                    <a:pt x="47" y="80"/>
                  </a:lnTo>
                  <a:lnTo>
                    <a:pt x="47" y="78"/>
                  </a:lnTo>
                  <a:lnTo>
                    <a:pt x="47" y="78"/>
                  </a:lnTo>
                  <a:lnTo>
                    <a:pt x="49" y="78"/>
                  </a:lnTo>
                  <a:lnTo>
                    <a:pt x="51" y="76"/>
                  </a:lnTo>
                  <a:lnTo>
                    <a:pt x="51" y="76"/>
                  </a:lnTo>
                  <a:lnTo>
                    <a:pt x="54" y="78"/>
                  </a:lnTo>
                  <a:lnTo>
                    <a:pt x="54" y="78"/>
                  </a:lnTo>
                  <a:lnTo>
                    <a:pt x="56" y="78"/>
                  </a:lnTo>
                  <a:lnTo>
                    <a:pt x="58" y="80"/>
                  </a:lnTo>
                  <a:lnTo>
                    <a:pt x="61" y="80"/>
                  </a:lnTo>
                  <a:lnTo>
                    <a:pt x="58" y="78"/>
                  </a:lnTo>
                  <a:lnTo>
                    <a:pt x="58" y="76"/>
                  </a:lnTo>
                  <a:lnTo>
                    <a:pt x="58" y="76"/>
                  </a:lnTo>
                  <a:lnTo>
                    <a:pt x="58" y="76"/>
                  </a:lnTo>
                  <a:lnTo>
                    <a:pt x="61" y="73"/>
                  </a:lnTo>
                  <a:lnTo>
                    <a:pt x="63" y="76"/>
                  </a:lnTo>
                  <a:lnTo>
                    <a:pt x="68" y="76"/>
                  </a:lnTo>
                  <a:lnTo>
                    <a:pt x="68" y="73"/>
                  </a:lnTo>
                  <a:lnTo>
                    <a:pt x="70" y="73"/>
                  </a:lnTo>
                  <a:lnTo>
                    <a:pt x="73" y="71"/>
                  </a:lnTo>
                  <a:lnTo>
                    <a:pt x="73" y="66"/>
                  </a:lnTo>
                  <a:lnTo>
                    <a:pt x="70" y="61"/>
                  </a:lnTo>
                  <a:lnTo>
                    <a:pt x="70" y="5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4" name="Freeform 240"/>
            <p:cNvSpPr>
              <a:spLocks noEditPoints="1"/>
            </p:cNvSpPr>
            <p:nvPr userDrawn="1"/>
          </p:nvSpPr>
          <p:spPr bwMode="auto">
            <a:xfrm>
              <a:off x="3955" y="3276"/>
              <a:ext cx="297" cy="267"/>
            </a:xfrm>
            <a:custGeom>
              <a:avLst/>
              <a:gdLst>
                <a:gd name="T0" fmla="*/ 280 w 297"/>
                <a:gd name="T1" fmla="*/ 97 h 267"/>
                <a:gd name="T2" fmla="*/ 266 w 297"/>
                <a:gd name="T3" fmla="*/ 106 h 267"/>
                <a:gd name="T4" fmla="*/ 259 w 297"/>
                <a:gd name="T5" fmla="*/ 90 h 267"/>
                <a:gd name="T6" fmla="*/ 271 w 297"/>
                <a:gd name="T7" fmla="*/ 76 h 267"/>
                <a:gd name="T8" fmla="*/ 280 w 297"/>
                <a:gd name="T9" fmla="*/ 76 h 267"/>
                <a:gd name="T10" fmla="*/ 282 w 297"/>
                <a:gd name="T11" fmla="*/ 47 h 267"/>
                <a:gd name="T12" fmla="*/ 278 w 297"/>
                <a:gd name="T13" fmla="*/ 33 h 267"/>
                <a:gd name="T14" fmla="*/ 273 w 297"/>
                <a:gd name="T15" fmla="*/ 14 h 267"/>
                <a:gd name="T16" fmla="*/ 264 w 297"/>
                <a:gd name="T17" fmla="*/ 2 h 267"/>
                <a:gd name="T18" fmla="*/ 235 w 297"/>
                <a:gd name="T19" fmla="*/ 0 h 267"/>
                <a:gd name="T20" fmla="*/ 219 w 297"/>
                <a:gd name="T21" fmla="*/ 9 h 267"/>
                <a:gd name="T22" fmla="*/ 207 w 297"/>
                <a:gd name="T23" fmla="*/ 21 h 267"/>
                <a:gd name="T24" fmla="*/ 200 w 297"/>
                <a:gd name="T25" fmla="*/ 26 h 267"/>
                <a:gd name="T26" fmla="*/ 193 w 297"/>
                <a:gd name="T27" fmla="*/ 33 h 267"/>
                <a:gd name="T28" fmla="*/ 176 w 297"/>
                <a:gd name="T29" fmla="*/ 52 h 267"/>
                <a:gd name="T30" fmla="*/ 167 w 297"/>
                <a:gd name="T31" fmla="*/ 68 h 267"/>
                <a:gd name="T32" fmla="*/ 155 w 297"/>
                <a:gd name="T33" fmla="*/ 76 h 267"/>
                <a:gd name="T34" fmla="*/ 139 w 297"/>
                <a:gd name="T35" fmla="*/ 73 h 267"/>
                <a:gd name="T36" fmla="*/ 125 w 297"/>
                <a:gd name="T37" fmla="*/ 66 h 267"/>
                <a:gd name="T38" fmla="*/ 115 w 297"/>
                <a:gd name="T39" fmla="*/ 73 h 267"/>
                <a:gd name="T40" fmla="*/ 103 w 297"/>
                <a:gd name="T41" fmla="*/ 92 h 267"/>
                <a:gd name="T42" fmla="*/ 94 w 297"/>
                <a:gd name="T43" fmla="*/ 99 h 267"/>
                <a:gd name="T44" fmla="*/ 77 w 297"/>
                <a:gd name="T45" fmla="*/ 99 h 267"/>
                <a:gd name="T46" fmla="*/ 80 w 297"/>
                <a:gd name="T47" fmla="*/ 83 h 267"/>
                <a:gd name="T48" fmla="*/ 73 w 297"/>
                <a:gd name="T49" fmla="*/ 64 h 267"/>
                <a:gd name="T50" fmla="*/ 63 w 297"/>
                <a:gd name="T51" fmla="*/ 92 h 267"/>
                <a:gd name="T52" fmla="*/ 59 w 297"/>
                <a:gd name="T53" fmla="*/ 135 h 267"/>
                <a:gd name="T54" fmla="*/ 49 w 297"/>
                <a:gd name="T55" fmla="*/ 142 h 267"/>
                <a:gd name="T56" fmla="*/ 28 w 297"/>
                <a:gd name="T57" fmla="*/ 139 h 267"/>
                <a:gd name="T58" fmla="*/ 16 w 297"/>
                <a:gd name="T59" fmla="*/ 135 h 267"/>
                <a:gd name="T60" fmla="*/ 14 w 297"/>
                <a:gd name="T61" fmla="*/ 128 h 267"/>
                <a:gd name="T62" fmla="*/ 7 w 297"/>
                <a:gd name="T63" fmla="*/ 128 h 267"/>
                <a:gd name="T64" fmla="*/ 0 w 297"/>
                <a:gd name="T65" fmla="*/ 135 h 267"/>
                <a:gd name="T66" fmla="*/ 21 w 297"/>
                <a:gd name="T67" fmla="*/ 187 h 267"/>
                <a:gd name="T68" fmla="*/ 30 w 297"/>
                <a:gd name="T69" fmla="*/ 220 h 267"/>
                <a:gd name="T70" fmla="*/ 26 w 297"/>
                <a:gd name="T71" fmla="*/ 229 h 267"/>
                <a:gd name="T72" fmla="*/ 33 w 297"/>
                <a:gd name="T73" fmla="*/ 246 h 267"/>
                <a:gd name="T74" fmla="*/ 33 w 297"/>
                <a:gd name="T75" fmla="*/ 253 h 267"/>
                <a:gd name="T76" fmla="*/ 40 w 297"/>
                <a:gd name="T77" fmla="*/ 253 h 267"/>
                <a:gd name="T78" fmla="*/ 44 w 297"/>
                <a:gd name="T79" fmla="*/ 258 h 267"/>
                <a:gd name="T80" fmla="*/ 54 w 297"/>
                <a:gd name="T81" fmla="*/ 265 h 267"/>
                <a:gd name="T82" fmla="*/ 75 w 297"/>
                <a:gd name="T83" fmla="*/ 258 h 267"/>
                <a:gd name="T84" fmla="*/ 101 w 297"/>
                <a:gd name="T85" fmla="*/ 250 h 267"/>
                <a:gd name="T86" fmla="*/ 125 w 297"/>
                <a:gd name="T87" fmla="*/ 248 h 267"/>
                <a:gd name="T88" fmla="*/ 153 w 297"/>
                <a:gd name="T89" fmla="*/ 248 h 267"/>
                <a:gd name="T90" fmla="*/ 174 w 297"/>
                <a:gd name="T91" fmla="*/ 243 h 267"/>
                <a:gd name="T92" fmla="*/ 212 w 297"/>
                <a:gd name="T93" fmla="*/ 220 h 267"/>
                <a:gd name="T94" fmla="*/ 245 w 297"/>
                <a:gd name="T95" fmla="*/ 187 h 267"/>
                <a:gd name="T96" fmla="*/ 275 w 297"/>
                <a:gd name="T97" fmla="*/ 142 h 267"/>
                <a:gd name="T98" fmla="*/ 292 w 297"/>
                <a:gd name="T99" fmla="*/ 116 h 267"/>
                <a:gd name="T100" fmla="*/ 231 w 297"/>
                <a:gd name="T101" fmla="*/ 154 h 267"/>
                <a:gd name="T102" fmla="*/ 223 w 297"/>
                <a:gd name="T103" fmla="*/ 165 h 267"/>
                <a:gd name="T104" fmla="*/ 214 w 297"/>
                <a:gd name="T105" fmla="*/ 168 h 267"/>
                <a:gd name="T106" fmla="*/ 207 w 297"/>
                <a:gd name="T107" fmla="*/ 177 h 267"/>
                <a:gd name="T108" fmla="*/ 198 w 297"/>
                <a:gd name="T109" fmla="*/ 175 h 267"/>
                <a:gd name="T110" fmla="*/ 193 w 297"/>
                <a:gd name="T111" fmla="*/ 170 h 267"/>
                <a:gd name="T112" fmla="*/ 188 w 297"/>
                <a:gd name="T113" fmla="*/ 158 h 267"/>
                <a:gd name="T114" fmla="*/ 198 w 297"/>
                <a:gd name="T115" fmla="*/ 151 h 267"/>
                <a:gd name="T116" fmla="*/ 207 w 297"/>
                <a:gd name="T117" fmla="*/ 142 h 267"/>
                <a:gd name="T118" fmla="*/ 219 w 297"/>
                <a:gd name="T119" fmla="*/ 137 h 267"/>
                <a:gd name="T120" fmla="*/ 228 w 297"/>
                <a:gd name="T121" fmla="*/ 14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7" h="267">
                  <a:moveTo>
                    <a:pt x="292" y="99"/>
                  </a:moveTo>
                  <a:lnTo>
                    <a:pt x="289" y="99"/>
                  </a:lnTo>
                  <a:lnTo>
                    <a:pt x="287" y="99"/>
                  </a:lnTo>
                  <a:lnTo>
                    <a:pt x="285" y="99"/>
                  </a:lnTo>
                  <a:lnTo>
                    <a:pt x="282" y="99"/>
                  </a:lnTo>
                  <a:lnTo>
                    <a:pt x="282" y="99"/>
                  </a:lnTo>
                  <a:lnTo>
                    <a:pt x="280" y="97"/>
                  </a:lnTo>
                  <a:lnTo>
                    <a:pt x="280" y="97"/>
                  </a:lnTo>
                  <a:lnTo>
                    <a:pt x="280" y="102"/>
                  </a:lnTo>
                  <a:lnTo>
                    <a:pt x="280" y="106"/>
                  </a:lnTo>
                  <a:lnTo>
                    <a:pt x="280" y="109"/>
                  </a:lnTo>
                  <a:lnTo>
                    <a:pt x="275" y="109"/>
                  </a:lnTo>
                  <a:lnTo>
                    <a:pt x="271" y="109"/>
                  </a:lnTo>
                  <a:lnTo>
                    <a:pt x="266" y="106"/>
                  </a:lnTo>
                  <a:lnTo>
                    <a:pt x="264" y="104"/>
                  </a:lnTo>
                  <a:lnTo>
                    <a:pt x="261" y="99"/>
                  </a:lnTo>
                  <a:lnTo>
                    <a:pt x="261" y="97"/>
                  </a:lnTo>
                  <a:lnTo>
                    <a:pt x="259" y="97"/>
                  </a:lnTo>
                  <a:lnTo>
                    <a:pt x="259" y="97"/>
                  </a:lnTo>
                  <a:lnTo>
                    <a:pt x="259" y="94"/>
                  </a:lnTo>
                  <a:lnTo>
                    <a:pt x="259" y="90"/>
                  </a:lnTo>
                  <a:lnTo>
                    <a:pt x="259" y="90"/>
                  </a:lnTo>
                  <a:lnTo>
                    <a:pt x="261" y="85"/>
                  </a:lnTo>
                  <a:lnTo>
                    <a:pt x="264" y="83"/>
                  </a:lnTo>
                  <a:lnTo>
                    <a:pt x="266" y="80"/>
                  </a:lnTo>
                  <a:lnTo>
                    <a:pt x="268" y="78"/>
                  </a:lnTo>
                  <a:lnTo>
                    <a:pt x="271" y="76"/>
                  </a:lnTo>
                  <a:lnTo>
                    <a:pt x="271" y="76"/>
                  </a:lnTo>
                  <a:lnTo>
                    <a:pt x="271" y="76"/>
                  </a:lnTo>
                  <a:lnTo>
                    <a:pt x="275" y="78"/>
                  </a:lnTo>
                  <a:lnTo>
                    <a:pt x="280" y="80"/>
                  </a:lnTo>
                  <a:lnTo>
                    <a:pt x="280" y="80"/>
                  </a:lnTo>
                  <a:lnTo>
                    <a:pt x="280" y="80"/>
                  </a:lnTo>
                  <a:lnTo>
                    <a:pt x="280" y="78"/>
                  </a:lnTo>
                  <a:lnTo>
                    <a:pt x="280" y="76"/>
                  </a:lnTo>
                  <a:lnTo>
                    <a:pt x="282" y="73"/>
                  </a:lnTo>
                  <a:lnTo>
                    <a:pt x="282" y="66"/>
                  </a:lnTo>
                  <a:lnTo>
                    <a:pt x="282" y="66"/>
                  </a:lnTo>
                  <a:lnTo>
                    <a:pt x="282" y="61"/>
                  </a:lnTo>
                  <a:lnTo>
                    <a:pt x="282" y="57"/>
                  </a:lnTo>
                  <a:lnTo>
                    <a:pt x="282" y="52"/>
                  </a:lnTo>
                  <a:lnTo>
                    <a:pt x="282" y="47"/>
                  </a:lnTo>
                  <a:lnTo>
                    <a:pt x="282" y="47"/>
                  </a:lnTo>
                  <a:lnTo>
                    <a:pt x="282" y="45"/>
                  </a:lnTo>
                  <a:lnTo>
                    <a:pt x="280" y="42"/>
                  </a:lnTo>
                  <a:lnTo>
                    <a:pt x="280" y="40"/>
                  </a:lnTo>
                  <a:lnTo>
                    <a:pt x="280" y="35"/>
                  </a:lnTo>
                  <a:lnTo>
                    <a:pt x="278" y="33"/>
                  </a:lnTo>
                  <a:lnTo>
                    <a:pt x="278" y="33"/>
                  </a:lnTo>
                  <a:lnTo>
                    <a:pt x="278" y="31"/>
                  </a:lnTo>
                  <a:lnTo>
                    <a:pt x="275" y="28"/>
                  </a:lnTo>
                  <a:lnTo>
                    <a:pt x="275" y="28"/>
                  </a:lnTo>
                  <a:lnTo>
                    <a:pt x="275" y="26"/>
                  </a:lnTo>
                  <a:lnTo>
                    <a:pt x="275" y="23"/>
                  </a:lnTo>
                  <a:lnTo>
                    <a:pt x="273" y="19"/>
                  </a:lnTo>
                  <a:lnTo>
                    <a:pt x="273" y="14"/>
                  </a:lnTo>
                  <a:lnTo>
                    <a:pt x="273" y="9"/>
                  </a:lnTo>
                  <a:lnTo>
                    <a:pt x="271" y="7"/>
                  </a:lnTo>
                  <a:lnTo>
                    <a:pt x="271" y="7"/>
                  </a:lnTo>
                  <a:lnTo>
                    <a:pt x="271" y="5"/>
                  </a:lnTo>
                  <a:lnTo>
                    <a:pt x="271" y="5"/>
                  </a:lnTo>
                  <a:lnTo>
                    <a:pt x="268" y="2"/>
                  </a:lnTo>
                  <a:lnTo>
                    <a:pt x="264" y="2"/>
                  </a:lnTo>
                  <a:lnTo>
                    <a:pt x="261" y="2"/>
                  </a:lnTo>
                  <a:lnTo>
                    <a:pt x="256" y="2"/>
                  </a:lnTo>
                  <a:lnTo>
                    <a:pt x="252" y="2"/>
                  </a:lnTo>
                  <a:lnTo>
                    <a:pt x="247" y="0"/>
                  </a:lnTo>
                  <a:lnTo>
                    <a:pt x="242" y="0"/>
                  </a:lnTo>
                  <a:lnTo>
                    <a:pt x="238" y="0"/>
                  </a:lnTo>
                  <a:lnTo>
                    <a:pt x="235" y="0"/>
                  </a:lnTo>
                  <a:lnTo>
                    <a:pt x="233" y="0"/>
                  </a:lnTo>
                  <a:lnTo>
                    <a:pt x="231" y="2"/>
                  </a:lnTo>
                  <a:lnTo>
                    <a:pt x="228" y="5"/>
                  </a:lnTo>
                  <a:lnTo>
                    <a:pt x="226" y="7"/>
                  </a:lnTo>
                  <a:lnTo>
                    <a:pt x="223" y="7"/>
                  </a:lnTo>
                  <a:lnTo>
                    <a:pt x="221" y="9"/>
                  </a:lnTo>
                  <a:lnTo>
                    <a:pt x="219" y="9"/>
                  </a:lnTo>
                  <a:lnTo>
                    <a:pt x="214" y="12"/>
                  </a:lnTo>
                  <a:lnTo>
                    <a:pt x="212" y="14"/>
                  </a:lnTo>
                  <a:lnTo>
                    <a:pt x="209" y="16"/>
                  </a:lnTo>
                  <a:lnTo>
                    <a:pt x="209" y="19"/>
                  </a:lnTo>
                  <a:lnTo>
                    <a:pt x="209" y="19"/>
                  </a:lnTo>
                  <a:lnTo>
                    <a:pt x="207" y="19"/>
                  </a:lnTo>
                  <a:lnTo>
                    <a:pt x="207" y="21"/>
                  </a:lnTo>
                  <a:lnTo>
                    <a:pt x="207" y="21"/>
                  </a:lnTo>
                  <a:lnTo>
                    <a:pt x="207" y="21"/>
                  </a:lnTo>
                  <a:lnTo>
                    <a:pt x="205" y="21"/>
                  </a:lnTo>
                  <a:lnTo>
                    <a:pt x="205" y="23"/>
                  </a:lnTo>
                  <a:lnTo>
                    <a:pt x="202" y="23"/>
                  </a:lnTo>
                  <a:lnTo>
                    <a:pt x="202" y="26"/>
                  </a:lnTo>
                  <a:lnTo>
                    <a:pt x="200" y="26"/>
                  </a:lnTo>
                  <a:lnTo>
                    <a:pt x="198" y="26"/>
                  </a:lnTo>
                  <a:lnTo>
                    <a:pt x="198" y="28"/>
                  </a:lnTo>
                  <a:lnTo>
                    <a:pt x="195" y="28"/>
                  </a:lnTo>
                  <a:lnTo>
                    <a:pt x="195" y="28"/>
                  </a:lnTo>
                  <a:lnTo>
                    <a:pt x="195" y="31"/>
                  </a:lnTo>
                  <a:lnTo>
                    <a:pt x="193" y="33"/>
                  </a:lnTo>
                  <a:lnTo>
                    <a:pt x="193" y="33"/>
                  </a:lnTo>
                  <a:lnTo>
                    <a:pt x="188" y="42"/>
                  </a:lnTo>
                  <a:lnTo>
                    <a:pt x="188" y="45"/>
                  </a:lnTo>
                  <a:lnTo>
                    <a:pt x="186" y="47"/>
                  </a:lnTo>
                  <a:lnTo>
                    <a:pt x="183" y="49"/>
                  </a:lnTo>
                  <a:lnTo>
                    <a:pt x="181" y="52"/>
                  </a:lnTo>
                  <a:lnTo>
                    <a:pt x="181" y="52"/>
                  </a:lnTo>
                  <a:lnTo>
                    <a:pt x="176" y="52"/>
                  </a:lnTo>
                  <a:lnTo>
                    <a:pt x="174" y="54"/>
                  </a:lnTo>
                  <a:lnTo>
                    <a:pt x="172" y="54"/>
                  </a:lnTo>
                  <a:lnTo>
                    <a:pt x="172" y="54"/>
                  </a:lnTo>
                  <a:lnTo>
                    <a:pt x="172" y="59"/>
                  </a:lnTo>
                  <a:lnTo>
                    <a:pt x="169" y="64"/>
                  </a:lnTo>
                  <a:lnTo>
                    <a:pt x="167" y="66"/>
                  </a:lnTo>
                  <a:lnTo>
                    <a:pt x="167" y="68"/>
                  </a:lnTo>
                  <a:lnTo>
                    <a:pt x="167" y="73"/>
                  </a:lnTo>
                  <a:lnTo>
                    <a:pt x="165" y="73"/>
                  </a:lnTo>
                  <a:lnTo>
                    <a:pt x="162" y="76"/>
                  </a:lnTo>
                  <a:lnTo>
                    <a:pt x="162" y="76"/>
                  </a:lnTo>
                  <a:lnTo>
                    <a:pt x="160" y="76"/>
                  </a:lnTo>
                  <a:lnTo>
                    <a:pt x="158" y="76"/>
                  </a:lnTo>
                  <a:lnTo>
                    <a:pt x="155" y="76"/>
                  </a:lnTo>
                  <a:lnTo>
                    <a:pt x="153" y="78"/>
                  </a:lnTo>
                  <a:lnTo>
                    <a:pt x="150" y="78"/>
                  </a:lnTo>
                  <a:lnTo>
                    <a:pt x="148" y="76"/>
                  </a:lnTo>
                  <a:lnTo>
                    <a:pt x="143" y="76"/>
                  </a:lnTo>
                  <a:lnTo>
                    <a:pt x="143" y="76"/>
                  </a:lnTo>
                  <a:lnTo>
                    <a:pt x="141" y="73"/>
                  </a:lnTo>
                  <a:lnTo>
                    <a:pt x="139" y="73"/>
                  </a:lnTo>
                  <a:lnTo>
                    <a:pt x="136" y="73"/>
                  </a:lnTo>
                  <a:lnTo>
                    <a:pt x="136" y="73"/>
                  </a:lnTo>
                  <a:lnTo>
                    <a:pt x="134" y="71"/>
                  </a:lnTo>
                  <a:lnTo>
                    <a:pt x="132" y="68"/>
                  </a:lnTo>
                  <a:lnTo>
                    <a:pt x="129" y="66"/>
                  </a:lnTo>
                  <a:lnTo>
                    <a:pt x="127" y="66"/>
                  </a:lnTo>
                  <a:lnTo>
                    <a:pt x="125" y="66"/>
                  </a:lnTo>
                  <a:lnTo>
                    <a:pt x="122" y="66"/>
                  </a:lnTo>
                  <a:lnTo>
                    <a:pt x="120" y="66"/>
                  </a:lnTo>
                  <a:lnTo>
                    <a:pt x="120" y="66"/>
                  </a:lnTo>
                  <a:lnTo>
                    <a:pt x="117" y="68"/>
                  </a:lnTo>
                  <a:lnTo>
                    <a:pt x="117" y="68"/>
                  </a:lnTo>
                  <a:lnTo>
                    <a:pt x="115" y="73"/>
                  </a:lnTo>
                  <a:lnTo>
                    <a:pt x="115" y="73"/>
                  </a:lnTo>
                  <a:lnTo>
                    <a:pt x="115" y="78"/>
                  </a:lnTo>
                  <a:lnTo>
                    <a:pt x="113" y="83"/>
                  </a:lnTo>
                  <a:lnTo>
                    <a:pt x="113" y="83"/>
                  </a:lnTo>
                  <a:lnTo>
                    <a:pt x="110" y="85"/>
                  </a:lnTo>
                  <a:lnTo>
                    <a:pt x="110" y="85"/>
                  </a:lnTo>
                  <a:lnTo>
                    <a:pt x="106" y="90"/>
                  </a:lnTo>
                  <a:lnTo>
                    <a:pt x="103" y="92"/>
                  </a:lnTo>
                  <a:lnTo>
                    <a:pt x="101" y="94"/>
                  </a:lnTo>
                  <a:lnTo>
                    <a:pt x="99" y="94"/>
                  </a:lnTo>
                  <a:lnTo>
                    <a:pt x="99" y="94"/>
                  </a:lnTo>
                  <a:lnTo>
                    <a:pt x="96" y="97"/>
                  </a:lnTo>
                  <a:lnTo>
                    <a:pt x="96" y="97"/>
                  </a:lnTo>
                  <a:lnTo>
                    <a:pt x="94" y="99"/>
                  </a:lnTo>
                  <a:lnTo>
                    <a:pt x="94" y="99"/>
                  </a:lnTo>
                  <a:lnTo>
                    <a:pt x="92" y="99"/>
                  </a:lnTo>
                  <a:lnTo>
                    <a:pt x="92" y="99"/>
                  </a:lnTo>
                  <a:lnTo>
                    <a:pt x="84" y="99"/>
                  </a:lnTo>
                  <a:lnTo>
                    <a:pt x="82" y="99"/>
                  </a:lnTo>
                  <a:lnTo>
                    <a:pt x="80" y="97"/>
                  </a:lnTo>
                  <a:lnTo>
                    <a:pt x="77" y="99"/>
                  </a:lnTo>
                  <a:lnTo>
                    <a:pt x="77" y="99"/>
                  </a:lnTo>
                  <a:lnTo>
                    <a:pt x="75" y="97"/>
                  </a:lnTo>
                  <a:lnTo>
                    <a:pt x="75" y="92"/>
                  </a:lnTo>
                  <a:lnTo>
                    <a:pt x="75" y="90"/>
                  </a:lnTo>
                  <a:lnTo>
                    <a:pt x="77" y="87"/>
                  </a:lnTo>
                  <a:lnTo>
                    <a:pt x="77" y="87"/>
                  </a:lnTo>
                  <a:lnTo>
                    <a:pt x="80" y="85"/>
                  </a:lnTo>
                  <a:lnTo>
                    <a:pt x="80" y="83"/>
                  </a:lnTo>
                  <a:lnTo>
                    <a:pt x="80" y="83"/>
                  </a:lnTo>
                  <a:lnTo>
                    <a:pt x="80" y="80"/>
                  </a:lnTo>
                  <a:lnTo>
                    <a:pt x="80" y="78"/>
                  </a:lnTo>
                  <a:lnTo>
                    <a:pt x="77" y="76"/>
                  </a:lnTo>
                  <a:lnTo>
                    <a:pt x="75" y="71"/>
                  </a:lnTo>
                  <a:lnTo>
                    <a:pt x="73" y="64"/>
                  </a:lnTo>
                  <a:lnTo>
                    <a:pt x="73" y="64"/>
                  </a:lnTo>
                  <a:lnTo>
                    <a:pt x="70" y="61"/>
                  </a:lnTo>
                  <a:lnTo>
                    <a:pt x="66" y="57"/>
                  </a:lnTo>
                  <a:lnTo>
                    <a:pt x="66" y="54"/>
                  </a:lnTo>
                  <a:lnTo>
                    <a:pt x="66" y="64"/>
                  </a:lnTo>
                  <a:lnTo>
                    <a:pt x="66" y="73"/>
                  </a:lnTo>
                  <a:lnTo>
                    <a:pt x="63" y="83"/>
                  </a:lnTo>
                  <a:lnTo>
                    <a:pt x="63" y="92"/>
                  </a:lnTo>
                  <a:lnTo>
                    <a:pt x="63" y="102"/>
                  </a:lnTo>
                  <a:lnTo>
                    <a:pt x="63" y="111"/>
                  </a:lnTo>
                  <a:lnTo>
                    <a:pt x="63" y="120"/>
                  </a:lnTo>
                  <a:lnTo>
                    <a:pt x="63" y="130"/>
                  </a:lnTo>
                  <a:lnTo>
                    <a:pt x="63" y="132"/>
                  </a:lnTo>
                  <a:lnTo>
                    <a:pt x="61" y="132"/>
                  </a:lnTo>
                  <a:lnTo>
                    <a:pt x="59" y="135"/>
                  </a:lnTo>
                  <a:lnTo>
                    <a:pt x="56" y="135"/>
                  </a:lnTo>
                  <a:lnTo>
                    <a:pt x="54" y="137"/>
                  </a:lnTo>
                  <a:lnTo>
                    <a:pt x="54" y="137"/>
                  </a:lnTo>
                  <a:lnTo>
                    <a:pt x="51" y="139"/>
                  </a:lnTo>
                  <a:lnTo>
                    <a:pt x="51" y="139"/>
                  </a:lnTo>
                  <a:lnTo>
                    <a:pt x="51" y="142"/>
                  </a:lnTo>
                  <a:lnTo>
                    <a:pt x="49" y="142"/>
                  </a:lnTo>
                  <a:lnTo>
                    <a:pt x="49" y="142"/>
                  </a:lnTo>
                  <a:lnTo>
                    <a:pt x="47" y="142"/>
                  </a:lnTo>
                  <a:lnTo>
                    <a:pt x="42" y="142"/>
                  </a:lnTo>
                  <a:lnTo>
                    <a:pt x="37" y="142"/>
                  </a:lnTo>
                  <a:lnTo>
                    <a:pt x="33" y="142"/>
                  </a:lnTo>
                  <a:lnTo>
                    <a:pt x="30" y="142"/>
                  </a:lnTo>
                  <a:lnTo>
                    <a:pt x="28" y="139"/>
                  </a:lnTo>
                  <a:lnTo>
                    <a:pt x="26" y="139"/>
                  </a:lnTo>
                  <a:lnTo>
                    <a:pt x="23" y="139"/>
                  </a:lnTo>
                  <a:lnTo>
                    <a:pt x="21" y="139"/>
                  </a:lnTo>
                  <a:lnTo>
                    <a:pt x="18" y="137"/>
                  </a:lnTo>
                  <a:lnTo>
                    <a:pt x="18" y="137"/>
                  </a:lnTo>
                  <a:lnTo>
                    <a:pt x="16" y="135"/>
                  </a:lnTo>
                  <a:lnTo>
                    <a:pt x="16" y="135"/>
                  </a:lnTo>
                  <a:lnTo>
                    <a:pt x="16" y="132"/>
                  </a:lnTo>
                  <a:lnTo>
                    <a:pt x="16" y="132"/>
                  </a:lnTo>
                  <a:lnTo>
                    <a:pt x="16" y="130"/>
                  </a:lnTo>
                  <a:lnTo>
                    <a:pt x="16" y="128"/>
                  </a:lnTo>
                  <a:lnTo>
                    <a:pt x="16" y="128"/>
                  </a:lnTo>
                  <a:lnTo>
                    <a:pt x="14" y="128"/>
                  </a:lnTo>
                  <a:lnTo>
                    <a:pt x="14" y="128"/>
                  </a:lnTo>
                  <a:lnTo>
                    <a:pt x="14" y="125"/>
                  </a:lnTo>
                  <a:lnTo>
                    <a:pt x="14" y="125"/>
                  </a:lnTo>
                  <a:lnTo>
                    <a:pt x="11" y="123"/>
                  </a:lnTo>
                  <a:lnTo>
                    <a:pt x="9" y="125"/>
                  </a:lnTo>
                  <a:lnTo>
                    <a:pt x="7" y="125"/>
                  </a:lnTo>
                  <a:lnTo>
                    <a:pt x="7" y="128"/>
                  </a:lnTo>
                  <a:lnTo>
                    <a:pt x="7" y="128"/>
                  </a:lnTo>
                  <a:lnTo>
                    <a:pt x="7" y="130"/>
                  </a:lnTo>
                  <a:lnTo>
                    <a:pt x="7" y="132"/>
                  </a:lnTo>
                  <a:lnTo>
                    <a:pt x="7" y="132"/>
                  </a:lnTo>
                  <a:lnTo>
                    <a:pt x="4" y="132"/>
                  </a:lnTo>
                  <a:lnTo>
                    <a:pt x="4" y="132"/>
                  </a:lnTo>
                  <a:lnTo>
                    <a:pt x="4" y="132"/>
                  </a:lnTo>
                  <a:lnTo>
                    <a:pt x="0" y="135"/>
                  </a:lnTo>
                  <a:lnTo>
                    <a:pt x="0" y="137"/>
                  </a:lnTo>
                  <a:lnTo>
                    <a:pt x="0" y="137"/>
                  </a:lnTo>
                  <a:lnTo>
                    <a:pt x="4" y="144"/>
                  </a:lnTo>
                  <a:lnTo>
                    <a:pt x="9" y="154"/>
                  </a:lnTo>
                  <a:lnTo>
                    <a:pt x="14" y="168"/>
                  </a:lnTo>
                  <a:lnTo>
                    <a:pt x="16" y="175"/>
                  </a:lnTo>
                  <a:lnTo>
                    <a:pt x="21" y="187"/>
                  </a:lnTo>
                  <a:lnTo>
                    <a:pt x="26" y="194"/>
                  </a:lnTo>
                  <a:lnTo>
                    <a:pt x="30" y="201"/>
                  </a:lnTo>
                  <a:lnTo>
                    <a:pt x="30" y="201"/>
                  </a:lnTo>
                  <a:lnTo>
                    <a:pt x="33" y="210"/>
                  </a:lnTo>
                  <a:lnTo>
                    <a:pt x="33" y="213"/>
                  </a:lnTo>
                  <a:lnTo>
                    <a:pt x="33" y="217"/>
                  </a:lnTo>
                  <a:lnTo>
                    <a:pt x="30" y="220"/>
                  </a:lnTo>
                  <a:lnTo>
                    <a:pt x="28" y="222"/>
                  </a:lnTo>
                  <a:lnTo>
                    <a:pt x="28" y="224"/>
                  </a:lnTo>
                  <a:lnTo>
                    <a:pt x="26" y="222"/>
                  </a:lnTo>
                  <a:lnTo>
                    <a:pt x="23" y="222"/>
                  </a:lnTo>
                  <a:lnTo>
                    <a:pt x="23" y="224"/>
                  </a:lnTo>
                  <a:lnTo>
                    <a:pt x="23" y="227"/>
                  </a:lnTo>
                  <a:lnTo>
                    <a:pt x="26" y="229"/>
                  </a:lnTo>
                  <a:lnTo>
                    <a:pt x="26" y="232"/>
                  </a:lnTo>
                  <a:lnTo>
                    <a:pt x="28" y="232"/>
                  </a:lnTo>
                  <a:lnTo>
                    <a:pt x="28" y="236"/>
                  </a:lnTo>
                  <a:lnTo>
                    <a:pt x="30" y="236"/>
                  </a:lnTo>
                  <a:lnTo>
                    <a:pt x="30" y="239"/>
                  </a:lnTo>
                  <a:lnTo>
                    <a:pt x="33" y="243"/>
                  </a:lnTo>
                  <a:lnTo>
                    <a:pt x="33" y="246"/>
                  </a:lnTo>
                  <a:lnTo>
                    <a:pt x="33" y="248"/>
                  </a:lnTo>
                  <a:lnTo>
                    <a:pt x="33" y="248"/>
                  </a:lnTo>
                  <a:lnTo>
                    <a:pt x="30" y="250"/>
                  </a:lnTo>
                  <a:lnTo>
                    <a:pt x="33" y="253"/>
                  </a:lnTo>
                  <a:lnTo>
                    <a:pt x="33" y="255"/>
                  </a:lnTo>
                  <a:lnTo>
                    <a:pt x="33" y="258"/>
                  </a:lnTo>
                  <a:lnTo>
                    <a:pt x="33" y="253"/>
                  </a:lnTo>
                  <a:lnTo>
                    <a:pt x="35" y="253"/>
                  </a:lnTo>
                  <a:lnTo>
                    <a:pt x="35" y="250"/>
                  </a:lnTo>
                  <a:lnTo>
                    <a:pt x="35" y="250"/>
                  </a:lnTo>
                  <a:lnTo>
                    <a:pt x="37" y="250"/>
                  </a:lnTo>
                  <a:lnTo>
                    <a:pt x="40" y="250"/>
                  </a:lnTo>
                  <a:lnTo>
                    <a:pt x="40" y="250"/>
                  </a:lnTo>
                  <a:lnTo>
                    <a:pt x="40" y="253"/>
                  </a:lnTo>
                  <a:lnTo>
                    <a:pt x="40" y="255"/>
                  </a:lnTo>
                  <a:lnTo>
                    <a:pt x="40" y="255"/>
                  </a:lnTo>
                  <a:lnTo>
                    <a:pt x="40" y="258"/>
                  </a:lnTo>
                  <a:lnTo>
                    <a:pt x="42" y="258"/>
                  </a:lnTo>
                  <a:lnTo>
                    <a:pt x="42" y="258"/>
                  </a:lnTo>
                  <a:lnTo>
                    <a:pt x="44" y="258"/>
                  </a:lnTo>
                  <a:lnTo>
                    <a:pt x="44" y="258"/>
                  </a:lnTo>
                  <a:lnTo>
                    <a:pt x="47" y="258"/>
                  </a:lnTo>
                  <a:lnTo>
                    <a:pt x="47" y="258"/>
                  </a:lnTo>
                  <a:lnTo>
                    <a:pt x="49" y="260"/>
                  </a:lnTo>
                  <a:lnTo>
                    <a:pt x="49" y="262"/>
                  </a:lnTo>
                  <a:lnTo>
                    <a:pt x="49" y="262"/>
                  </a:lnTo>
                  <a:lnTo>
                    <a:pt x="49" y="262"/>
                  </a:lnTo>
                  <a:lnTo>
                    <a:pt x="54" y="265"/>
                  </a:lnTo>
                  <a:lnTo>
                    <a:pt x="59" y="265"/>
                  </a:lnTo>
                  <a:lnTo>
                    <a:pt x="59" y="265"/>
                  </a:lnTo>
                  <a:lnTo>
                    <a:pt x="61" y="267"/>
                  </a:lnTo>
                  <a:lnTo>
                    <a:pt x="68" y="260"/>
                  </a:lnTo>
                  <a:lnTo>
                    <a:pt x="70" y="260"/>
                  </a:lnTo>
                  <a:lnTo>
                    <a:pt x="75" y="258"/>
                  </a:lnTo>
                  <a:lnTo>
                    <a:pt x="75" y="258"/>
                  </a:lnTo>
                  <a:lnTo>
                    <a:pt x="77" y="258"/>
                  </a:lnTo>
                  <a:lnTo>
                    <a:pt x="80" y="258"/>
                  </a:lnTo>
                  <a:lnTo>
                    <a:pt x="82" y="258"/>
                  </a:lnTo>
                  <a:lnTo>
                    <a:pt x="84" y="258"/>
                  </a:lnTo>
                  <a:lnTo>
                    <a:pt x="87" y="258"/>
                  </a:lnTo>
                  <a:lnTo>
                    <a:pt x="92" y="258"/>
                  </a:lnTo>
                  <a:lnTo>
                    <a:pt x="101" y="250"/>
                  </a:lnTo>
                  <a:lnTo>
                    <a:pt x="103" y="250"/>
                  </a:lnTo>
                  <a:lnTo>
                    <a:pt x="106" y="250"/>
                  </a:lnTo>
                  <a:lnTo>
                    <a:pt x="108" y="250"/>
                  </a:lnTo>
                  <a:lnTo>
                    <a:pt x="113" y="250"/>
                  </a:lnTo>
                  <a:lnTo>
                    <a:pt x="117" y="250"/>
                  </a:lnTo>
                  <a:lnTo>
                    <a:pt x="120" y="250"/>
                  </a:lnTo>
                  <a:lnTo>
                    <a:pt x="125" y="248"/>
                  </a:lnTo>
                  <a:lnTo>
                    <a:pt x="127" y="248"/>
                  </a:lnTo>
                  <a:lnTo>
                    <a:pt x="134" y="250"/>
                  </a:lnTo>
                  <a:lnTo>
                    <a:pt x="141" y="253"/>
                  </a:lnTo>
                  <a:lnTo>
                    <a:pt x="146" y="253"/>
                  </a:lnTo>
                  <a:lnTo>
                    <a:pt x="148" y="250"/>
                  </a:lnTo>
                  <a:lnTo>
                    <a:pt x="148" y="248"/>
                  </a:lnTo>
                  <a:lnTo>
                    <a:pt x="153" y="248"/>
                  </a:lnTo>
                  <a:lnTo>
                    <a:pt x="158" y="250"/>
                  </a:lnTo>
                  <a:lnTo>
                    <a:pt x="160" y="250"/>
                  </a:lnTo>
                  <a:lnTo>
                    <a:pt x="160" y="250"/>
                  </a:lnTo>
                  <a:lnTo>
                    <a:pt x="160" y="246"/>
                  </a:lnTo>
                  <a:lnTo>
                    <a:pt x="162" y="243"/>
                  </a:lnTo>
                  <a:lnTo>
                    <a:pt x="167" y="243"/>
                  </a:lnTo>
                  <a:lnTo>
                    <a:pt x="174" y="243"/>
                  </a:lnTo>
                  <a:lnTo>
                    <a:pt x="176" y="243"/>
                  </a:lnTo>
                  <a:lnTo>
                    <a:pt x="186" y="239"/>
                  </a:lnTo>
                  <a:lnTo>
                    <a:pt x="190" y="236"/>
                  </a:lnTo>
                  <a:lnTo>
                    <a:pt x="198" y="229"/>
                  </a:lnTo>
                  <a:lnTo>
                    <a:pt x="200" y="229"/>
                  </a:lnTo>
                  <a:lnTo>
                    <a:pt x="207" y="224"/>
                  </a:lnTo>
                  <a:lnTo>
                    <a:pt x="212" y="220"/>
                  </a:lnTo>
                  <a:lnTo>
                    <a:pt x="219" y="213"/>
                  </a:lnTo>
                  <a:lnTo>
                    <a:pt x="223" y="208"/>
                  </a:lnTo>
                  <a:lnTo>
                    <a:pt x="231" y="201"/>
                  </a:lnTo>
                  <a:lnTo>
                    <a:pt x="235" y="196"/>
                  </a:lnTo>
                  <a:lnTo>
                    <a:pt x="238" y="196"/>
                  </a:lnTo>
                  <a:lnTo>
                    <a:pt x="240" y="194"/>
                  </a:lnTo>
                  <a:lnTo>
                    <a:pt x="245" y="187"/>
                  </a:lnTo>
                  <a:lnTo>
                    <a:pt x="249" y="180"/>
                  </a:lnTo>
                  <a:lnTo>
                    <a:pt x="252" y="175"/>
                  </a:lnTo>
                  <a:lnTo>
                    <a:pt x="256" y="168"/>
                  </a:lnTo>
                  <a:lnTo>
                    <a:pt x="259" y="163"/>
                  </a:lnTo>
                  <a:lnTo>
                    <a:pt x="264" y="156"/>
                  </a:lnTo>
                  <a:lnTo>
                    <a:pt x="266" y="151"/>
                  </a:lnTo>
                  <a:lnTo>
                    <a:pt x="275" y="142"/>
                  </a:lnTo>
                  <a:lnTo>
                    <a:pt x="275" y="142"/>
                  </a:lnTo>
                  <a:lnTo>
                    <a:pt x="278" y="142"/>
                  </a:lnTo>
                  <a:lnTo>
                    <a:pt x="280" y="142"/>
                  </a:lnTo>
                  <a:lnTo>
                    <a:pt x="285" y="137"/>
                  </a:lnTo>
                  <a:lnTo>
                    <a:pt x="285" y="132"/>
                  </a:lnTo>
                  <a:lnTo>
                    <a:pt x="289" y="128"/>
                  </a:lnTo>
                  <a:lnTo>
                    <a:pt x="292" y="116"/>
                  </a:lnTo>
                  <a:lnTo>
                    <a:pt x="292" y="111"/>
                  </a:lnTo>
                  <a:lnTo>
                    <a:pt x="297" y="104"/>
                  </a:lnTo>
                  <a:lnTo>
                    <a:pt x="297" y="99"/>
                  </a:lnTo>
                  <a:lnTo>
                    <a:pt x="294" y="99"/>
                  </a:lnTo>
                  <a:lnTo>
                    <a:pt x="292" y="99"/>
                  </a:lnTo>
                  <a:close/>
                  <a:moveTo>
                    <a:pt x="231" y="151"/>
                  </a:moveTo>
                  <a:lnTo>
                    <a:pt x="231" y="154"/>
                  </a:lnTo>
                  <a:lnTo>
                    <a:pt x="228" y="156"/>
                  </a:lnTo>
                  <a:lnTo>
                    <a:pt x="228" y="156"/>
                  </a:lnTo>
                  <a:lnTo>
                    <a:pt x="228" y="158"/>
                  </a:lnTo>
                  <a:lnTo>
                    <a:pt x="226" y="158"/>
                  </a:lnTo>
                  <a:lnTo>
                    <a:pt x="226" y="161"/>
                  </a:lnTo>
                  <a:lnTo>
                    <a:pt x="226" y="163"/>
                  </a:lnTo>
                  <a:lnTo>
                    <a:pt x="223" y="165"/>
                  </a:lnTo>
                  <a:lnTo>
                    <a:pt x="223" y="165"/>
                  </a:lnTo>
                  <a:lnTo>
                    <a:pt x="221" y="165"/>
                  </a:lnTo>
                  <a:lnTo>
                    <a:pt x="219" y="168"/>
                  </a:lnTo>
                  <a:lnTo>
                    <a:pt x="216" y="168"/>
                  </a:lnTo>
                  <a:lnTo>
                    <a:pt x="216" y="168"/>
                  </a:lnTo>
                  <a:lnTo>
                    <a:pt x="216" y="168"/>
                  </a:lnTo>
                  <a:lnTo>
                    <a:pt x="214" y="168"/>
                  </a:lnTo>
                  <a:lnTo>
                    <a:pt x="214" y="168"/>
                  </a:lnTo>
                  <a:lnTo>
                    <a:pt x="212" y="168"/>
                  </a:lnTo>
                  <a:lnTo>
                    <a:pt x="212" y="170"/>
                  </a:lnTo>
                  <a:lnTo>
                    <a:pt x="209" y="175"/>
                  </a:lnTo>
                  <a:lnTo>
                    <a:pt x="207" y="175"/>
                  </a:lnTo>
                  <a:lnTo>
                    <a:pt x="207" y="177"/>
                  </a:lnTo>
                  <a:lnTo>
                    <a:pt x="207" y="177"/>
                  </a:lnTo>
                  <a:lnTo>
                    <a:pt x="207" y="177"/>
                  </a:lnTo>
                  <a:lnTo>
                    <a:pt x="205" y="180"/>
                  </a:lnTo>
                  <a:lnTo>
                    <a:pt x="202" y="177"/>
                  </a:lnTo>
                  <a:lnTo>
                    <a:pt x="200" y="177"/>
                  </a:lnTo>
                  <a:lnTo>
                    <a:pt x="200" y="177"/>
                  </a:lnTo>
                  <a:lnTo>
                    <a:pt x="198" y="175"/>
                  </a:lnTo>
                  <a:lnTo>
                    <a:pt x="198" y="175"/>
                  </a:lnTo>
                  <a:lnTo>
                    <a:pt x="198" y="172"/>
                  </a:lnTo>
                  <a:lnTo>
                    <a:pt x="195" y="172"/>
                  </a:lnTo>
                  <a:lnTo>
                    <a:pt x="195" y="172"/>
                  </a:lnTo>
                  <a:lnTo>
                    <a:pt x="195" y="172"/>
                  </a:lnTo>
                  <a:lnTo>
                    <a:pt x="195" y="172"/>
                  </a:lnTo>
                  <a:lnTo>
                    <a:pt x="195" y="170"/>
                  </a:lnTo>
                  <a:lnTo>
                    <a:pt x="193" y="170"/>
                  </a:lnTo>
                  <a:lnTo>
                    <a:pt x="195" y="168"/>
                  </a:lnTo>
                  <a:lnTo>
                    <a:pt x="193" y="168"/>
                  </a:lnTo>
                  <a:lnTo>
                    <a:pt x="193" y="165"/>
                  </a:lnTo>
                  <a:lnTo>
                    <a:pt x="190" y="163"/>
                  </a:lnTo>
                  <a:lnTo>
                    <a:pt x="190" y="161"/>
                  </a:lnTo>
                  <a:lnTo>
                    <a:pt x="190" y="161"/>
                  </a:lnTo>
                  <a:lnTo>
                    <a:pt x="188" y="158"/>
                  </a:lnTo>
                  <a:lnTo>
                    <a:pt x="188" y="158"/>
                  </a:lnTo>
                  <a:lnTo>
                    <a:pt x="190" y="156"/>
                  </a:lnTo>
                  <a:lnTo>
                    <a:pt x="193" y="156"/>
                  </a:lnTo>
                  <a:lnTo>
                    <a:pt x="193" y="156"/>
                  </a:lnTo>
                  <a:lnTo>
                    <a:pt x="195" y="154"/>
                  </a:lnTo>
                  <a:lnTo>
                    <a:pt x="195" y="151"/>
                  </a:lnTo>
                  <a:lnTo>
                    <a:pt x="198" y="151"/>
                  </a:lnTo>
                  <a:lnTo>
                    <a:pt x="198" y="149"/>
                  </a:lnTo>
                  <a:lnTo>
                    <a:pt x="198" y="149"/>
                  </a:lnTo>
                  <a:lnTo>
                    <a:pt x="200" y="146"/>
                  </a:lnTo>
                  <a:lnTo>
                    <a:pt x="200" y="144"/>
                  </a:lnTo>
                  <a:lnTo>
                    <a:pt x="202" y="142"/>
                  </a:lnTo>
                  <a:lnTo>
                    <a:pt x="205" y="142"/>
                  </a:lnTo>
                  <a:lnTo>
                    <a:pt x="207" y="142"/>
                  </a:lnTo>
                  <a:lnTo>
                    <a:pt x="209" y="139"/>
                  </a:lnTo>
                  <a:lnTo>
                    <a:pt x="212" y="137"/>
                  </a:lnTo>
                  <a:lnTo>
                    <a:pt x="216" y="137"/>
                  </a:lnTo>
                  <a:lnTo>
                    <a:pt x="216" y="135"/>
                  </a:lnTo>
                  <a:lnTo>
                    <a:pt x="219" y="135"/>
                  </a:lnTo>
                  <a:lnTo>
                    <a:pt x="219" y="135"/>
                  </a:lnTo>
                  <a:lnTo>
                    <a:pt x="219" y="137"/>
                  </a:lnTo>
                  <a:lnTo>
                    <a:pt x="219" y="137"/>
                  </a:lnTo>
                  <a:lnTo>
                    <a:pt x="221" y="139"/>
                  </a:lnTo>
                  <a:lnTo>
                    <a:pt x="221" y="139"/>
                  </a:lnTo>
                  <a:lnTo>
                    <a:pt x="223" y="142"/>
                  </a:lnTo>
                  <a:lnTo>
                    <a:pt x="226" y="144"/>
                  </a:lnTo>
                  <a:lnTo>
                    <a:pt x="228" y="144"/>
                  </a:lnTo>
                  <a:lnTo>
                    <a:pt x="228" y="146"/>
                  </a:lnTo>
                  <a:lnTo>
                    <a:pt x="231" y="146"/>
                  </a:lnTo>
                  <a:lnTo>
                    <a:pt x="231" y="146"/>
                  </a:lnTo>
                  <a:lnTo>
                    <a:pt x="231" y="149"/>
                  </a:lnTo>
                  <a:lnTo>
                    <a:pt x="231" y="149"/>
                  </a:lnTo>
                  <a:lnTo>
                    <a:pt x="231" y="15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5" name="Freeform 241"/>
            <p:cNvSpPr>
              <a:spLocks/>
            </p:cNvSpPr>
            <p:nvPr userDrawn="1"/>
          </p:nvSpPr>
          <p:spPr bwMode="auto">
            <a:xfrm>
              <a:off x="4414" y="2555"/>
              <a:ext cx="191" cy="288"/>
            </a:xfrm>
            <a:custGeom>
              <a:avLst/>
              <a:gdLst>
                <a:gd name="T0" fmla="*/ 186 w 191"/>
                <a:gd name="T1" fmla="*/ 30 h 288"/>
                <a:gd name="T2" fmla="*/ 184 w 191"/>
                <a:gd name="T3" fmla="*/ 33 h 288"/>
                <a:gd name="T4" fmla="*/ 186 w 191"/>
                <a:gd name="T5" fmla="*/ 28 h 288"/>
                <a:gd name="T6" fmla="*/ 186 w 191"/>
                <a:gd name="T7" fmla="*/ 7 h 288"/>
                <a:gd name="T8" fmla="*/ 179 w 191"/>
                <a:gd name="T9" fmla="*/ 0 h 288"/>
                <a:gd name="T10" fmla="*/ 165 w 191"/>
                <a:gd name="T11" fmla="*/ 9 h 288"/>
                <a:gd name="T12" fmla="*/ 144 w 191"/>
                <a:gd name="T13" fmla="*/ 16 h 288"/>
                <a:gd name="T14" fmla="*/ 135 w 191"/>
                <a:gd name="T15" fmla="*/ 14 h 288"/>
                <a:gd name="T16" fmla="*/ 116 w 191"/>
                <a:gd name="T17" fmla="*/ 16 h 288"/>
                <a:gd name="T18" fmla="*/ 99 w 191"/>
                <a:gd name="T19" fmla="*/ 26 h 288"/>
                <a:gd name="T20" fmla="*/ 85 w 191"/>
                <a:gd name="T21" fmla="*/ 26 h 288"/>
                <a:gd name="T22" fmla="*/ 59 w 191"/>
                <a:gd name="T23" fmla="*/ 33 h 288"/>
                <a:gd name="T24" fmla="*/ 43 w 191"/>
                <a:gd name="T25" fmla="*/ 14 h 288"/>
                <a:gd name="T26" fmla="*/ 33 w 191"/>
                <a:gd name="T27" fmla="*/ 21 h 288"/>
                <a:gd name="T28" fmla="*/ 31 w 191"/>
                <a:gd name="T29" fmla="*/ 26 h 288"/>
                <a:gd name="T30" fmla="*/ 31 w 191"/>
                <a:gd name="T31" fmla="*/ 30 h 288"/>
                <a:gd name="T32" fmla="*/ 33 w 191"/>
                <a:gd name="T33" fmla="*/ 38 h 288"/>
                <a:gd name="T34" fmla="*/ 40 w 191"/>
                <a:gd name="T35" fmla="*/ 47 h 288"/>
                <a:gd name="T36" fmla="*/ 47 w 191"/>
                <a:gd name="T37" fmla="*/ 56 h 288"/>
                <a:gd name="T38" fmla="*/ 54 w 191"/>
                <a:gd name="T39" fmla="*/ 64 h 288"/>
                <a:gd name="T40" fmla="*/ 78 w 191"/>
                <a:gd name="T41" fmla="*/ 71 h 288"/>
                <a:gd name="T42" fmla="*/ 104 w 191"/>
                <a:gd name="T43" fmla="*/ 82 h 288"/>
                <a:gd name="T44" fmla="*/ 125 w 191"/>
                <a:gd name="T45" fmla="*/ 90 h 288"/>
                <a:gd name="T46" fmla="*/ 104 w 191"/>
                <a:gd name="T47" fmla="*/ 111 h 288"/>
                <a:gd name="T48" fmla="*/ 85 w 191"/>
                <a:gd name="T49" fmla="*/ 132 h 288"/>
                <a:gd name="T50" fmla="*/ 73 w 191"/>
                <a:gd name="T51" fmla="*/ 149 h 288"/>
                <a:gd name="T52" fmla="*/ 57 w 191"/>
                <a:gd name="T53" fmla="*/ 149 h 288"/>
                <a:gd name="T54" fmla="*/ 47 w 191"/>
                <a:gd name="T55" fmla="*/ 151 h 288"/>
                <a:gd name="T56" fmla="*/ 36 w 191"/>
                <a:gd name="T57" fmla="*/ 158 h 288"/>
                <a:gd name="T58" fmla="*/ 26 w 191"/>
                <a:gd name="T59" fmla="*/ 163 h 288"/>
                <a:gd name="T60" fmla="*/ 17 w 191"/>
                <a:gd name="T61" fmla="*/ 170 h 288"/>
                <a:gd name="T62" fmla="*/ 3 w 191"/>
                <a:gd name="T63" fmla="*/ 189 h 288"/>
                <a:gd name="T64" fmla="*/ 0 w 191"/>
                <a:gd name="T65" fmla="*/ 205 h 288"/>
                <a:gd name="T66" fmla="*/ 0 w 191"/>
                <a:gd name="T67" fmla="*/ 269 h 288"/>
                <a:gd name="T68" fmla="*/ 10 w 191"/>
                <a:gd name="T69" fmla="*/ 283 h 288"/>
                <a:gd name="T70" fmla="*/ 12 w 191"/>
                <a:gd name="T71" fmla="*/ 286 h 288"/>
                <a:gd name="T72" fmla="*/ 19 w 191"/>
                <a:gd name="T73" fmla="*/ 274 h 288"/>
                <a:gd name="T74" fmla="*/ 26 w 191"/>
                <a:gd name="T75" fmla="*/ 264 h 288"/>
                <a:gd name="T76" fmla="*/ 33 w 191"/>
                <a:gd name="T77" fmla="*/ 257 h 288"/>
                <a:gd name="T78" fmla="*/ 64 w 191"/>
                <a:gd name="T79" fmla="*/ 224 h 288"/>
                <a:gd name="T80" fmla="*/ 111 w 191"/>
                <a:gd name="T81" fmla="*/ 184 h 288"/>
                <a:gd name="T82" fmla="*/ 142 w 191"/>
                <a:gd name="T83" fmla="*/ 137 h 288"/>
                <a:gd name="T84" fmla="*/ 156 w 191"/>
                <a:gd name="T85" fmla="*/ 106 h 288"/>
                <a:gd name="T86" fmla="*/ 163 w 191"/>
                <a:gd name="T87" fmla="*/ 85 h 288"/>
                <a:gd name="T88" fmla="*/ 175 w 191"/>
                <a:gd name="T89" fmla="*/ 66 h 288"/>
                <a:gd name="T90" fmla="*/ 182 w 191"/>
                <a:gd name="T91" fmla="*/ 47 h 288"/>
                <a:gd name="T92" fmla="*/ 184 w 191"/>
                <a:gd name="T93" fmla="*/ 33 h 288"/>
                <a:gd name="T94" fmla="*/ 191 w 191"/>
                <a:gd name="T95" fmla="*/ 3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1" h="288">
                  <a:moveTo>
                    <a:pt x="191" y="33"/>
                  </a:moveTo>
                  <a:lnTo>
                    <a:pt x="189" y="30"/>
                  </a:lnTo>
                  <a:lnTo>
                    <a:pt x="186" y="30"/>
                  </a:lnTo>
                  <a:lnTo>
                    <a:pt x="186" y="30"/>
                  </a:lnTo>
                  <a:lnTo>
                    <a:pt x="186" y="30"/>
                  </a:lnTo>
                  <a:lnTo>
                    <a:pt x="184" y="33"/>
                  </a:lnTo>
                  <a:lnTo>
                    <a:pt x="184" y="33"/>
                  </a:lnTo>
                  <a:lnTo>
                    <a:pt x="184" y="33"/>
                  </a:lnTo>
                  <a:lnTo>
                    <a:pt x="184" y="30"/>
                  </a:lnTo>
                  <a:lnTo>
                    <a:pt x="186" y="30"/>
                  </a:lnTo>
                  <a:lnTo>
                    <a:pt x="186" y="28"/>
                  </a:lnTo>
                  <a:lnTo>
                    <a:pt x="186" y="28"/>
                  </a:lnTo>
                  <a:lnTo>
                    <a:pt x="184" y="19"/>
                  </a:lnTo>
                  <a:lnTo>
                    <a:pt x="184" y="14"/>
                  </a:lnTo>
                  <a:lnTo>
                    <a:pt x="184" y="9"/>
                  </a:lnTo>
                  <a:lnTo>
                    <a:pt x="186" y="7"/>
                  </a:lnTo>
                  <a:lnTo>
                    <a:pt x="186" y="4"/>
                  </a:lnTo>
                  <a:lnTo>
                    <a:pt x="186" y="2"/>
                  </a:lnTo>
                  <a:lnTo>
                    <a:pt x="186" y="2"/>
                  </a:lnTo>
                  <a:lnTo>
                    <a:pt x="179" y="0"/>
                  </a:lnTo>
                  <a:lnTo>
                    <a:pt x="175" y="0"/>
                  </a:lnTo>
                  <a:lnTo>
                    <a:pt x="175" y="2"/>
                  </a:lnTo>
                  <a:lnTo>
                    <a:pt x="172" y="4"/>
                  </a:lnTo>
                  <a:lnTo>
                    <a:pt x="165" y="9"/>
                  </a:lnTo>
                  <a:lnTo>
                    <a:pt x="158" y="11"/>
                  </a:lnTo>
                  <a:lnTo>
                    <a:pt x="153" y="14"/>
                  </a:lnTo>
                  <a:lnTo>
                    <a:pt x="146" y="14"/>
                  </a:lnTo>
                  <a:lnTo>
                    <a:pt x="144" y="16"/>
                  </a:lnTo>
                  <a:lnTo>
                    <a:pt x="144" y="16"/>
                  </a:lnTo>
                  <a:lnTo>
                    <a:pt x="139" y="14"/>
                  </a:lnTo>
                  <a:lnTo>
                    <a:pt x="137" y="14"/>
                  </a:lnTo>
                  <a:lnTo>
                    <a:pt x="135" y="14"/>
                  </a:lnTo>
                  <a:lnTo>
                    <a:pt x="127" y="19"/>
                  </a:lnTo>
                  <a:lnTo>
                    <a:pt x="123" y="19"/>
                  </a:lnTo>
                  <a:lnTo>
                    <a:pt x="118" y="16"/>
                  </a:lnTo>
                  <a:lnTo>
                    <a:pt x="116" y="16"/>
                  </a:lnTo>
                  <a:lnTo>
                    <a:pt x="113" y="19"/>
                  </a:lnTo>
                  <a:lnTo>
                    <a:pt x="109" y="21"/>
                  </a:lnTo>
                  <a:lnTo>
                    <a:pt x="102" y="26"/>
                  </a:lnTo>
                  <a:lnTo>
                    <a:pt x="99" y="26"/>
                  </a:lnTo>
                  <a:lnTo>
                    <a:pt x="94" y="26"/>
                  </a:lnTo>
                  <a:lnTo>
                    <a:pt x="92" y="26"/>
                  </a:lnTo>
                  <a:lnTo>
                    <a:pt x="87" y="23"/>
                  </a:lnTo>
                  <a:lnTo>
                    <a:pt x="85" y="26"/>
                  </a:lnTo>
                  <a:lnTo>
                    <a:pt x="78" y="28"/>
                  </a:lnTo>
                  <a:lnTo>
                    <a:pt x="71" y="33"/>
                  </a:lnTo>
                  <a:lnTo>
                    <a:pt x="61" y="33"/>
                  </a:lnTo>
                  <a:lnTo>
                    <a:pt x="59" y="33"/>
                  </a:lnTo>
                  <a:lnTo>
                    <a:pt x="57" y="30"/>
                  </a:lnTo>
                  <a:lnTo>
                    <a:pt x="52" y="26"/>
                  </a:lnTo>
                  <a:lnTo>
                    <a:pt x="47" y="21"/>
                  </a:lnTo>
                  <a:lnTo>
                    <a:pt x="43" y="14"/>
                  </a:lnTo>
                  <a:lnTo>
                    <a:pt x="40" y="9"/>
                  </a:lnTo>
                  <a:lnTo>
                    <a:pt x="38" y="14"/>
                  </a:lnTo>
                  <a:lnTo>
                    <a:pt x="36" y="16"/>
                  </a:lnTo>
                  <a:lnTo>
                    <a:pt x="33" y="21"/>
                  </a:lnTo>
                  <a:lnTo>
                    <a:pt x="33" y="21"/>
                  </a:lnTo>
                  <a:lnTo>
                    <a:pt x="33" y="23"/>
                  </a:lnTo>
                  <a:lnTo>
                    <a:pt x="31" y="23"/>
                  </a:lnTo>
                  <a:lnTo>
                    <a:pt x="31" y="26"/>
                  </a:lnTo>
                  <a:lnTo>
                    <a:pt x="28" y="28"/>
                  </a:lnTo>
                  <a:lnTo>
                    <a:pt x="28" y="28"/>
                  </a:lnTo>
                  <a:lnTo>
                    <a:pt x="28" y="30"/>
                  </a:lnTo>
                  <a:lnTo>
                    <a:pt x="31" y="30"/>
                  </a:lnTo>
                  <a:lnTo>
                    <a:pt x="31" y="33"/>
                  </a:lnTo>
                  <a:lnTo>
                    <a:pt x="33" y="35"/>
                  </a:lnTo>
                  <a:lnTo>
                    <a:pt x="33" y="38"/>
                  </a:lnTo>
                  <a:lnTo>
                    <a:pt x="33" y="38"/>
                  </a:lnTo>
                  <a:lnTo>
                    <a:pt x="36" y="42"/>
                  </a:lnTo>
                  <a:lnTo>
                    <a:pt x="38" y="42"/>
                  </a:lnTo>
                  <a:lnTo>
                    <a:pt x="38" y="45"/>
                  </a:lnTo>
                  <a:lnTo>
                    <a:pt x="40" y="47"/>
                  </a:lnTo>
                  <a:lnTo>
                    <a:pt x="40" y="49"/>
                  </a:lnTo>
                  <a:lnTo>
                    <a:pt x="43" y="52"/>
                  </a:lnTo>
                  <a:lnTo>
                    <a:pt x="45" y="54"/>
                  </a:lnTo>
                  <a:lnTo>
                    <a:pt x="47" y="56"/>
                  </a:lnTo>
                  <a:lnTo>
                    <a:pt x="47" y="56"/>
                  </a:lnTo>
                  <a:lnTo>
                    <a:pt x="52" y="59"/>
                  </a:lnTo>
                  <a:lnTo>
                    <a:pt x="54" y="64"/>
                  </a:lnTo>
                  <a:lnTo>
                    <a:pt x="54" y="64"/>
                  </a:lnTo>
                  <a:lnTo>
                    <a:pt x="59" y="66"/>
                  </a:lnTo>
                  <a:lnTo>
                    <a:pt x="66" y="68"/>
                  </a:lnTo>
                  <a:lnTo>
                    <a:pt x="71" y="68"/>
                  </a:lnTo>
                  <a:lnTo>
                    <a:pt x="78" y="71"/>
                  </a:lnTo>
                  <a:lnTo>
                    <a:pt x="83" y="73"/>
                  </a:lnTo>
                  <a:lnTo>
                    <a:pt x="90" y="75"/>
                  </a:lnTo>
                  <a:lnTo>
                    <a:pt x="97" y="80"/>
                  </a:lnTo>
                  <a:lnTo>
                    <a:pt x="104" y="82"/>
                  </a:lnTo>
                  <a:lnTo>
                    <a:pt x="109" y="82"/>
                  </a:lnTo>
                  <a:lnTo>
                    <a:pt x="111" y="85"/>
                  </a:lnTo>
                  <a:lnTo>
                    <a:pt x="130" y="85"/>
                  </a:lnTo>
                  <a:lnTo>
                    <a:pt x="125" y="90"/>
                  </a:lnTo>
                  <a:lnTo>
                    <a:pt x="118" y="94"/>
                  </a:lnTo>
                  <a:lnTo>
                    <a:pt x="113" y="101"/>
                  </a:lnTo>
                  <a:lnTo>
                    <a:pt x="111" y="104"/>
                  </a:lnTo>
                  <a:lnTo>
                    <a:pt x="104" y="111"/>
                  </a:lnTo>
                  <a:lnTo>
                    <a:pt x="102" y="116"/>
                  </a:lnTo>
                  <a:lnTo>
                    <a:pt x="97" y="120"/>
                  </a:lnTo>
                  <a:lnTo>
                    <a:pt x="92" y="125"/>
                  </a:lnTo>
                  <a:lnTo>
                    <a:pt x="85" y="132"/>
                  </a:lnTo>
                  <a:lnTo>
                    <a:pt x="83" y="137"/>
                  </a:lnTo>
                  <a:lnTo>
                    <a:pt x="78" y="144"/>
                  </a:lnTo>
                  <a:lnTo>
                    <a:pt x="73" y="149"/>
                  </a:lnTo>
                  <a:lnTo>
                    <a:pt x="73" y="149"/>
                  </a:lnTo>
                  <a:lnTo>
                    <a:pt x="69" y="149"/>
                  </a:lnTo>
                  <a:lnTo>
                    <a:pt x="64" y="149"/>
                  </a:lnTo>
                  <a:lnTo>
                    <a:pt x="57" y="149"/>
                  </a:lnTo>
                  <a:lnTo>
                    <a:pt x="57" y="149"/>
                  </a:lnTo>
                  <a:lnTo>
                    <a:pt x="54" y="149"/>
                  </a:lnTo>
                  <a:lnTo>
                    <a:pt x="52" y="149"/>
                  </a:lnTo>
                  <a:lnTo>
                    <a:pt x="47" y="151"/>
                  </a:lnTo>
                  <a:lnTo>
                    <a:pt x="47" y="151"/>
                  </a:lnTo>
                  <a:lnTo>
                    <a:pt x="43" y="153"/>
                  </a:lnTo>
                  <a:lnTo>
                    <a:pt x="40" y="156"/>
                  </a:lnTo>
                  <a:lnTo>
                    <a:pt x="38" y="156"/>
                  </a:lnTo>
                  <a:lnTo>
                    <a:pt x="36" y="158"/>
                  </a:lnTo>
                  <a:lnTo>
                    <a:pt x="36" y="160"/>
                  </a:lnTo>
                  <a:lnTo>
                    <a:pt x="36" y="160"/>
                  </a:lnTo>
                  <a:lnTo>
                    <a:pt x="33" y="163"/>
                  </a:lnTo>
                  <a:lnTo>
                    <a:pt x="26" y="163"/>
                  </a:lnTo>
                  <a:lnTo>
                    <a:pt x="24" y="165"/>
                  </a:lnTo>
                  <a:lnTo>
                    <a:pt x="19" y="165"/>
                  </a:lnTo>
                  <a:lnTo>
                    <a:pt x="17" y="168"/>
                  </a:lnTo>
                  <a:lnTo>
                    <a:pt x="17" y="170"/>
                  </a:lnTo>
                  <a:lnTo>
                    <a:pt x="14" y="172"/>
                  </a:lnTo>
                  <a:lnTo>
                    <a:pt x="12" y="177"/>
                  </a:lnTo>
                  <a:lnTo>
                    <a:pt x="7" y="184"/>
                  </a:lnTo>
                  <a:lnTo>
                    <a:pt x="3" y="189"/>
                  </a:lnTo>
                  <a:lnTo>
                    <a:pt x="0" y="194"/>
                  </a:lnTo>
                  <a:lnTo>
                    <a:pt x="0" y="194"/>
                  </a:lnTo>
                  <a:lnTo>
                    <a:pt x="0" y="196"/>
                  </a:lnTo>
                  <a:lnTo>
                    <a:pt x="0" y="205"/>
                  </a:lnTo>
                  <a:lnTo>
                    <a:pt x="0" y="224"/>
                  </a:lnTo>
                  <a:lnTo>
                    <a:pt x="0" y="241"/>
                  </a:lnTo>
                  <a:lnTo>
                    <a:pt x="0" y="260"/>
                  </a:lnTo>
                  <a:lnTo>
                    <a:pt x="0" y="269"/>
                  </a:lnTo>
                  <a:lnTo>
                    <a:pt x="0" y="272"/>
                  </a:lnTo>
                  <a:lnTo>
                    <a:pt x="3" y="274"/>
                  </a:lnTo>
                  <a:lnTo>
                    <a:pt x="5" y="279"/>
                  </a:lnTo>
                  <a:lnTo>
                    <a:pt x="10" y="283"/>
                  </a:lnTo>
                  <a:lnTo>
                    <a:pt x="10" y="286"/>
                  </a:lnTo>
                  <a:lnTo>
                    <a:pt x="12" y="286"/>
                  </a:lnTo>
                  <a:lnTo>
                    <a:pt x="12" y="288"/>
                  </a:lnTo>
                  <a:lnTo>
                    <a:pt x="12" y="286"/>
                  </a:lnTo>
                  <a:lnTo>
                    <a:pt x="14" y="283"/>
                  </a:lnTo>
                  <a:lnTo>
                    <a:pt x="17" y="279"/>
                  </a:lnTo>
                  <a:lnTo>
                    <a:pt x="17" y="276"/>
                  </a:lnTo>
                  <a:lnTo>
                    <a:pt x="19" y="274"/>
                  </a:lnTo>
                  <a:lnTo>
                    <a:pt x="19" y="274"/>
                  </a:lnTo>
                  <a:lnTo>
                    <a:pt x="21" y="272"/>
                  </a:lnTo>
                  <a:lnTo>
                    <a:pt x="24" y="269"/>
                  </a:lnTo>
                  <a:lnTo>
                    <a:pt x="26" y="264"/>
                  </a:lnTo>
                  <a:lnTo>
                    <a:pt x="28" y="262"/>
                  </a:lnTo>
                  <a:lnTo>
                    <a:pt x="31" y="260"/>
                  </a:lnTo>
                  <a:lnTo>
                    <a:pt x="31" y="257"/>
                  </a:lnTo>
                  <a:lnTo>
                    <a:pt x="33" y="257"/>
                  </a:lnTo>
                  <a:lnTo>
                    <a:pt x="47" y="238"/>
                  </a:lnTo>
                  <a:lnTo>
                    <a:pt x="52" y="234"/>
                  </a:lnTo>
                  <a:lnTo>
                    <a:pt x="57" y="229"/>
                  </a:lnTo>
                  <a:lnTo>
                    <a:pt x="64" y="224"/>
                  </a:lnTo>
                  <a:lnTo>
                    <a:pt x="73" y="215"/>
                  </a:lnTo>
                  <a:lnTo>
                    <a:pt x="90" y="203"/>
                  </a:lnTo>
                  <a:lnTo>
                    <a:pt x="94" y="201"/>
                  </a:lnTo>
                  <a:lnTo>
                    <a:pt x="111" y="184"/>
                  </a:lnTo>
                  <a:lnTo>
                    <a:pt x="120" y="170"/>
                  </a:lnTo>
                  <a:lnTo>
                    <a:pt x="130" y="158"/>
                  </a:lnTo>
                  <a:lnTo>
                    <a:pt x="135" y="149"/>
                  </a:lnTo>
                  <a:lnTo>
                    <a:pt x="142" y="137"/>
                  </a:lnTo>
                  <a:lnTo>
                    <a:pt x="149" y="123"/>
                  </a:lnTo>
                  <a:lnTo>
                    <a:pt x="151" y="118"/>
                  </a:lnTo>
                  <a:lnTo>
                    <a:pt x="153" y="111"/>
                  </a:lnTo>
                  <a:lnTo>
                    <a:pt x="156" y="106"/>
                  </a:lnTo>
                  <a:lnTo>
                    <a:pt x="158" y="99"/>
                  </a:lnTo>
                  <a:lnTo>
                    <a:pt x="160" y="94"/>
                  </a:lnTo>
                  <a:lnTo>
                    <a:pt x="163" y="92"/>
                  </a:lnTo>
                  <a:lnTo>
                    <a:pt x="163" y="85"/>
                  </a:lnTo>
                  <a:lnTo>
                    <a:pt x="168" y="80"/>
                  </a:lnTo>
                  <a:lnTo>
                    <a:pt x="172" y="73"/>
                  </a:lnTo>
                  <a:lnTo>
                    <a:pt x="172" y="71"/>
                  </a:lnTo>
                  <a:lnTo>
                    <a:pt x="175" y="66"/>
                  </a:lnTo>
                  <a:lnTo>
                    <a:pt x="177" y="61"/>
                  </a:lnTo>
                  <a:lnTo>
                    <a:pt x="179" y="59"/>
                  </a:lnTo>
                  <a:lnTo>
                    <a:pt x="182" y="54"/>
                  </a:lnTo>
                  <a:lnTo>
                    <a:pt x="182" y="47"/>
                  </a:lnTo>
                  <a:lnTo>
                    <a:pt x="182" y="42"/>
                  </a:lnTo>
                  <a:lnTo>
                    <a:pt x="182" y="35"/>
                  </a:lnTo>
                  <a:lnTo>
                    <a:pt x="182" y="35"/>
                  </a:lnTo>
                  <a:lnTo>
                    <a:pt x="184" y="33"/>
                  </a:lnTo>
                  <a:lnTo>
                    <a:pt x="186" y="33"/>
                  </a:lnTo>
                  <a:lnTo>
                    <a:pt x="189" y="33"/>
                  </a:lnTo>
                  <a:lnTo>
                    <a:pt x="191" y="33"/>
                  </a:lnTo>
                  <a:lnTo>
                    <a:pt x="191" y="33"/>
                  </a:lnTo>
                  <a:lnTo>
                    <a:pt x="191"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6" name="Freeform 242"/>
            <p:cNvSpPr>
              <a:spLocks/>
            </p:cNvSpPr>
            <p:nvPr userDrawn="1"/>
          </p:nvSpPr>
          <p:spPr bwMode="auto">
            <a:xfrm>
              <a:off x="3896" y="1822"/>
              <a:ext cx="52" cy="28"/>
            </a:xfrm>
            <a:custGeom>
              <a:avLst/>
              <a:gdLst>
                <a:gd name="T0" fmla="*/ 49 w 52"/>
                <a:gd name="T1" fmla="*/ 4 h 28"/>
                <a:gd name="T2" fmla="*/ 49 w 52"/>
                <a:gd name="T3" fmla="*/ 2 h 28"/>
                <a:gd name="T4" fmla="*/ 49 w 52"/>
                <a:gd name="T5" fmla="*/ 0 h 28"/>
                <a:gd name="T6" fmla="*/ 44 w 52"/>
                <a:gd name="T7" fmla="*/ 0 h 28"/>
                <a:gd name="T8" fmla="*/ 42 w 52"/>
                <a:gd name="T9" fmla="*/ 2 h 28"/>
                <a:gd name="T10" fmla="*/ 37 w 52"/>
                <a:gd name="T11" fmla="*/ 2 h 28"/>
                <a:gd name="T12" fmla="*/ 30 w 52"/>
                <a:gd name="T13" fmla="*/ 4 h 28"/>
                <a:gd name="T14" fmla="*/ 26 w 52"/>
                <a:gd name="T15" fmla="*/ 4 h 28"/>
                <a:gd name="T16" fmla="*/ 23 w 52"/>
                <a:gd name="T17" fmla="*/ 7 h 28"/>
                <a:gd name="T18" fmla="*/ 21 w 52"/>
                <a:gd name="T19" fmla="*/ 9 h 28"/>
                <a:gd name="T20" fmla="*/ 19 w 52"/>
                <a:gd name="T21" fmla="*/ 9 h 28"/>
                <a:gd name="T22" fmla="*/ 11 w 52"/>
                <a:gd name="T23" fmla="*/ 7 h 28"/>
                <a:gd name="T24" fmla="*/ 9 w 52"/>
                <a:gd name="T25" fmla="*/ 7 h 28"/>
                <a:gd name="T26" fmla="*/ 4 w 52"/>
                <a:gd name="T27" fmla="*/ 7 h 28"/>
                <a:gd name="T28" fmla="*/ 2 w 52"/>
                <a:gd name="T29" fmla="*/ 9 h 28"/>
                <a:gd name="T30" fmla="*/ 2 w 52"/>
                <a:gd name="T31" fmla="*/ 12 h 28"/>
                <a:gd name="T32" fmla="*/ 2 w 52"/>
                <a:gd name="T33" fmla="*/ 12 h 28"/>
                <a:gd name="T34" fmla="*/ 4 w 52"/>
                <a:gd name="T35" fmla="*/ 14 h 28"/>
                <a:gd name="T36" fmla="*/ 2 w 52"/>
                <a:gd name="T37" fmla="*/ 16 h 28"/>
                <a:gd name="T38" fmla="*/ 2 w 52"/>
                <a:gd name="T39" fmla="*/ 16 h 28"/>
                <a:gd name="T40" fmla="*/ 4 w 52"/>
                <a:gd name="T41" fmla="*/ 21 h 28"/>
                <a:gd name="T42" fmla="*/ 7 w 52"/>
                <a:gd name="T43" fmla="*/ 21 h 28"/>
                <a:gd name="T44" fmla="*/ 9 w 52"/>
                <a:gd name="T45" fmla="*/ 26 h 28"/>
                <a:gd name="T46" fmla="*/ 4 w 52"/>
                <a:gd name="T47" fmla="*/ 26 h 28"/>
                <a:gd name="T48" fmla="*/ 9 w 52"/>
                <a:gd name="T49" fmla="*/ 28 h 28"/>
                <a:gd name="T50" fmla="*/ 11 w 52"/>
                <a:gd name="T51" fmla="*/ 28 h 28"/>
                <a:gd name="T52" fmla="*/ 14 w 52"/>
                <a:gd name="T53" fmla="*/ 28 h 28"/>
                <a:gd name="T54" fmla="*/ 19 w 52"/>
                <a:gd name="T55" fmla="*/ 28 h 28"/>
                <a:gd name="T56" fmla="*/ 21 w 52"/>
                <a:gd name="T57" fmla="*/ 23 h 28"/>
                <a:gd name="T58" fmla="*/ 21 w 52"/>
                <a:gd name="T59" fmla="*/ 26 h 28"/>
                <a:gd name="T60" fmla="*/ 26 w 52"/>
                <a:gd name="T61" fmla="*/ 28 h 28"/>
                <a:gd name="T62" fmla="*/ 30 w 52"/>
                <a:gd name="T63" fmla="*/ 28 h 28"/>
                <a:gd name="T64" fmla="*/ 33 w 52"/>
                <a:gd name="T65" fmla="*/ 28 h 28"/>
                <a:gd name="T66" fmla="*/ 33 w 52"/>
                <a:gd name="T67" fmla="*/ 26 h 28"/>
                <a:gd name="T68" fmla="*/ 33 w 52"/>
                <a:gd name="T69" fmla="*/ 23 h 28"/>
                <a:gd name="T70" fmla="*/ 37 w 52"/>
                <a:gd name="T71" fmla="*/ 21 h 28"/>
                <a:gd name="T72" fmla="*/ 40 w 52"/>
                <a:gd name="T73" fmla="*/ 16 h 28"/>
                <a:gd name="T74" fmla="*/ 37 w 52"/>
                <a:gd name="T75" fmla="*/ 14 h 28"/>
                <a:gd name="T76" fmla="*/ 40 w 52"/>
                <a:gd name="T77" fmla="*/ 12 h 28"/>
                <a:gd name="T78" fmla="*/ 42 w 52"/>
                <a:gd name="T79" fmla="*/ 12 h 28"/>
                <a:gd name="T80" fmla="*/ 47 w 52"/>
                <a:gd name="T81" fmla="*/ 9 h 28"/>
                <a:gd name="T82" fmla="*/ 47 w 52"/>
                <a:gd name="T83" fmla="*/ 7 h 28"/>
                <a:gd name="T84" fmla="*/ 49 w 52"/>
                <a:gd name="T85" fmla="*/ 7 h 28"/>
                <a:gd name="T86" fmla="*/ 52 w 52"/>
                <a:gd name="T8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28">
                  <a:moveTo>
                    <a:pt x="52" y="7"/>
                  </a:moveTo>
                  <a:lnTo>
                    <a:pt x="52" y="4"/>
                  </a:lnTo>
                  <a:lnTo>
                    <a:pt x="49" y="4"/>
                  </a:lnTo>
                  <a:lnTo>
                    <a:pt x="49" y="2"/>
                  </a:lnTo>
                  <a:lnTo>
                    <a:pt x="49" y="2"/>
                  </a:lnTo>
                  <a:lnTo>
                    <a:pt x="49" y="2"/>
                  </a:lnTo>
                  <a:lnTo>
                    <a:pt x="49" y="0"/>
                  </a:lnTo>
                  <a:lnTo>
                    <a:pt x="49" y="0"/>
                  </a:lnTo>
                  <a:lnTo>
                    <a:pt x="49" y="0"/>
                  </a:lnTo>
                  <a:lnTo>
                    <a:pt x="44" y="0"/>
                  </a:lnTo>
                  <a:lnTo>
                    <a:pt x="44" y="0"/>
                  </a:lnTo>
                  <a:lnTo>
                    <a:pt x="44" y="0"/>
                  </a:lnTo>
                  <a:lnTo>
                    <a:pt x="44" y="2"/>
                  </a:lnTo>
                  <a:lnTo>
                    <a:pt x="44" y="2"/>
                  </a:lnTo>
                  <a:lnTo>
                    <a:pt x="42" y="2"/>
                  </a:lnTo>
                  <a:lnTo>
                    <a:pt x="40" y="2"/>
                  </a:lnTo>
                  <a:lnTo>
                    <a:pt x="40" y="2"/>
                  </a:lnTo>
                  <a:lnTo>
                    <a:pt x="37" y="2"/>
                  </a:lnTo>
                  <a:lnTo>
                    <a:pt x="37" y="4"/>
                  </a:lnTo>
                  <a:lnTo>
                    <a:pt x="35" y="4"/>
                  </a:lnTo>
                  <a:lnTo>
                    <a:pt x="30" y="4"/>
                  </a:lnTo>
                  <a:lnTo>
                    <a:pt x="28" y="4"/>
                  </a:lnTo>
                  <a:lnTo>
                    <a:pt x="26" y="4"/>
                  </a:lnTo>
                  <a:lnTo>
                    <a:pt x="26" y="4"/>
                  </a:lnTo>
                  <a:lnTo>
                    <a:pt x="26" y="4"/>
                  </a:lnTo>
                  <a:lnTo>
                    <a:pt x="23" y="4"/>
                  </a:lnTo>
                  <a:lnTo>
                    <a:pt x="23" y="7"/>
                  </a:lnTo>
                  <a:lnTo>
                    <a:pt x="23" y="7"/>
                  </a:lnTo>
                  <a:lnTo>
                    <a:pt x="21" y="7"/>
                  </a:lnTo>
                  <a:lnTo>
                    <a:pt x="21" y="9"/>
                  </a:lnTo>
                  <a:lnTo>
                    <a:pt x="21" y="9"/>
                  </a:lnTo>
                  <a:lnTo>
                    <a:pt x="19" y="9"/>
                  </a:lnTo>
                  <a:lnTo>
                    <a:pt x="19" y="9"/>
                  </a:lnTo>
                  <a:lnTo>
                    <a:pt x="19" y="7"/>
                  </a:lnTo>
                  <a:lnTo>
                    <a:pt x="16" y="7"/>
                  </a:lnTo>
                  <a:lnTo>
                    <a:pt x="11" y="7"/>
                  </a:lnTo>
                  <a:lnTo>
                    <a:pt x="11" y="7"/>
                  </a:lnTo>
                  <a:lnTo>
                    <a:pt x="9" y="7"/>
                  </a:lnTo>
                  <a:lnTo>
                    <a:pt x="9" y="7"/>
                  </a:lnTo>
                  <a:lnTo>
                    <a:pt x="7" y="7"/>
                  </a:lnTo>
                  <a:lnTo>
                    <a:pt x="7" y="7"/>
                  </a:lnTo>
                  <a:lnTo>
                    <a:pt x="4" y="7"/>
                  </a:lnTo>
                  <a:lnTo>
                    <a:pt x="4" y="7"/>
                  </a:lnTo>
                  <a:lnTo>
                    <a:pt x="4" y="9"/>
                  </a:lnTo>
                  <a:lnTo>
                    <a:pt x="2" y="9"/>
                  </a:lnTo>
                  <a:lnTo>
                    <a:pt x="2" y="9"/>
                  </a:lnTo>
                  <a:lnTo>
                    <a:pt x="0" y="12"/>
                  </a:lnTo>
                  <a:lnTo>
                    <a:pt x="2" y="12"/>
                  </a:lnTo>
                  <a:lnTo>
                    <a:pt x="2" y="12"/>
                  </a:lnTo>
                  <a:lnTo>
                    <a:pt x="2" y="12"/>
                  </a:lnTo>
                  <a:lnTo>
                    <a:pt x="2" y="12"/>
                  </a:lnTo>
                  <a:lnTo>
                    <a:pt x="4" y="14"/>
                  </a:lnTo>
                  <a:lnTo>
                    <a:pt x="4" y="14"/>
                  </a:lnTo>
                  <a:lnTo>
                    <a:pt x="4" y="14"/>
                  </a:lnTo>
                  <a:lnTo>
                    <a:pt x="4" y="14"/>
                  </a:lnTo>
                  <a:lnTo>
                    <a:pt x="4" y="14"/>
                  </a:lnTo>
                  <a:lnTo>
                    <a:pt x="2" y="16"/>
                  </a:lnTo>
                  <a:lnTo>
                    <a:pt x="2" y="16"/>
                  </a:lnTo>
                  <a:lnTo>
                    <a:pt x="2" y="16"/>
                  </a:lnTo>
                  <a:lnTo>
                    <a:pt x="2" y="16"/>
                  </a:lnTo>
                  <a:lnTo>
                    <a:pt x="4" y="16"/>
                  </a:lnTo>
                  <a:lnTo>
                    <a:pt x="4" y="19"/>
                  </a:lnTo>
                  <a:lnTo>
                    <a:pt x="4" y="21"/>
                  </a:lnTo>
                  <a:lnTo>
                    <a:pt x="4" y="21"/>
                  </a:lnTo>
                  <a:lnTo>
                    <a:pt x="4" y="21"/>
                  </a:lnTo>
                  <a:lnTo>
                    <a:pt x="7" y="21"/>
                  </a:lnTo>
                  <a:lnTo>
                    <a:pt x="9" y="23"/>
                  </a:lnTo>
                  <a:lnTo>
                    <a:pt x="9" y="26"/>
                  </a:lnTo>
                  <a:lnTo>
                    <a:pt x="9" y="26"/>
                  </a:lnTo>
                  <a:lnTo>
                    <a:pt x="7" y="26"/>
                  </a:lnTo>
                  <a:lnTo>
                    <a:pt x="7" y="26"/>
                  </a:lnTo>
                  <a:lnTo>
                    <a:pt x="4" y="26"/>
                  </a:lnTo>
                  <a:lnTo>
                    <a:pt x="4" y="26"/>
                  </a:lnTo>
                  <a:lnTo>
                    <a:pt x="4" y="28"/>
                  </a:lnTo>
                  <a:lnTo>
                    <a:pt x="9" y="28"/>
                  </a:lnTo>
                  <a:lnTo>
                    <a:pt x="9" y="28"/>
                  </a:lnTo>
                  <a:lnTo>
                    <a:pt x="11" y="28"/>
                  </a:lnTo>
                  <a:lnTo>
                    <a:pt x="11" y="28"/>
                  </a:lnTo>
                  <a:lnTo>
                    <a:pt x="11" y="26"/>
                  </a:lnTo>
                  <a:lnTo>
                    <a:pt x="11" y="28"/>
                  </a:lnTo>
                  <a:lnTo>
                    <a:pt x="14" y="28"/>
                  </a:lnTo>
                  <a:lnTo>
                    <a:pt x="16" y="28"/>
                  </a:lnTo>
                  <a:lnTo>
                    <a:pt x="16" y="28"/>
                  </a:lnTo>
                  <a:lnTo>
                    <a:pt x="19" y="28"/>
                  </a:lnTo>
                  <a:lnTo>
                    <a:pt x="19" y="26"/>
                  </a:lnTo>
                  <a:lnTo>
                    <a:pt x="21" y="23"/>
                  </a:lnTo>
                  <a:lnTo>
                    <a:pt x="21" y="23"/>
                  </a:lnTo>
                  <a:lnTo>
                    <a:pt x="21" y="23"/>
                  </a:lnTo>
                  <a:lnTo>
                    <a:pt x="21" y="26"/>
                  </a:lnTo>
                  <a:lnTo>
                    <a:pt x="21" y="26"/>
                  </a:lnTo>
                  <a:lnTo>
                    <a:pt x="23" y="26"/>
                  </a:lnTo>
                  <a:lnTo>
                    <a:pt x="23" y="28"/>
                  </a:lnTo>
                  <a:lnTo>
                    <a:pt x="26" y="28"/>
                  </a:lnTo>
                  <a:lnTo>
                    <a:pt x="26" y="28"/>
                  </a:lnTo>
                  <a:lnTo>
                    <a:pt x="28" y="28"/>
                  </a:lnTo>
                  <a:lnTo>
                    <a:pt x="30" y="28"/>
                  </a:lnTo>
                  <a:lnTo>
                    <a:pt x="33" y="28"/>
                  </a:lnTo>
                  <a:lnTo>
                    <a:pt x="33" y="28"/>
                  </a:lnTo>
                  <a:lnTo>
                    <a:pt x="33" y="28"/>
                  </a:lnTo>
                  <a:lnTo>
                    <a:pt x="33" y="26"/>
                  </a:lnTo>
                  <a:lnTo>
                    <a:pt x="33" y="26"/>
                  </a:lnTo>
                  <a:lnTo>
                    <a:pt x="33" y="26"/>
                  </a:lnTo>
                  <a:lnTo>
                    <a:pt x="33" y="23"/>
                  </a:lnTo>
                  <a:lnTo>
                    <a:pt x="33" y="23"/>
                  </a:lnTo>
                  <a:lnTo>
                    <a:pt x="33" y="23"/>
                  </a:lnTo>
                  <a:lnTo>
                    <a:pt x="33" y="23"/>
                  </a:lnTo>
                  <a:lnTo>
                    <a:pt x="35" y="21"/>
                  </a:lnTo>
                  <a:lnTo>
                    <a:pt x="37" y="21"/>
                  </a:lnTo>
                  <a:lnTo>
                    <a:pt x="37" y="19"/>
                  </a:lnTo>
                  <a:lnTo>
                    <a:pt x="40" y="19"/>
                  </a:lnTo>
                  <a:lnTo>
                    <a:pt x="40" y="16"/>
                  </a:lnTo>
                  <a:lnTo>
                    <a:pt x="37" y="16"/>
                  </a:lnTo>
                  <a:lnTo>
                    <a:pt x="37" y="14"/>
                  </a:lnTo>
                  <a:lnTo>
                    <a:pt x="37" y="14"/>
                  </a:lnTo>
                  <a:lnTo>
                    <a:pt x="37" y="14"/>
                  </a:lnTo>
                  <a:lnTo>
                    <a:pt x="37" y="12"/>
                  </a:lnTo>
                  <a:lnTo>
                    <a:pt x="40" y="12"/>
                  </a:lnTo>
                  <a:lnTo>
                    <a:pt x="40" y="12"/>
                  </a:lnTo>
                  <a:lnTo>
                    <a:pt x="42" y="12"/>
                  </a:lnTo>
                  <a:lnTo>
                    <a:pt x="42" y="12"/>
                  </a:lnTo>
                  <a:lnTo>
                    <a:pt x="44" y="12"/>
                  </a:lnTo>
                  <a:lnTo>
                    <a:pt x="44" y="9"/>
                  </a:lnTo>
                  <a:lnTo>
                    <a:pt x="47" y="9"/>
                  </a:lnTo>
                  <a:lnTo>
                    <a:pt x="47" y="9"/>
                  </a:lnTo>
                  <a:lnTo>
                    <a:pt x="49" y="9"/>
                  </a:lnTo>
                  <a:lnTo>
                    <a:pt x="47" y="7"/>
                  </a:lnTo>
                  <a:lnTo>
                    <a:pt x="49" y="7"/>
                  </a:lnTo>
                  <a:lnTo>
                    <a:pt x="49" y="7"/>
                  </a:lnTo>
                  <a:lnTo>
                    <a:pt x="49" y="7"/>
                  </a:lnTo>
                  <a:lnTo>
                    <a:pt x="52" y="7"/>
                  </a:lnTo>
                  <a:lnTo>
                    <a:pt x="52" y="7"/>
                  </a:lnTo>
                  <a:lnTo>
                    <a:pt x="52"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7" name="Freeform 243"/>
            <p:cNvSpPr>
              <a:spLocks/>
            </p:cNvSpPr>
            <p:nvPr userDrawn="1"/>
          </p:nvSpPr>
          <p:spPr bwMode="auto">
            <a:xfrm>
              <a:off x="3952" y="1765"/>
              <a:ext cx="92" cy="38"/>
            </a:xfrm>
            <a:custGeom>
              <a:avLst/>
              <a:gdLst>
                <a:gd name="T0" fmla="*/ 85 w 92"/>
                <a:gd name="T1" fmla="*/ 7 h 38"/>
                <a:gd name="T2" fmla="*/ 83 w 92"/>
                <a:gd name="T3" fmla="*/ 5 h 38"/>
                <a:gd name="T4" fmla="*/ 73 w 92"/>
                <a:gd name="T5" fmla="*/ 2 h 38"/>
                <a:gd name="T6" fmla="*/ 69 w 92"/>
                <a:gd name="T7" fmla="*/ 2 h 38"/>
                <a:gd name="T8" fmla="*/ 66 w 92"/>
                <a:gd name="T9" fmla="*/ 5 h 38"/>
                <a:gd name="T10" fmla="*/ 62 w 92"/>
                <a:gd name="T11" fmla="*/ 5 h 38"/>
                <a:gd name="T12" fmla="*/ 59 w 92"/>
                <a:gd name="T13" fmla="*/ 5 h 38"/>
                <a:gd name="T14" fmla="*/ 57 w 92"/>
                <a:gd name="T15" fmla="*/ 5 h 38"/>
                <a:gd name="T16" fmla="*/ 52 w 92"/>
                <a:gd name="T17" fmla="*/ 7 h 38"/>
                <a:gd name="T18" fmla="*/ 50 w 92"/>
                <a:gd name="T19" fmla="*/ 7 h 38"/>
                <a:gd name="T20" fmla="*/ 47 w 92"/>
                <a:gd name="T21" fmla="*/ 7 h 38"/>
                <a:gd name="T22" fmla="*/ 47 w 92"/>
                <a:gd name="T23" fmla="*/ 5 h 38"/>
                <a:gd name="T24" fmla="*/ 45 w 92"/>
                <a:gd name="T25" fmla="*/ 2 h 38"/>
                <a:gd name="T26" fmla="*/ 43 w 92"/>
                <a:gd name="T27" fmla="*/ 2 h 38"/>
                <a:gd name="T28" fmla="*/ 40 w 92"/>
                <a:gd name="T29" fmla="*/ 0 h 38"/>
                <a:gd name="T30" fmla="*/ 38 w 92"/>
                <a:gd name="T31" fmla="*/ 5 h 38"/>
                <a:gd name="T32" fmla="*/ 33 w 92"/>
                <a:gd name="T33" fmla="*/ 2 h 38"/>
                <a:gd name="T34" fmla="*/ 31 w 92"/>
                <a:gd name="T35" fmla="*/ 2 h 38"/>
                <a:gd name="T36" fmla="*/ 26 w 92"/>
                <a:gd name="T37" fmla="*/ 2 h 38"/>
                <a:gd name="T38" fmla="*/ 24 w 92"/>
                <a:gd name="T39" fmla="*/ 5 h 38"/>
                <a:gd name="T40" fmla="*/ 21 w 92"/>
                <a:gd name="T41" fmla="*/ 7 h 38"/>
                <a:gd name="T42" fmla="*/ 21 w 92"/>
                <a:gd name="T43" fmla="*/ 9 h 38"/>
                <a:gd name="T44" fmla="*/ 17 w 92"/>
                <a:gd name="T45" fmla="*/ 12 h 38"/>
                <a:gd name="T46" fmla="*/ 14 w 92"/>
                <a:gd name="T47" fmla="*/ 14 h 38"/>
                <a:gd name="T48" fmla="*/ 7 w 92"/>
                <a:gd name="T49" fmla="*/ 14 h 38"/>
                <a:gd name="T50" fmla="*/ 5 w 92"/>
                <a:gd name="T51" fmla="*/ 16 h 38"/>
                <a:gd name="T52" fmla="*/ 3 w 92"/>
                <a:gd name="T53" fmla="*/ 21 h 38"/>
                <a:gd name="T54" fmla="*/ 0 w 92"/>
                <a:gd name="T55" fmla="*/ 24 h 38"/>
                <a:gd name="T56" fmla="*/ 5 w 92"/>
                <a:gd name="T57" fmla="*/ 31 h 38"/>
                <a:gd name="T58" fmla="*/ 7 w 92"/>
                <a:gd name="T59" fmla="*/ 33 h 38"/>
                <a:gd name="T60" fmla="*/ 10 w 92"/>
                <a:gd name="T61" fmla="*/ 33 h 38"/>
                <a:gd name="T62" fmla="*/ 17 w 92"/>
                <a:gd name="T63" fmla="*/ 38 h 38"/>
                <a:gd name="T64" fmla="*/ 29 w 92"/>
                <a:gd name="T65" fmla="*/ 38 h 38"/>
                <a:gd name="T66" fmla="*/ 33 w 92"/>
                <a:gd name="T67" fmla="*/ 35 h 38"/>
                <a:gd name="T68" fmla="*/ 33 w 92"/>
                <a:gd name="T69" fmla="*/ 33 h 38"/>
                <a:gd name="T70" fmla="*/ 43 w 92"/>
                <a:gd name="T71" fmla="*/ 31 h 38"/>
                <a:gd name="T72" fmla="*/ 45 w 92"/>
                <a:gd name="T73" fmla="*/ 28 h 38"/>
                <a:gd name="T74" fmla="*/ 50 w 92"/>
                <a:gd name="T75" fmla="*/ 31 h 38"/>
                <a:gd name="T76" fmla="*/ 57 w 92"/>
                <a:gd name="T77" fmla="*/ 26 h 38"/>
                <a:gd name="T78" fmla="*/ 62 w 92"/>
                <a:gd name="T79" fmla="*/ 21 h 38"/>
                <a:gd name="T80" fmla="*/ 69 w 92"/>
                <a:gd name="T81" fmla="*/ 21 h 38"/>
                <a:gd name="T82" fmla="*/ 76 w 92"/>
                <a:gd name="T83" fmla="*/ 21 h 38"/>
                <a:gd name="T84" fmla="*/ 78 w 92"/>
                <a:gd name="T85" fmla="*/ 24 h 38"/>
                <a:gd name="T86" fmla="*/ 80 w 92"/>
                <a:gd name="T87" fmla="*/ 24 h 38"/>
                <a:gd name="T88" fmla="*/ 87 w 92"/>
                <a:gd name="T89" fmla="*/ 24 h 38"/>
                <a:gd name="T90" fmla="*/ 90 w 92"/>
                <a:gd name="T91" fmla="*/ 19 h 38"/>
                <a:gd name="T92" fmla="*/ 92 w 92"/>
                <a:gd name="T93" fmla="*/ 14 h 38"/>
                <a:gd name="T94" fmla="*/ 92 w 92"/>
                <a:gd name="T95"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38">
                  <a:moveTo>
                    <a:pt x="92" y="9"/>
                  </a:moveTo>
                  <a:lnTo>
                    <a:pt x="87" y="9"/>
                  </a:lnTo>
                  <a:lnTo>
                    <a:pt x="85" y="7"/>
                  </a:lnTo>
                  <a:lnTo>
                    <a:pt x="83" y="7"/>
                  </a:lnTo>
                  <a:lnTo>
                    <a:pt x="83" y="5"/>
                  </a:lnTo>
                  <a:lnTo>
                    <a:pt x="83" y="5"/>
                  </a:lnTo>
                  <a:lnTo>
                    <a:pt x="78" y="5"/>
                  </a:lnTo>
                  <a:lnTo>
                    <a:pt x="78" y="2"/>
                  </a:lnTo>
                  <a:lnTo>
                    <a:pt x="73" y="2"/>
                  </a:lnTo>
                  <a:lnTo>
                    <a:pt x="71" y="2"/>
                  </a:lnTo>
                  <a:lnTo>
                    <a:pt x="69" y="2"/>
                  </a:lnTo>
                  <a:lnTo>
                    <a:pt x="69" y="2"/>
                  </a:lnTo>
                  <a:lnTo>
                    <a:pt x="69" y="5"/>
                  </a:lnTo>
                  <a:lnTo>
                    <a:pt x="66" y="5"/>
                  </a:lnTo>
                  <a:lnTo>
                    <a:pt x="66" y="5"/>
                  </a:lnTo>
                  <a:lnTo>
                    <a:pt x="64" y="5"/>
                  </a:lnTo>
                  <a:lnTo>
                    <a:pt x="64" y="5"/>
                  </a:lnTo>
                  <a:lnTo>
                    <a:pt x="62" y="5"/>
                  </a:lnTo>
                  <a:lnTo>
                    <a:pt x="59" y="5"/>
                  </a:lnTo>
                  <a:lnTo>
                    <a:pt x="59" y="5"/>
                  </a:lnTo>
                  <a:lnTo>
                    <a:pt x="59" y="5"/>
                  </a:lnTo>
                  <a:lnTo>
                    <a:pt x="57" y="5"/>
                  </a:lnTo>
                  <a:lnTo>
                    <a:pt x="57" y="5"/>
                  </a:lnTo>
                  <a:lnTo>
                    <a:pt x="57" y="5"/>
                  </a:lnTo>
                  <a:lnTo>
                    <a:pt x="54" y="5"/>
                  </a:lnTo>
                  <a:lnTo>
                    <a:pt x="54" y="5"/>
                  </a:lnTo>
                  <a:lnTo>
                    <a:pt x="52" y="7"/>
                  </a:lnTo>
                  <a:lnTo>
                    <a:pt x="52" y="7"/>
                  </a:lnTo>
                  <a:lnTo>
                    <a:pt x="50" y="7"/>
                  </a:lnTo>
                  <a:lnTo>
                    <a:pt x="50" y="7"/>
                  </a:lnTo>
                  <a:lnTo>
                    <a:pt x="47" y="7"/>
                  </a:lnTo>
                  <a:lnTo>
                    <a:pt x="47" y="7"/>
                  </a:lnTo>
                  <a:lnTo>
                    <a:pt x="47" y="7"/>
                  </a:lnTo>
                  <a:lnTo>
                    <a:pt x="47" y="7"/>
                  </a:lnTo>
                  <a:lnTo>
                    <a:pt x="47" y="5"/>
                  </a:lnTo>
                  <a:lnTo>
                    <a:pt x="47" y="5"/>
                  </a:lnTo>
                  <a:lnTo>
                    <a:pt x="47" y="5"/>
                  </a:lnTo>
                  <a:lnTo>
                    <a:pt x="45" y="5"/>
                  </a:lnTo>
                  <a:lnTo>
                    <a:pt x="45" y="2"/>
                  </a:lnTo>
                  <a:lnTo>
                    <a:pt x="45" y="2"/>
                  </a:lnTo>
                  <a:lnTo>
                    <a:pt x="45" y="2"/>
                  </a:lnTo>
                  <a:lnTo>
                    <a:pt x="43" y="2"/>
                  </a:lnTo>
                  <a:lnTo>
                    <a:pt x="43" y="0"/>
                  </a:lnTo>
                  <a:lnTo>
                    <a:pt x="43" y="0"/>
                  </a:lnTo>
                  <a:lnTo>
                    <a:pt x="40" y="0"/>
                  </a:lnTo>
                  <a:lnTo>
                    <a:pt x="40" y="0"/>
                  </a:lnTo>
                  <a:lnTo>
                    <a:pt x="38" y="2"/>
                  </a:lnTo>
                  <a:lnTo>
                    <a:pt x="38" y="5"/>
                  </a:lnTo>
                  <a:lnTo>
                    <a:pt x="36" y="5"/>
                  </a:lnTo>
                  <a:lnTo>
                    <a:pt x="33" y="2"/>
                  </a:lnTo>
                  <a:lnTo>
                    <a:pt x="33" y="2"/>
                  </a:lnTo>
                  <a:lnTo>
                    <a:pt x="33" y="2"/>
                  </a:lnTo>
                  <a:lnTo>
                    <a:pt x="31" y="2"/>
                  </a:lnTo>
                  <a:lnTo>
                    <a:pt x="31" y="2"/>
                  </a:lnTo>
                  <a:lnTo>
                    <a:pt x="29" y="2"/>
                  </a:lnTo>
                  <a:lnTo>
                    <a:pt x="29" y="2"/>
                  </a:lnTo>
                  <a:lnTo>
                    <a:pt x="26" y="2"/>
                  </a:lnTo>
                  <a:lnTo>
                    <a:pt x="26" y="2"/>
                  </a:lnTo>
                  <a:lnTo>
                    <a:pt x="26" y="5"/>
                  </a:lnTo>
                  <a:lnTo>
                    <a:pt x="24" y="5"/>
                  </a:lnTo>
                  <a:lnTo>
                    <a:pt x="24" y="5"/>
                  </a:lnTo>
                  <a:lnTo>
                    <a:pt x="21" y="7"/>
                  </a:lnTo>
                  <a:lnTo>
                    <a:pt x="21" y="7"/>
                  </a:lnTo>
                  <a:lnTo>
                    <a:pt x="21" y="7"/>
                  </a:lnTo>
                  <a:lnTo>
                    <a:pt x="21" y="9"/>
                  </a:lnTo>
                  <a:lnTo>
                    <a:pt x="21" y="9"/>
                  </a:lnTo>
                  <a:lnTo>
                    <a:pt x="19" y="12"/>
                  </a:lnTo>
                  <a:lnTo>
                    <a:pt x="19" y="12"/>
                  </a:lnTo>
                  <a:lnTo>
                    <a:pt x="17" y="12"/>
                  </a:lnTo>
                  <a:lnTo>
                    <a:pt x="17" y="12"/>
                  </a:lnTo>
                  <a:lnTo>
                    <a:pt x="17" y="14"/>
                  </a:lnTo>
                  <a:lnTo>
                    <a:pt x="14" y="14"/>
                  </a:lnTo>
                  <a:lnTo>
                    <a:pt x="12" y="14"/>
                  </a:lnTo>
                  <a:lnTo>
                    <a:pt x="10" y="16"/>
                  </a:lnTo>
                  <a:lnTo>
                    <a:pt x="7" y="14"/>
                  </a:lnTo>
                  <a:lnTo>
                    <a:pt x="5" y="14"/>
                  </a:lnTo>
                  <a:lnTo>
                    <a:pt x="5" y="14"/>
                  </a:lnTo>
                  <a:lnTo>
                    <a:pt x="5" y="16"/>
                  </a:lnTo>
                  <a:lnTo>
                    <a:pt x="3" y="19"/>
                  </a:lnTo>
                  <a:lnTo>
                    <a:pt x="3" y="21"/>
                  </a:lnTo>
                  <a:lnTo>
                    <a:pt x="3" y="21"/>
                  </a:lnTo>
                  <a:lnTo>
                    <a:pt x="3" y="21"/>
                  </a:lnTo>
                  <a:lnTo>
                    <a:pt x="3" y="21"/>
                  </a:lnTo>
                  <a:lnTo>
                    <a:pt x="0" y="24"/>
                  </a:lnTo>
                  <a:lnTo>
                    <a:pt x="0" y="24"/>
                  </a:lnTo>
                  <a:lnTo>
                    <a:pt x="3" y="28"/>
                  </a:lnTo>
                  <a:lnTo>
                    <a:pt x="5" y="31"/>
                  </a:lnTo>
                  <a:lnTo>
                    <a:pt x="5" y="31"/>
                  </a:lnTo>
                  <a:lnTo>
                    <a:pt x="5" y="33"/>
                  </a:lnTo>
                  <a:lnTo>
                    <a:pt x="7" y="33"/>
                  </a:lnTo>
                  <a:lnTo>
                    <a:pt x="7" y="33"/>
                  </a:lnTo>
                  <a:lnTo>
                    <a:pt x="7" y="33"/>
                  </a:lnTo>
                  <a:lnTo>
                    <a:pt x="10" y="33"/>
                  </a:lnTo>
                  <a:lnTo>
                    <a:pt x="12" y="35"/>
                  </a:lnTo>
                  <a:lnTo>
                    <a:pt x="14" y="35"/>
                  </a:lnTo>
                  <a:lnTo>
                    <a:pt x="17" y="38"/>
                  </a:lnTo>
                  <a:lnTo>
                    <a:pt x="19" y="38"/>
                  </a:lnTo>
                  <a:lnTo>
                    <a:pt x="21" y="38"/>
                  </a:lnTo>
                  <a:lnTo>
                    <a:pt x="29" y="38"/>
                  </a:lnTo>
                  <a:lnTo>
                    <a:pt x="31" y="38"/>
                  </a:lnTo>
                  <a:lnTo>
                    <a:pt x="33" y="35"/>
                  </a:lnTo>
                  <a:lnTo>
                    <a:pt x="33" y="35"/>
                  </a:lnTo>
                  <a:lnTo>
                    <a:pt x="33" y="35"/>
                  </a:lnTo>
                  <a:lnTo>
                    <a:pt x="33" y="33"/>
                  </a:lnTo>
                  <a:lnTo>
                    <a:pt x="33" y="33"/>
                  </a:lnTo>
                  <a:lnTo>
                    <a:pt x="36" y="31"/>
                  </a:lnTo>
                  <a:lnTo>
                    <a:pt x="40" y="31"/>
                  </a:lnTo>
                  <a:lnTo>
                    <a:pt x="43" y="31"/>
                  </a:lnTo>
                  <a:lnTo>
                    <a:pt x="45" y="28"/>
                  </a:lnTo>
                  <a:lnTo>
                    <a:pt x="45" y="28"/>
                  </a:lnTo>
                  <a:lnTo>
                    <a:pt x="45" y="28"/>
                  </a:lnTo>
                  <a:lnTo>
                    <a:pt x="47" y="28"/>
                  </a:lnTo>
                  <a:lnTo>
                    <a:pt x="50" y="28"/>
                  </a:lnTo>
                  <a:lnTo>
                    <a:pt x="50" y="31"/>
                  </a:lnTo>
                  <a:lnTo>
                    <a:pt x="52" y="28"/>
                  </a:lnTo>
                  <a:lnTo>
                    <a:pt x="54" y="28"/>
                  </a:lnTo>
                  <a:lnTo>
                    <a:pt x="57" y="26"/>
                  </a:lnTo>
                  <a:lnTo>
                    <a:pt x="59" y="21"/>
                  </a:lnTo>
                  <a:lnTo>
                    <a:pt x="59" y="21"/>
                  </a:lnTo>
                  <a:lnTo>
                    <a:pt x="62" y="21"/>
                  </a:lnTo>
                  <a:lnTo>
                    <a:pt x="66" y="21"/>
                  </a:lnTo>
                  <a:lnTo>
                    <a:pt x="69" y="21"/>
                  </a:lnTo>
                  <a:lnTo>
                    <a:pt x="69" y="21"/>
                  </a:lnTo>
                  <a:lnTo>
                    <a:pt x="71" y="21"/>
                  </a:lnTo>
                  <a:lnTo>
                    <a:pt x="76" y="21"/>
                  </a:lnTo>
                  <a:lnTo>
                    <a:pt x="76" y="21"/>
                  </a:lnTo>
                  <a:lnTo>
                    <a:pt x="76" y="21"/>
                  </a:lnTo>
                  <a:lnTo>
                    <a:pt x="78" y="21"/>
                  </a:lnTo>
                  <a:lnTo>
                    <a:pt x="78" y="24"/>
                  </a:lnTo>
                  <a:lnTo>
                    <a:pt x="78" y="24"/>
                  </a:lnTo>
                  <a:lnTo>
                    <a:pt x="78" y="24"/>
                  </a:lnTo>
                  <a:lnTo>
                    <a:pt x="80" y="24"/>
                  </a:lnTo>
                  <a:lnTo>
                    <a:pt x="80" y="26"/>
                  </a:lnTo>
                  <a:lnTo>
                    <a:pt x="80" y="26"/>
                  </a:lnTo>
                  <a:lnTo>
                    <a:pt x="87" y="24"/>
                  </a:lnTo>
                  <a:lnTo>
                    <a:pt x="87" y="24"/>
                  </a:lnTo>
                  <a:lnTo>
                    <a:pt x="87" y="21"/>
                  </a:lnTo>
                  <a:lnTo>
                    <a:pt x="90" y="19"/>
                  </a:lnTo>
                  <a:lnTo>
                    <a:pt x="90" y="16"/>
                  </a:lnTo>
                  <a:lnTo>
                    <a:pt x="90" y="14"/>
                  </a:lnTo>
                  <a:lnTo>
                    <a:pt x="92" y="14"/>
                  </a:lnTo>
                  <a:lnTo>
                    <a:pt x="92" y="12"/>
                  </a:lnTo>
                  <a:lnTo>
                    <a:pt x="92" y="12"/>
                  </a:lnTo>
                  <a:lnTo>
                    <a:pt x="92" y="9"/>
                  </a:lnTo>
                  <a:lnTo>
                    <a:pt x="92" y="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8" name="Freeform 244"/>
            <p:cNvSpPr>
              <a:spLocks/>
            </p:cNvSpPr>
            <p:nvPr userDrawn="1"/>
          </p:nvSpPr>
          <p:spPr bwMode="auto">
            <a:xfrm>
              <a:off x="5581" y="2777"/>
              <a:ext cx="5" cy="5"/>
            </a:xfrm>
            <a:custGeom>
              <a:avLst/>
              <a:gdLst>
                <a:gd name="T0" fmla="*/ 5 w 5"/>
                <a:gd name="T1" fmla="*/ 2 h 5"/>
                <a:gd name="T2" fmla="*/ 5 w 5"/>
                <a:gd name="T3" fmla="*/ 0 h 5"/>
                <a:gd name="T4" fmla="*/ 2 w 5"/>
                <a:gd name="T5" fmla="*/ 0 h 5"/>
                <a:gd name="T6" fmla="*/ 0 w 5"/>
                <a:gd name="T7" fmla="*/ 0 h 5"/>
                <a:gd name="T8" fmla="*/ 0 w 5"/>
                <a:gd name="T9" fmla="*/ 2 h 5"/>
                <a:gd name="T10" fmla="*/ 2 w 5"/>
                <a:gd name="T11" fmla="*/ 5 h 5"/>
                <a:gd name="T12" fmla="*/ 5 w 5"/>
                <a:gd name="T13" fmla="*/ 2 h 5"/>
                <a:gd name="T14" fmla="*/ 5 w 5"/>
                <a:gd name="T15" fmla="*/ 2 h 5"/>
                <a:gd name="T16" fmla="*/ 5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2"/>
                  </a:moveTo>
                  <a:lnTo>
                    <a:pt x="5" y="0"/>
                  </a:lnTo>
                  <a:lnTo>
                    <a:pt x="2" y="0"/>
                  </a:lnTo>
                  <a:lnTo>
                    <a:pt x="0" y="0"/>
                  </a:lnTo>
                  <a:lnTo>
                    <a:pt x="0" y="2"/>
                  </a:lnTo>
                  <a:lnTo>
                    <a:pt x="2" y="5"/>
                  </a:lnTo>
                  <a:lnTo>
                    <a:pt x="5" y="2"/>
                  </a:lnTo>
                  <a:lnTo>
                    <a:pt x="5" y="2"/>
                  </a:lnTo>
                  <a:lnTo>
                    <a:pt x="5"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9" name="Freeform 245"/>
            <p:cNvSpPr>
              <a:spLocks noEditPoints="1"/>
            </p:cNvSpPr>
            <p:nvPr userDrawn="1"/>
          </p:nvSpPr>
          <p:spPr bwMode="auto">
            <a:xfrm>
              <a:off x="3408" y="2597"/>
              <a:ext cx="54" cy="64"/>
            </a:xfrm>
            <a:custGeom>
              <a:avLst/>
              <a:gdLst>
                <a:gd name="T0" fmla="*/ 12 w 54"/>
                <a:gd name="T1" fmla="*/ 50 h 64"/>
                <a:gd name="T2" fmla="*/ 5 w 54"/>
                <a:gd name="T3" fmla="*/ 50 h 64"/>
                <a:gd name="T4" fmla="*/ 14 w 54"/>
                <a:gd name="T5" fmla="*/ 55 h 64"/>
                <a:gd name="T6" fmla="*/ 14 w 54"/>
                <a:gd name="T7" fmla="*/ 52 h 64"/>
                <a:gd name="T8" fmla="*/ 14 w 54"/>
                <a:gd name="T9" fmla="*/ 50 h 64"/>
                <a:gd name="T10" fmla="*/ 52 w 54"/>
                <a:gd name="T11" fmla="*/ 33 h 64"/>
                <a:gd name="T12" fmla="*/ 49 w 54"/>
                <a:gd name="T13" fmla="*/ 36 h 64"/>
                <a:gd name="T14" fmla="*/ 47 w 54"/>
                <a:gd name="T15" fmla="*/ 36 h 64"/>
                <a:gd name="T16" fmla="*/ 47 w 54"/>
                <a:gd name="T17" fmla="*/ 33 h 64"/>
                <a:gd name="T18" fmla="*/ 49 w 54"/>
                <a:gd name="T19" fmla="*/ 31 h 64"/>
                <a:gd name="T20" fmla="*/ 52 w 54"/>
                <a:gd name="T21" fmla="*/ 26 h 64"/>
                <a:gd name="T22" fmla="*/ 49 w 54"/>
                <a:gd name="T23" fmla="*/ 24 h 64"/>
                <a:gd name="T24" fmla="*/ 49 w 54"/>
                <a:gd name="T25" fmla="*/ 19 h 64"/>
                <a:gd name="T26" fmla="*/ 47 w 54"/>
                <a:gd name="T27" fmla="*/ 19 h 64"/>
                <a:gd name="T28" fmla="*/ 47 w 54"/>
                <a:gd name="T29" fmla="*/ 17 h 64"/>
                <a:gd name="T30" fmla="*/ 47 w 54"/>
                <a:gd name="T31" fmla="*/ 14 h 64"/>
                <a:gd name="T32" fmla="*/ 47 w 54"/>
                <a:gd name="T33" fmla="*/ 12 h 64"/>
                <a:gd name="T34" fmla="*/ 42 w 54"/>
                <a:gd name="T35" fmla="*/ 7 h 64"/>
                <a:gd name="T36" fmla="*/ 40 w 54"/>
                <a:gd name="T37" fmla="*/ 3 h 64"/>
                <a:gd name="T38" fmla="*/ 38 w 54"/>
                <a:gd name="T39" fmla="*/ 0 h 64"/>
                <a:gd name="T40" fmla="*/ 33 w 54"/>
                <a:gd name="T41" fmla="*/ 0 h 64"/>
                <a:gd name="T42" fmla="*/ 26 w 54"/>
                <a:gd name="T43" fmla="*/ 0 h 64"/>
                <a:gd name="T44" fmla="*/ 21 w 54"/>
                <a:gd name="T45" fmla="*/ 3 h 64"/>
                <a:gd name="T46" fmla="*/ 16 w 54"/>
                <a:gd name="T47" fmla="*/ 3 h 64"/>
                <a:gd name="T48" fmla="*/ 14 w 54"/>
                <a:gd name="T49" fmla="*/ 5 h 64"/>
                <a:gd name="T50" fmla="*/ 12 w 54"/>
                <a:gd name="T51" fmla="*/ 7 h 64"/>
                <a:gd name="T52" fmla="*/ 12 w 54"/>
                <a:gd name="T53" fmla="*/ 7 h 64"/>
                <a:gd name="T54" fmla="*/ 12 w 54"/>
                <a:gd name="T55" fmla="*/ 10 h 64"/>
                <a:gd name="T56" fmla="*/ 7 w 54"/>
                <a:gd name="T57" fmla="*/ 14 h 64"/>
                <a:gd name="T58" fmla="*/ 5 w 54"/>
                <a:gd name="T59" fmla="*/ 17 h 64"/>
                <a:gd name="T60" fmla="*/ 5 w 54"/>
                <a:gd name="T61" fmla="*/ 19 h 64"/>
                <a:gd name="T62" fmla="*/ 2 w 54"/>
                <a:gd name="T63" fmla="*/ 19 h 64"/>
                <a:gd name="T64" fmla="*/ 0 w 54"/>
                <a:gd name="T65" fmla="*/ 19 h 64"/>
                <a:gd name="T66" fmla="*/ 2 w 54"/>
                <a:gd name="T67" fmla="*/ 24 h 64"/>
                <a:gd name="T68" fmla="*/ 5 w 54"/>
                <a:gd name="T69" fmla="*/ 24 h 64"/>
                <a:gd name="T70" fmla="*/ 0 w 54"/>
                <a:gd name="T71" fmla="*/ 26 h 64"/>
                <a:gd name="T72" fmla="*/ 2 w 54"/>
                <a:gd name="T73" fmla="*/ 29 h 64"/>
                <a:gd name="T74" fmla="*/ 2 w 54"/>
                <a:gd name="T75" fmla="*/ 29 h 64"/>
                <a:gd name="T76" fmla="*/ 7 w 54"/>
                <a:gd name="T77" fmla="*/ 29 h 64"/>
                <a:gd name="T78" fmla="*/ 7 w 54"/>
                <a:gd name="T79" fmla="*/ 29 h 64"/>
                <a:gd name="T80" fmla="*/ 2 w 54"/>
                <a:gd name="T81" fmla="*/ 33 h 64"/>
                <a:gd name="T82" fmla="*/ 0 w 54"/>
                <a:gd name="T83" fmla="*/ 31 h 64"/>
                <a:gd name="T84" fmla="*/ 0 w 54"/>
                <a:gd name="T85" fmla="*/ 33 h 64"/>
                <a:gd name="T86" fmla="*/ 2 w 54"/>
                <a:gd name="T87" fmla="*/ 38 h 64"/>
                <a:gd name="T88" fmla="*/ 5 w 54"/>
                <a:gd name="T89" fmla="*/ 38 h 64"/>
                <a:gd name="T90" fmla="*/ 7 w 54"/>
                <a:gd name="T91" fmla="*/ 45 h 64"/>
                <a:gd name="T92" fmla="*/ 9 w 54"/>
                <a:gd name="T93" fmla="*/ 45 h 64"/>
                <a:gd name="T94" fmla="*/ 12 w 54"/>
                <a:gd name="T95" fmla="*/ 48 h 64"/>
                <a:gd name="T96" fmla="*/ 14 w 54"/>
                <a:gd name="T97" fmla="*/ 48 h 64"/>
                <a:gd name="T98" fmla="*/ 14 w 54"/>
                <a:gd name="T99" fmla="*/ 52 h 64"/>
                <a:gd name="T100" fmla="*/ 14 w 54"/>
                <a:gd name="T101" fmla="*/ 55 h 64"/>
                <a:gd name="T102" fmla="*/ 23 w 54"/>
                <a:gd name="T103" fmla="*/ 59 h 64"/>
                <a:gd name="T104" fmla="*/ 30 w 54"/>
                <a:gd name="T105" fmla="*/ 64 h 64"/>
                <a:gd name="T106" fmla="*/ 33 w 54"/>
                <a:gd name="T107" fmla="*/ 64 h 64"/>
                <a:gd name="T108" fmla="*/ 38 w 54"/>
                <a:gd name="T109" fmla="*/ 57 h 64"/>
                <a:gd name="T110" fmla="*/ 40 w 54"/>
                <a:gd name="T111" fmla="*/ 55 h 64"/>
                <a:gd name="T112" fmla="*/ 45 w 54"/>
                <a:gd name="T113" fmla="*/ 52 h 64"/>
                <a:gd name="T114" fmla="*/ 47 w 54"/>
                <a:gd name="T115" fmla="*/ 48 h 64"/>
                <a:gd name="T116" fmla="*/ 49 w 54"/>
                <a:gd name="T117" fmla="*/ 40 h 64"/>
                <a:gd name="T118" fmla="*/ 54 w 54"/>
                <a:gd name="T119" fmla="*/ 38 h 64"/>
                <a:gd name="T120" fmla="*/ 54 w 54"/>
                <a:gd name="T121" fmla="*/ 36 h 64"/>
                <a:gd name="T122" fmla="*/ 54 w 54"/>
                <a:gd name="T123" fmla="*/ 31 h 64"/>
                <a:gd name="T124" fmla="*/ 54 w 54"/>
                <a:gd name="T12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64">
                  <a:moveTo>
                    <a:pt x="14" y="50"/>
                  </a:moveTo>
                  <a:lnTo>
                    <a:pt x="12" y="50"/>
                  </a:lnTo>
                  <a:lnTo>
                    <a:pt x="7" y="50"/>
                  </a:lnTo>
                  <a:lnTo>
                    <a:pt x="5" y="50"/>
                  </a:lnTo>
                  <a:lnTo>
                    <a:pt x="12" y="52"/>
                  </a:lnTo>
                  <a:lnTo>
                    <a:pt x="14" y="55"/>
                  </a:lnTo>
                  <a:lnTo>
                    <a:pt x="14" y="55"/>
                  </a:lnTo>
                  <a:lnTo>
                    <a:pt x="14" y="52"/>
                  </a:lnTo>
                  <a:lnTo>
                    <a:pt x="14" y="50"/>
                  </a:lnTo>
                  <a:lnTo>
                    <a:pt x="14" y="50"/>
                  </a:lnTo>
                  <a:close/>
                  <a:moveTo>
                    <a:pt x="54" y="31"/>
                  </a:moveTo>
                  <a:lnTo>
                    <a:pt x="52" y="33"/>
                  </a:lnTo>
                  <a:lnTo>
                    <a:pt x="49" y="36"/>
                  </a:lnTo>
                  <a:lnTo>
                    <a:pt x="49" y="36"/>
                  </a:lnTo>
                  <a:lnTo>
                    <a:pt x="47" y="36"/>
                  </a:lnTo>
                  <a:lnTo>
                    <a:pt x="47" y="36"/>
                  </a:lnTo>
                  <a:lnTo>
                    <a:pt x="47" y="36"/>
                  </a:lnTo>
                  <a:lnTo>
                    <a:pt x="47" y="33"/>
                  </a:lnTo>
                  <a:lnTo>
                    <a:pt x="47" y="33"/>
                  </a:lnTo>
                  <a:lnTo>
                    <a:pt x="49" y="31"/>
                  </a:lnTo>
                  <a:lnTo>
                    <a:pt x="52" y="29"/>
                  </a:lnTo>
                  <a:lnTo>
                    <a:pt x="52" y="26"/>
                  </a:lnTo>
                  <a:lnTo>
                    <a:pt x="49" y="26"/>
                  </a:lnTo>
                  <a:lnTo>
                    <a:pt x="49" y="24"/>
                  </a:lnTo>
                  <a:lnTo>
                    <a:pt x="49" y="22"/>
                  </a:lnTo>
                  <a:lnTo>
                    <a:pt x="49" y="19"/>
                  </a:lnTo>
                  <a:lnTo>
                    <a:pt x="47" y="19"/>
                  </a:lnTo>
                  <a:lnTo>
                    <a:pt x="47" y="19"/>
                  </a:lnTo>
                  <a:lnTo>
                    <a:pt x="47" y="19"/>
                  </a:lnTo>
                  <a:lnTo>
                    <a:pt x="47" y="17"/>
                  </a:lnTo>
                  <a:lnTo>
                    <a:pt x="47" y="14"/>
                  </a:lnTo>
                  <a:lnTo>
                    <a:pt x="47" y="14"/>
                  </a:lnTo>
                  <a:lnTo>
                    <a:pt x="47" y="14"/>
                  </a:lnTo>
                  <a:lnTo>
                    <a:pt x="47" y="12"/>
                  </a:lnTo>
                  <a:lnTo>
                    <a:pt x="45" y="10"/>
                  </a:lnTo>
                  <a:lnTo>
                    <a:pt x="42" y="7"/>
                  </a:lnTo>
                  <a:lnTo>
                    <a:pt x="42" y="5"/>
                  </a:lnTo>
                  <a:lnTo>
                    <a:pt x="40" y="3"/>
                  </a:lnTo>
                  <a:lnTo>
                    <a:pt x="40" y="0"/>
                  </a:lnTo>
                  <a:lnTo>
                    <a:pt x="38" y="0"/>
                  </a:lnTo>
                  <a:lnTo>
                    <a:pt x="38" y="0"/>
                  </a:lnTo>
                  <a:lnTo>
                    <a:pt x="33" y="0"/>
                  </a:lnTo>
                  <a:lnTo>
                    <a:pt x="28" y="0"/>
                  </a:lnTo>
                  <a:lnTo>
                    <a:pt x="26" y="0"/>
                  </a:lnTo>
                  <a:lnTo>
                    <a:pt x="26" y="0"/>
                  </a:lnTo>
                  <a:lnTo>
                    <a:pt x="21" y="3"/>
                  </a:lnTo>
                  <a:lnTo>
                    <a:pt x="19" y="0"/>
                  </a:lnTo>
                  <a:lnTo>
                    <a:pt x="16" y="3"/>
                  </a:lnTo>
                  <a:lnTo>
                    <a:pt x="14" y="3"/>
                  </a:lnTo>
                  <a:lnTo>
                    <a:pt x="14" y="5"/>
                  </a:lnTo>
                  <a:lnTo>
                    <a:pt x="14" y="5"/>
                  </a:lnTo>
                  <a:lnTo>
                    <a:pt x="12" y="7"/>
                  </a:lnTo>
                  <a:lnTo>
                    <a:pt x="12" y="7"/>
                  </a:lnTo>
                  <a:lnTo>
                    <a:pt x="12" y="7"/>
                  </a:lnTo>
                  <a:lnTo>
                    <a:pt x="12" y="10"/>
                  </a:lnTo>
                  <a:lnTo>
                    <a:pt x="12" y="10"/>
                  </a:lnTo>
                  <a:lnTo>
                    <a:pt x="9" y="12"/>
                  </a:lnTo>
                  <a:lnTo>
                    <a:pt x="7" y="14"/>
                  </a:lnTo>
                  <a:lnTo>
                    <a:pt x="5" y="14"/>
                  </a:lnTo>
                  <a:lnTo>
                    <a:pt x="5" y="17"/>
                  </a:lnTo>
                  <a:lnTo>
                    <a:pt x="5" y="19"/>
                  </a:lnTo>
                  <a:lnTo>
                    <a:pt x="5" y="19"/>
                  </a:lnTo>
                  <a:lnTo>
                    <a:pt x="2" y="19"/>
                  </a:lnTo>
                  <a:lnTo>
                    <a:pt x="2" y="19"/>
                  </a:lnTo>
                  <a:lnTo>
                    <a:pt x="0" y="19"/>
                  </a:lnTo>
                  <a:lnTo>
                    <a:pt x="0" y="19"/>
                  </a:lnTo>
                  <a:lnTo>
                    <a:pt x="0" y="22"/>
                  </a:lnTo>
                  <a:lnTo>
                    <a:pt x="2" y="24"/>
                  </a:lnTo>
                  <a:lnTo>
                    <a:pt x="5" y="24"/>
                  </a:lnTo>
                  <a:lnTo>
                    <a:pt x="5" y="24"/>
                  </a:lnTo>
                  <a:lnTo>
                    <a:pt x="0" y="24"/>
                  </a:lnTo>
                  <a:lnTo>
                    <a:pt x="0" y="26"/>
                  </a:lnTo>
                  <a:lnTo>
                    <a:pt x="0" y="26"/>
                  </a:lnTo>
                  <a:lnTo>
                    <a:pt x="2" y="29"/>
                  </a:lnTo>
                  <a:lnTo>
                    <a:pt x="2" y="29"/>
                  </a:lnTo>
                  <a:lnTo>
                    <a:pt x="2" y="29"/>
                  </a:lnTo>
                  <a:lnTo>
                    <a:pt x="5" y="29"/>
                  </a:lnTo>
                  <a:lnTo>
                    <a:pt x="7" y="29"/>
                  </a:lnTo>
                  <a:lnTo>
                    <a:pt x="7" y="29"/>
                  </a:lnTo>
                  <a:lnTo>
                    <a:pt x="7" y="29"/>
                  </a:lnTo>
                  <a:lnTo>
                    <a:pt x="5" y="31"/>
                  </a:lnTo>
                  <a:lnTo>
                    <a:pt x="2" y="33"/>
                  </a:lnTo>
                  <a:lnTo>
                    <a:pt x="2" y="33"/>
                  </a:lnTo>
                  <a:lnTo>
                    <a:pt x="0" y="31"/>
                  </a:lnTo>
                  <a:lnTo>
                    <a:pt x="0" y="31"/>
                  </a:lnTo>
                  <a:lnTo>
                    <a:pt x="0" y="33"/>
                  </a:lnTo>
                  <a:lnTo>
                    <a:pt x="0" y="36"/>
                  </a:lnTo>
                  <a:lnTo>
                    <a:pt x="2" y="38"/>
                  </a:lnTo>
                  <a:lnTo>
                    <a:pt x="5" y="38"/>
                  </a:lnTo>
                  <a:lnTo>
                    <a:pt x="5" y="38"/>
                  </a:lnTo>
                  <a:lnTo>
                    <a:pt x="7" y="40"/>
                  </a:lnTo>
                  <a:lnTo>
                    <a:pt x="7" y="45"/>
                  </a:lnTo>
                  <a:lnTo>
                    <a:pt x="7" y="45"/>
                  </a:lnTo>
                  <a:lnTo>
                    <a:pt x="9" y="45"/>
                  </a:lnTo>
                  <a:lnTo>
                    <a:pt x="9" y="48"/>
                  </a:lnTo>
                  <a:lnTo>
                    <a:pt x="12" y="48"/>
                  </a:lnTo>
                  <a:lnTo>
                    <a:pt x="14" y="48"/>
                  </a:lnTo>
                  <a:lnTo>
                    <a:pt x="14" y="48"/>
                  </a:lnTo>
                  <a:lnTo>
                    <a:pt x="14" y="50"/>
                  </a:lnTo>
                  <a:lnTo>
                    <a:pt x="14" y="52"/>
                  </a:lnTo>
                  <a:lnTo>
                    <a:pt x="14" y="55"/>
                  </a:lnTo>
                  <a:lnTo>
                    <a:pt x="14" y="55"/>
                  </a:lnTo>
                  <a:lnTo>
                    <a:pt x="16" y="55"/>
                  </a:lnTo>
                  <a:lnTo>
                    <a:pt x="23" y="59"/>
                  </a:lnTo>
                  <a:lnTo>
                    <a:pt x="28" y="62"/>
                  </a:lnTo>
                  <a:lnTo>
                    <a:pt x="30" y="64"/>
                  </a:lnTo>
                  <a:lnTo>
                    <a:pt x="33" y="64"/>
                  </a:lnTo>
                  <a:lnTo>
                    <a:pt x="33" y="64"/>
                  </a:lnTo>
                  <a:lnTo>
                    <a:pt x="35" y="62"/>
                  </a:lnTo>
                  <a:lnTo>
                    <a:pt x="38" y="57"/>
                  </a:lnTo>
                  <a:lnTo>
                    <a:pt x="38" y="57"/>
                  </a:lnTo>
                  <a:lnTo>
                    <a:pt x="40" y="55"/>
                  </a:lnTo>
                  <a:lnTo>
                    <a:pt x="42" y="52"/>
                  </a:lnTo>
                  <a:lnTo>
                    <a:pt x="45" y="52"/>
                  </a:lnTo>
                  <a:lnTo>
                    <a:pt x="47" y="48"/>
                  </a:lnTo>
                  <a:lnTo>
                    <a:pt x="47" y="48"/>
                  </a:lnTo>
                  <a:lnTo>
                    <a:pt x="49" y="45"/>
                  </a:lnTo>
                  <a:lnTo>
                    <a:pt x="49" y="40"/>
                  </a:lnTo>
                  <a:lnTo>
                    <a:pt x="52" y="38"/>
                  </a:lnTo>
                  <a:lnTo>
                    <a:pt x="54" y="38"/>
                  </a:lnTo>
                  <a:lnTo>
                    <a:pt x="54" y="38"/>
                  </a:lnTo>
                  <a:lnTo>
                    <a:pt x="54" y="36"/>
                  </a:lnTo>
                  <a:lnTo>
                    <a:pt x="54" y="33"/>
                  </a:lnTo>
                  <a:lnTo>
                    <a:pt x="54" y="31"/>
                  </a:lnTo>
                  <a:lnTo>
                    <a:pt x="54" y="31"/>
                  </a:lnTo>
                  <a:lnTo>
                    <a:pt x="54" y="3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0" name="Freeform 246"/>
            <p:cNvSpPr>
              <a:spLocks/>
            </p:cNvSpPr>
            <p:nvPr userDrawn="1"/>
          </p:nvSpPr>
          <p:spPr bwMode="auto">
            <a:xfrm>
              <a:off x="3988" y="1836"/>
              <a:ext cx="70" cy="80"/>
            </a:xfrm>
            <a:custGeom>
              <a:avLst/>
              <a:gdLst>
                <a:gd name="T0" fmla="*/ 63 w 70"/>
                <a:gd name="T1" fmla="*/ 57 h 80"/>
                <a:gd name="T2" fmla="*/ 61 w 70"/>
                <a:gd name="T3" fmla="*/ 52 h 80"/>
                <a:gd name="T4" fmla="*/ 61 w 70"/>
                <a:gd name="T5" fmla="*/ 45 h 80"/>
                <a:gd name="T6" fmla="*/ 66 w 70"/>
                <a:gd name="T7" fmla="*/ 40 h 80"/>
                <a:gd name="T8" fmla="*/ 63 w 70"/>
                <a:gd name="T9" fmla="*/ 38 h 80"/>
                <a:gd name="T10" fmla="*/ 66 w 70"/>
                <a:gd name="T11" fmla="*/ 33 h 80"/>
                <a:gd name="T12" fmla="*/ 59 w 70"/>
                <a:gd name="T13" fmla="*/ 31 h 80"/>
                <a:gd name="T14" fmla="*/ 49 w 70"/>
                <a:gd name="T15" fmla="*/ 31 h 80"/>
                <a:gd name="T16" fmla="*/ 42 w 70"/>
                <a:gd name="T17" fmla="*/ 28 h 80"/>
                <a:gd name="T18" fmla="*/ 44 w 70"/>
                <a:gd name="T19" fmla="*/ 26 h 80"/>
                <a:gd name="T20" fmla="*/ 42 w 70"/>
                <a:gd name="T21" fmla="*/ 24 h 80"/>
                <a:gd name="T22" fmla="*/ 44 w 70"/>
                <a:gd name="T23" fmla="*/ 21 h 80"/>
                <a:gd name="T24" fmla="*/ 42 w 70"/>
                <a:gd name="T25" fmla="*/ 19 h 80"/>
                <a:gd name="T26" fmla="*/ 35 w 70"/>
                <a:gd name="T27" fmla="*/ 16 h 80"/>
                <a:gd name="T28" fmla="*/ 33 w 70"/>
                <a:gd name="T29" fmla="*/ 12 h 80"/>
                <a:gd name="T30" fmla="*/ 33 w 70"/>
                <a:gd name="T31" fmla="*/ 7 h 80"/>
                <a:gd name="T32" fmla="*/ 30 w 70"/>
                <a:gd name="T33" fmla="*/ 7 h 80"/>
                <a:gd name="T34" fmla="*/ 23 w 70"/>
                <a:gd name="T35" fmla="*/ 2 h 80"/>
                <a:gd name="T36" fmla="*/ 16 w 70"/>
                <a:gd name="T37" fmla="*/ 0 h 80"/>
                <a:gd name="T38" fmla="*/ 9 w 70"/>
                <a:gd name="T39" fmla="*/ 2 h 80"/>
                <a:gd name="T40" fmla="*/ 4 w 70"/>
                <a:gd name="T41" fmla="*/ 2 h 80"/>
                <a:gd name="T42" fmla="*/ 0 w 70"/>
                <a:gd name="T43" fmla="*/ 5 h 80"/>
                <a:gd name="T44" fmla="*/ 0 w 70"/>
                <a:gd name="T45" fmla="*/ 7 h 80"/>
                <a:gd name="T46" fmla="*/ 4 w 70"/>
                <a:gd name="T47" fmla="*/ 12 h 80"/>
                <a:gd name="T48" fmla="*/ 7 w 70"/>
                <a:gd name="T49" fmla="*/ 16 h 80"/>
                <a:gd name="T50" fmla="*/ 9 w 70"/>
                <a:gd name="T51" fmla="*/ 19 h 80"/>
                <a:gd name="T52" fmla="*/ 4 w 70"/>
                <a:gd name="T53" fmla="*/ 19 h 80"/>
                <a:gd name="T54" fmla="*/ 4 w 70"/>
                <a:gd name="T55" fmla="*/ 26 h 80"/>
                <a:gd name="T56" fmla="*/ 4 w 70"/>
                <a:gd name="T57" fmla="*/ 28 h 80"/>
                <a:gd name="T58" fmla="*/ 9 w 70"/>
                <a:gd name="T59" fmla="*/ 28 h 80"/>
                <a:gd name="T60" fmla="*/ 4 w 70"/>
                <a:gd name="T61" fmla="*/ 35 h 80"/>
                <a:gd name="T62" fmla="*/ 7 w 70"/>
                <a:gd name="T63" fmla="*/ 40 h 80"/>
                <a:gd name="T64" fmla="*/ 14 w 70"/>
                <a:gd name="T65" fmla="*/ 45 h 80"/>
                <a:gd name="T66" fmla="*/ 9 w 70"/>
                <a:gd name="T67" fmla="*/ 45 h 80"/>
                <a:gd name="T68" fmla="*/ 11 w 70"/>
                <a:gd name="T69" fmla="*/ 52 h 80"/>
                <a:gd name="T70" fmla="*/ 9 w 70"/>
                <a:gd name="T71" fmla="*/ 54 h 80"/>
                <a:gd name="T72" fmla="*/ 7 w 70"/>
                <a:gd name="T73" fmla="*/ 57 h 80"/>
                <a:gd name="T74" fmla="*/ 16 w 70"/>
                <a:gd name="T75" fmla="*/ 61 h 80"/>
                <a:gd name="T76" fmla="*/ 26 w 70"/>
                <a:gd name="T77" fmla="*/ 66 h 80"/>
                <a:gd name="T78" fmla="*/ 30 w 70"/>
                <a:gd name="T79" fmla="*/ 68 h 80"/>
                <a:gd name="T80" fmla="*/ 33 w 70"/>
                <a:gd name="T81" fmla="*/ 64 h 80"/>
                <a:gd name="T82" fmla="*/ 33 w 70"/>
                <a:gd name="T83" fmla="*/ 61 h 80"/>
                <a:gd name="T84" fmla="*/ 35 w 70"/>
                <a:gd name="T85" fmla="*/ 64 h 80"/>
                <a:gd name="T86" fmla="*/ 42 w 70"/>
                <a:gd name="T87" fmla="*/ 68 h 80"/>
                <a:gd name="T88" fmla="*/ 51 w 70"/>
                <a:gd name="T89" fmla="*/ 73 h 80"/>
                <a:gd name="T90" fmla="*/ 49 w 70"/>
                <a:gd name="T91" fmla="*/ 78 h 80"/>
                <a:gd name="T92" fmla="*/ 49 w 70"/>
                <a:gd name="T93" fmla="*/ 80 h 80"/>
                <a:gd name="T94" fmla="*/ 56 w 70"/>
                <a:gd name="T95" fmla="*/ 80 h 80"/>
                <a:gd name="T96" fmla="*/ 61 w 70"/>
                <a:gd name="T97" fmla="*/ 80 h 80"/>
                <a:gd name="T98" fmla="*/ 63 w 70"/>
                <a:gd name="T99" fmla="*/ 76 h 80"/>
                <a:gd name="T100" fmla="*/ 63 w 70"/>
                <a:gd name="T101" fmla="*/ 71 h 80"/>
                <a:gd name="T102" fmla="*/ 68 w 70"/>
                <a:gd name="T103" fmla="*/ 68 h 80"/>
                <a:gd name="T104" fmla="*/ 70 w 70"/>
                <a:gd name="T105"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 h="80">
                  <a:moveTo>
                    <a:pt x="68" y="61"/>
                  </a:moveTo>
                  <a:lnTo>
                    <a:pt x="68" y="59"/>
                  </a:lnTo>
                  <a:lnTo>
                    <a:pt x="68" y="59"/>
                  </a:lnTo>
                  <a:lnTo>
                    <a:pt x="66" y="59"/>
                  </a:lnTo>
                  <a:lnTo>
                    <a:pt x="63" y="57"/>
                  </a:lnTo>
                  <a:lnTo>
                    <a:pt x="63" y="54"/>
                  </a:lnTo>
                  <a:lnTo>
                    <a:pt x="63" y="54"/>
                  </a:lnTo>
                  <a:lnTo>
                    <a:pt x="61" y="52"/>
                  </a:lnTo>
                  <a:lnTo>
                    <a:pt x="61" y="52"/>
                  </a:lnTo>
                  <a:lnTo>
                    <a:pt x="61" y="52"/>
                  </a:lnTo>
                  <a:lnTo>
                    <a:pt x="61" y="50"/>
                  </a:lnTo>
                  <a:lnTo>
                    <a:pt x="61" y="47"/>
                  </a:lnTo>
                  <a:lnTo>
                    <a:pt x="61" y="47"/>
                  </a:lnTo>
                  <a:lnTo>
                    <a:pt x="61" y="45"/>
                  </a:lnTo>
                  <a:lnTo>
                    <a:pt x="61" y="45"/>
                  </a:lnTo>
                  <a:lnTo>
                    <a:pt x="63" y="45"/>
                  </a:lnTo>
                  <a:lnTo>
                    <a:pt x="63" y="42"/>
                  </a:lnTo>
                  <a:lnTo>
                    <a:pt x="63" y="42"/>
                  </a:lnTo>
                  <a:lnTo>
                    <a:pt x="66" y="40"/>
                  </a:lnTo>
                  <a:lnTo>
                    <a:pt x="66" y="40"/>
                  </a:lnTo>
                  <a:lnTo>
                    <a:pt x="66" y="40"/>
                  </a:lnTo>
                  <a:lnTo>
                    <a:pt x="66" y="40"/>
                  </a:lnTo>
                  <a:lnTo>
                    <a:pt x="63" y="40"/>
                  </a:lnTo>
                  <a:lnTo>
                    <a:pt x="63" y="38"/>
                  </a:lnTo>
                  <a:lnTo>
                    <a:pt x="63" y="38"/>
                  </a:lnTo>
                  <a:lnTo>
                    <a:pt x="61" y="38"/>
                  </a:lnTo>
                  <a:lnTo>
                    <a:pt x="61" y="35"/>
                  </a:lnTo>
                  <a:lnTo>
                    <a:pt x="63" y="35"/>
                  </a:lnTo>
                  <a:lnTo>
                    <a:pt x="63" y="33"/>
                  </a:lnTo>
                  <a:lnTo>
                    <a:pt x="66" y="33"/>
                  </a:lnTo>
                  <a:lnTo>
                    <a:pt x="66" y="33"/>
                  </a:lnTo>
                  <a:lnTo>
                    <a:pt x="66" y="33"/>
                  </a:lnTo>
                  <a:lnTo>
                    <a:pt x="63" y="33"/>
                  </a:lnTo>
                  <a:lnTo>
                    <a:pt x="61" y="31"/>
                  </a:lnTo>
                  <a:lnTo>
                    <a:pt x="59" y="31"/>
                  </a:lnTo>
                  <a:lnTo>
                    <a:pt x="56" y="33"/>
                  </a:lnTo>
                  <a:lnTo>
                    <a:pt x="54" y="35"/>
                  </a:lnTo>
                  <a:lnTo>
                    <a:pt x="54" y="33"/>
                  </a:lnTo>
                  <a:lnTo>
                    <a:pt x="51" y="33"/>
                  </a:lnTo>
                  <a:lnTo>
                    <a:pt x="49" y="31"/>
                  </a:lnTo>
                  <a:lnTo>
                    <a:pt x="47" y="31"/>
                  </a:lnTo>
                  <a:lnTo>
                    <a:pt x="47" y="31"/>
                  </a:lnTo>
                  <a:lnTo>
                    <a:pt x="44" y="28"/>
                  </a:lnTo>
                  <a:lnTo>
                    <a:pt x="42" y="28"/>
                  </a:lnTo>
                  <a:lnTo>
                    <a:pt x="42" y="28"/>
                  </a:lnTo>
                  <a:lnTo>
                    <a:pt x="42" y="28"/>
                  </a:lnTo>
                  <a:lnTo>
                    <a:pt x="44" y="28"/>
                  </a:lnTo>
                  <a:lnTo>
                    <a:pt x="44" y="28"/>
                  </a:lnTo>
                  <a:lnTo>
                    <a:pt x="44" y="26"/>
                  </a:lnTo>
                  <a:lnTo>
                    <a:pt x="44" y="26"/>
                  </a:lnTo>
                  <a:lnTo>
                    <a:pt x="44" y="26"/>
                  </a:lnTo>
                  <a:lnTo>
                    <a:pt x="42" y="26"/>
                  </a:lnTo>
                  <a:lnTo>
                    <a:pt x="42" y="26"/>
                  </a:lnTo>
                  <a:lnTo>
                    <a:pt x="42" y="26"/>
                  </a:lnTo>
                  <a:lnTo>
                    <a:pt x="42" y="24"/>
                  </a:lnTo>
                  <a:lnTo>
                    <a:pt x="42" y="24"/>
                  </a:lnTo>
                  <a:lnTo>
                    <a:pt x="42" y="24"/>
                  </a:lnTo>
                  <a:lnTo>
                    <a:pt x="42" y="24"/>
                  </a:lnTo>
                  <a:lnTo>
                    <a:pt x="42" y="21"/>
                  </a:lnTo>
                  <a:lnTo>
                    <a:pt x="44" y="21"/>
                  </a:lnTo>
                  <a:lnTo>
                    <a:pt x="44" y="21"/>
                  </a:lnTo>
                  <a:lnTo>
                    <a:pt x="44" y="21"/>
                  </a:lnTo>
                  <a:lnTo>
                    <a:pt x="44" y="19"/>
                  </a:lnTo>
                  <a:lnTo>
                    <a:pt x="42" y="19"/>
                  </a:lnTo>
                  <a:lnTo>
                    <a:pt x="42" y="19"/>
                  </a:lnTo>
                  <a:lnTo>
                    <a:pt x="40" y="19"/>
                  </a:lnTo>
                  <a:lnTo>
                    <a:pt x="37" y="16"/>
                  </a:lnTo>
                  <a:lnTo>
                    <a:pt x="37" y="16"/>
                  </a:lnTo>
                  <a:lnTo>
                    <a:pt x="35" y="16"/>
                  </a:lnTo>
                  <a:lnTo>
                    <a:pt x="35" y="16"/>
                  </a:lnTo>
                  <a:lnTo>
                    <a:pt x="33" y="14"/>
                  </a:lnTo>
                  <a:lnTo>
                    <a:pt x="33" y="14"/>
                  </a:lnTo>
                  <a:lnTo>
                    <a:pt x="33" y="14"/>
                  </a:lnTo>
                  <a:lnTo>
                    <a:pt x="33" y="14"/>
                  </a:lnTo>
                  <a:lnTo>
                    <a:pt x="33" y="12"/>
                  </a:lnTo>
                  <a:lnTo>
                    <a:pt x="33" y="12"/>
                  </a:lnTo>
                  <a:lnTo>
                    <a:pt x="33" y="12"/>
                  </a:lnTo>
                  <a:lnTo>
                    <a:pt x="33" y="9"/>
                  </a:lnTo>
                  <a:lnTo>
                    <a:pt x="33" y="9"/>
                  </a:lnTo>
                  <a:lnTo>
                    <a:pt x="33" y="7"/>
                  </a:lnTo>
                  <a:lnTo>
                    <a:pt x="30" y="7"/>
                  </a:lnTo>
                  <a:lnTo>
                    <a:pt x="30" y="7"/>
                  </a:lnTo>
                  <a:lnTo>
                    <a:pt x="30" y="9"/>
                  </a:lnTo>
                  <a:lnTo>
                    <a:pt x="30" y="9"/>
                  </a:lnTo>
                  <a:lnTo>
                    <a:pt x="30" y="7"/>
                  </a:lnTo>
                  <a:lnTo>
                    <a:pt x="28" y="5"/>
                  </a:lnTo>
                  <a:lnTo>
                    <a:pt x="28" y="5"/>
                  </a:lnTo>
                  <a:lnTo>
                    <a:pt x="26" y="5"/>
                  </a:lnTo>
                  <a:lnTo>
                    <a:pt x="23" y="2"/>
                  </a:lnTo>
                  <a:lnTo>
                    <a:pt x="23" y="2"/>
                  </a:lnTo>
                  <a:lnTo>
                    <a:pt x="23" y="0"/>
                  </a:lnTo>
                  <a:lnTo>
                    <a:pt x="21" y="0"/>
                  </a:lnTo>
                  <a:lnTo>
                    <a:pt x="21" y="0"/>
                  </a:lnTo>
                  <a:lnTo>
                    <a:pt x="16" y="0"/>
                  </a:lnTo>
                  <a:lnTo>
                    <a:pt x="16" y="0"/>
                  </a:lnTo>
                  <a:lnTo>
                    <a:pt x="14" y="0"/>
                  </a:lnTo>
                  <a:lnTo>
                    <a:pt x="11" y="0"/>
                  </a:lnTo>
                  <a:lnTo>
                    <a:pt x="11" y="0"/>
                  </a:lnTo>
                  <a:lnTo>
                    <a:pt x="9" y="0"/>
                  </a:lnTo>
                  <a:lnTo>
                    <a:pt x="9" y="2"/>
                  </a:lnTo>
                  <a:lnTo>
                    <a:pt x="9" y="2"/>
                  </a:lnTo>
                  <a:lnTo>
                    <a:pt x="7" y="2"/>
                  </a:lnTo>
                  <a:lnTo>
                    <a:pt x="7" y="2"/>
                  </a:lnTo>
                  <a:lnTo>
                    <a:pt x="4" y="2"/>
                  </a:lnTo>
                  <a:lnTo>
                    <a:pt x="4" y="2"/>
                  </a:lnTo>
                  <a:lnTo>
                    <a:pt x="4" y="2"/>
                  </a:lnTo>
                  <a:lnTo>
                    <a:pt x="2" y="2"/>
                  </a:lnTo>
                  <a:lnTo>
                    <a:pt x="2" y="2"/>
                  </a:lnTo>
                  <a:lnTo>
                    <a:pt x="2" y="5"/>
                  </a:lnTo>
                  <a:lnTo>
                    <a:pt x="0" y="5"/>
                  </a:lnTo>
                  <a:lnTo>
                    <a:pt x="0" y="5"/>
                  </a:lnTo>
                  <a:lnTo>
                    <a:pt x="0" y="5"/>
                  </a:lnTo>
                  <a:lnTo>
                    <a:pt x="0" y="5"/>
                  </a:lnTo>
                  <a:lnTo>
                    <a:pt x="0" y="7"/>
                  </a:lnTo>
                  <a:lnTo>
                    <a:pt x="0" y="7"/>
                  </a:lnTo>
                  <a:lnTo>
                    <a:pt x="2" y="9"/>
                  </a:lnTo>
                  <a:lnTo>
                    <a:pt x="0" y="12"/>
                  </a:lnTo>
                  <a:lnTo>
                    <a:pt x="2" y="12"/>
                  </a:lnTo>
                  <a:lnTo>
                    <a:pt x="2" y="12"/>
                  </a:lnTo>
                  <a:lnTo>
                    <a:pt x="4" y="12"/>
                  </a:lnTo>
                  <a:lnTo>
                    <a:pt x="2" y="14"/>
                  </a:lnTo>
                  <a:lnTo>
                    <a:pt x="2" y="14"/>
                  </a:lnTo>
                  <a:lnTo>
                    <a:pt x="2" y="14"/>
                  </a:lnTo>
                  <a:lnTo>
                    <a:pt x="4" y="16"/>
                  </a:lnTo>
                  <a:lnTo>
                    <a:pt x="7" y="16"/>
                  </a:lnTo>
                  <a:lnTo>
                    <a:pt x="9" y="19"/>
                  </a:lnTo>
                  <a:lnTo>
                    <a:pt x="9" y="19"/>
                  </a:lnTo>
                  <a:lnTo>
                    <a:pt x="9" y="19"/>
                  </a:lnTo>
                  <a:lnTo>
                    <a:pt x="9" y="19"/>
                  </a:lnTo>
                  <a:lnTo>
                    <a:pt x="9" y="19"/>
                  </a:lnTo>
                  <a:lnTo>
                    <a:pt x="9" y="19"/>
                  </a:lnTo>
                  <a:lnTo>
                    <a:pt x="7" y="19"/>
                  </a:lnTo>
                  <a:lnTo>
                    <a:pt x="7" y="19"/>
                  </a:lnTo>
                  <a:lnTo>
                    <a:pt x="4" y="19"/>
                  </a:lnTo>
                  <a:lnTo>
                    <a:pt x="4" y="19"/>
                  </a:lnTo>
                  <a:lnTo>
                    <a:pt x="4" y="21"/>
                  </a:lnTo>
                  <a:lnTo>
                    <a:pt x="4" y="21"/>
                  </a:lnTo>
                  <a:lnTo>
                    <a:pt x="4" y="26"/>
                  </a:lnTo>
                  <a:lnTo>
                    <a:pt x="4" y="26"/>
                  </a:lnTo>
                  <a:lnTo>
                    <a:pt x="4" y="26"/>
                  </a:lnTo>
                  <a:lnTo>
                    <a:pt x="4" y="26"/>
                  </a:lnTo>
                  <a:lnTo>
                    <a:pt x="2" y="26"/>
                  </a:lnTo>
                  <a:lnTo>
                    <a:pt x="2" y="26"/>
                  </a:lnTo>
                  <a:lnTo>
                    <a:pt x="2" y="28"/>
                  </a:lnTo>
                  <a:lnTo>
                    <a:pt x="4" y="28"/>
                  </a:lnTo>
                  <a:lnTo>
                    <a:pt x="4" y="26"/>
                  </a:lnTo>
                  <a:lnTo>
                    <a:pt x="7" y="26"/>
                  </a:lnTo>
                  <a:lnTo>
                    <a:pt x="9" y="28"/>
                  </a:lnTo>
                  <a:lnTo>
                    <a:pt x="9" y="28"/>
                  </a:lnTo>
                  <a:lnTo>
                    <a:pt x="9" y="28"/>
                  </a:lnTo>
                  <a:lnTo>
                    <a:pt x="9" y="31"/>
                  </a:lnTo>
                  <a:lnTo>
                    <a:pt x="7" y="31"/>
                  </a:lnTo>
                  <a:lnTo>
                    <a:pt x="7" y="33"/>
                  </a:lnTo>
                  <a:lnTo>
                    <a:pt x="7" y="35"/>
                  </a:lnTo>
                  <a:lnTo>
                    <a:pt x="4" y="35"/>
                  </a:lnTo>
                  <a:lnTo>
                    <a:pt x="4" y="38"/>
                  </a:lnTo>
                  <a:lnTo>
                    <a:pt x="4" y="38"/>
                  </a:lnTo>
                  <a:lnTo>
                    <a:pt x="4" y="38"/>
                  </a:lnTo>
                  <a:lnTo>
                    <a:pt x="7" y="40"/>
                  </a:lnTo>
                  <a:lnTo>
                    <a:pt x="7" y="40"/>
                  </a:lnTo>
                  <a:lnTo>
                    <a:pt x="9" y="40"/>
                  </a:lnTo>
                  <a:lnTo>
                    <a:pt x="11" y="42"/>
                  </a:lnTo>
                  <a:lnTo>
                    <a:pt x="11" y="45"/>
                  </a:lnTo>
                  <a:lnTo>
                    <a:pt x="14" y="45"/>
                  </a:lnTo>
                  <a:lnTo>
                    <a:pt x="14" y="45"/>
                  </a:lnTo>
                  <a:lnTo>
                    <a:pt x="14" y="45"/>
                  </a:lnTo>
                  <a:lnTo>
                    <a:pt x="11" y="45"/>
                  </a:lnTo>
                  <a:lnTo>
                    <a:pt x="9" y="45"/>
                  </a:lnTo>
                  <a:lnTo>
                    <a:pt x="9" y="45"/>
                  </a:lnTo>
                  <a:lnTo>
                    <a:pt x="9" y="45"/>
                  </a:lnTo>
                  <a:lnTo>
                    <a:pt x="7" y="47"/>
                  </a:lnTo>
                  <a:lnTo>
                    <a:pt x="7" y="47"/>
                  </a:lnTo>
                  <a:lnTo>
                    <a:pt x="9" y="50"/>
                  </a:lnTo>
                  <a:lnTo>
                    <a:pt x="11" y="52"/>
                  </a:lnTo>
                  <a:lnTo>
                    <a:pt x="11" y="52"/>
                  </a:lnTo>
                  <a:lnTo>
                    <a:pt x="11" y="54"/>
                  </a:lnTo>
                  <a:lnTo>
                    <a:pt x="11" y="54"/>
                  </a:lnTo>
                  <a:lnTo>
                    <a:pt x="11" y="54"/>
                  </a:lnTo>
                  <a:lnTo>
                    <a:pt x="9" y="54"/>
                  </a:lnTo>
                  <a:lnTo>
                    <a:pt x="9" y="54"/>
                  </a:lnTo>
                  <a:lnTo>
                    <a:pt x="9" y="54"/>
                  </a:lnTo>
                  <a:lnTo>
                    <a:pt x="7" y="54"/>
                  </a:lnTo>
                  <a:lnTo>
                    <a:pt x="7" y="54"/>
                  </a:lnTo>
                  <a:lnTo>
                    <a:pt x="7" y="57"/>
                  </a:lnTo>
                  <a:lnTo>
                    <a:pt x="7" y="57"/>
                  </a:lnTo>
                  <a:lnTo>
                    <a:pt x="9" y="57"/>
                  </a:lnTo>
                  <a:lnTo>
                    <a:pt x="11" y="59"/>
                  </a:lnTo>
                  <a:lnTo>
                    <a:pt x="14" y="61"/>
                  </a:lnTo>
                  <a:lnTo>
                    <a:pt x="14" y="61"/>
                  </a:lnTo>
                  <a:lnTo>
                    <a:pt x="16" y="61"/>
                  </a:lnTo>
                  <a:lnTo>
                    <a:pt x="16" y="64"/>
                  </a:lnTo>
                  <a:lnTo>
                    <a:pt x="18" y="64"/>
                  </a:lnTo>
                  <a:lnTo>
                    <a:pt x="21" y="64"/>
                  </a:lnTo>
                  <a:lnTo>
                    <a:pt x="23" y="66"/>
                  </a:lnTo>
                  <a:lnTo>
                    <a:pt x="26" y="66"/>
                  </a:lnTo>
                  <a:lnTo>
                    <a:pt x="28" y="68"/>
                  </a:lnTo>
                  <a:lnTo>
                    <a:pt x="28" y="68"/>
                  </a:lnTo>
                  <a:lnTo>
                    <a:pt x="28" y="68"/>
                  </a:lnTo>
                  <a:lnTo>
                    <a:pt x="30" y="68"/>
                  </a:lnTo>
                  <a:lnTo>
                    <a:pt x="30" y="68"/>
                  </a:lnTo>
                  <a:lnTo>
                    <a:pt x="28" y="68"/>
                  </a:lnTo>
                  <a:lnTo>
                    <a:pt x="30" y="66"/>
                  </a:lnTo>
                  <a:lnTo>
                    <a:pt x="33" y="66"/>
                  </a:lnTo>
                  <a:lnTo>
                    <a:pt x="33" y="64"/>
                  </a:lnTo>
                  <a:lnTo>
                    <a:pt x="33" y="64"/>
                  </a:lnTo>
                  <a:lnTo>
                    <a:pt x="33" y="64"/>
                  </a:lnTo>
                  <a:lnTo>
                    <a:pt x="30" y="61"/>
                  </a:lnTo>
                  <a:lnTo>
                    <a:pt x="30" y="61"/>
                  </a:lnTo>
                  <a:lnTo>
                    <a:pt x="33" y="61"/>
                  </a:lnTo>
                  <a:lnTo>
                    <a:pt x="33" y="61"/>
                  </a:lnTo>
                  <a:lnTo>
                    <a:pt x="35" y="61"/>
                  </a:lnTo>
                  <a:lnTo>
                    <a:pt x="35" y="61"/>
                  </a:lnTo>
                  <a:lnTo>
                    <a:pt x="35" y="61"/>
                  </a:lnTo>
                  <a:lnTo>
                    <a:pt x="35" y="61"/>
                  </a:lnTo>
                  <a:lnTo>
                    <a:pt x="35" y="64"/>
                  </a:lnTo>
                  <a:lnTo>
                    <a:pt x="37" y="64"/>
                  </a:lnTo>
                  <a:lnTo>
                    <a:pt x="40" y="64"/>
                  </a:lnTo>
                  <a:lnTo>
                    <a:pt x="40" y="66"/>
                  </a:lnTo>
                  <a:lnTo>
                    <a:pt x="42" y="66"/>
                  </a:lnTo>
                  <a:lnTo>
                    <a:pt x="42" y="68"/>
                  </a:lnTo>
                  <a:lnTo>
                    <a:pt x="44" y="68"/>
                  </a:lnTo>
                  <a:lnTo>
                    <a:pt x="44" y="68"/>
                  </a:lnTo>
                  <a:lnTo>
                    <a:pt x="44" y="71"/>
                  </a:lnTo>
                  <a:lnTo>
                    <a:pt x="49" y="73"/>
                  </a:lnTo>
                  <a:lnTo>
                    <a:pt x="51" y="73"/>
                  </a:lnTo>
                  <a:lnTo>
                    <a:pt x="51" y="73"/>
                  </a:lnTo>
                  <a:lnTo>
                    <a:pt x="51" y="73"/>
                  </a:lnTo>
                  <a:lnTo>
                    <a:pt x="51" y="73"/>
                  </a:lnTo>
                  <a:lnTo>
                    <a:pt x="49" y="78"/>
                  </a:lnTo>
                  <a:lnTo>
                    <a:pt x="49" y="78"/>
                  </a:lnTo>
                  <a:lnTo>
                    <a:pt x="47" y="78"/>
                  </a:lnTo>
                  <a:lnTo>
                    <a:pt x="47" y="80"/>
                  </a:lnTo>
                  <a:lnTo>
                    <a:pt x="47" y="80"/>
                  </a:lnTo>
                  <a:lnTo>
                    <a:pt x="49" y="80"/>
                  </a:lnTo>
                  <a:lnTo>
                    <a:pt x="49" y="80"/>
                  </a:lnTo>
                  <a:lnTo>
                    <a:pt x="51" y="80"/>
                  </a:lnTo>
                  <a:lnTo>
                    <a:pt x="51" y="80"/>
                  </a:lnTo>
                  <a:lnTo>
                    <a:pt x="54" y="80"/>
                  </a:lnTo>
                  <a:lnTo>
                    <a:pt x="54" y="80"/>
                  </a:lnTo>
                  <a:lnTo>
                    <a:pt x="56" y="80"/>
                  </a:lnTo>
                  <a:lnTo>
                    <a:pt x="56" y="80"/>
                  </a:lnTo>
                  <a:lnTo>
                    <a:pt x="59" y="80"/>
                  </a:lnTo>
                  <a:lnTo>
                    <a:pt x="59" y="78"/>
                  </a:lnTo>
                  <a:lnTo>
                    <a:pt x="61" y="80"/>
                  </a:lnTo>
                  <a:lnTo>
                    <a:pt x="61" y="80"/>
                  </a:lnTo>
                  <a:lnTo>
                    <a:pt x="61" y="80"/>
                  </a:lnTo>
                  <a:lnTo>
                    <a:pt x="63" y="80"/>
                  </a:lnTo>
                  <a:lnTo>
                    <a:pt x="63" y="78"/>
                  </a:lnTo>
                  <a:lnTo>
                    <a:pt x="63" y="78"/>
                  </a:lnTo>
                  <a:lnTo>
                    <a:pt x="63" y="76"/>
                  </a:lnTo>
                  <a:lnTo>
                    <a:pt x="63" y="76"/>
                  </a:lnTo>
                  <a:lnTo>
                    <a:pt x="63" y="76"/>
                  </a:lnTo>
                  <a:lnTo>
                    <a:pt x="63" y="73"/>
                  </a:lnTo>
                  <a:lnTo>
                    <a:pt x="63" y="71"/>
                  </a:lnTo>
                  <a:lnTo>
                    <a:pt x="63" y="71"/>
                  </a:lnTo>
                  <a:lnTo>
                    <a:pt x="63" y="71"/>
                  </a:lnTo>
                  <a:lnTo>
                    <a:pt x="63" y="68"/>
                  </a:lnTo>
                  <a:lnTo>
                    <a:pt x="63" y="68"/>
                  </a:lnTo>
                  <a:lnTo>
                    <a:pt x="63" y="68"/>
                  </a:lnTo>
                  <a:lnTo>
                    <a:pt x="68" y="68"/>
                  </a:lnTo>
                  <a:lnTo>
                    <a:pt x="68" y="66"/>
                  </a:lnTo>
                  <a:lnTo>
                    <a:pt x="70" y="66"/>
                  </a:lnTo>
                  <a:lnTo>
                    <a:pt x="70" y="64"/>
                  </a:lnTo>
                  <a:lnTo>
                    <a:pt x="70" y="64"/>
                  </a:lnTo>
                  <a:lnTo>
                    <a:pt x="70" y="64"/>
                  </a:lnTo>
                  <a:lnTo>
                    <a:pt x="70" y="61"/>
                  </a:lnTo>
                  <a:lnTo>
                    <a:pt x="68" y="6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1" name="Freeform 247"/>
            <p:cNvSpPr>
              <a:spLocks/>
            </p:cNvSpPr>
            <p:nvPr userDrawn="1"/>
          </p:nvSpPr>
          <p:spPr bwMode="auto">
            <a:xfrm>
              <a:off x="3332" y="2455"/>
              <a:ext cx="111" cy="93"/>
            </a:xfrm>
            <a:custGeom>
              <a:avLst/>
              <a:gdLst>
                <a:gd name="T0" fmla="*/ 111 w 111"/>
                <a:gd name="T1" fmla="*/ 81 h 93"/>
                <a:gd name="T2" fmla="*/ 111 w 111"/>
                <a:gd name="T3" fmla="*/ 76 h 93"/>
                <a:gd name="T4" fmla="*/ 109 w 111"/>
                <a:gd name="T5" fmla="*/ 71 h 93"/>
                <a:gd name="T6" fmla="*/ 104 w 111"/>
                <a:gd name="T7" fmla="*/ 71 h 93"/>
                <a:gd name="T8" fmla="*/ 104 w 111"/>
                <a:gd name="T9" fmla="*/ 69 h 93"/>
                <a:gd name="T10" fmla="*/ 102 w 111"/>
                <a:gd name="T11" fmla="*/ 62 h 93"/>
                <a:gd name="T12" fmla="*/ 102 w 111"/>
                <a:gd name="T13" fmla="*/ 57 h 93"/>
                <a:gd name="T14" fmla="*/ 99 w 111"/>
                <a:gd name="T15" fmla="*/ 50 h 93"/>
                <a:gd name="T16" fmla="*/ 99 w 111"/>
                <a:gd name="T17" fmla="*/ 43 h 93"/>
                <a:gd name="T18" fmla="*/ 92 w 111"/>
                <a:gd name="T19" fmla="*/ 36 h 93"/>
                <a:gd name="T20" fmla="*/ 88 w 111"/>
                <a:gd name="T21" fmla="*/ 31 h 93"/>
                <a:gd name="T22" fmla="*/ 88 w 111"/>
                <a:gd name="T23" fmla="*/ 31 h 93"/>
                <a:gd name="T24" fmla="*/ 83 w 111"/>
                <a:gd name="T25" fmla="*/ 26 h 93"/>
                <a:gd name="T26" fmla="*/ 81 w 111"/>
                <a:gd name="T27" fmla="*/ 24 h 93"/>
                <a:gd name="T28" fmla="*/ 78 w 111"/>
                <a:gd name="T29" fmla="*/ 15 h 93"/>
                <a:gd name="T30" fmla="*/ 76 w 111"/>
                <a:gd name="T31" fmla="*/ 12 h 93"/>
                <a:gd name="T32" fmla="*/ 71 w 111"/>
                <a:gd name="T33" fmla="*/ 12 h 93"/>
                <a:gd name="T34" fmla="*/ 69 w 111"/>
                <a:gd name="T35" fmla="*/ 12 h 93"/>
                <a:gd name="T36" fmla="*/ 64 w 111"/>
                <a:gd name="T37" fmla="*/ 5 h 93"/>
                <a:gd name="T38" fmla="*/ 50 w 111"/>
                <a:gd name="T39" fmla="*/ 0 h 93"/>
                <a:gd name="T40" fmla="*/ 48 w 111"/>
                <a:gd name="T41" fmla="*/ 0 h 93"/>
                <a:gd name="T42" fmla="*/ 43 w 111"/>
                <a:gd name="T43" fmla="*/ 3 h 93"/>
                <a:gd name="T44" fmla="*/ 33 w 111"/>
                <a:gd name="T45" fmla="*/ 5 h 93"/>
                <a:gd name="T46" fmla="*/ 26 w 111"/>
                <a:gd name="T47" fmla="*/ 3 h 93"/>
                <a:gd name="T48" fmla="*/ 22 w 111"/>
                <a:gd name="T49" fmla="*/ 10 h 93"/>
                <a:gd name="T50" fmla="*/ 19 w 111"/>
                <a:gd name="T51" fmla="*/ 19 h 93"/>
                <a:gd name="T52" fmla="*/ 3 w 111"/>
                <a:gd name="T53" fmla="*/ 41 h 93"/>
                <a:gd name="T54" fmla="*/ 3 w 111"/>
                <a:gd name="T55" fmla="*/ 43 h 93"/>
                <a:gd name="T56" fmla="*/ 10 w 111"/>
                <a:gd name="T57" fmla="*/ 48 h 93"/>
                <a:gd name="T58" fmla="*/ 15 w 111"/>
                <a:gd name="T59" fmla="*/ 57 h 93"/>
                <a:gd name="T60" fmla="*/ 15 w 111"/>
                <a:gd name="T61" fmla="*/ 57 h 93"/>
                <a:gd name="T62" fmla="*/ 17 w 111"/>
                <a:gd name="T63" fmla="*/ 64 h 93"/>
                <a:gd name="T64" fmla="*/ 33 w 111"/>
                <a:gd name="T65" fmla="*/ 67 h 93"/>
                <a:gd name="T66" fmla="*/ 43 w 111"/>
                <a:gd name="T67" fmla="*/ 62 h 93"/>
                <a:gd name="T68" fmla="*/ 52 w 111"/>
                <a:gd name="T69" fmla="*/ 64 h 93"/>
                <a:gd name="T70" fmla="*/ 59 w 111"/>
                <a:gd name="T71" fmla="*/ 69 h 93"/>
                <a:gd name="T72" fmla="*/ 64 w 111"/>
                <a:gd name="T73" fmla="*/ 67 h 93"/>
                <a:gd name="T74" fmla="*/ 64 w 111"/>
                <a:gd name="T75" fmla="*/ 71 h 93"/>
                <a:gd name="T76" fmla="*/ 50 w 111"/>
                <a:gd name="T77" fmla="*/ 69 h 93"/>
                <a:gd name="T78" fmla="*/ 45 w 111"/>
                <a:gd name="T79" fmla="*/ 67 h 93"/>
                <a:gd name="T80" fmla="*/ 40 w 111"/>
                <a:gd name="T81" fmla="*/ 69 h 93"/>
                <a:gd name="T82" fmla="*/ 31 w 111"/>
                <a:gd name="T83" fmla="*/ 71 h 93"/>
                <a:gd name="T84" fmla="*/ 24 w 111"/>
                <a:gd name="T85" fmla="*/ 76 h 93"/>
                <a:gd name="T86" fmla="*/ 12 w 111"/>
                <a:gd name="T87" fmla="*/ 76 h 93"/>
                <a:gd name="T88" fmla="*/ 12 w 111"/>
                <a:gd name="T89" fmla="*/ 85 h 93"/>
                <a:gd name="T90" fmla="*/ 15 w 111"/>
                <a:gd name="T91" fmla="*/ 85 h 93"/>
                <a:gd name="T92" fmla="*/ 19 w 111"/>
                <a:gd name="T93" fmla="*/ 85 h 93"/>
                <a:gd name="T94" fmla="*/ 17 w 111"/>
                <a:gd name="T95" fmla="*/ 85 h 93"/>
                <a:gd name="T96" fmla="*/ 12 w 111"/>
                <a:gd name="T97" fmla="*/ 90 h 93"/>
                <a:gd name="T98" fmla="*/ 19 w 111"/>
                <a:gd name="T99" fmla="*/ 93 h 93"/>
                <a:gd name="T100" fmla="*/ 29 w 111"/>
                <a:gd name="T101" fmla="*/ 90 h 93"/>
                <a:gd name="T102" fmla="*/ 45 w 111"/>
                <a:gd name="T103" fmla="*/ 85 h 93"/>
                <a:gd name="T104" fmla="*/ 69 w 111"/>
                <a:gd name="T105" fmla="*/ 85 h 93"/>
                <a:gd name="T106" fmla="*/ 81 w 111"/>
                <a:gd name="T107" fmla="*/ 85 h 93"/>
                <a:gd name="T108" fmla="*/ 81 w 111"/>
                <a:gd name="T109" fmla="*/ 88 h 93"/>
                <a:gd name="T110" fmla="*/ 83 w 111"/>
                <a:gd name="T111" fmla="*/ 88 h 93"/>
                <a:gd name="T112" fmla="*/ 88 w 111"/>
                <a:gd name="T113" fmla="*/ 90 h 93"/>
                <a:gd name="T114" fmla="*/ 92 w 111"/>
                <a:gd name="T115" fmla="*/ 93 h 93"/>
                <a:gd name="T116" fmla="*/ 102 w 111"/>
                <a:gd name="T117" fmla="*/ 90 h 93"/>
                <a:gd name="T118" fmla="*/ 111 w 111"/>
                <a:gd name="T119"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93">
                  <a:moveTo>
                    <a:pt x="111" y="88"/>
                  </a:moveTo>
                  <a:lnTo>
                    <a:pt x="111" y="85"/>
                  </a:lnTo>
                  <a:lnTo>
                    <a:pt x="111" y="83"/>
                  </a:lnTo>
                  <a:lnTo>
                    <a:pt x="111" y="81"/>
                  </a:lnTo>
                  <a:lnTo>
                    <a:pt x="111" y="78"/>
                  </a:lnTo>
                  <a:lnTo>
                    <a:pt x="111" y="78"/>
                  </a:lnTo>
                  <a:lnTo>
                    <a:pt x="111" y="78"/>
                  </a:lnTo>
                  <a:lnTo>
                    <a:pt x="111" y="76"/>
                  </a:lnTo>
                  <a:lnTo>
                    <a:pt x="109" y="74"/>
                  </a:lnTo>
                  <a:lnTo>
                    <a:pt x="109" y="74"/>
                  </a:lnTo>
                  <a:lnTo>
                    <a:pt x="109" y="71"/>
                  </a:lnTo>
                  <a:lnTo>
                    <a:pt x="109" y="71"/>
                  </a:lnTo>
                  <a:lnTo>
                    <a:pt x="106" y="71"/>
                  </a:lnTo>
                  <a:lnTo>
                    <a:pt x="106" y="69"/>
                  </a:lnTo>
                  <a:lnTo>
                    <a:pt x="104" y="71"/>
                  </a:lnTo>
                  <a:lnTo>
                    <a:pt x="104" y="71"/>
                  </a:lnTo>
                  <a:lnTo>
                    <a:pt x="104" y="71"/>
                  </a:lnTo>
                  <a:lnTo>
                    <a:pt x="104" y="71"/>
                  </a:lnTo>
                  <a:lnTo>
                    <a:pt x="104" y="69"/>
                  </a:lnTo>
                  <a:lnTo>
                    <a:pt x="104" y="69"/>
                  </a:lnTo>
                  <a:lnTo>
                    <a:pt x="102" y="67"/>
                  </a:lnTo>
                  <a:lnTo>
                    <a:pt x="99" y="64"/>
                  </a:lnTo>
                  <a:lnTo>
                    <a:pt x="99" y="62"/>
                  </a:lnTo>
                  <a:lnTo>
                    <a:pt x="102" y="62"/>
                  </a:lnTo>
                  <a:lnTo>
                    <a:pt x="102" y="62"/>
                  </a:lnTo>
                  <a:lnTo>
                    <a:pt x="102" y="59"/>
                  </a:lnTo>
                  <a:lnTo>
                    <a:pt x="102" y="59"/>
                  </a:lnTo>
                  <a:lnTo>
                    <a:pt x="102" y="57"/>
                  </a:lnTo>
                  <a:lnTo>
                    <a:pt x="102" y="55"/>
                  </a:lnTo>
                  <a:lnTo>
                    <a:pt x="102" y="52"/>
                  </a:lnTo>
                  <a:lnTo>
                    <a:pt x="99" y="52"/>
                  </a:lnTo>
                  <a:lnTo>
                    <a:pt x="99" y="50"/>
                  </a:lnTo>
                  <a:lnTo>
                    <a:pt x="99" y="50"/>
                  </a:lnTo>
                  <a:lnTo>
                    <a:pt x="97" y="48"/>
                  </a:lnTo>
                  <a:lnTo>
                    <a:pt x="97" y="45"/>
                  </a:lnTo>
                  <a:lnTo>
                    <a:pt x="99" y="43"/>
                  </a:lnTo>
                  <a:lnTo>
                    <a:pt x="97" y="41"/>
                  </a:lnTo>
                  <a:lnTo>
                    <a:pt x="97" y="41"/>
                  </a:lnTo>
                  <a:lnTo>
                    <a:pt x="95" y="38"/>
                  </a:lnTo>
                  <a:lnTo>
                    <a:pt x="92" y="36"/>
                  </a:lnTo>
                  <a:lnTo>
                    <a:pt x="92" y="36"/>
                  </a:lnTo>
                  <a:lnTo>
                    <a:pt x="90" y="33"/>
                  </a:lnTo>
                  <a:lnTo>
                    <a:pt x="88" y="33"/>
                  </a:lnTo>
                  <a:lnTo>
                    <a:pt x="88" y="31"/>
                  </a:lnTo>
                  <a:lnTo>
                    <a:pt x="88" y="31"/>
                  </a:lnTo>
                  <a:lnTo>
                    <a:pt x="85" y="31"/>
                  </a:lnTo>
                  <a:lnTo>
                    <a:pt x="85" y="31"/>
                  </a:lnTo>
                  <a:lnTo>
                    <a:pt x="88" y="31"/>
                  </a:lnTo>
                  <a:lnTo>
                    <a:pt x="85" y="29"/>
                  </a:lnTo>
                  <a:lnTo>
                    <a:pt x="85" y="26"/>
                  </a:lnTo>
                  <a:lnTo>
                    <a:pt x="83" y="26"/>
                  </a:lnTo>
                  <a:lnTo>
                    <a:pt x="83" y="26"/>
                  </a:lnTo>
                  <a:lnTo>
                    <a:pt x="83" y="26"/>
                  </a:lnTo>
                  <a:lnTo>
                    <a:pt x="83" y="24"/>
                  </a:lnTo>
                  <a:lnTo>
                    <a:pt x="83" y="24"/>
                  </a:lnTo>
                  <a:lnTo>
                    <a:pt x="81" y="24"/>
                  </a:lnTo>
                  <a:lnTo>
                    <a:pt x="81" y="24"/>
                  </a:lnTo>
                  <a:lnTo>
                    <a:pt x="78" y="22"/>
                  </a:lnTo>
                  <a:lnTo>
                    <a:pt x="78" y="17"/>
                  </a:lnTo>
                  <a:lnTo>
                    <a:pt x="78" y="15"/>
                  </a:lnTo>
                  <a:lnTo>
                    <a:pt x="76" y="15"/>
                  </a:lnTo>
                  <a:lnTo>
                    <a:pt x="76" y="12"/>
                  </a:lnTo>
                  <a:lnTo>
                    <a:pt x="76" y="12"/>
                  </a:lnTo>
                  <a:lnTo>
                    <a:pt x="76" y="12"/>
                  </a:lnTo>
                  <a:lnTo>
                    <a:pt x="76" y="12"/>
                  </a:lnTo>
                  <a:lnTo>
                    <a:pt x="73" y="12"/>
                  </a:lnTo>
                  <a:lnTo>
                    <a:pt x="73" y="12"/>
                  </a:lnTo>
                  <a:lnTo>
                    <a:pt x="71" y="12"/>
                  </a:lnTo>
                  <a:lnTo>
                    <a:pt x="71" y="12"/>
                  </a:lnTo>
                  <a:lnTo>
                    <a:pt x="71" y="12"/>
                  </a:lnTo>
                  <a:lnTo>
                    <a:pt x="69" y="12"/>
                  </a:lnTo>
                  <a:lnTo>
                    <a:pt x="69" y="12"/>
                  </a:lnTo>
                  <a:lnTo>
                    <a:pt x="66" y="10"/>
                  </a:lnTo>
                  <a:lnTo>
                    <a:pt x="66" y="10"/>
                  </a:lnTo>
                  <a:lnTo>
                    <a:pt x="66" y="7"/>
                  </a:lnTo>
                  <a:lnTo>
                    <a:pt x="64" y="5"/>
                  </a:lnTo>
                  <a:lnTo>
                    <a:pt x="62" y="3"/>
                  </a:lnTo>
                  <a:lnTo>
                    <a:pt x="57" y="0"/>
                  </a:lnTo>
                  <a:lnTo>
                    <a:pt x="52" y="0"/>
                  </a:lnTo>
                  <a:lnTo>
                    <a:pt x="50" y="0"/>
                  </a:lnTo>
                  <a:lnTo>
                    <a:pt x="48" y="0"/>
                  </a:lnTo>
                  <a:lnTo>
                    <a:pt x="48" y="0"/>
                  </a:lnTo>
                  <a:lnTo>
                    <a:pt x="48" y="0"/>
                  </a:lnTo>
                  <a:lnTo>
                    <a:pt x="48" y="0"/>
                  </a:lnTo>
                  <a:lnTo>
                    <a:pt x="45" y="0"/>
                  </a:lnTo>
                  <a:lnTo>
                    <a:pt x="45" y="0"/>
                  </a:lnTo>
                  <a:lnTo>
                    <a:pt x="45" y="3"/>
                  </a:lnTo>
                  <a:lnTo>
                    <a:pt x="43" y="3"/>
                  </a:lnTo>
                  <a:lnTo>
                    <a:pt x="40" y="3"/>
                  </a:lnTo>
                  <a:lnTo>
                    <a:pt x="38" y="3"/>
                  </a:lnTo>
                  <a:lnTo>
                    <a:pt x="36" y="5"/>
                  </a:lnTo>
                  <a:lnTo>
                    <a:pt x="33" y="5"/>
                  </a:lnTo>
                  <a:lnTo>
                    <a:pt x="31" y="5"/>
                  </a:lnTo>
                  <a:lnTo>
                    <a:pt x="29" y="5"/>
                  </a:lnTo>
                  <a:lnTo>
                    <a:pt x="26" y="3"/>
                  </a:lnTo>
                  <a:lnTo>
                    <a:pt x="26" y="3"/>
                  </a:lnTo>
                  <a:lnTo>
                    <a:pt x="24" y="3"/>
                  </a:lnTo>
                  <a:lnTo>
                    <a:pt x="24" y="5"/>
                  </a:lnTo>
                  <a:lnTo>
                    <a:pt x="22" y="7"/>
                  </a:lnTo>
                  <a:lnTo>
                    <a:pt x="22" y="10"/>
                  </a:lnTo>
                  <a:lnTo>
                    <a:pt x="22" y="10"/>
                  </a:lnTo>
                  <a:lnTo>
                    <a:pt x="19" y="12"/>
                  </a:lnTo>
                  <a:lnTo>
                    <a:pt x="19" y="17"/>
                  </a:lnTo>
                  <a:lnTo>
                    <a:pt x="19" y="19"/>
                  </a:lnTo>
                  <a:lnTo>
                    <a:pt x="19" y="22"/>
                  </a:lnTo>
                  <a:lnTo>
                    <a:pt x="12" y="29"/>
                  </a:lnTo>
                  <a:lnTo>
                    <a:pt x="7" y="38"/>
                  </a:lnTo>
                  <a:lnTo>
                    <a:pt x="3" y="41"/>
                  </a:lnTo>
                  <a:lnTo>
                    <a:pt x="0" y="41"/>
                  </a:lnTo>
                  <a:lnTo>
                    <a:pt x="0" y="43"/>
                  </a:lnTo>
                  <a:lnTo>
                    <a:pt x="3" y="43"/>
                  </a:lnTo>
                  <a:lnTo>
                    <a:pt x="3" y="43"/>
                  </a:lnTo>
                  <a:lnTo>
                    <a:pt x="5" y="43"/>
                  </a:lnTo>
                  <a:lnTo>
                    <a:pt x="7" y="43"/>
                  </a:lnTo>
                  <a:lnTo>
                    <a:pt x="7" y="48"/>
                  </a:lnTo>
                  <a:lnTo>
                    <a:pt x="10" y="48"/>
                  </a:lnTo>
                  <a:lnTo>
                    <a:pt x="12" y="52"/>
                  </a:lnTo>
                  <a:lnTo>
                    <a:pt x="12" y="55"/>
                  </a:lnTo>
                  <a:lnTo>
                    <a:pt x="12" y="57"/>
                  </a:lnTo>
                  <a:lnTo>
                    <a:pt x="15" y="57"/>
                  </a:lnTo>
                  <a:lnTo>
                    <a:pt x="15" y="57"/>
                  </a:lnTo>
                  <a:lnTo>
                    <a:pt x="17" y="57"/>
                  </a:lnTo>
                  <a:lnTo>
                    <a:pt x="17" y="57"/>
                  </a:lnTo>
                  <a:lnTo>
                    <a:pt x="15" y="57"/>
                  </a:lnTo>
                  <a:lnTo>
                    <a:pt x="15" y="59"/>
                  </a:lnTo>
                  <a:lnTo>
                    <a:pt x="15" y="59"/>
                  </a:lnTo>
                  <a:lnTo>
                    <a:pt x="15" y="62"/>
                  </a:lnTo>
                  <a:lnTo>
                    <a:pt x="17" y="64"/>
                  </a:lnTo>
                  <a:lnTo>
                    <a:pt x="17" y="67"/>
                  </a:lnTo>
                  <a:lnTo>
                    <a:pt x="22" y="67"/>
                  </a:lnTo>
                  <a:lnTo>
                    <a:pt x="26" y="67"/>
                  </a:lnTo>
                  <a:lnTo>
                    <a:pt x="33" y="67"/>
                  </a:lnTo>
                  <a:lnTo>
                    <a:pt x="36" y="67"/>
                  </a:lnTo>
                  <a:lnTo>
                    <a:pt x="38" y="62"/>
                  </a:lnTo>
                  <a:lnTo>
                    <a:pt x="40" y="62"/>
                  </a:lnTo>
                  <a:lnTo>
                    <a:pt x="43" y="62"/>
                  </a:lnTo>
                  <a:lnTo>
                    <a:pt x="45" y="62"/>
                  </a:lnTo>
                  <a:lnTo>
                    <a:pt x="48" y="62"/>
                  </a:lnTo>
                  <a:lnTo>
                    <a:pt x="50" y="64"/>
                  </a:lnTo>
                  <a:lnTo>
                    <a:pt x="52" y="64"/>
                  </a:lnTo>
                  <a:lnTo>
                    <a:pt x="55" y="64"/>
                  </a:lnTo>
                  <a:lnTo>
                    <a:pt x="55" y="67"/>
                  </a:lnTo>
                  <a:lnTo>
                    <a:pt x="57" y="67"/>
                  </a:lnTo>
                  <a:lnTo>
                    <a:pt x="59" y="69"/>
                  </a:lnTo>
                  <a:lnTo>
                    <a:pt x="59" y="69"/>
                  </a:lnTo>
                  <a:lnTo>
                    <a:pt x="62" y="67"/>
                  </a:lnTo>
                  <a:lnTo>
                    <a:pt x="62" y="67"/>
                  </a:lnTo>
                  <a:lnTo>
                    <a:pt x="64" y="67"/>
                  </a:lnTo>
                  <a:lnTo>
                    <a:pt x="66" y="69"/>
                  </a:lnTo>
                  <a:lnTo>
                    <a:pt x="66" y="69"/>
                  </a:lnTo>
                  <a:lnTo>
                    <a:pt x="66" y="71"/>
                  </a:lnTo>
                  <a:lnTo>
                    <a:pt x="64" y="71"/>
                  </a:lnTo>
                  <a:lnTo>
                    <a:pt x="59" y="74"/>
                  </a:lnTo>
                  <a:lnTo>
                    <a:pt x="57" y="74"/>
                  </a:lnTo>
                  <a:lnTo>
                    <a:pt x="52" y="71"/>
                  </a:lnTo>
                  <a:lnTo>
                    <a:pt x="50" y="69"/>
                  </a:lnTo>
                  <a:lnTo>
                    <a:pt x="48" y="69"/>
                  </a:lnTo>
                  <a:lnTo>
                    <a:pt x="48" y="69"/>
                  </a:lnTo>
                  <a:lnTo>
                    <a:pt x="45" y="67"/>
                  </a:lnTo>
                  <a:lnTo>
                    <a:pt x="45" y="67"/>
                  </a:lnTo>
                  <a:lnTo>
                    <a:pt x="43" y="67"/>
                  </a:lnTo>
                  <a:lnTo>
                    <a:pt x="43" y="67"/>
                  </a:lnTo>
                  <a:lnTo>
                    <a:pt x="43" y="69"/>
                  </a:lnTo>
                  <a:lnTo>
                    <a:pt x="40" y="69"/>
                  </a:lnTo>
                  <a:lnTo>
                    <a:pt x="40" y="69"/>
                  </a:lnTo>
                  <a:lnTo>
                    <a:pt x="36" y="71"/>
                  </a:lnTo>
                  <a:lnTo>
                    <a:pt x="33" y="71"/>
                  </a:lnTo>
                  <a:lnTo>
                    <a:pt x="31" y="71"/>
                  </a:lnTo>
                  <a:lnTo>
                    <a:pt x="31" y="71"/>
                  </a:lnTo>
                  <a:lnTo>
                    <a:pt x="31" y="76"/>
                  </a:lnTo>
                  <a:lnTo>
                    <a:pt x="26" y="76"/>
                  </a:lnTo>
                  <a:lnTo>
                    <a:pt x="24" y="76"/>
                  </a:lnTo>
                  <a:lnTo>
                    <a:pt x="19" y="76"/>
                  </a:lnTo>
                  <a:lnTo>
                    <a:pt x="15" y="76"/>
                  </a:lnTo>
                  <a:lnTo>
                    <a:pt x="15" y="76"/>
                  </a:lnTo>
                  <a:lnTo>
                    <a:pt x="12" y="76"/>
                  </a:lnTo>
                  <a:lnTo>
                    <a:pt x="12" y="78"/>
                  </a:lnTo>
                  <a:lnTo>
                    <a:pt x="12" y="81"/>
                  </a:lnTo>
                  <a:lnTo>
                    <a:pt x="12" y="85"/>
                  </a:lnTo>
                  <a:lnTo>
                    <a:pt x="12" y="85"/>
                  </a:lnTo>
                  <a:lnTo>
                    <a:pt x="12" y="85"/>
                  </a:lnTo>
                  <a:lnTo>
                    <a:pt x="12" y="88"/>
                  </a:lnTo>
                  <a:lnTo>
                    <a:pt x="15" y="88"/>
                  </a:lnTo>
                  <a:lnTo>
                    <a:pt x="15" y="85"/>
                  </a:lnTo>
                  <a:lnTo>
                    <a:pt x="15" y="85"/>
                  </a:lnTo>
                  <a:lnTo>
                    <a:pt x="17" y="85"/>
                  </a:lnTo>
                  <a:lnTo>
                    <a:pt x="17" y="85"/>
                  </a:lnTo>
                  <a:lnTo>
                    <a:pt x="19" y="85"/>
                  </a:lnTo>
                  <a:lnTo>
                    <a:pt x="19" y="85"/>
                  </a:lnTo>
                  <a:lnTo>
                    <a:pt x="19" y="88"/>
                  </a:lnTo>
                  <a:lnTo>
                    <a:pt x="17" y="88"/>
                  </a:lnTo>
                  <a:lnTo>
                    <a:pt x="17" y="85"/>
                  </a:lnTo>
                  <a:lnTo>
                    <a:pt x="15" y="88"/>
                  </a:lnTo>
                  <a:lnTo>
                    <a:pt x="12" y="88"/>
                  </a:lnTo>
                  <a:lnTo>
                    <a:pt x="12" y="90"/>
                  </a:lnTo>
                  <a:lnTo>
                    <a:pt x="12" y="90"/>
                  </a:lnTo>
                  <a:lnTo>
                    <a:pt x="15" y="93"/>
                  </a:lnTo>
                  <a:lnTo>
                    <a:pt x="15" y="93"/>
                  </a:lnTo>
                  <a:lnTo>
                    <a:pt x="17" y="93"/>
                  </a:lnTo>
                  <a:lnTo>
                    <a:pt x="19" y="93"/>
                  </a:lnTo>
                  <a:lnTo>
                    <a:pt x="19" y="90"/>
                  </a:lnTo>
                  <a:lnTo>
                    <a:pt x="22" y="90"/>
                  </a:lnTo>
                  <a:lnTo>
                    <a:pt x="24" y="90"/>
                  </a:lnTo>
                  <a:lnTo>
                    <a:pt x="29" y="90"/>
                  </a:lnTo>
                  <a:lnTo>
                    <a:pt x="36" y="90"/>
                  </a:lnTo>
                  <a:lnTo>
                    <a:pt x="38" y="88"/>
                  </a:lnTo>
                  <a:lnTo>
                    <a:pt x="43" y="85"/>
                  </a:lnTo>
                  <a:lnTo>
                    <a:pt x="45" y="85"/>
                  </a:lnTo>
                  <a:lnTo>
                    <a:pt x="50" y="85"/>
                  </a:lnTo>
                  <a:lnTo>
                    <a:pt x="57" y="85"/>
                  </a:lnTo>
                  <a:lnTo>
                    <a:pt x="62" y="85"/>
                  </a:lnTo>
                  <a:lnTo>
                    <a:pt x="69" y="85"/>
                  </a:lnTo>
                  <a:lnTo>
                    <a:pt x="76" y="85"/>
                  </a:lnTo>
                  <a:lnTo>
                    <a:pt x="76" y="85"/>
                  </a:lnTo>
                  <a:lnTo>
                    <a:pt x="78" y="85"/>
                  </a:lnTo>
                  <a:lnTo>
                    <a:pt x="81" y="85"/>
                  </a:lnTo>
                  <a:lnTo>
                    <a:pt x="81" y="85"/>
                  </a:lnTo>
                  <a:lnTo>
                    <a:pt x="81" y="85"/>
                  </a:lnTo>
                  <a:lnTo>
                    <a:pt x="81" y="88"/>
                  </a:lnTo>
                  <a:lnTo>
                    <a:pt x="81" y="88"/>
                  </a:lnTo>
                  <a:lnTo>
                    <a:pt x="81" y="90"/>
                  </a:lnTo>
                  <a:lnTo>
                    <a:pt x="83" y="90"/>
                  </a:lnTo>
                  <a:lnTo>
                    <a:pt x="83" y="90"/>
                  </a:lnTo>
                  <a:lnTo>
                    <a:pt x="83" y="88"/>
                  </a:lnTo>
                  <a:lnTo>
                    <a:pt x="83" y="88"/>
                  </a:lnTo>
                  <a:lnTo>
                    <a:pt x="85" y="88"/>
                  </a:lnTo>
                  <a:lnTo>
                    <a:pt x="85" y="90"/>
                  </a:lnTo>
                  <a:lnTo>
                    <a:pt x="88" y="90"/>
                  </a:lnTo>
                  <a:lnTo>
                    <a:pt x="90" y="90"/>
                  </a:lnTo>
                  <a:lnTo>
                    <a:pt x="90" y="93"/>
                  </a:lnTo>
                  <a:lnTo>
                    <a:pt x="92" y="93"/>
                  </a:lnTo>
                  <a:lnTo>
                    <a:pt x="92" y="93"/>
                  </a:lnTo>
                  <a:lnTo>
                    <a:pt x="95" y="93"/>
                  </a:lnTo>
                  <a:lnTo>
                    <a:pt x="97" y="93"/>
                  </a:lnTo>
                  <a:lnTo>
                    <a:pt x="99" y="90"/>
                  </a:lnTo>
                  <a:lnTo>
                    <a:pt x="102" y="90"/>
                  </a:lnTo>
                  <a:lnTo>
                    <a:pt x="104" y="90"/>
                  </a:lnTo>
                  <a:lnTo>
                    <a:pt x="109" y="90"/>
                  </a:lnTo>
                  <a:lnTo>
                    <a:pt x="111" y="90"/>
                  </a:lnTo>
                  <a:lnTo>
                    <a:pt x="111" y="90"/>
                  </a:lnTo>
                  <a:lnTo>
                    <a:pt x="111" y="90"/>
                  </a:lnTo>
                  <a:lnTo>
                    <a:pt x="111" y="88"/>
                  </a:lnTo>
                  <a:lnTo>
                    <a:pt x="111" y="8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2" name="Freeform 248"/>
            <p:cNvSpPr>
              <a:spLocks noEditPoints="1"/>
            </p:cNvSpPr>
            <p:nvPr userDrawn="1"/>
          </p:nvSpPr>
          <p:spPr bwMode="auto">
            <a:xfrm>
              <a:off x="3773" y="2772"/>
              <a:ext cx="19" cy="36"/>
            </a:xfrm>
            <a:custGeom>
              <a:avLst/>
              <a:gdLst>
                <a:gd name="T0" fmla="*/ 5 w 19"/>
                <a:gd name="T1" fmla="*/ 26 h 36"/>
                <a:gd name="T2" fmla="*/ 2 w 19"/>
                <a:gd name="T3" fmla="*/ 26 h 36"/>
                <a:gd name="T4" fmla="*/ 0 w 19"/>
                <a:gd name="T5" fmla="*/ 29 h 36"/>
                <a:gd name="T6" fmla="*/ 0 w 19"/>
                <a:gd name="T7" fmla="*/ 31 h 36"/>
                <a:gd name="T8" fmla="*/ 0 w 19"/>
                <a:gd name="T9" fmla="*/ 31 h 36"/>
                <a:gd name="T10" fmla="*/ 0 w 19"/>
                <a:gd name="T11" fmla="*/ 33 h 36"/>
                <a:gd name="T12" fmla="*/ 0 w 19"/>
                <a:gd name="T13" fmla="*/ 33 h 36"/>
                <a:gd name="T14" fmla="*/ 2 w 19"/>
                <a:gd name="T15" fmla="*/ 36 h 36"/>
                <a:gd name="T16" fmla="*/ 2 w 19"/>
                <a:gd name="T17" fmla="*/ 33 h 36"/>
                <a:gd name="T18" fmla="*/ 5 w 19"/>
                <a:gd name="T19" fmla="*/ 31 h 36"/>
                <a:gd name="T20" fmla="*/ 5 w 19"/>
                <a:gd name="T21" fmla="*/ 29 h 36"/>
                <a:gd name="T22" fmla="*/ 5 w 19"/>
                <a:gd name="T23" fmla="*/ 26 h 36"/>
                <a:gd name="T24" fmla="*/ 19 w 19"/>
                <a:gd name="T25" fmla="*/ 0 h 36"/>
                <a:gd name="T26" fmla="*/ 19 w 19"/>
                <a:gd name="T27" fmla="*/ 0 h 36"/>
                <a:gd name="T28" fmla="*/ 17 w 19"/>
                <a:gd name="T29" fmla="*/ 0 h 36"/>
                <a:gd name="T30" fmla="*/ 17 w 19"/>
                <a:gd name="T31" fmla="*/ 0 h 36"/>
                <a:gd name="T32" fmla="*/ 17 w 19"/>
                <a:gd name="T33" fmla="*/ 3 h 36"/>
                <a:gd name="T34" fmla="*/ 17 w 19"/>
                <a:gd name="T35" fmla="*/ 3 h 36"/>
                <a:gd name="T36" fmla="*/ 17 w 19"/>
                <a:gd name="T37" fmla="*/ 3 h 36"/>
                <a:gd name="T38" fmla="*/ 19 w 19"/>
                <a:gd name="T39" fmla="*/ 3 h 36"/>
                <a:gd name="T40" fmla="*/ 19 w 19"/>
                <a:gd name="T41" fmla="*/ 0 h 36"/>
                <a:gd name="T42" fmla="*/ 19 w 19"/>
                <a:gd name="T4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6">
                  <a:moveTo>
                    <a:pt x="5" y="26"/>
                  </a:moveTo>
                  <a:lnTo>
                    <a:pt x="2" y="26"/>
                  </a:lnTo>
                  <a:lnTo>
                    <a:pt x="0" y="29"/>
                  </a:lnTo>
                  <a:lnTo>
                    <a:pt x="0" y="31"/>
                  </a:lnTo>
                  <a:lnTo>
                    <a:pt x="0" y="31"/>
                  </a:lnTo>
                  <a:lnTo>
                    <a:pt x="0" y="33"/>
                  </a:lnTo>
                  <a:lnTo>
                    <a:pt x="0" y="33"/>
                  </a:lnTo>
                  <a:lnTo>
                    <a:pt x="2" y="36"/>
                  </a:lnTo>
                  <a:lnTo>
                    <a:pt x="2" y="33"/>
                  </a:lnTo>
                  <a:lnTo>
                    <a:pt x="5" y="31"/>
                  </a:lnTo>
                  <a:lnTo>
                    <a:pt x="5" y="29"/>
                  </a:lnTo>
                  <a:lnTo>
                    <a:pt x="5" y="26"/>
                  </a:lnTo>
                  <a:close/>
                  <a:moveTo>
                    <a:pt x="19" y="0"/>
                  </a:moveTo>
                  <a:lnTo>
                    <a:pt x="19" y="0"/>
                  </a:lnTo>
                  <a:lnTo>
                    <a:pt x="17" y="0"/>
                  </a:lnTo>
                  <a:lnTo>
                    <a:pt x="17" y="0"/>
                  </a:lnTo>
                  <a:lnTo>
                    <a:pt x="17" y="3"/>
                  </a:lnTo>
                  <a:lnTo>
                    <a:pt x="17" y="3"/>
                  </a:lnTo>
                  <a:lnTo>
                    <a:pt x="17" y="3"/>
                  </a:lnTo>
                  <a:lnTo>
                    <a:pt x="19" y="3"/>
                  </a:lnTo>
                  <a:lnTo>
                    <a:pt x="19" y="0"/>
                  </a:lnTo>
                  <a:lnTo>
                    <a:pt x="19"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3" name="Freeform 249"/>
            <p:cNvSpPr>
              <a:spLocks/>
            </p:cNvSpPr>
            <p:nvPr userDrawn="1"/>
          </p:nvSpPr>
          <p:spPr bwMode="auto">
            <a:xfrm>
              <a:off x="3882" y="1881"/>
              <a:ext cx="0" cy="2"/>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4" name="Freeform 250"/>
            <p:cNvSpPr>
              <a:spLocks/>
            </p:cNvSpPr>
            <p:nvPr userDrawn="1"/>
          </p:nvSpPr>
          <p:spPr bwMode="auto">
            <a:xfrm>
              <a:off x="4190" y="2831"/>
              <a:ext cx="36" cy="36"/>
            </a:xfrm>
            <a:custGeom>
              <a:avLst/>
              <a:gdLst>
                <a:gd name="T0" fmla="*/ 36 w 36"/>
                <a:gd name="T1" fmla="*/ 19 h 36"/>
                <a:gd name="T2" fmla="*/ 36 w 36"/>
                <a:gd name="T3" fmla="*/ 12 h 36"/>
                <a:gd name="T4" fmla="*/ 36 w 36"/>
                <a:gd name="T5" fmla="*/ 7 h 36"/>
                <a:gd name="T6" fmla="*/ 33 w 36"/>
                <a:gd name="T7" fmla="*/ 5 h 36"/>
                <a:gd name="T8" fmla="*/ 29 w 36"/>
                <a:gd name="T9" fmla="*/ 0 h 36"/>
                <a:gd name="T10" fmla="*/ 31 w 36"/>
                <a:gd name="T11" fmla="*/ 0 h 36"/>
                <a:gd name="T12" fmla="*/ 29 w 36"/>
                <a:gd name="T13" fmla="*/ 0 h 36"/>
                <a:gd name="T14" fmla="*/ 26 w 36"/>
                <a:gd name="T15" fmla="*/ 0 h 36"/>
                <a:gd name="T16" fmla="*/ 24 w 36"/>
                <a:gd name="T17" fmla="*/ 3 h 36"/>
                <a:gd name="T18" fmla="*/ 21 w 36"/>
                <a:gd name="T19" fmla="*/ 5 h 36"/>
                <a:gd name="T20" fmla="*/ 19 w 36"/>
                <a:gd name="T21" fmla="*/ 7 h 36"/>
                <a:gd name="T22" fmla="*/ 19 w 36"/>
                <a:gd name="T23" fmla="*/ 7 h 36"/>
                <a:gd name="T24" fmla="*/ 17 w 36"/>
                <a:gd name="T25" fmla="*/ 5 h 36"/>
                <a:gd name="T26" fmla="*/ 12 w 36"/>
                <a:gd name="T27" fmla="*/ 5 h 36"/>
                <a:gd name="T28" fmla="*/ 10 w 36"/>
                <a:gd name="T29" fmla="*/ 7 h 36"/>
                <a:gd name="T30" fmla="*/ 7 w 36"/>
                <a:gd name="T31" fmla="*/ 10 h 36"/>
                <a:gd name="T32" fmla="*/ 5 w 36"/>
                <a:gd name="T33" fmla="*/ 12 h 36"/>
                <a:gd name="T34" fmla="*/ 5 w 36"/>
                <a:gd name="T35" fmla="*/ 17 h 36"/>
                <a:gd name="T36" fmla="*/ 5 w 36"/>
                <a:gd name="T37" fmla="*/ 22 h 36"/>
                <a:gd name="T38" fmla="*/ 5 w 36"/>
                <a:gd name="T39" fmla="*/ 24 h 36"/>
                <a:gd name="T40" fmla="*/ 0 w 36"/>
                <a:gd name="T41" fmla="*/ 26 h 36"/>
                <a:gd name="T42" fmla="*/ 0 w 36"/>
                <a:gd name="T43" fmla="*/ 29 h 36"/>
                <a:gd name="T44" fmla="*/ 0 w 36"/>
                <a:gd name="T45" fmla="*/ 33 h 36"/>
                <a:gd name="T46" fmla="*/ 3 w 36"/>
                <a:gd name="T47" fmla="*/ 33 h 36"/>
                <a:gd name="T48" fmla="*/ 3 w 36"/>
                <a:gd name="T49" fmla="*/ 31 h 36"/>
                <a:gd name="T50" fmla="*/ 5 w 36"/>
                <a:gd name="T51" fmla="*/ 31 h 36"/>
                <a:gd name="T52" fmla="*/ 7 w 36"/>
                <a:gd name="T53" fmla="*/ 36 h 36"/>
                <a:gd name="T54" fmla="*/ 10 w 36"/>
                <a:gd name="T55" fmla="*/ 36 h 36"/>
                <a:gd name="T56" fmla="*/ 14 w 36"/>
                <a:gd name="T57" fmla="*/ 36 h 36"/>
                <a:gd name="T58" fmla="*/ 17 w 36"/>
                <a:gd name="T59" fmla="*/ 33 h 36"/>
                <a:gd name="T60" fmla="*/ 19 w 36"/>
                <a:gd name="T61" fmla="*/ 31 h 36"/>
                <a:gd name="T62" fmla="*/ 19 w 36"/>
                <a:gd name="T63" fmla="*/ 26 h 36"/>
                <a:gd name="T64" fmla="*/ 21 w 36"/>
                <a:gd name="T65" fmla="*/ 29 h 36"/>
                <a:gd name="T66" fmla="*/ 24 w 36"/>
                <a:gd name="T67" fmla="*/ 26 h 36"/>
                <a:gd name="T68" fmla="*/ 26 w 36"/>
                <a:gd name="T69" fmla="*/ 26 h 36"/>
                <a:gd name="T70" fmla="*/ 29 w 36"/>
                <a:gd name="T71" fmla="*/ 26 h 36"/>
                <a:gd name="T72" fmla="*/ 31 w 36"/>
                <a:gd name="T73" fmla="*/ 26 h 36"/>
                <a:gd name="T74" fmla="*/ 33 w 36"/>
                <a:gd name="T75" fmla="*/ 26 h 36"/>
                <a:gd name="T76" fmla="*/ 36 w 36"/>
                <a:gd name="T77" fmla="*/ 26 h 36"/>
                <a:gd name="T78" fmla="*/ 36 w 36"/>
                <a:gd name="T79" fmla="*/ 26 h 36"/>
                <a:gd name="T80" fmla="*/ 36 w 36"/>
                <a:gd name="T81"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36">
                  <a:moveTo>
                    <a:pt x="36" y="19"/>
                  </a:moveTo>
                  <a:lnTo>
                    <a:pt x="36" y="19"/>
                  </a:lnTo>
                  <a:lnTo>
                    <a:pt x="36" y="17"/>
                  </a:lnTo>
                  <a:lnTo>
                    <a:pt x="36" y="12"/>
                  </a:lnTo>
                  <a:lnTo>
                    <a:pt x="36" y="10"/>
                  </a:lnTo>
                  <a:lnTo>
                    <a:pt x="36" y="7"/>
                  </a:lnTo>
                  <a:lnTo>
                    <a:pt x="33" y="7"/>
                  </a:lnTo>
                  <a:lnTo>
                    <a:pt x="33" y="5"/>
                  </a:lnTo>
                  <a:lnTo>
                    <a:pt x="31" y="3"/>
                  </a:lnTo>
                  <a:lnTo>
                    <a:pt x="29" y="0"/>
                  </a:lnTo>
                  <a:lnTo>
                    <a:pt x="29" y="0"/>
                  </a:lnTo>
                  <a:lnTo>
                    <a:pt x="31" y="0"/>
                  </a:lnTo>
                  <a:lnTo>
                    <a:pt x="29" y="0"/>
                  </a:lnTo>
                  <a:lnTo>
                    <a:pt x="29" y="0"/>
                  </a:lnTo>
                  <a:lnTo>
                    <a:pt x="26" y="0"/>
                  </a:lnTo>
                  <a:lnTo>
                    <a:pt x="26" y="0"/>
                  </a:lnTo>
                  <a:lnTo>
                    <a:pt x="26" y="3"/>
                  </a:lnTo>
                  <a:lnTo>
                    <a:pt x="24" y="3"/>
                  </a:lnTo>
                  <a:lnTo>
                    <a:pt x="24" y="5"/>
                  </a:lnTo>
                  <a:lnTo>
                    <a:pt x="21" y="5"/>
                  </a:lnTo>
                  <a:lnTo>
                    <a:pt x="21" y="7"/>
                  </a:lnTo>
                  <a:lnTo>
                    <a:pt x="19" y="7"/>
                  </a:lnTo>
                  <a:lnTo>
                    <a:pt x="19" y="7"/>
                  </a:lnTo>
                  <a:lnTo>
                    <a:pt x="19" y="7"/>
                  </a:lnTo>
                  <a:lnTo>
                    <a:pt x="17" y="5"/>
                  </a:lnTo>
                  <a:lnTo>
                    <a:pt x="17" y="5"/>
                  </a:lnTo>
                  <a:lnTo>
                    <a:pt x="14" y="5"/>
                  </a:lnTo>
                  <a:lnTo>
                    <a:pt x="12" y="5"/>
                  </a:lnTo>
                  <a:lnTo>
                    <a:pt x="12" y="7"/>
                  </a:lnTo>
                  <a:lnTo>
                    <a:pt x="10" y="7"/>
                  </a:lnTo>
                  <a:lnTo>
                    <a:pt x="10" y="7"/>
                  </a:lnTo>
                  <a:lnTo>
                    <a:pt x="7" y="10"/>
                  </a:lnTo>
                  <a:lnTo>
                    <a:pt x="7" y="12"/>
                  </a:lnTo>
                  <a:lnTo>
                    <a:pt x="5" y="12"/>
                  </a:lnTo>
                  <a:lnTo>
                    <a:pt x="5" y="15"/>
                  </a:lnTo>
                  <a:lnTo>
                    <a:pt x="5" y="17"/>
                  </a:lnTo>
                  <a:lnTo>
                    <a:pt x="5" y="19"/>
                  </a:lnTo>
                  <a:lnTo>
                    <a:pt x="5" y="22"/>
                  </a:lnTo>
                  <a:lnTo>
                    <a:pt x="5" y="24"/>
                  </a:lnTo>
                  <a:lnTo>
                    <a:pt x="5" y="24"/>
                  </a:lnTo>
                  <a:lnTo>
                    <a:pt x="3" y="26"/>
                  </a:lnTo>
                  <a:lnTo>
                    <a:pt x="0" y="26"/>
                  </a:lnTo>
                  <a:lnTo>
                    <a:pt x="0" y="26"/>
                  </a:lnTo>
                  <a:lnTo>
                    <a:pt x="0" y="29"/>
                  </a:lnTo>
                  <a:lnTo>
                    <a:pt x="0" y="31"/>
                  </a:lnTo>
                  <a:lnTo>
                    <a:pt x="0" y="33"/>
                  </a:lnTo>
                  <a:lnTo>
                    <a:pt x="0" y="33"/>
                  </a:lnTo>
                  <a:lnTo>
                    <a:pt x="3" y="33"/>
                  </a:lnTo>
                  <a:lnTo>
                    <a:pt x="3" y="33"/>
                  </a:lnTo>
                  <a:lnTo>
                    <a:pt x="3" y="31"/>
                  </a:lnTo>
                  <a:lnTo>
                    <a:pt x="3" y="31"/>
                  </a:lnTo>
                  <a:lnTo>
                    <a:pt x="5" y="31"/>
                  </a:lnTo>
                  <a:lnTo>
                    <a:pt x="7" y="33"/>
                  </a:lnTo>
                  <a:lnTo>
                    <a:pt x="7" y="36"/>
                  </a:lnTo>
                  <a:lnTo>
                    <a:pt x="10" y="36"/>
                  </a:lnTo>
                  <a:lnTo>
                    <a:pt x="10" y="36"/>
                  </a:lnTo>
                  <a:lnTo>
                    <a:pt x="14" y="36"/>
                  </a:lnTo>
                  <a:lnTo>
                    <a:pt x="14" y="36"/>
                  </a:lnTo>
                  <a:lnTo>
                    <a:pt x="17" y="36"/>
                  </a:lnTo>
                  <a:lnTo>
                    <a:pt x="17" y="33"/>
                  </a:lnTo>
                  <a:lnTo>
                    <a:pt x="19" y="33"/>
                  </a:lnTo>
                  <a:lnTo>
                    <a:pt x="19" y="31"/>
                  </a:lnTo>
                  <a:lnTo>
                    <a:pt x="19" y="26"/>
                  </a:lnTo>
                  <a:lnTo>
                    <a:pt x="19" y="26"/>
                  </a:lnTo>
                  <a:lnTo>
                    <a:pt x="21" y="29"/>
                  </a:lnTo>
                  <a:lnTo>
                    <a:pt x="21" y="29"/>
                  </a:lnTo>
                  <a:lnTo>
                    <a:pt x="24" y="29"/>
                  </a:lnTo>
                  <a:lnTo>
                    <a:pt x="24" y="26"/>
                  </a:lnTo>
                  <a:lnTo>
                    <a:pt x="24" y="26"/>
                  </a:lnTo>
                  <a:lnTo>
                    <a:pt x="26" y="26"/>
                  </a:lnTo>
                  <a:lnTo>
                    <a:pt x="29" y="26"/>
                  </a:lnTo>
                  <a:lnTo>
                    <a:pt x="29" y="26"/>
                  </a:lnTo>
                  <a:lnTo>
                    <a:pt x="31" y="26"/>
                  </a:lnTo>
                  <a:lnTo>
                    <a:pt x="31" y="26"/>
                  </a:lnTo>
                  <a:lnTo>
                    <a:pt x="31" y="26"/>
                  </a:lnTo>
                  <a:lnTo>
                    <a:pt x="33" y="26"/>
                  </a:lnTo>
                  <a:lnTo>
                    <a:pt x="33" y="26"/>
                  </a:lnTo>
                  <a:lnTo>
                    <a:pt x="36" y="26"/>
                  </a:lnTo>
                  <a:lnTo>
                    <a:pt x="36" y="26"/>
                  </a:lnTo>
                  <a:lnTo>
                    <a:pt x="36" y="26"/>
                  </a:lnTo>
                  <a:lnTo>
                    <a:pt x="36" y="24"/>
                  </a:lnTo>
                  <a:lnTo>
                    <a:pt x="36" y="22"/>
                  </a:lnTo>
                  <a:lnTo>
                    <a:pt x="36"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5" name="Freeform 251"/>
            <p:cNvSpPr>
              <a:spLocks noEditPoints="1"/>
            </p:cNvSpPr>
            <p:nvPr userDrawn="1"/>
          </p:nvSpPr>
          <p:spPr bwMode="auto">
            <a:xfrm>
              <a:off x="3992" y="1183"/>
              <a:ext cx="2376" cy="755"/>
            </a:xfrm>
            <a:custGeom>
              <a:avLst/>
              <a:gdLst>
                <a:gd name="T0" fmla="*/ 811 w 2376"/>
                <a:gd name="T1" fmla="*/ 31 h 755"/>
                <a:gd name="T2" fmla="*/ 872 w 2376"/>
                <a:gd name="T3" fmla="*/ 29 h 755"/>
                <a:gd name="T4" fmla="*/ 450 w 2376"/>
                <a:gd name="T5" fmla="*/ 133 h 755"/>
                <a:gd name="T6" fmla="*/ 623 w 2376"/>
                <a:gd name="T7" fmla="*/ 135 h 755"/>
                <a:gd name="T8" fmla="*/ 408 w 2376"/>
                <a:gd name="T9" fmla="*/ 142 h 755"/>
                <a:gd name="T10" fmla="*/ 509 w 2376"/>
                <a:gd name="T11" fmla="*/ 189 h 755"/>
                <a:gd name="T12" fmla="*/ 1511 w 2376"/>
                <a:gd name="T13" fmla="*/ 102 h 755"/>
                <a:gd name="T14" fmla="*/ 1532 w 2376"/>
                <a:gd name="T15" fmla="*/ 130 h 755"/>
                <a:gd name="T16" fmla="*/ 1601 w 2376"/>
                <a:gd name="T17" fmla="*/ 100 h 755"/>
                <a:gd name="T18" fmla="*/ 924 w 2376"/>
                <a:gd name="T19" fmla="*/ 36 h 755"/>
                <a:gd name="T20" fmla="*/ 1407 w 2376"/>
                <a:gd name="T21" fmla="*/ 92 h 755"/>
                <a:gd name="T22" fmla="*/ 2143 w 2376"/>
                <a:gd name="T23" fmla="*/ 679 h 755"/>
                <a:gd name="T24" fmla="*/ 2364 w 2376"/>
                <a:gd name="T25" fmla="*/ 286 h 755"/>
                <a:gd name="T26" fmla="*/ 2298 w 2376"/>
                <a:gd name="T27" fmla="*/ 246 h 755"/>
                <a:gd name="T28" fmla="*/ 2129 w 2376"/>
                <a:gd name="T29" fmla="*/ 201 h 755"/>
                <a:gd name="T30" fmla="*/ 1742 w 2376"/>
                <a:gd name="T31" fmla="*/ 173 h 755"/>
                <a:gd name="T32" fmla="*/ 1537 w 2376"/>
                <a:gd name="T33" fmla="*/ 149 h 755"/>
                <a:gd name="T34" fmla="*/ 1388 w 2376"/>
                <a:gd name="T35" fmla="*/ 145 h 755"/>
                <a:gd name="T36" fmla="*/ 1183 w 2376"/>
                <a:gd name="T37" fmla="*/ 140 h 755"/>
                <a:gd name="T38" fmla="*/ 1129 w 2376"/>
                <a:gd name="T39" fmla="*/ 92 h 755"/>
                <a:gd name="T40" fmla="*/ 945 w 2376"/>
                <a:gd name="T41" fmla="*/ 81 h 755"/>
                <a:gd name="T42" fmla="*/ 839 w 2376"/>
                <a:gd name="T43" fmla="*/ 123 h 755"/>
                <a:gd name="T44" fmla="*/ 811 w 2376"/>
                <a:gd name="T45" fmla="*/ 180 h 755"/>
                <a:gd name="T46" fmla="*/ 693 w 2376"/>
                <a:gd name="T47" fmla="*/ 154 h 755"/>
                <a:gd name="T48" fmla="*/ 693 w 2376"/>
                <a:gd name="T49" fmla="*/ 246 h 755"/>
                <a:gd name="T50" fmla="*/ 625 w 2376"/>
                <a:gd name="T51" fmla="*/ 197 h 755"/>
                <a:gd name="T52" fmla="*/ 443 w 2376"/>
                <a:gd name="T53" fmla="*/ 208 h 755"/>
                <a:gd name="T54" fmla="*/ 318 w 2376"/>
                <a:gd name="T55" fmla="*/ 258 h 755"/>
                <a:gd name="T56" fmla="*/ 172 w 2376"/>
                <a:gd name="T57" fmla="*/ 249 h 755"/>
                <a:gd name="T58" fmla="*/ 146 w 2376"/>
                <a:gd name="T59" fmla="*/ 189 h 755"/>
                <a:gd name="T60" fmla="*/ 144 w 2376"/>
                <a:gd name="T61" fmla="*/ 296 h 755"/>
                <a:gd name="T62" fmla="*/ 116 w 2376"/>
                <a:gd name="T63" fmla="*/ 419 h 755"/>
                <a:gd name="T64" fmla="*/ 203 w 2376"/>
                <a:gd name="T65" fmla="*/ 502 h 755"/>
                <a:gd name="T66" fmla="*/ 271 w 2376"/>
                <a:gd name="T67" fmla="*/ 565 h 755"/>
                <a:gd name="T68" fmla="*/ 316 w 2376"/>
                <a:gd name="T69" fmla="*/ 632 h 755"/>
                <a:gd name="T70" fmla="*/ 417 w 2376"/>
                <a:gd name="T71" fmla="*/ 726 h 755"/>
                <a:gd name="T72" fmla="*/ 469 w 2376"/>
                <a:gd name="T73" fmla="*/ 672 h 755"/>
                <a:gd name="T74" fmla="*/ 474 w 2376"/>
                <a:gd name="T75" fmla="*/ 570 h 755"/>
                <a:gd name="T76" fmla="*/ 632 w 2376"/>
                <a:gd name="T77" fmla="*/ 558 h 755"/>
                <a:gd name="T78" fmla="*/ 688 w 2376"/>
                <a:gd name="T79" fmla="*/ 487 h 755"/>
                <a:gd name="T80" fmla="*/ 851 w 2376"/>
                <a:gd name="T81" fmla="*/ 499 h 755"/>
                <a:gd name="T82" fmla="*/ 1035 w 2376"/>
                <a:gd name="T83" fmla="*/ 556 h 755"/>
                <a:gd name="T84" fmla="*/ 1157 w 2376"/>
                <a:gd name="T85" fmla="*/ 563 h 755"/>
                <a:gd name="T86" fmla="*/ 1256 w 2376"/>
                <a:gd name="T87" fmla="*/ 554 h 755"/>
                <a:gd name="T88" fmla="*/ 1431 w 2376"/>
                <a:gd name="T89" fmla="*/ 577 h 755"/>
                <a:gd name="T90" fmla="*/ 1601 w 2376"/>
                <a:gd name="T91" fmla="*/ 520 h 755"/>
                <a:gd name="T92" fmla="*/ 1770 w 2376"/>
                <a:gd name="T93" fmla="*/ 582 h 755"/>
                <a:gd name="T94" fmla="*/ 1895 w 2376"/>
                <a:gd name="T95" fmla="*/ 658 h 755"/>
                <a:gd name="T96" fmla="*/ 1923 w 2376"/>
                <a:gd name="T97" fmla="*/ 724 h 755"/>
                <a:gd name="T98" fmla="*/ 1867 w 2376"/>
                <a:gd name="T99" fmla="*/ 502 h 755"/>
                <a:gd name="T100" fmla="*/ 1926 w 2376"/>
                <a:gd name="T101" fmla="*/ 388 h 755"/>
                <a:gd name="T102" fmla="*/ 2046 w 2376"/>
                <a:gd name="T103" fmla="*/ 343 h 755"/>
                <a:gd name="T104" fmla="*/ 2084 w 2376"/>
                <a:gd name="T105" fmla="*/ 416 h 755"/>
                <a:gd name="T106" fmla="*/ 2204 w 2376"/>
                <a:gd name="T107" fmla="*/ 452 h 755"/>
                <a:gd name="T108" fmla="*/ 2232 w 2376"/>
                <a:gd name="T109" fmla="*/ 374 h 755"/>
                <a:gd name="T110" fmla="*/ 2244 w 2376"/>
                <a:gd name="T111" fmla="*/ 293 h 755"/>
                <a:gd name="T112" fmla="*/ 2260 w 2376"/>
                <a:gd name="T113" fmla="*/ 270 h 755"/>
                <a:gd name="T114" fmla="*/ 436 w 2376"/>
                <a:gd name="T115" fmla="*/ 19 h 755"/>
                <a:gd name="T116" fmla="*/ 382 w 2376"/>
                <a:gd name="T117" fmla="*/ 24 h 755"/>
                <a:gd name="T118" fmla="*/ 283 w 2376"/>
                <a:gd name="T119" fmla="*/ 17 h 755"/>
                <a:gd name="T120" fmla="*/ 1916 w 2376"/>
                <a:gd name="T121" fmla="*/ 487 h 755"/>
                <a:gd name="T122" fmla="*/ 288 w 2376"/>
                <a:gd name="T123" fmla="*/ 24 h 755"/>
                <a:gd name="T124" fmla="*/ 363 w 2376"/>
                <a:gd name="T125" fmla="*/ 1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76" h="755">
                  <a:moveTo>
                    <a:pt x="797" y="22"/>
                  </a:moveTo>
                  <a:lnTo>
                    <a:pt x="799" y="22"/>
                  </a:lnTo>
                  <a:lnTo>
                    <a:pt x="802" y="24"/>
                  </a:lnTo>
                  <a:lnTo>
                    <a:pt x="811" y="24"/>
                  </a:lnTo>
                  <a:lnTo>
                    <a:pt x="820" y="26"/>
                  </a:lnTo>
                  <a:lnTo>
                    <a:pt x="823" y="26"/>
                  </a:lnTo>
                  <a:lnTo>
                    <a:pt x="828" y="24"/>
                  </a:lnTo>
                  <a:lnTo>
                    <a:pt x="828" y="24"/>
                  </a:lnTo>
                  <a:lnTo>
                    <a:pt x="830" y="24"/>
                  </a:lnTo>
                  <a:lnTo>
                    <a:pt x="832" y="24"/>
                  </a:lnTo>
                  <a:lnTo>
                    <a:pt x="842" y="24"/>
                  </a:lnTo>
                  <a:lnTo>
                    <a:pt x="856" y="22"/>
                  </a:lnTo>
                  <a:lnTo>
                    <a:pt x="858" y="22"/>
                  </a:lnTo>
                  <a:lnTo>
                    <a:pt x="858" y="22"/>
                  </a:lnTo>
                  <a:lnTo>
                    <a:pt x="856" y="22"/>
                  </a:lnTo>
                  <a:lnTo>
                    <a:pt x="856" y="19"/>
                  </a:lnTo>
                  <a:lnTo>
                    <a:pt x="851" y="19"/>
                  </a:lnTo>
                  <a:lnTo>
                    <a:pt x="851" y="19"/>
                  </a:lnTo>
                  <a:lnTo>
                    <a:pt x="851" y="17"/>
                  </a:lnTo>
                  <a:lnTo>
                    <a:pt x="849" y="17"/>
                  </a:lnTo>
                  <a:lnTo>
                    <a:pt x="851" y="17"/>
                  </a:lnTo>
                  <a:lnTo>
                    <a:pt x="856" y="17"/>
                  </a:lnTo>
                  <a:lnTo>
                    <a:pt x="856" y="14"/>
                  </a:lnTo>
                  <a:lnTo>
                    <a:pt x="856" y="14"/>
                  </a:lnTo>
                  <a:lnTo>
                    <a:pt x="856" y="14"/>
                  </a:lnTo>
                  <a:lnTo>
                    <a:pt x="856" y="14"/>
                  </a:lnTo>
                  <a:lnTo>
                    <a:pt x="853" y="14"/>
                  </a:lnTo>
                  <a:lnTo>
                    <a:pt x="849" y="14"/>
                  </a:lnTo>
                  <a:lnTo>
                    <a:pt x="839" y="12"/>
                  </a:lnTo>
                  <a:lnTo>
                    <a:pt x="839" y="12"/>
                  </a:lnTo>
                  <a:lnTo>
                    <a:pt x="837" y="12"/>
                  </a:lnTo>
                  <a:lnTo>
                    <a:pt x="835" y="10"/>
                  </a:lnTo>
                  <a:lnTo>
                    <a:pt x="835" y="10"/>
                  </a:lnTo>
                  <a:lnTo>
                    <a:pt x="830" y="10"/>
                  </a:lnTo>
                  <a:lnTo>
                    <a:pt x="828" y="10"/>
                  </a:lnTo>
                  <a:lnTo>
                    <a:pt x="828" y="10"/>
                  </a:lnTo>
                  <a:lnTo>
                    <a:pt x="825" y="7"/>
                  </a:lnTo>
                  <a:lnTo>
                    <a:pt x="825" y="7"/>
                  </a:lnTo>
                  <a:lnTo>
                    <a:pt x="818" y="7"/>
                  </a:lnTo>
                  <a:lnTo>
                    <a:pt x="818" y="10"/>
                  </a:lnTo>
                  <a:lnTo>
                    <a:pt x="816" y="10"/>
                  </a:lnTo>
                  <a:lnTo>
                    <a:pt x="813" y="10"/>
                  </a:lnTo>
                  <a:lnTo>
                    <a:pt x="811" y="10"/>
                  </a:lnTo>
                  <a:lnTo>
                    <a:pt x="809" y="10"/>
                  </a:lnTo>
                  <a:lnTo>
                    <a:pt x="806" y="10"/>
                  </a:lnTo>
                  <a:lnTo>
                    <a:pt x="804" y="12"/>
                  </a:lnTo>
                  <a:lnTo>
                    <a:pt x="802" y="10"/>
                  </a:lnTo>
                  <a:lnTo>
                    <a:pt x="799" y="12"/>
                  </a:lnTo>
                  <a:lnTo>
                    <a:pt x="797" y="12"/>
                  </a:lnTo>
                  <a:lnTo>
                    <a:pt x="797" y="12"/>
                  </a:lnTo>
                  <a:lnTo>
                    <a:pt x="797" y="12"/>
                  </a:lnTo>
                  <a:lnTo>
                    <a:pt x="795" y="12"/>
                  </a:lnTo>
                  <a:lnTo>
                    <a:pt x="795" y="14"/>
                  </a:lnTo>
                  <a:lnTo>
                    <a:pt x="795" y="14"/>
                  </a:lnTo>
                  <a:lnTo>
                    <a:pt x="797" y="14"/>
                  </a:lnTo>
                  <a:lnTo>
                    <a:pt x="804" y="14"/>
                  </a:lnTo>
                  <a:lnTo>
                    <a:pt x="802" y="14"/>
                  </a:lnTo>
                  <a:lnTo>
                    <a:pt x="802" y="17"/>
                  </a:lnTo>
                  <a:lnTo>
                    <a:pt x="799" y="17"/>
                  </a:lnTo>
                  <a:lnTo>
                    <a:pt x="797" y="19"/>
                  </a:lnTo>
                  <a:lnTo>
                    <a:pt x="792" y="19"/>
                  </a:lnTo>
                  <a:lnTo>
                    <a:pt x="790" y="19"/>
                  </a:lnTo>
                  <a:lnTo>
                    <a:pt x="790" y="19"/>
                  </a:lnTo>
                  <a:lnTo>
                    <a:pt x="792" y="22"/>
                  </a:lnTo>
                  <a:lnTo>
                    <a:pt x="797" y="22"/>
                  </a:lnTo>
                  <a:close/>
                  <a:moveTo>
                    <a:pt x="410" y="163"/>
                  </a:moveTo>
                  <a:lnTo>
                    <a:pt x="408" y="166"/>
                  </a:lnTo>
                  <a:lnTo>
                    <a:pt x="408" y="166"/>
                  </a:lnTo>
                  <a:lnTo>
                    <a:pt x="408" y="166"/>
                  </a:lnTo>
                  <a:lnTo>
                    <a:pt x="408" y="166"/>
                  </a:lnTo>
                  <a:lnTo>
                    <a:pt x="410" y="168"/>
                  </a:lnTo>
                  <a:lnTo>
                    <a:pt x="413" y="166"/>
                  </a:lnTo>
                  <a:lnTo>
                    <a:pt x="415" y="168"/>
                  </a:lnTo>
                  <a:lnTo>
                    <a:pt x="415" y="168"/>
                  </a:lnTo>
                  <a:lnTo>
                    <a:pt x="417" y="171"/>
                  </a:lnTo>
                  <a:lnTo>
                    <a:pt x="420" y="171"/>
                  </a:lnTo>
                  <a:lnTo>
                    <a:pt x="420" y="171"/>
                  </a:lnTo>
                  <a:lnTo>
                    <a:pt x="420" y="173"/>
                  </a:lnTo>
                  <a:lnTo>
                    <a:pt x="422" y="171"/>
                  </a:lnTo>
                  <a:lnTo>
                    <a:pt x="422" y="171"/>
                  </a:lnTo>
                  <a:lnTo>
                    <a:pt x="420" y="171"/>
                  </a:lnTo>
                  <a:lnTo>
                    <a:pt x="420" y="171"/>
                  </a:lnTo>
                  <a:lnTo>
                    <a:pt x="422" y="168"/>
                  </a:lnTo>
                  <a:lnTo>
                    <a:pt x="420" y="168"/>
                  </a:lnTo>
                  <a:lnTo>
                    <a:pt x="420" y="168"/>
                  </a:lnTo>
                  <a:lnTo>
                    <a:pt x="420" y="168"/>
                  </a:lnTo>
                  <a:lnTo>
                    <a:pt x="417" y="166"/>
                  </a:lnTo>
                  <a:lnTo>
                    <a:pt x="415" y="166"/>
                  </a:lnTo>
                  <a:lnTo>
                    <a:pt x="415" y="163"/>
                  </a:lnTo>
                  <a:lnTo>
                    <a:pt x="413" y="163"/>
                  </a:lnTo>
                  <a:lnTo>
                    <a:pt x="413" y="163"/>
                  </a:lnTo>
                  <a:lnTo>
                    <a:pt x="413" y="166"/>
                  </a:lnTo>
                  <a:lnTo>
                    <a:pt x="413" y="163"/>
                  </a:lnTo>
                  <a:lnTo>
                    <a:pt x="410" y="163"/>
                  </a:lnTo>
                  <a:close/>
                  <a:moveTo>
                    <a:pt x="818" y="29"/>
                  </a:moveTo>
                  <a:lnTo>
                    <a:pt x="820" y="29"/>
                  </a:lnTo>
                  <a:lnTo>
                    <a:pt x="823" y="29"/>
                  </a:lnTo>
                  <a:lnTo>
                    <a:pt x="823" y="26"/>
                  </a:lnTo>
                  <a:lnTo>
                    <a:pt x="818" y="26"/>
                  </a:lnTo>
                  <a:lnTo>
                    <a:pt x="809" y="26"/>
                  </a:lnTo>
                  <a:lnTo>
                    <a:pt x="802" y="24"/>
                  </a:lnTo>
                  <a:lnTo>
                    <a:pt x="797" y="24"/>
                  </a:lnTo>
                  <a:lnTo>
                    <a:pt x="795" y="24"/>
                  </a:lnTo>
                  <a:lnTo>
                    <a:pt x="792" y="24"/>
                  </a:lnTo>
                  <a:lnTo>
                    <a:pt x="790" y="26"/>
                  </a:lnTo>
                  <a:lnTo>
                    <a:pt x="792" y="26"/>
                  </a:lnTo>
                  <a:lnTo>
                    <a:pt x="797" y="29"/>
                  </a:lnTo>
                  <a:lnTo>
                    <a:pt x="802" y="29"/>
                  </a:lnTo>
                  <a:lnTo>
                    <a:pt x="809" y="31"/>
                  </a:lnTo>
                  <a:lnTo>
                    <a:pt x="811" y="31"/>
                  </a:lnTo>
                  <a:lnTo>
                    <a:pt x="813" y="31"/>
                  </a:lnTo>
                  <a:lnTo>
                    <a:pt x="816" y="29"/>
                  </a:lnTo>
                  <a:lnTo>
                    <a:pt x="818" y="29"/>
                  </a:lnTo>
                  <a:close/>
                  <a:moveTo>
                    <a:pt x="898" y="31"/>
                  </a:moveTo>
                  <a:lnTo>
                    <a:pt x="901" y="31"/>
                  </a:lnTo>
                  <a:lnTo>
                    <a:pt x="903" y="31"/>
                  </a:lnTo>
                  <a:lnTo>
                    <a:pt x="901" y="31"/>
                  </a:lnTo>
                  <a:lnTo>
                    <a:pt x="898" y="29"/>
                  </a:lnTo>
                  <a:lnTo>
                    <a:pt x="898" y="31"/>
                  </a:lnTo>
                  <a:lnTo>
                    <a:pt x="898" y="31"/>
                  </a:lnTo>
                  <a:lnTo>
                    <a:pt x="898" y="31"/>
                  </a:lnTo>
                  <a:close/>
                  <a:moveTo>
                    <a:pt x="738" y="140"/>
                  </a:moveTo>
                  <a:lnTo>
                    <a:pt x="743" y="142"/>
                  </a:lnTo>
                  <a:lnTo>
                    <a:pt x="750" y="142"/>
                  </a:lnTo>
                  <a:lnTo>
                    <a:pt x="750" y="142"/>
                  </a:lnTo>
                  <a:lnTo>
                    <a:pt x="750" y="140"/>
                  </a:lnTo>
                  <a:lnTo>
                    <a:pt x="747" y="137"/>
                  </a:lnTo>
                  <a:lnTo>
                    <a:pt x="745" y="137"/>
                  </a:lnTo>
                  <a:lnTo>
                    <a:pt x="745" y="135"/>
                  </a:lnTo>
                  <a:lnTo>
                    <a:pt x="740" y="135"/>
                  </a:lnTo>
                  <a:lnTo>
                    <a:pt x="738" y="140"/>
                  </a:lnTo>
                  <a:lnTo>
                    <a:pt x="738" y="140"/>
                  </a:lnTo>
                  <a:lnTo>
                    <a:pt x="738" y="140"/>
                  </a:lnTo>
                  <a:close/>
                  <a:moveTo>
                    <a:pt x="851" y="24"/>
                  </a:moveTo>
                  <a:lnTo>
                    <a:pt x="849" y="24"/>
                  </a:lnTo>
                  <a:lnTo>
                    <a:pt x="846" y="24"/>
                  </a:lnTo>
                  <a:lnTo>
                    <a:pt x="844" y="24"/>
                  </a:lnTo>
                  <a:lnTo>
                    <a:pt x="839" y="24"/>
                  </a:lnTo>
                  <a:lnTo>
                    <a:pt x="839" y="24"/>
                  </a:lnTo>
                  <a:lnTo>
                    <a:pt x="839" y="24"/>
                  </a:lnTo>
                  <a:lnTo>
                    <a:pt x="839" y="24"/>
                  </a:lnTo>
                  <a:lnTo>
                    <a:pt x="835" y="24"/>
                  </a:lnTo>
                  <a:lnTo>
                    <a:pt x="835" y="24"/>
                  </a:lnTo>
                  <a:lnTo>
                    <a:pt x="832" y="24"/>
                  </a:lnTo>
                  <a:lnTo>
                    <a:pt x="832" y="26"/>
                  </a:lnTo>
                  <a:lnTo>
                    <a:pt x="830" y="26"/>
                  </a:lnTo>
                  <a:lnTo>
                    <a:pt x="830" y="29"/>
                  </a:lnTo>
                  <a:lnTo>
                    <a:pt x="828" y="29"/>
                  </a:lnTo>
                  <a:lnTo>
                    <a:pt x="828" y="29"/>
                  </a:lnTo>
                  <a:lnTo>
                    <a:pt x="823" y="31"/>
                  </a:lnTo>
                  <a:lnTo>
                    <a:pt x="820" y="33"/>
                  </a:lnTo>
                  <a:lnTo>
                    <a:pt x="825" y="33"/>
                  </a:lnTo>
                  <a:lnTo>
                    <a:pt x="828" y="33"/>
                  </a:lnTo>
                  <a:lnTo>
                    <a:pt x="830" y="33"/>
                  </a:lnTo>
                  <a:lnTo>
                    <a:pt x="837" y="33"/>
                  </a:lnTo>
                  <a:lnTo>
                    <a:pt x="839" y="36"/>
                  </a:lnTo>
                  <a:lnTo>
                    <a:pt x="842" y="36"/>
                  </a:lnTo>
                  <a:lnTo>
                    <a:pt x="844" y="38"/>
                  </a:lnTo>
                  <a:lnTo>
                    <a:pt x="846" y="38"/>
                  </a:lnTo>
                  <a:lnTo>
                    <a:pt x="846" y="38"/>
                  </a:lnTo>
                  <a:lnTo>
                    <a:pt x="849" y="38"/>
                  </a:lnTo>
                  <a:lnTo>
                    <a:pt x="851" y="38"/>
                  </a:lnTo>
                  <a:lnTo>
                    <a:pt x="853" y="40"/>
                  </a:lnTo>
                  <a:lnTo>
                    <a:pt x="856" y="38"/>
                  </a:lnTo>
                  <a:lnTo>
                    <a:pt x="856" y="38"/>
                  </a:lnTo>
                  <a:lnTo>
                    <a:pt x="861" y="40"/>
                  </a:lnTo>
                  <a:lnTo>
                    <a:pt x="861" y="40"/>
                  </a:lnTo>
                  <a:lnTo>
                    <a:pt x="868" y="40"/>
                  </a:lnTo>
                  <a:lnTo>
                    <a:pt x="868" y="40"/>
                  </a:lnTo>
                  <a:lnTo>
                    <a:pt x="875" y="40"/>
                  </a:lnTo>
                  <a:lnTo>
                    <a:pt x="875" y="40"/>
                  </a:lnTo>
                  <a:lnTo>
                    <a:pt x="875" y="40"/>
                  </a:lnTo>
                  <a:lnTo>
                    <a:pt x="882" y="43"/>
                  </a:lnTo>
                  <a:lnTo>
                    <a:pt x="884" y="43"/>
                  </a:lnTo>
                  <a:lnTo>
                    <a:pt x="886" y="43"/>
                  </a:lnTo>
                  <a:lnTo>
                    <a:pt x="889" y="43"/>
                  </a:lnTo>
                  <a:lnTo>
                    <a:pt x="891" y="43"/>
                  </a:lnTo>
                  <a:lnTo>
                    <a:pt x="894" y="43"/>
                  </a:lnTo>
                  <a:lnTo>
                    <a:pt x="896" y="43"/>
                  </a:lnTo>
                  <a:lnTo>
                    <a:pt x="901" y="43"/>
                  </a:lnTo>
                  <a:lnTo>
                    <a:pt x="908" y="43"/>
                  </a:lnTo>
                  <a:lnTo>
                    <a:pt x="908" y="43"/>
                  </a:lnTo>
                  <a:lnTo>
                    <a:pt x="910" y="40"/>
                  </a:lnTo>
                  <a:lnTo>
                    <a:pt x="910" y="40"/>
                  </a:lnTo>
                  <a:lnTo>
                    <a:pt x="908" y="38"/>
                  </a:lnTo>
                  <a:lnTo>
                    <a:pt x="905" y="38"/>
                  </a:lnTo>
                  <a:lnTo>
                    <a:pt x="903" y="38"/>
                  </a:lnTo>
                  <a:lnTo>
                    <a:pt x="898" y="36"/>
                  </a:lnTo>
                  <a:lnTo>
                    <a:pt x="894" y="36"/>
                  </a:lnTo>
                  <a:lnTo>
                    <a:pt x="896" y="36"/>
                  </a:lnTo>
                  <a:lnTo>
                    <a:pt x="896" y="36"/>
                  </a:lnTo>
                  <a:lnTo>
                    <a:pt x="898" y="36"/>
                  </a:lnTo>
                  <a:lnTo>
                    <a:pt x="901" y="36"/>
                  </a:lnTo>
                  <a:lnTo>
                    <a:pt x="901" y="36"/>
                  </a:lnTo>
                  <a:lnTo>
                    <a:pt x="901" y="33"/>
                  </a:lnTo>
                  <a:lnTo>
                    <a:pt x="898" y="33"/>
                  </a:lnTo>
                  <a:lnTo>
                    <a:pt x="898" y="33"/>
                  </a:lnTo>
                  <a:lnTo>
                    <a:pt x="898" y="33"/>
                  </a:lnTo>
                  <a:lnTo>
                    <a:pt x="898" y="31"/>
                  </a:lnTo>
                  <a:lnTo>
                    <a:pt x="898" y="31"/>
                  </a:lnTo>
                  <a:lnTo>
                    <a:pt x="898" y="31"/>
                  </a:lnTo>
                  <a:lnTo>
                    <a:pt x="898" y="31"/>
                  </a:lnTo>
                  <a:lnTo>
                    <a:pt x="896" y="29"/>
                  </a:lnTo>
                  <a:lnTo>
                    <a:pt x="898" y="29"/>
                  </a:lnTo>
                  <a:lnTo>
                    <a:pt x="896" y="29"/>
                  </a:lnTo>
                  <a:lnTo>
                    <a:pt x="894" y="26"/>
                  </a:lnTo>
                  <a:lnTo>
                    <a:pt x="891" y="26"/>
                  </a:lnTo>
                  <a:lnTo>
                    <a:pt x="889" y="26"/>
                  </a:lnTo>
                  <a:lnTo>
                    <a:pt x="889" y="26"/>
                  </a:lnTo>
                  <a:lnTo>
                    <a:pt x="886" y="26"/>
                  </a:lnTo>
                  <a:lnTo>
                    <a:pt x="884" y="26"/>
                  </a:lnTo>
                  <a:lnTo>
                    <a:pt x="879" y="24"/>
                  </a:lnTo>
                  <a:lnTo>
                    <a:pt x="877" y="24"/>
                  </a:lnTo>
                  <a:lnTo>
                    <a:pt x="875" y="24"/>
                  </a:lnTo>
                  <a:lnTo>
                    <a:pt x="875" y="26"/>
                  </a:lnTo>
                  <a:lnTo>
                    <a:pt x="877" y="26"/>
                  </a:lnTo>
                  <a:lnTo>
                    <a:pt x="877" y="26"/>
                  </a:lnTo>
                  <a:lnTo>
                    <a:pt x="875" y="26"/>
                  </a:lnTo>
                  <a:lnTo>
                    <a:pt x="872" y="26"/>
                  </a:lnTo>
                  <a:lnTo>
                    <a:pt x="872" y="29"/>
                  </a:lnTo>
                  <a:lnTo>
                    <a:pt x="870" y="29"/>
                  </a:lnTo>
                  <a:lnTo>
                    <a:pt x="870" y="29"/>
                  </a:lnTo>
                  <a:lnTo>
                    <a:pt x="870" y="29"/>
                  </a:lnTo>
                  <a:lnTo>
                    <a:pt x="868" y="29"/>
                  </a:lnTo>
                  <a:lnTo>
                    <a:pt x="870" y="26"/>
                  </a:lnTo>
                  <a:lnTo>
                    <a:pt x="870" y="26"/>
                  </a:lnTo>
                  <a:lnTo>
                    <a:pt x="870" y="26"/>
                  </a:lnTo>
                  <a:lnTo>
                    <a:pt x="870" y="24"/>
                  </a:lnTo>
                  <a:lnTo>
                    <a:pt x="868" y="24"/>
                  </a:lnTo>
                  <a:lnTo>
                    <a:pt x="863" y="24"/>
                  </a:lnTo>
                  <a:lnTo>
                    <a:pt x="863" y="24"/>
                  </a:lnTo>
                  <a:lnTo>
                    <a:pt x="858" y="24"/>
                  </a:lnTo>
                  <a:lnTo>
                    <a:pt x="851" y="24"/>
                  </a:lnTo>
                  <a:close/>
                  <a:moveTo>
                    <a:pt x="811" y="104"/>
                  </a:moveTo>
                  <a:lnTo>
                    <a:pt x="811" y="104"/>
                  </a:lnTo>
                  <a:lnTo>
                    <a:pt x="809" y="104"/>
                  </a:lnTo>
                  <a:lnTo>
                    <a:pt x="809" y="104"/>
                  </a:lnTo>
                  <a:lnTo>
                    <a:pt x="811" y="107"/>
                  </a:lnTo>
                  <a:lnTo>
                    <a:pt x="816" y="107"/>
                  </a:lnTo>
                  <a:lnTo>
                    <a:pt x="818" y="107"/>
                  </a:lnTo>
                  <a:lnTo>
                    <a:pt x="818" y="107"/>
                  </a:lnTo>
                  <a:lnTo>
                    <a:pt x="818" y="104"/>
                  </a:lnTo>
                  <a:lnTo>
                    <a:pt x="818" y="104"/>
                  </a:lnTo>
                  <a:lnTo>
                    <a:pt x="816" y="104"/>
                  </a:lnTo>
                  <a:lnTo>
                    <a:pt x="813" y="104"/>
                  </a:lnTo>
                  <a:lnTo>
                    <a:pt x="813" y="104"/>
                  </a:lnTo>
                  <a:lnTo>
                    <a:pt x="811" y="104"/>
                  </a:lnTo>
                  <a:close/>
                  <a:moveTo>
                    <a:pt x="481" y="83"/>
                  </a:moveTo>
                  <a:lnTo>
                    <a:pt x="481" y="83"/>
                  </a:lnTo>
                  <a:lnTo>
                    <a:pt x="481" y="85"/>
                  </a:lnTo>
                  <a:lnTo>
                    <a:pt x="481" y="85"/>
                  </a:lnTo>
                  <a:lnTo>
                    <a:pt x="481" y="85"/>
                  </a:lnTo>
                  <a:lnTo>
                    <a:pt x="481" y="85"/>
                  </a:lnTo>
                  <a:lnTo>
                    <a:pt x="479" y="85"/>
                  </a:lnTo>
                  <a:lnTo>
                    <a:pt x="476" y="85"/>
                  </a:lnTo>
                  <a:lnTo>
                    <a:pt x="476" y="85"/>
                  </a:lnTo>
                  <a:lnTo>
                    <a:pt x="472" y="85"/>
                  </a:lnTo>
                  <a:lnTo>
                    <a:pt x="469" y="85"/>
                  </a:lnTo>
                  <a:lnTo>
                    <a:pt x="469" y="88"/>
                  </a:lnTo>
                  <a:lnTo>
                    <a:pt x="467" y="88"/>
                  </a:lnTo>
                  <a:lnTo>
                    <a:pt x="462" y="88"/>
                  </a:lnTo>
                  <a:lnTo>
                    <a:pt x="460" y="90"/>
                  </a:lnTo>
                  <a:lnTo>
                    <a:pt x="458" y="90"/>
                  </a:lnTo>
                  <a:lnTo>
                    <a:pt x="458" y="90"/>
                  </a:lnTo>
                  <a:lnTo>
                    <a:pt x="455" y="90"/>
                  </a:lnTo>
                  <a:lnTo>
                    <a:pt x="453" y="92"/>
                  </a:lnTo>
                  <a:lnTo>
                    <a:pt x="448" y="92"/>
                  </a:lnTo>
                  <a:lnTo>
                    <a:pt x="448" y="92"/>
                  </a:lnTo>
                  <a:lnTo>
                    <a:pt x="450" y="92"/>
                  </a:lnTo>
                  <a:lnTo>
                    <a:pt x="446" y="95"/>
                  </a:lnTo>
                  <a:lnTo>
                    <a:pt x="446" y="95"/>
                  </a:lnTo>
                  <a:lnTo>
                    <a:pt x="446" y="97"/>
                  </a:lnTo>
                  <a:lnTo>
                    <a:pt x="446" y="97"/>
                  </a:lnTo>
                  <a:lnTo>
                    <a:pt x="441" y="97"/>
                  </a:lnTo>
                  <a:lnTo>
                    <a:pt x="439" y="97"/>
                  </a:lnTo>
                  <a:lnTo>
                    <a:pt x="439" y="97"/>
                  </a:lnTo>
                  <a:lnTo>
                    <a:pt x="436" y="97"/>
                  </a:lnTo>
                  <a:lnTo>
                    <a:pt x="436" y="97"/>
                  </a:lnTo>
                  <a:lnTo>
                    <a:pt x="436" y="100"/>
                  </a:lnTo>
                  <a:lnTo>
                    <a:pt x="436" y="100"/>
                  </a:lnTo>
                  <a:lnTo>
                    <a:pt x="434" y="102"/>
                  </a:lnTo>
                  <a:lnTo>
                    <a:pt x="434" y="102"/>
                  </a:lnTo>
                  <a:lnTo>
                    <a:pt x="432" y="102"/>
                  </a:lnTo>
                  <a:lnTo>
                    <a:pt x="432" y="100"/>
                  </a:lnTo>
                  <a:lnTo>
                    <a:pt x="429" y="100"/>
                  </a:lnTo>
                  <a:lnTo>
                    <a:pt x="427" y="100"/>
                  </a:lnTo>
                  <a:lnTo>
                    <a:pt x="427" y="100"/>
                  </a:lnTo>
                  <a:lnTo>
                    <a:pt x="425" y="102"/>
                  </a:lnTo>
                  <a:lnTo>
                    <a:pt x="425" y="102"/>
                  </a:lnTo>
                  <a:lnTo>
                    <a:pt x="427" y="102"/>
                  </a:lnTo>
                  <a:lnTo>
                    <a:pt x="429" y="104"/>
                  </a:lnTo>
                  <a:lnTo>
                    <a:pt x="432" y="104"/>
                  </a:lnTo>
                  <a:lnTo>
                    <a:pt x="434" y="104"/>
                  </a:lnTo>
                  <a:lnTo>
                    <a:pt x="436" y="104"/>
                  </a:lnTo>
                  <a:lnTo>
                    <a:pt x="432" y="104"/>
                  </a:lnTo>
                  <a:lnTo>
                    <a:pt x="429" y="107"/>
                  </a:lnTo>
                  <a:lnTo>
                    <a:pt x="427" y="109"/>
                  </a:lnTo>
                  <a:lnTo>
                    <a:pt x="427" y="109"/>
                  </a:lnTo>
                  <a:lnTo>
                    <a:pt x="427" y="109"/>
                  </a:lnTo>
                  <a:lnTo>
                    <a:pt x="427" y="111"/>
                  </a:lnTo>
                  <a:lnTo>
                    <a:pt x="429" y="111"/>
                  </a:lnTo>
                  <a:lnTo>
                    <a:pt x="432" y="111"/>
                  </a:lnTo>
                  <a:lnTo>
                    <a:pt x="434" y="111"/>
                  </a:lnTo>
                  <a:lnTo>
                    <a:pt x="434" y="111"/>
                  </a:lnTo>
                  <a:lnTo>
                    <a:pt x="427" y="114"/>
                  </a:lnTo>
                  <a:lnTo>
                    <a:pt x="425" y="114"/>
                  </a:lnTo>
                  <a:lnTo>
                    <a:pt x="422" y="116"/>
                  </a:lnTo>
                  <a:lnTo>
                    <a:pt x="422" y="119"/>
                  </a:lnTo>
                  <a:lnTo>
                    <a:pt x="422" y="119"/>
                  </a:lnTo>
                  <a:lnTo>
                    <a:pt x="420" y="119"/>
                  </a:lnTo>
                  <a:lnTo>
                    <a:pt x="420" y="121"/>
                  </a:lnTo>
                  <a:lnTo>
                    <a:pt x="420" y="121"/>
                  </a:lnTo>
                  <a:lnTo>
                    <a:pt x="417" y="121"/>
                  </a:lnTo>
                  <a:lnTo>
                    <a:pt x="415" y="121"/>
                  </a:lnTo>
                  <a:lnTo>
                    <a:pt x="413" y="123"/>
                  </a:lnTo>
                  <a:lnTo>
                    <a:pt x="410" y="123"/>
                  </a:lnTo>
                  <a:lnTo>
                    <a:pt x="410" y="123"/>
                  </a:lnTo>
                  <a:lnTo>
                    <a:pt x="410" y="126"/>
                  </a:lnTo>
                  <a:lnTo>
                    <a:pt x="417" y="128"/>
                  </a:lnTo>
                  <a:lnTo>
                    <a:pt x="417" y="128"/>
                  </a:lnTo>
                  <a:lnTo>
                    <a:pt x="420" y="130"/>
                  </a:lnTo>
                  <a:lnTo>
                    <a:pt x="422" y="130"/>
                  </a:lnTo>
                  <a:lnTo>
                    <a:pt x="425" y="130"/>
                  </a:lnTo>
                  <a:lnTo>
                    <a:pt x="429" y="130"/>
                  </a:lnTo>
                  <a:lnTo>
                    <a:pt x="432" y="130"/>
                  </a:lnTo>
                  <a:lnTo>
                    <a:pt x="436" y="130"/>
                  </a:lnTo>
                  <a:lnTo>
                    <a:pt x="443" y="130"/>
                  </a:lnTo>
                  <a:lnTo>
                    <a:pt x="446" y="133"/>
                  </a:lnTo>
                  <a:lnTo>
                    <a:pt x="448" y="133"/>
                  </a:lnTo>
                  <a:lnTo>
                    <a:pt x="450" y="133"/>
                  </a:lnTo>
                  <a:lnTo>
                    <a:pt x="453" y="130"/>
                  </a:lnTo>
                  <a:lnTo>
                    <a:pt x="455" y="128"/>
                  </a:lnTo>
                  <a:lnTo>
                    <a:pt x="458" y="126"/>
                  </a:lnTo>
                  <a:lnTo>
                    <a:pt x="460" y="126"/>
                  </a:lnTo>
                  <a:lnTo>
                    <a:pt x="458" y="123"/>
                  </a:lnTo>
                  <a:lnTo>
                    <a:pt x="455" y="123"/>
                  </a:lnTo>
                  <a:lnTo>
                    <a:pt x="455" y="123"/>
                  </a:lnTo>
                  <a:lnTo>
                    <a:pt x="458" y="123"/>
                  </a:lnTo>
                  <a:lnTo>
                    <a:pt x="460" y="123"/>
                  </a:lnTo>
                  <a:lnTo>
                    <a:pt x="460" y="123"/>
                  </a:lnTo>
                  <a:lnTo>
                    <a:pt x="460" y="123"/>
                  </a:lnTo>
                  <a:lnTo>
                    <a:pt x="462" y="123"/>
                  </a:lnTo>
                  <a:lnTo>
                    <a:pt x="462" y="123"/>
                  </a:lnTo>
                  <a:lnTo>
                    <a:pt x="460" y="121"/>
                  </a:lnTo>
                  <a:lnTo>
                    <a:pt x="460" y="121"/>
                  </a:lnTo>
                  <a:lnTo>
                    <a:pt x="460" y="121"/>
                  </a:lnTo>
                  <a:lnTo>
                    <a:pt x="467" y="119"/>
                  </a:lnTo>
                  <a:lnTo>
                    <a:pt x="467" y="116"/>
                  </a:lnTo>
                  <a:lnTo>
                    <a:pt x="467" y="116"/>
                  </a:lnTo>
                  <a:lnTo>
                    <a:pt x="467" y="114"/>
                  </a:lnTo>
                  <a:lnTo>
                    <a:pt x="465" y="114"/>
                  </a:lnTo>
                  <a:lnTo>
                    <a:pt x="465" y="111"/>
                  </a:lnTo>
                  <a:lnTo>
                    <a:pt x="465" y="111"/>
                  </a:lnTo>
                  <a:lnTo>
                    <a:pt x="469" y="111"/>
                  </a:lnTo>
                  <a:lnTo>
                    <a:pt x="472" y="111"/>
                  </a:lnTo>
                  <a:lnTo>
                    <a:pt x="472" y="111"/>
                  </a:lnTo>
                  <a:lnTo>
                    <a:pt x="472" y="111"/>
                  </a:lnTo>
                  <a:lnTo>
                    <a:pt x="472" y="109"/>
                  </a:lnTo>
                  <a:lnTo>
                    <a:pt x="472" y="109"/>
                  </a:lnTo>
                  <a:lnTo>
                    <a:pt x="472" y="109"/>
                  </a:lnTo>
                  <a:lnTo>
                    <a:pt x="476" y="109"/>
                  </a:lnTo>
                  <a:lnTo>
                    <a:pt x="479" y="109"/>
                  </a:lnTo>
                  <a:lnTo>
                    <a:pt x="479" y="109"/>
                  </a:lnTo>
                  <a:lnTo>
                    <a:pt x="479" y="109"/>
                  </a:lnTo>
                  <a:lnTo>
                    <a:pt x="479" y="109"/>
                  </a:lnTo>
                  <a:lnTo>
                    <a:pt x="479" y="107"/>
                  </a:lnTo>
                  <a:lnTo>
                    <a:pt x="481" y="107"/>
                  </a:lnTo>
                  <a:lnTo>
                    <a:pt x="481" y="107"/>
                  </a:lnTo>
                  <a:lnTo>
                    <a:pt x="483" y="107"/>
                  </a:lnTo>
                  <a:lnTo>
                    <a:pt x="483" y="107"/>
                  </a:lnTo>
                  <a:lnTo>
                    <a:pt x="486" y="104"/>
                  </a:lnTo>
                  <a:lnTo>
                    <a:pt x="486" y="104"/>
                  </a:lnTo>
                  <a:lnTo>
                    <a:pt x="486" y="104"/>
                  </a:lnTo>
                  <a:lnTo>
                    <a:pt x="481" y="104"/>
                  </a:lnTo>
                  <a:lnTo>
                    <a:pt x="481" y="104"/>
                  </a:lnTo>
                  <a:lnTo>
                    <a:pt x="483" y="102"/>
                  </a:lnTo>
                  <a:lnTo>
                    <a:pt x="486" y="102"/>
                  </a:lnTo>
                  <a:lnTo>
                    <a:pt x="486" y="102"/>
                  </a:lnTo>
                  <a:lnTo>
                    <a:pt x="488" y="102"/>
                  </a:lnTo>
                  <a:lnTo>
                    <a:pt x="488" y="102"/>
                  </a:lnTo>
                  <a:lnTo>
                    <a:pt x="488" y="100"/>
                  </a:lnTo>
                  <a:lnTo>
                    <a:pt x="491" y="100"/>
                  </a:lnTo>
                  <a:lnTo>
                    <a:pt x="491" y="100"/>
                  </a:lnTo>
                  <a:lnTo>
                    <a:pt x="493" y="97"/>
                  </a:lnTo>
                  <a:lnTo>
                    <a:pt x="495" y="97"/>
                  </a:lnTo>
                  <a:lnTo>
                    <a:pt x="495" y="97"/>
                  </a:lnTo>
                  <a:lnTo>
                    <a:pt x="500" y="97"/>
                  </a:lnTo>
                  <a:lnTo>
                    <a:pt x="512" y="95"/>
                  </a:lnTo>
                  <a:lnTo>
                    <a:pt x="514" y="92"/>
                  </a:lnTo>
                  <a:lnTo>
                    <a:pt x="519" y="92"/>
                  </a:lnTo>
                  <a:lnTo>
                    <a:pt x="519" y="92"/>
                  </a:lnTo>
                  <a:lnTo>
                    <a:pt x="526" y="92"/>
                  </a:lnTo>
                  <a:lnTo>
                    <a:pt x="531" y="90"/>
                  </a:lnTo>
                  <a:lnTo>
                    <a:pt x="535" y="90"/>
                  </a:lnTo>
                  <a:lnTo>
                    <a:pt x="540" y="88"/>
                  </a:lnTo>
                  <a:lnTo>
                    <a:pt x="547" y="88"/>
                  </a:lnTo>
                  <a:lnTo>
                    <a:pt x="552" y="85"/>
                  </a:lnTo>
                  <a:lnTo>
                    <a:pt x="554" y="85"/>
                  </a:lnTo>
                  <a:lnTo>
                    <a:pt x="557" y="85"/>
                  </a:lnTo>
                  <a:lnTo>
                    <a:pt x="559" y="85"/>
                  </a:lnTo>
                  <a:lnTo>
                    <a:pt x="564" y="83"/>
                  </a:lnTo>
                  <a:lnTo>
                    <a:pt x="566" y="83"/>
                  </a:lnTo>
                  <a:lnTo>
                    <a:pt x="568" y="83"/>
                  </a:lnTo>
                  <a:lnTo>
                    <a:pt x="571" y="81"/>
                  </a:lnTo>
                  <a:lnTo>
                    <a:pt x="573" y="78"/>
                  </a:lnTo>
                  <a:lnTo>
                    <a:pt x="573" y="78"/>
                  </a:lnTo>
                  <a:lnTo>
                    <a:pt x="571" y="76"/>
                  </a:lnTo>
                  <a:lnTo>
                    <a:pt x="573" y="76"/>
                  </a:lnTo>
                  <a:lnTo>
                    <a:pt x="571" y="76"/>
                  </a:lnTo>
                  <a:lnTo>
                    <a:pt x="571" y="74"/>
                  </a:lnTo>
                  <a:lnTo>
                    <a:pt x="566" y="74"/>
                  </a:lnTo>
                  <a:lnTo>
                    <a:pt x="564" y="71"/>
                  </a:lnTo>
                  <a:lnTo>
                    <a:pt x="557" y="71"/>
                  </a:lnTo>
                  <a:lnTo>
                    <a:pt x="552" y="71"/>
                  </a:lnTo>
                  <a:lnTo>
                    <a:pt x="552" y="71"/>
                  </a:lnTo>
                  <a:lnTo>
                    <a:pt x="549" y="71"/>
                  </a:lnTo>
                  <a:lnTo>
                    <a:pt x="545" y="71"/>
                  </a:lnTo>
                  <a:lnTo>
                    <a:pt x="540" y="74"/>
                  </a:lnTo>
                  <a:lnTo>
                    <a:pt x="535" y="76"/>
                  </a:lnTo>
                  <a:lnTo>
                    <a:pt x="535" y="76"/>
                  </a:lnTo>
                  <a:lnTo>
                    <a:pt x="535" y="76"/>
                  </a:lnTo>
                  <a:lnTo>
                    <a:pt x="535" y="78"/>
                  </a:lnTo>
                  <a:lnTo>
                    <a:pt x="533" y="78"/>
                  </a:lnTo>
                  <a:lnTo>
                    <a:pt x="531" y="78"/>
                  </a:lnTo>
                  <a:lnTo>
                    <a:pt x="531" y="78"/>
                  </a:lnTo>
                  <a:lnTo>
                    <a:pt x="528" y="78"/>
                  </a:lnTo>
                  <a:lnTo>
                    <a:pt x="526" y="78"/>
                  </a:lnTo>
                  <a:lnTo>
                    <a:pt x="526" y="78"/>
                  </a:lnTo>
                  <a:lnTo>
                    <a:pt x="524" y="81"/>
                  </a:lnTo>
                  <a:lnTo>
                    <a:pt x="521" y="81"/>
                  </a:lnTo>
                  <a:lnTo>
                    <a:pt x="509" y="83"/>
                  </a:lnTo>
                  <a:lnTo>
                    <a:pt x="505" y="83"/>
                  </a:lnTo>
                  <a:lnTo>
                    <a:pt x="502" y="83"/>
                  </a:lnTo>
                  <a:lnTo>
                    <a:pt x="498" y="83"/>
                  </a:lnTo>
                  <a:lnTo>
                    <a:pt x="495" y="83"/>
                  </a:lnTo>
                  <a:lnTo>
                    <a:pt x="488" y="83"/>
                  </a:lnTo>
                  <a:lnTo>
                    <a:pt x="486" y="83"/>
                  </a:lnTo>
                  <a:lnTo>
                    <a:pt x="481" y="83"/>
                  </a:lnTo>
                  <a:lnTo>
                    <a:pt x="481" y="83"/>
                  </a:lnTo>
                  <a:close/>
                  <a:moveTo>
                    <a:pt x="623" y="135"/>
                  </a:moveTo>
                  <a:lnTo>
                    <a:pt x="623" y="135"/>
                  </a:lnTo>
                  <a:lnTo>
                    <a:pt x="623" y="135"/>
                  </a:lnTo>
                  <a:lnTo>
                    <a:pt x="625" y="135"/>
                  </a:lnTo>
                  <a:lnTo>
                    <a:pt x="625" y="135"/>
                  </a:lnTo>
                  <a:lnTo>
                    <a:pt x="627" y="135"/>
                  </a:lnTo>
                  <a:lnTo>
                    <a:pt x="630" y="135"/>
                  </a:lnTo>
                  <a:lnTo>
                    <a:pt x="632" y="135"/>
                  </a:lnTo>
                  <a:lnTo>
                    <a:pt x="634" y="135"/>
                  </a:lnTo>
                  <a:lnTo>
                    <a:pt x="641" y="135"/>
                  </a:lnTo>
                  <a:lnTo>
                    <a:pt x="644" y="135"/>
                  </a:lnTo>
                  <a:lnTo>
                    <a:pt x="644" y="133"/>
                  </a:lnTo>
                  <a:lnTo>
                    <a:pt x="641" y="133"/>
                  </a:lnTo>
                  <a:lnTo>
                    <a:pt x="639" y="130"/>
                  </a:lnTo>
                  <a:lnTo>
                    <a:pt x="639" y="130"/>
                  </a:lnTo>
                  <a:lnTo>
                    <a:pt x="637" y="130"/>
                  </a:lnTo>
                  <a:lnTo>
                    <a:pt x="634" y="128"/>
                  </a:lnTo>
                  <a:lnTo>
                    <a:pt x="632" y="128"/>
                  </a:lnTo>
                  <a:lnTo>
                    <a:pt x="632" y="128"/>
                  </a:lnTo>
                  <a:lnTo>
                    <a:pt x="625" y="128"/>
                  </a:lnTo>
                  <a:lnTo>
                    <a:pt x="623" y="130"/>
                  </a:lnTo>
                  <a:lnTo>
                    <a:pt x="620" y="130"/>
                  </a:lnTo>
                  <a:lnTo>
                    <a:pt x="623" y="133"/>
                  </a:lnTo>
                  <a:lnTo>
                    <a:pt x="623" y="135"/>
                  </a:lnTo>
                  <a:close/>
                  <a:moveTo>
                    <a:pt x="721" y="149"/>
                  </a:moveTo>
                  <a:lnTo>
                    <a:pt x="724" y="149"/>
                  </a:lnTo>
                  <a:lnTo>
                    <a:pt x="731" y="149"/>
                  </a:lnTo>
                  <a:lnTo>
                    <a:pt x="733" y="149"/>
                  </a:lnTo>
                  <a:lnTo>
                    <a:pt x="736" y="147"/>
                  </a:lnTo>
                  <a:lnTo>
                    <a:pt x="736" y="147"/>
                  </a:lnTo>
                  <a:lnTo>
                    <a:pt x="738" y="145"/>
                  </a:lnTo>
                  <a:lnTo>
                    <a:pt x="738" y="145"/>
                  </a:lnTo>
                  <a:lnTo>
                    <a:pt x="736" y="145"/>
                  </a:lnTo>
                  <a:lnTo>
                    <a:pt x="729" y="142"/>
                  </a:lnTo>
                  <a:lnTo>
                    <a:pt x="726" y="142"/>
                  </a:lnTo>
                  <a:lnTo>
                    <a:pt x="724" y="145"/>
                  </a:lnTo>
                  <a:lnTo>
                    <a:pt x="724" y="145"/>
                  </a:lnTo>
                  <a:lnTo>
                    <a:pt x="724" y="147"/>
                  </a:lnTo>
                  <a:lnTo>
                    <a:pt x="721" y="147"/>
                  </a:lnTo>
                  <a:lnTo>
                    <a:pt x="721" y="149"/>
                  </a:lnTo>
                  <a:lnTo>
                    <a:pt x="721" y="149"/>
                  </a:lnTo>
                  <a:close/>
                  <a:moveTo>
                    <a:pt x="483" y="175"/>
                  </a:moveTo>
                  <a:lnTo>
                    <a:pt x="481" y="175"/>
                  </a:lnTo>
                  <a:lnTo>
                    <a:pt x="481" y="175"/>
                  </a:lnTo>
                  <a:lnTo>
                    <a:pt x="474" y="173"/>
                  </a:lnTo>
                  <a:lnTo>
                    <a:pt x="472" y="173"/>
                  </a:lnTo>
                  <a:lnTo>
                    <a:pt x="465" y="168"/>
                  </a:lnTo>
                  <a:lnTo>
                    <a:pt x="458" y="166"/>
                  </a:lnTo>
                  <a:lnTo>
                    <a:pt x="453" y="163"/>
                  </a:lnTo>
                  <a:lnTo>
                    <a:pt x="448" y="159"/>
                  </a:lnTo>
                  <a:lnTo>
                    <a:pt x="448" y="159"/>
                  </a:lnTo>
                  <a:lnTo>
                    <a:pt x="446" y="156"/>
                  </a:lnTo>
                  <a:lnTo>
                    <a:pt x="443" y="154"/>
                  </a:lnTo>
                  <a:lnTo>
                    <a:pt x="443" y="154"/>
                  </a:lnTo>
                  <a:lnTo>
                    <a:pt x="443" y="152"/>
                  </a:lnTo>
                  <a:lnTo>
                    <a:pt x="443" y="152"/>
                  </a:lnTo>
                  <a:lnTo>
                    <a:pt x="443" y="149"/>
                  </a:lnTo>
                  <a:lnTo>
                    <a:pt x="441" y="149"/>
                  </a:lnTo>
                  <a:lnTo>
                    <a:pt x="441" y="147"/>
                  </a:lnTo>
                  <a:lnTo>
                    <a:pt x="441" y="147"/>
                  </a:lnTo>
                  <a:lnTo>
                    <a:pt x="441" y="147"/>
                  </a:lnTo>
                  <a:lnTo>
                    <a:pt x="441" y="145"/>
                  </a:lnTo>
                  <a:lnTo>
                    <a:pt x="441" y="145"/>
                  </a:lnTo>
                  <a:lnTo>
                    <a:pt x="441" y="145"/>
                  </a:lnTo>
                  <a:lnTo>
                    <a:pt x="443" y="145"/>
                  </a:lnTo>
                  <a:lnTo>
                    <a:pt x="443" y="142"/>
                  </a:lnTo>
                  <a:lnTo>
                    <a:pt x="443" y="142"/>
                  </a:lnTo>
                  <a:lnTo>
                    <a:pt x="443" y="140"/>
                  </a:lnTo>
                  <a:lnTo>
                    <a:pt x="443" y="140"/>
                  </a:lnTo>
                  <a:lnTo>
                    <a:pt x="448" y="140"/>
                  </a:lnTo>
                  <a:lnTo>
                    <a:pt x="448" y="140"/>
                  </a:lnTo>
                  <a:lnTo>
                    <a:pt x="448" y="140"/>
                  </a:lnTo>
                  <a:lnTo>
                    <a:pt x="448" y="137"/>
                  </a:lnTo>
                  <a:lnTo>
                    <a:pt x="446" y="137"/>
                  </a:lnTo>
                  <a:lnTo>
                    <a:pt x="446" y="137"/>
                  </a:lnTo>
                  <a:lnTo>
                    <a:pt x="448" y="135"/>
                  </a:lnTo>
                  <a:lnTo>
                    <a:pt x="448" y="135"/>
                  </a:lnTo>
                  <a:lnTo>
                    <a:pt x="448" y="133"/>
                  </a:lnTo>
                  <a:lnTo>
                    <a:pt x="448" y="133"/>
                  </a:lnTo>
                  <a:lnTo>
                    <a:pt x="443" y="133"/>
                  </a:lnTo>
                  <a:lnTo>
                    <a:pt x="439" y="133"/>
                  </a:lnTo>
                  <a:lnTo>
                    <a:pt x="434" y="133"/>
                  </a:lnTo>
                  <a:lnTo>
                    <a:pt x="432" y="130"/>
                  </a:lnTo>
                  <a:lnTo>
                    <a:pt x="427" y="130"/>
                  </a:lnTo>
                  <a:lnTo>
                    <a:pt x="427" y="130"/>
                  </a:lnTo>
                  <a:lnTo>
                    <a:pt x="425" y="130"/>
                  </a:lnTo>
                  <a:lnTo>
                    <a:pt x="420" y="133"/>
                  </a:lnTo>
                  <a:lnTo>
                    <a:pt x="420" y="133"/>
                  </a:lnTo>
                  <a:lnTo>
                    <a:pt x="417" y="133"/>
                  </a:lnTo>
                  <a:lnTo>
                    <a:pt x="415" y="133"/>
                  </a:lnTo>
                  <a:lnTo>
                    <a:pt x="413" y="133"/>
                  </a:lnTo>
                  <a:lnTo>
                    <a:pt x="413" y="133"/>
                  </a:lnTo>
                  <a:lnTo>
                    <a:pt x="410" y="133"/>
                  </a:lnTo>
                  <a:lnTo>
                    <a:pt x="408" y="133"/>
                  </a:lnTo>
                  <a:lnTo>
                    <a:pt x="408" y="133"/>
                  </a:lnTo>
                  <a:lnTo>
                    <a:pt x="408" y="135"/>
                  </a:lnTo>
                  <a:lnTo>
                    <a:pt x="408" y="135"/>
                  </a:lnTo>
                  <a:lnTo>
                    <a:pt x="408" y="137"/>
                  </a:lnTo>
                  <a:lnTo>
                    <a:pt x="408" y="137"/>
                  </a:lnTo>
                  <a:lnTo>
                    <a:pt x="410" y="137"/>
                  </a:lnTo>
                  <a:lnTo>
                    <a:pt x="410" y="137"/>
                  </a:lnTo>
                  <a:lnTo>
                    <a:pt x="408" y="137"/>
                  </a:lnTo>
                  <a:lnTo>
                    <a:pt x="406" y="137"/>
                  </a:lnTo>
                  <a:lnTo>
                    <a:pt x="406" y="137"/>
                  </a:lnTo>
                  <a:lnTo>
                    <a:pt x="403" y="140"/>
                  </a:lnTo>
                  <a:lnTo>
                    <a:pt x="401" y="140"/>
                  </a:lnTo>
                  <a:lnTo>
                    <a:pt x="401" y="140"/>
                  </a:lnTo>
                  <a:lnTo>
                    <a:pt x="401" y="142"/>
                  </a:lnTo>
                  <a:lnTo>
                    <a:pt x="403" y="142"/>
                  </a:lnTo>
                  <a:lnTo>
                    <a:pt x="403" y="142"/>
                  </a:lnTo>
                  <a:lnTo>
                    <a:pt x="408" y="142"/>
                  </a:lnTo>
                  <a:lnTo>
                    <a:pt x="406" y="145"/>
                  </a:lnTo>
                  <a:lnTo>
                    <a:pt x="406" y="145"/>
                  </a:lnTo>
                  <a:lnTo>
                    <a:pt x="408" y="145"/>
                  </a:lnTo>
                  <a:lnTo>
                    <a:pt x="406" y="145"/>
                  </a:lnTo>
                  <a:lnTo>
                    <a:pt x="406" y="147"/>
                  </a:lnTo>
                  <a:lnTo>
                    <a:pt x="406" y="147"/>
                  </a:lnTo>
                  <a:lnTo>
                    <a:pt x="406" y="149"/>
                  </a:lnTo>
                  <a:lnTo>
                    <a:pt x="406" y="149"/>
                  </a:lnTo>
                  <a:lnTo>
                    <a:pt x="406" y="149"/>
                  </a:lnTo>
                  <a:lnTo>
                    <a:pt x="403" y="149"/>
                  </a:lnTo>
                  <a:lnTo>
                    <a:pt x="403" y="152"/>
                  </a:lnTo>
                  <a:lnTo>
                    <a:pt x="403" y="152"/>
                  </a:lnTo>
                  <a:lnTo>
                    <a:pt x="403" y="152"/>
                  </a:lnTo>
                  <a:lnTo>
                    <a:pt x="401" y="152"/>
                  </a:lnTo>
                  <a:lnTo>
                    <a:pt x="396" y="152"/>
                  </a:lnTo>
                  <a:lnTo>
                    <a:pt x="396" y="152"/>
                  </a:lnTo>
                  <a:lnTo>
                    <a:pt x="394" y="152"/>
                  </a:lnTo>
                  <a:lnTo>
                    <a:pt x="394" y="152"/>
                  </a:lnTo>
                  <a:lnTo>
                    <a:pt x="394" y="154"/>
                  </a:lnTo>
                  <a:lnTo>
                    <a:pt x="394" y="154"/>
                  </a:lnTo>
                  <a:lnTo>
                    <a:pt x="394" y="156"/>
                  </a:lnTo>
                  <a:lnTo>
                    <a:pt x="394" y="159"/>
                  </a:lnTo>
                  <a:lnTo>
                    <a:pt x="396" y="161"/>
                  </a:lnTo>
                  <a:lnTo>
                    <a:pt x="396" y="161"/>
                  </a:lnTo>
                  <a:lnTo>
                    <a:pt x="399" y="161"/>
                  </a:lnTo>
                  <a:lnTo>
                    <a:pt x="401" y="163"/>
                  </a:lnTo>
                  <a:lnTo>
                    <a:pt x="403" y="163"/>
                  </a:lnTo>
                  <a:lnTo>
                    <a:pt x="406" y="163"/>
                  </a:lnTo>
                  <a:lnTo>
                    <a:pt x="408" y="161"/>
                  </a:lnTo>
                  <a:lnTo>
                    <a:pt x="413" y="163"/>
                  </a:lnTo>
                  <a:lnTo>
                    <a:pt x="415" y="163"/>
                  </a:lnTo>
                  <a:lnTo>
                    <a:pt x="420" y="161"/>
                  </a:lnTo>
                  <a:lnTo>
                    <a:pt x="422" y="161"/>
                  </a:lnTo>
                  <a:lnTo>
                    <a:pt x="420" y="163"/>
                  </a:lnTo>
                  <a:lnTo>
                    <a:pt x="422" y="163"/>
                  </a:lnTo>
                  <a:lnTo>
                    <a:pt x="422" y="166"/>
                  </a:lnTo>
                  <a:lnTo>
                    <a:pt x="425" y="166"/>
                  </a:lnTo>
                  <a:lnTo>
                    <a:pt x="425" y="166"/>
                  </a:lnTo>
                  <a:lnTo>
                    <a:pt x="425" y="166"/>
                  </a:lnTo>
                  <a:lnTo>
                    <a:pt x="429" y="168"/>
                  </a:lnTo>
                  <a:lnTo>
                    <a:pt x="434" y="168"/>
                  </a:lnTo>
                  <a:lnTo>
                    <a:pt x="434" y="171"/>
                  </a:lnTo>
                  <a:lnTo>
                    <a:pt x="432" y="168"/>
                  </a:lnTo>
                  <a:lnTo>
                    <a:pt x="429" y="168"/>
                  </a:lnTo>
                  <a:lnTo>
                    <a:pt x="432" y="171"/>
                  </a:lnTo>
                  <a:lnTo>
                    <a:pt x="427" y="171"/>
                  </a:lnTo>
                  <a:lnTo>
                    <a:pt x="427" y="171"/>
                  </a:lnTo>
                  <a:lnTo>
                    <a:pt x="427" y="171"/>
                  </a:lnTo>
                  <a:lnTo>
                    <a:pt x="429" y="173"/>
                  </a:lnTo>
                  <a:lnTo>
                    <a:pt x="429" y="173"/>
                  </a:lnTo>
                  <a:lnTo>
                    <a:pt x="427" y="173"/>
                  </a:lnTo>
                  <a:lnTo>
                    <a:pt x="425" y="173"/>
                  </a:lnTo>
                  <a:lnTo>
                    <a:pt x="432" y="175"/>
                  </a:lnTo>
                  <a:lnTo>
                    <a:pt x="436" y="175"/>
                  </a:lnTo>
                  <a:lnTo>
                    <a:pt x="439" y="175"/>
                  </a:lnTo>
                  <a:lnTo>
                    <a:pt x="441" y="178"/>
                  </a:lnTo>
                  <a:lnTo>
                    <a:pt x="443" y="178"/>
                  </a:lnTo>
                  <a:lnTo>
                    <a:pt x="443" y="175"/>
                  </a:lnTo>
                  <a:lnTo>
                    <a:pt x="443" y="175"/>
                  </a:lnTo>
                  <a:lnTo>
                    <a:pt x="446" y="178"/>
                  </a:lnTo>
                  <a:lnTo>
                    <a:pt x="448" y="178"/>
                  </a:lnTo>
                  <a:lnTo>
                    <a:pt x="453" y="178"/>
                  </a:lnTo>
                  <a:lnTo>
                    <a:pt x="458" y="178"/>
                  </a:lnTo>
                  <a:lnTo>
                    <a:pt x="458" y="178"/>
                  </a:lnTo>
                  <a:lnTo>
                    <a:pt x="458" y="178"/>
                  </a:lnTo>
                  <a:lnTo>
                    <a:pt x="460" y="178"/>
                  </a:lnTo>
                  <a:lnTo>
                    <a:pt x="460" y="178"/>
                  </a:lnTo>
                  <a:lnTo>
                    <a:pt x="462" y="178"/>
                  </a:lnTo>
                  <a:lnTo>
                    <a:pt x="462" y="178"/>
                  </a:lnTo>
                  <a:lnTo>
                    <a:pt x="465" y="178"/>
                  </a:lnTo>
                  <a:lnTo>
                    <a:pt x="465" y="178"/>
                  </a:lnTo>
                  <a:lnTo>
                    <a:pt x="469" y="180"/>
                  </a:lnTo>
                  <a:lnTo>
                    <a:pt x="469" y="178"/>
                  </a:lnTo>
                  <a:lnTo>
                    <a:pt x="469" y="178"/>
                  </a:lnTo>
                  <a:lnTo>
                    <a:pt x="467" y="178"/>
                  </a:lnTo>
                  <a:lnTo>
                    <a:pt x="467" y="178"/>
                  </a:lnTo>
                  <a:lnTo>
                    <a:pt x="465" y="175"/>
                  </a:lnTo>
                  <a:lnTo>
                    <a:pt x="467" y="175"/>
                  </a:lnTo>
                  <a:lnTo>
                    <a:pt x="467" y="175"/>
                  </a:lnTo>
                  <a:lnTo>
                    <a:pt x="469" y="178"/>
                  </a:lnTo>
                  <a:lnTo>
                    <a:pt x="469" y="178"/>
                  </a:lnTo>
                  <a:lnTo>
                    <a:pt x="472" y="178"/>
                  </a:lnTo>
                  <a:lnTo>
                    <a:pt x="476" y="178"/>
                  </a:lnTo>
                  <a:lnTo>
                    <a:pt x="479" y="178"/>
                  </a:lnTo>
                  <a:lnTo>
                    <a:pt x="479" y="178"/>
                  </a:lnTo>
                  <a:lnTo>
                    <a:pt x="481" y="178"/>
                  </a:lnTo>
                  <a:lnTo>
                    <a:pt x="483" y="175"/>
                  </a:lnTo>
                  <a:close/>
                  <a:moveTo>
                    <a:pt x="526" y="189"/>
                  </a:moveTo>
                  <a:lnTo>
                    <a:pt x="526" y="189"/>
                  </a:lnTo>
                  <a:lnTo>
                    <a:pt x="521" y="189"/>
                  </a:lnTo>
                  <a:lnTo>
                    <a:pt x="519" y="187"/>
                  </a:lnTo>
                  <a:lnTo>
                    <a:pt x="514" y="185"/>
                  </a:lnTo>
                  <a:lnTo>
                    <a:pt x="512" y="185"/>
                  </a:lnTo>
                  <a:lnTo>
                    <a:pt x="509" y="182"/>
                  </a:lnTo>
                  <a:lnTo>
                    <a:pt x="507" y="182"/>
                  </a:lnTo>
                  <a:lnTo>
                    <a:pt x="505" y="180"/>
                  </a:lnTo>
                  <a:lnTo>
                    <a:pt x="505" y="180"/>
                  </a:lnTo>
                  <a:lnTo>
                    <a:pt x="502" y="180"/>
                  </a:lnTo>
                  <a:lnTo>
                    <a:pt x="500" y="180"/>
                  </a:lnTo>
                  <a:lnTo>
                    <a:pt x="500" y="182"/>
                  </a:lnTo>
                  <a:lnTo>
                    <a:pt x="500" y="182"/>
                  </a:lnTo>
                  <a:lnTo>
                    <a:pt x="498" y="182"/>
                  </a:lnTo>
                  <a:lnTo>
                    <a:pt x="498" y="185"/>
                  </a:lnTo>
                  <a:lnTo>
                    <a:pt x="500" y="187"/>
                  </a:lnTo>
                  <a:lnTo>
                    <a:pt x="500" y="187"/>
                  </a:lnTo>
                  <a:lnTo>
                    <a:pt x="500" y="187"/>
                  </a:lnTo>
                  <a:lnTo>
                    <a:pt x="502" y="187"/>
                  </a:lnTo>
                  <a:lnTo>
                    <a:pt x="507" y="189"/>
                  </a:lnTo>
                  <a:lnTo>
                    <a:pt x="507" y="192"/>
                  </a:lnTo>
                  <a:lnTo>
                    <a:pt x="509" y="189"/>
                  </a:lnTo>
                  <a:lnTo>
                    <a:pt x="509" y="189"/>
                  </a:lnTo>
                  <a:lnTo>
                    <a:pt x="512" y="189"/>
                  </a:lnTo>
                  <a:lnTo>
                    <a:pt x="512" y="192"/>
                  </a:lnTo>
                  <a:lnTo>
                    <a:pt x="514" y="192"/>
                  </a:lnTo>
                  <a:lnTo>
                    <a:pt x="516" y="192"/>
                  </a:lnTo>
                  <a:lnTo>
                    <a:pt x="516" y="194"/>
                  </a:lnTo>
                  <a:lnTo>
                    <a:pt x="516" y="194"/>
                  </a:lnTo>
                  <a:lnTo>
                    <a:pt x="519" y="194"/>
                  </a:lnTo>
                  <a:lnTo>
                    <a:pt x="519" y="194"/>
                  </a:lnTo>
                  <a:lnTo>
                    <a:pt x="521" y="194"/>
                  </a:lnTo>
                  <a:lnTo>
                    <a:pt x="524" y="194"/>
                  </a:lnTo>
                  <a:lnTo>
                    <a:pt x="526" y="194"/>
                  </a:lnTo>
                  <a:lnTo>
                    <a:pt x="526" y="194"/>
                  </a:lnTo>
                  <a:lnTo>
                    <a:pt x="528" y="194"/>
                  </a:lnTo>
                  <a:lnTo>
                    <a:pt x="528" y="192"/>
                  </a:lnTo>
                  <a:lnTo>
                    <a:pt x="528" y="192"/>
                  </a:lnTo>
                  <a:lnTo>
                    <a:pt x="526" y="189"/>
                  </a:lnTo>
                  <a:close/>
                  <a:moveTo>
                    <a:pt x="601" y="180"/>
                  </a:moveTo>
                  <a:lnTo>
                    <a:pt x="604" y="180"/>
                  </a:lnTo>
                  <a:lnTo>
                    <a:pt x="604" y="180"/>
                  </a:lnTo>
                  <a:lnTo>
                    <a:pt x="604" y="180"/>
                  </a:lnTo>
                  <a:lnTo>
                    <a:pt x="599" y="178"/>
                  </a:lnTo>
                  <a:lnTo>
                    <a:pt x="599" y="175"/>
                  </a:lnTo>
                  <a:lnTo>
                    <a:pt x="599" y="175"/>
                  </a:lnTo>
                  <a:lnTo>
                    <a:pt x="599" y="175"/>
                  </a:lnTo>
                  <a:lnTo>
                    <a:pt x="599" y="175"/>
                  </a:lnTo>
                  <a:lnTo>
                    <a:pt x="601" y="178"/>
                  </a:lnTo>
                  <a:lnTo>
                    <a:pt x="601" y="180"/>
                  </a:lnTo>
                  <a:close/>
                  <a:moveTo>
                    <a:pt x="679" y="137"/>
                  </a:moveTo>
                  <a:lnTo>
                    <a:pt x="684" y="137"/>
                  </a:lnTo>
                  <a:lnTo>
                    <a:pt x="684" y="140"/>
                  </a:lnTo>
                  <a:lnTo>
                    <a:pt x="686" y="140"/>
                  </a:lnTo>
                  <a:lnTo>
                    <a:pt x="686" y="140"/>
                  </a:lnTo>
                  <a:lnTo>
                    <a:pt x="686" y="137"/>
                  </a:lnTo>
                  <a:lnTo>
                    <a:pt x="686" y="137"/>
                  </a:lnTo>
                  <a:lnTo>
                    <a:pt x="684" y="137"/>
                  </a:lnTo>
                  <a:lnTo>
                    <a:pt x="686" y="137"/>
                  </a:lnTo>
                  <a:lnTo>
                    <a:pt x="688" y="135"/>
                  </a:lnTo>
                  <a:lnTo>
                    <a:pt x="684" y="135"/>
                  </a:lnTo>
                  <a:lnTo>
                    <a:pt x="681" y="135"/>
                  </a:lnTo>
                  <a:lnTo>
                    <a:pt x="679" y="135"/>
                  </a:lnTo>
                  <a:lnTo>
                    <a:pt x="677" y="135"/>
                  </a:lnTo>
                  <a:lnTo>
                    <a:pt x="677" y="135"/>
                  </a:lnTo>
                  <a:lnTo>
                    <a:pt x="677" y="137"/>
                  </a:lnTo>
                  <a:lnTo>
                    <a:pt x="679" y="137"/>
                  </a:lnTo>
                  <a:close/>
                  <a:moveTo>
                    <a:pt x="1520" y="161"/>
                  </a:moveTo>
                  <a:lnTo>
                    <a:pt x="1518" y="161"/>
                  </a:lnTo>
                  <a:lnTo>
                    <a:pt x="1518" y="161"/>
                  </a:lnTo>
                  <a:lnTo>
                    <a:pt x="1518" y="161"/>
                  </a:lnTo>
                  <a:lnTo>
                    <a:pt x="1520" y="163"/>
                  </a:lnTo>
                  <a:lnTo>
                    <a:pt x="1523" y="163"/>
                  </a:lnTo>
                  <a:lnTo>
                    <a:pt x="1523" y="163"/>
                  </a:lnTo>
                  <a:lnTo>
                    <a:pt x="1525" y="163"/>
                  </a:lnTo>
                  <a:lnTo>
                    <a:pt x="1525" y="163"/>
                  </a:lnTo>
                  <a:lnTo>
                    <a:pt x="1525" y="163"/>
                  </a:lnTo>
                  <a:lnTo>
                    <a:pt x="1528" y="163"/>
                  </a:lnTo>
                  <a:lnTo>
                    <a:pt x="1530" y="163"/>
                  </a:lnTo>
                  <a:lnTo>
                    <a:pt x="1530" y="163"/>
                  </a:lnTo>
                  <a:lnTo>
                    <a:pt x="1530" y="161"/>
                  </a:lnTo>
                  <a:lnTo>
                    <a:pt x="1528" y="161"/>
                  </a:lnTo>
                  <a:lnTo>
                    <a:pt x="1528" y="161"/>
                  </a:lnTo>
                  <a:lnTo>
                    <a:pt x="1520" y="161"/>
                  </a:lnTo>
                  <a:lnTo>
                    <a:pt x="1520" y="161"/>
                  </a:lnTo>
                  <a:close/>
                  <a:moveTo>
                    <a:pt x="1431" y="90"/>
                  </a:moveTo>
                  <a:lnTo>
                    <a:pt x="1433" y="90"/>
                  </a:lnTo>
                  <a:lnTo>
                    <a:pt x="1429" y="90"/>
                  </a:lnTo>
                  <a:lnTo>
                    <a:pt x="1429" y="90"/>
                  </a:lnTo>
                  <a:lnTo>
                    <a:pt x="1433" y="95"/>
                  </a:lnTo>
                  <a:lnTo>
                    <a:pt x="1438" y="97"/>
                  </a:lnTo>
                  <a:lnTo>
                    <a:pt x="1436" y="97"/>
                  </a:lnTo>
                  <a:lnTo>
                    <a:pt x="1433" y="97"/>
                  </a:lnTo>
                  <a:lnTo>
                    <a:pt x="1433" y="97"/>
                  </a:lnTo>
                  <a:lnTo>
                    <a:pt x="1436" y="100"/>
                  </a:lnTo>
                  <a:lnTo>
                    <a:pt x="1438" y="100"/>
                  </a:lnTo>
                  <a:lnTo>
                    <a:pt x="1443" y="102"/>
                  </a:lnTo>
                  <a:lnTo>
                    <a:pt x="1447" y="102"/>
                  </a:lnTo>
                  <a:lnTo>
                    <a:pt x="1450" y="102"/>
                  </a:lnTo>
                  <a:lnTo>
                    <a:pt x="1450" y="104"/>
                  </a:lnTo>
                  <a:lnTo>
                    <a:pt x="1457" y="107"/>
                  </a:lnTo>
                  <a:lnTo>
                    <a:pt x="1459" y="107"/>
                  </a:lnTo>
                  <a:lnTo>
                    <a:pt x="1462" y="107"/>
                  </a:lnTo>
                  <a:lnTo>
                    <a:pt x="1473" y="109"/>
                  </a:lnTo>
                  <a:lnTo>
                    <a:pt x="1476" y="109"/>
                  </a:lnTo>
                  <a:lnTo>
                    <a:pt x="1476" y="109"/>
                  </a:lnTo>
                  <a:lnTo>
                    <a:pt x="1478" y="109"/>
                  </a:lnTo>
                  <a:lnTo>
                    <a:pt x="1478" y="109"/>
                  </a:lnTo>
                  <a:lnTo>
                    <a:pt x="1478" y="107"/>
                  </a:lnTo>
                  <a:lnTo>
                    <a:pt x="1478" y="107"/>
                  </a:lnTo>
                  <a:lnTo>
                    <a:pt x="1476" y="104"/>
                  </a:lnTo>
                  <a:lnTo>
                    <a:pt x="1476" y="104"/>
                  </a:lnTo>
                  <a:lnTo>
                    <a:pt x="1476" y="104"/>
                  </a:lnTo>
                  <a:lnTo>
                    <a:pt x="1478" y="104"/>
                  </a:lnTo>
                  <a:lnTo>
                    <a:pt x="1483" y="104"/>
                  </a:lnTo>
                  <a:lnTo>
                    <a:pt x="1487" y="107"/>
                  </a:lnTo>
                  <a:lnTo>
                    <a:pt x="1490" y="107"/>
                  </a:lnTo>
                  <a:lnTo>
                    <a:pt x="1492" y="104"/>
                  </a:lnTo>
                  <a:lnTo>
                    <a:pt x="1499" y="104"/>
                  </a:lnTo>
                  <a:lnTo>
                    <a:pt x="1499" y="104"/>
                  </a:lnTo>
                  <a:lnTo>
                    <a:pt x="1502" y="104"/>
                  </a:lnTo>
                  <a:lnTo>
                    <a:pt x="1504" y="104"/>
                  </a:lnTo>
                  <a:lnTo>
                    <a:pt x="1506" y="104"/>
                  </a:lnTo>
                  <a:lnTo>
                    <a:pt x="1509" y="104"/>
                  </a:lnTo>
                  <a:lnTo>
                    <a:pt x="1511" y="107"/>
                  </a:lnTo>
                  <a:lnTo>
                    <a:pt x="1513" y="107"/>
                  </a:lnTo>
                  <a:lnTo>
                    <a:pt x="1516" y="107"/>
                  </a:lnTo>
                  <a:lnTo>
                    <a:pt x="1516" y="107"/>
                  </a:lnTo>
                  <a:lnTo>
                    <a:pt x="1518" y="107"/>
                  </a:lnTo>
                  <a:lnTo>
                    <a:pt x="1520" y="104"/>
                  </a:lnTo>
                  <a:lnTo>
                    <a:pt x="1516" y="102"/>
                  </a:lnTo>
                  <a:lnTo>
                    <a:pt x="1511" y="102"/>
                  </a:lnTo>
                  <a:lnTo>
                    <a:pt x="1509" y="102"/>
                  </a:lnTo>
                  <a:lnTo>
                    <a:pt x="1499" y="97"/>
                  </a:lnTo>
                  <a:lnTo>
                    <a:pt x="1497" y="97"/>
                  </a:lnTo>
                  <a:lnTo>
                    <a:pt x="1497" y="95"/>
                  </a:lnTo>
                  <a:lnTo>
                    <a:pt x="1490" y="92"/>
                  </a:lnTo>
                  <a:lnTo>
                    <a:pt x="1492" y="92"/>
                  </a:lnTo>
                  <a:lnTo>
                    <a:pt x="1495" y="92"/>
                  </a:lnTo>
                  <a:lnTo>
                    <a:pt x="1499" y="92"/>
                  </a:lnTo>
                  <a:lnTo>
                    <a:pt x="1502" y="92"/>
                  </a:lnTo>
                  <a:lnTo>
                    <a:pt x="1502" y="92"/>
                  </a:lnTo>
                  <a:lnTo>
                    <a:pt x="1502" y="95"/>
                  </a:lnTo>
                  <a:lnTo>
                    <a:pt x="1502" y="95"/>
                  </a:lnTo>
                  <a:lnTo>
                    <a:pt x="1504" y="95"/>
                  </a:lnTo>
                  <a:lnTo>
                    <a:pt x="1506" y="97"/>
                  </a:lnTo>
                  <a:lnTo>
                    <a:pt x="1509" y="100"/>
                  </a:lnTo>
                  <a:lnTo>
                    <a:pt x="1511" y="100"/>
                  </a:lnTo>
                  <a:lnTo>
                    <a:pt x="1516" y="102"/>
                  </a:lnTo>
                  <a:lnTo>
                    <a:pt x="1520" y="102"/>
                  </a:lnTo>
                  <a:lnTo>
                    <a:pt x="1523" y="102"/>
                  </a:lnTo>
                  <a:lnTo>
                    <a:pt x="1530" y="102"/>
                  </a:lnTo>
                  <a:lnTo>
                    <a:pt x="1532" y="102"/>
                  </a:lnTo>
                  <a:lnTo>
                    <a:pt x="1532" y="102"/>
                  </a:lnTo>
                  <a:lnTo>
                    <a:pt x="1535" y="100"/>
                  </a:lnTo>
                  <a:lnTo>
                    <a:pt x="1532" y="97"/>
                  </a:lnTo>
                  <a:lnTo>
                    <a:pt x="1530" y="97"/>
                  </a:lnTo>
                  <a:lnTo>
                    <a:pt x="1530" y="97"/>
                  </a:lnTo>
                  <a:lnTo>
                    <a:pt x="1530" y="95"/>
                  </a:lnTo>
                  <a:lnTo>
                    <a:pt x="1535" y="95"/>
                  </a:lnTo>
                  <a:lnTo>
                    <a:pt x="1532" y="95"/>
                  </a:lnTo>
                  <a:lnTo>
                    <a:pt x="1532" y="95"/>
                  </a:lnTo>
                  <a:lnTo>
                    <a:pt x="1504" y="90"/>
                  </a:lnTo>
                  <a:lnTo>
                    <a:pt x="1504" y="90"/>
                  </a:lnTo>
                  <a:lnTo>
                    <a:pt x="1502" y="90"/>
                  </a:lnTo>
                  <a:lnTo>
                    <a:pt x="1499" y="90"/>
                  </a:lnTo>
                  <a:lnTo>
                    <a:pt x="1497" y="90"/>
                  </a:lnTo>
                  <a:lnTo>
                    <a:pt x="1492" y="90"/>
                  </a:lnTo>
                  <a:lnTo>
                    <a:pt x="1487" y="88"/>
                  </a:lnTo>
                  <a:lnTo>
                    <a:pt x="1480" y="85"/>
                  </a:lnTo>
                  <a:lnTo>
                    <a:pt x="1476" y="85"/>
                  </a:lnTo>
                  <a:lnTo>
                    <a:pt x="1471" y="85"/>
                  </a:lnTo>
                  <a:lnTo>
                    <a:pt x="1471" y="85"/>
                  </a:lnTo>
                  <a:lnTo>
                    <a:pt x="1469" y="88"/>
                  </a:lnTo>
                  <a:lnTo>
                    <a:pt x="1469" y="88"/>
                  </a:lnTo>
                  <a:lnTo>
                    <a:pt x="1469" y="88"/>
                  </a:lnTo>
                  <a:lnTo>
                    <a:pt x="1471" y="90"/>
                  </a:lnTo>
                  <a:lnTo>
                    <a:pt x="1473" y="90"/>
                  </a:lnTo>
                  <a:lnTo>
                    <a:pt x="1473" y="90"/>
                  </a:lnTo>
                  <a:lnTo>
                    <a:pt x="1476" y="92"/>
                  </a:lnTo>
                  <a:lnTo>
                    <a:pt x="1476" y="92"/>
                  </a:lnTo>
                  <a:lnTo>
                    <a:pt x="1476" y="92"/>
                  </a:lnTo>
                  <a:lnTo>
                    <a:pt x="1473" y="92"/>
                  </a:lnTo>
                  <a:lnTo>
                    <a:pt x="1471" y="92"/>
                  </a:lnTo>
                  <a:lnTo>
                    <a:pt x="1471" y="92"/>
                  </a:lnTo>
                  <a:lnTo>
                    <a:pt x="1469" y="92"/>
                  </a:lnTo>
                  <a:lnTo>
                    <a:pt x="1466" y="90"/>
                  </a:lnTo>
                  <a:lnTo>
                    <a:pt x="1464" y="90"/>
                  </a:lnTo>
                  <a:lnTo>
                    <a:pt x="1462" y="90"/>
                  </a:lnTo>
                  <a:lnTo>
                    <a:pt x="1462" y="90"/>
                  </a:lnTo>
                  <a:lnTo>
                    <a:pt x="1454" y="88"/>
                  </a:lnTo>
                  <a:lnTo>
                    <a:pt x="1450" y="88"/>
                  </a:lnTo>
                  <a:lnTo>
                    <a:pt x="1445" y="85"/>
                  </a:lnTo>
                  <a:lnTo>
                    <a:pt x="1443" y="85"/>
                  </a:lnTo>
                  <a:lnTo>
                    <a:pt x="1440" y="85"/>
                  </a:lnTo>
                  <a:lnTo>
                    <a:pt x="1438" y="83"/>
                  </a:lnTo>
                  <a:lnTo>
                    <a:pt x="1436" y="83"/>
                  </a:lnTo>
                  <a:lnTo>
                    <a:pt x="1433" y="85"/>
                  </a:lnTo>
                  <a:lnTo>
                    <a:pt x="1431" y="85"/>
                  </a:lnTo>
                  <a:lnTo>
                    <a:pt x="1431" y="85"/>
                  </a:lnTo>
                  <a:lnTo>
                    <a:pt x="1431" y="85"/>
                  </a:lnTo>
                  <a:lnTo>
                    <a:pt x="1431" y="85"/>
                  </a:lnTo>
                  <a:lnTo>
                    <a:pt x="1429" y="88"/>
                  </a:lnTo>
                  <a:lnTo>
                    <a:pt x="1426" y="88"/>
                  </a:lnTo>
                  <a:lnTo>
                    <a:pt x="1426" y="88"/>
                  </a:lnTo>
                  <a:lnTo>
                    <a:pt x="1426" y="88"/>
                  </a:lnTo>
                  <a:lnTo>
                    <a:pt x="1431" y="90"/>
                  </a:lnTo>
                  <a:close/>
                  <a:moveTo>
                    <a:pt x="1516" y="119"/>
                  </a:moveTo>
                  <a:lnTo>
                    <a:pt x="1513" y="116"/>
                  </a:lnTo>
                  <a:lnTo>
                    <a:pt x="1511" y="116"/>
                  </a:lnTo>
                  <a:lnTo>
                    <a:pt x="1511" y="116"/>
                  </a:lnTo>
                  <a:lnTo>
                    <a:pt x="1509" y="116"/>
                  </a:lnTo>
                  <a:lnTo>
                    <a:pt x="1509" y="116"/>
                  </a:lnTo>
                  <a:lnTo>
                    <a:pt x="1502" y="116"/>
                  </a:lnTo>
                  <a:lnTo>
                    <a:pt x="1502" y="116"/>
                  </a:lnTo>
                  <a:lnTo>
                    <a:pt x="1499" y="116"/>
                  </a:lnTo>
                  <a:lnTo>
                    <a:pt x="1499" y="116"/>
                  </a:lnTo>
                  <a:lnTo>
                    <a:pt x="1506" y="121"/>
                  </a:lnTo>
                  <a:lnTo>
                    <a:pt x="1511" y="121"/>
                  </a:lnTo>
                  <a:lnTo>
                    <a:pt x="1511" y="121"/>
                  </a:lnTo>
                  <a:lnTo>
                    <a:pt x="1516" y="121"/>
                  </a:lnTo>
                  <a:lnTo>
                    <a:pt x="1516" y="119"/>
                  </a:lnTo>
                  <a:close/>
                  <a:moveTo>
                    <a:pt x="1530" y="121"/>
                  </a:moveTo>
                  <a:lnTo>
                    <a:pt x="1528" y="121"/>
                  </a:lnTo>
                  <a:lnTo>
                    <a:pt x="1523" y="123"/>
                  </a:lnTo>
                  <a:lnTo>
                    <a:pt x="1520" y="123"/>
                  </a:lnTo>
                  <a:lnTo>
                    <a:pt x="1520" y="123"/>
                  </a:lnTo>
                  <a:lnTo>
                    <a:pt x="1520" y="123"/>
                  </a:lnTo>
                  <a:lnTo>
                    <a:pt x="1520" y="123"/>
                  </a:lnTo>
                  <a:lnTo>
                    <a:pt x="1520" y="126"/>
                  </a:lnTo>
                  <a:lnTo>
                    <a:pt x="1520" y="128"/>
                  </a:lnTo>
                  <a:lnTo>
                    <a:pt x="1520" y="128"/>
                  </a:lnTo>
                  <a:lnTo>
                    <a:pt x="1518" y="128"/>
                  </a:lnTo>
                  <a:lnTo>
                    <a:pt x="1513" y="130"/>
                  </a:lnTo>
                  <a:lnTo>
                    <a:pt x="1511" y="130"/>
                  </a:lnTo>
                  <a:lnTo>
                    <a:pt x="1516" y="130"/>
                  </a:lnTo>
                  <a:lnTo>
                    <a:pt x="1516" y="130"/>
                  </a:lnTo>
                  <a:lnTo>
                    <a:pt x="1518" y="130"/>
                  </a:lnTo>
                  <a:lnTo>
                    <a:pt x="1520" y="130"/>
                  </a:lnTo>
                  <a:lnTo>
                    <a:pt x="1523" y="130"/>
                  </a:lnTo>
                  <a:lnTo>
                    <a:pt x="1525" y="130"/>
                  </a:lnTo>
                  <a:lnTo>
                    <a:pt x="1532" y="130"/>
                  </a:lnTo>
                  <a:lnTo>
                    <a:pt x="1539" y="133"/>
                  </a:lnTo>
                  <a:lnTo>
                    <a:pt x="1546" y="133"/>
                  </a:lnTo>
                  <a:lnTo>
                    <a:pt x="1551" y="133"/>
                  </a:lnTo>
                  <a:lnTo>
                    <a:pt x="1553" y="133"/>
                  </a:lnTo>
                  <a:lnTo>
                    <a:pt x="1556" y="133"/>
                  </a:lnTo>
                  <a:lnTo>
                    <a:pt x="1561" y="133"/>
                  </a:lnTo>
                  <a:lnTo>
                    <a:pt x="1565" y="133"/>
                  </a:lnTo>
                  <a:lnTo>
                    <a:pt x="1565" y="133"/>
                  </a:lnTo>
                  <a:lnTo>
                    <a:pt x="1561" y="128"/>
                  </a:lnTo>
                  <a:lnTo>
                    <a:pt x="1558" y="128"/>
                  </a:lnTo>
                  <a:lnTo>
                    <a:pt x="1556" y="128"/>
                  </a:lnTo>
                  <a:lnTo>
                    <a:pt x="1542" y="123"/>
                  </a:lnTo>
                  <a:lnTo>
                    <a:pt x="1537" y="123"/>
                  </a:lnTo>
                  <a:lnTo>
                    <a:pt x="1532" y="121"/>
                  </a:lnTo>
                  <a:lnTo>
                    <a:pt x="1530" y="121"/>
                  </a:lnTo>
                  <a:close/>
                  <a:moveTo>
                    <a:pt x="2077" y="171"/>
                  </a:moveTo>
                  <a:lnTo>
                    <a:pt x="2077" y="171"/>
                  </a:lnTo>
                  <a:lnTo>
                    <a:pt x="2079" y="171"/>
                  </a:lnTo>
                  <a:lnTo>
                    <a:pt x="2086" y="175"/>
                  </a:lnTo>
                  <a:lnTo>
                    <a:pt x="2086" y="175"/>
                  </a:lnTo>
                  <a:lnTo>
                    <a:pt x="2088" y="173"/>
                  </a:lnTo>
                  <a:lnTo>
                    <a:pt x="2096" y="173"/>
                  </a:lnTo>
                  <a:lnTo>
                    <a:pt x="2096" y="171"/>
                  </a:lnTo>
                  <a:lnTo>
                    <a:pt x="2096" y="171"/>
                  </a:lnTo>
                  <a:lnTo>
                    <a:pt x="2098" y="171"/>
                  </a:lnTo>
                  <a:lnTo>
                    <a:pt x="2100" y="171"/>
                  </a:lnTo>
                  <a:lnTo>
                    <a:pt x="2105" y="173"/>
                  </a:lnTo>
                  <a:lnTo>
                    <a:pt x="2107" y="173"/>
                  </a:lnTo>
                  <a:lnTo>
                    <a:pt x="2110" y="173"/>
                  </a:lnTo>
                  <a:lnTo>
                    <a:pt x="2114" y="171"/>
                  </a:lnTo>
                  <a:lnTo>
                    <a:pt x="2121" y="171"/>
                  </a:lnTo>
                  <a:lnTo>
                    <a:pt x="2124" y="171"/>
                  </a:lnTo>
                  <a:lnTo>
                    <a:pt x="2124" y="168"/>
                  </a:lnTo>
                  <a:lnTo>
                    <a:pt x="2124" y="168"/>
                  </a:lnTo>
                  <a:lnTo>
                    <a:pt x="2121" y="166"/>
                  </a:lnTo>
                  <a:lnTo>
                    <a:pt x="2121" y="166"/>
                  </a:lnTo>
                  <a:lnTo>
                    <a:pt x="2117" y="166"/>
                  </a:lnTo>
                  <a:lnTo>
                    <a:pt x="2112" y="163"/>
                  </a:lnTo>
                  <a:lnTo>
                    <a:pt x="2110" y="163"/>
                  </a:lnTo>
                  <a:lnTo>
                    <a:pt x="2107" y="163"/>
                  </a:lnTo>
                  <a:lnTo>
                    <a:pt x="2107" y="163"/>
                  </a:lnTo>
                  <a:lnTo>
                    <a:pt x="2103" y="161"/>
                  </a:lnTo>
                  <a:lnTo>
                    <a:pt x="2103" y="161"/>
                  </a:lnTo>
                  <a:lnTo>
                    <a:pt x="2096" y="161"/>
                  </a:lnTo>
                  <a:lnTo>
                    <a:pt x="2093" y="161"/>
                  </a:lnTo>
                  <a:lnTo>
                    <a:pt x="2091" y="161"/>
                  </a:lnTo>
                  <a:lnTo>
                    <a:pt x="2091" y="161"/>
                  </a:lnTo>
                  <a:lnTo>
                    <a:pt x="2088" y="161"/>
                  </a:lnTo>
                  <a:lnTo>
                    <a:pt x="2086" y="161"/>
                  </a:lnTo>
                  <a:lnTo>
                    <a:pt x="2084" y="161"/>
                  </a:lnTo>
                  <a:lnTo>
                    <a:pt x="2084" y="161"/>
                  </a:lnTo>
                  <a:lnTo>
                    <a:pt x="2084" y="161"/>
                  </a:lnTo>
                  <a:lnTo>
                    <a:pt x="2081" y="161"/>
                  </a:lnTo>
                  <a:lnTo>
                    <a:pt x="2081" y="161"/>
                  </a:lnTo>
                  <a:lnTo>
                    <a:pt x="2081" y="161"/>
                  </a:lnTo>
                  <a:lnTo>
                    <a:pt x="2079" y="163"/>
                  </a:lnTo>
                  <a:lnTo>
                    <a:pt x="2079" y="163"/>
                  </a:lnTo>
                  <a:lnTo>
                    <a:pt x="2077" y="166"/>
                  </a:lnTo>
                  <a:lnTo>
                    <a:pt x="2074" y="168"/>
                  </a:lnTo>
                  <a:lnTo>
                    <a:pt x="2077" y="168"/>
                  </a:lnTo>
                  <a:lnTo>
                    <a:pt x="2077" y="171"/>
                  </a:lnTo>
                  <a:close/>
                  <a:moveTo>
                    <a:pt x="1964" y="192"/>
                  </a:moveTo>
                  <a:lnTo>
                    <a:pt x="1966" y="192"/>
                  </a:lnTo>
                  <a:lnTo>
                    <a:pt x="1968" y="192"/>
                  </a:lnTo>
                  <a:lnTo>
                    <a:pt x="1973" y="194"/>
                  </a:lnTo>
                  <a:lnTo>
                    <a:pt x="1975" y="194"/>
                  </a:lnTo>
                  <a:lnTo>
                    <a:pt x="1985" y="197"/>
                  </a:lnTo>
                  <a:lnTo>
                    <a:pt x="1989" y="197"/>
                  </a:lnTo>
                  <a:lnTo>
                    <a:pt x="1989" y="197"/>
                  </a:lnTo>
                  <a:lnTo>
                    <a:pt x="1989" y="194"/>
                  </a:lnTo>
                  <a:lnTo>
                    <a:pt x="1987" y="194"/>
                  </a:lnTo>
                  <a:lnTo>
                    <a:pt x="1987" y="192"/>
                  </a:lnTo>
                  <a:lnTo>
                    <a:pt x="1987" y="192"/>
                  </a:lnTo>
                  <a:lnTo>
                    <a:pt x="1987" y="192"/>
                  </a:lnTo>
                  <a:lnTo>
                    <a:pt x="1985" y="192"/>
                  </a:lnTo>
                  <a:lnTo>
                    <a:pt x="1985" y="192"/>
                  </a:lnTo>
                  <a:lnTo>
                    <a:pt x="1968" y="189"/>
                  </a:lnTo>
                  <a:lnTo>
                    <a:pt x="1966" y="189"/>
                  </a:lnTo>
                  <a:lnTo>
                    <a:pt x="1964" y="189"/>
                  </a:lnTo>
                  <a:lnTo>
                    <a:pt x="1964" y="189"/>
                  </a:lnTo>
                  <a:lnTo>
                    <a:pt x="1964" y="192"/>
                  </a:lnTo>
                  <a:lnTo>
                    <a:pt x="1964" y="192"/>
                  </a:lnTo>
                  <a:close/>
                  <a:moveTo>
                    <a:pt x="1546" y="95"/>
                  </a:moveTo>
                  <a:lnTo>
                    <a:pt x="1546" y="95"/>
                  </a:lnTo>
                  <a:lnTo>
                    <a:pt x="1549" y="97"/>
                  </a:lnTo>
                  <a:lnTo>
                    <a:pt x="1551" y="100"/>
                  </a:lnTo>
                  <a:lnTo>
                    <a:pt x="1551" y="100"/>
                  </a:lnTo>
                  <a:lnTo>
                    <a:pt x="1561" y="102"/>
                  </a:lnTo>
                  <a:lnTo>
                    <a:pt x="1565" y="102"/>
                  </a:lnTo>
                  <a:lnTo>
                    <a:pt x="1570" y="104"/>
                  </a:lnTo>
                  <a:lnTo>
                    <a:pt x="1572" y="104"/>
                  </a:lnTo>
                  <a:lnTo>
                    <a:pt x="1577" y="104"/>
                  </a:lnTo>
                  <a:lnTo>
                    <a:pt x="1579" y="104"/>
                  </a:lnTo>
                  <a:lnTo>
                    <a:pt x="1584" y="107"/>
                  </a:lnTo>
                  <a:lnTo>
                    <a:pt x="1586" y="107"/>
                  </a:lnTo>
                  <a:lnTo>
                    <a:pt x="1589" y="107"/>
                  </a:lnTo>
                  <a:lnTo>
                    <a:pt x="1598" y="107"/>
                  </a:lnTo>
                  <a:lnTo>
                    <a:pt x="1605" y="107"/>
                  </a:lnTo>
                  <a:lnTo>
                    <a:pt x="1608" y="107"/>
                  </a:lnTo>
                  <a:lnTo>
                    <a:pt x="1612" y="107"/>
                  </a:lnTo>
                  <a:lnTo>
                    <a:pt x="1615" y="104"/>
                  </a:lnTo>
                  <a:lnTo>
                    <a:pt x="1615" y="104"/>
                  </a:lnTo>
                  <a:lnTo>
                    <a:pt x="1612" y="102"/>
                  </a:lnTo>
                  <a:lnTo>
                    <a:pt x="1610" y="100"/>
                  </a:lnTo>
                  <a:lnTo>
                    <a:pt x="1610" y="102"/>
                  </a:lnTo>
                  <a:lnTo>
                    <a:pt x="1610" y="102"/>
                  </a:lnTo>
                  <a:lnTo>
                    <a:pt x="1610" y="102"/>
                  </a:lnTo>
                  <a:lnTo>
                    <a:pt x="1608" y="102"/>
                  </a:lnTo>
                  <a:lnTo>
                    <a:pt x="1605" y="100"/>
                  </a:lnTo>
                  <a:lnTo>
                    <a:pt x="1601" y="100"/>
                  </a:lnTo>
                  <a:lnTo>
                    <a:pt x="1594" y="100"/>
                  </a:lnTo>
                  <a:lnTo>
                    <a:pt x="1586" y="100"/>
                  </a:lnTo>
                  <a:lnTo>
                    <a:pt x="1586" y="100"/>
                  </a:lnTo>
                  <a:lnTo>
                    <a:pt x="1582" y="100"/>
                  </a:lnTo>
                  <a:lnTo>
                    <a:pt x="1579" y="100"/>
                  </a:lnTo>
                  <a:lnTo>
                    <a:pt x="1579" y="97"/>
                  </a:lnTo>
                  <a:lnTo>
                    <a:pt x="1577" y="97"/>
                  </a:lnTo>
                  <a:lnTo>
                    <a:pt x="1577" y="97"/>
                  </a:lnTo>
                  <a:lnTo>
                    <a:pt x="1575" y="97"/>
                  </a:lnTo>
                  <a:lnTo>
                    <a:pt x="1563" y="97"/>
                  </a:lnTo>
                  <a:lnTo>
                    <a:pt x="1563" y="97"/>
                  </a:lnTo>
                  <a:lnTo>
                    <a:pt x="1558" y="97"/>
                  </a:lnTo>
                  <a:lnTo>
                    <a:pt x="1556" y="97"/>
                  </a:lnTo>
                  <a:lnTo>
                    <a:pt x="1553" y="97"/>
                  </a:lnTo>
                  <a:lnTo>
                    <a:pt x="1551" y="95"/>
                  </a:lnTo>
                  <a:lnTo>
                    <a:pt x="1546" y="95"/>
                  </a:lnTo>
                  <a:lnTo>
                    <a:pt x="1546" y="95"/>
                  </a:lnTo>
                  <a:close/>
                  <a:moveTo>
                    <a:pt x="1886" y="199"/>
                  </a:moveTo>
                  <a:lnTo>
                    <a:pt x="1888" y="201"/>
                  </a:lnTo>
                  <a:lnTo>
                    <a:pt x="1890" y="204"/>
                  </a:lnTo>
                  <a:lnTo>
                    <a:pt x="1893" y="204"/>
                  </a:lnTo>
                  <a:lnTo>
                    <a:pt x="1893" y="206"/>
                  </a:lnTo>
                  <a:lnTo>
                    <a:pt x="1898" y="206"/>
                  </a:lnTo>
                  <a:lnTo>
                    <a:pt x="1900" y="206"/>
                  </a:lnTo>
                  <a:lnTo>
                    <a:pt x="1900" y="206"/>
                  </a:lnTo>
                  <a:lnTo>
                    <a:pt x="1900" y="208"/>
                  </a:lnTo>
                  <a:lnTo>
                    <a:pt x="1902" y="208"/>
                  </a:lnTo>
                  <a:lnTo>
                    <a:pt x="1902" y="208"/>
                  </a:lnTo>
                  <a:lnTo>
                    <a:pt x="1900" y="206"/>
                  </a:lnTo>
                  <a:lnTo>
                    <a:pt x="1900" y="206"/>
                  </a:lnTo>
                  <a:lnTo>
                    <a:pt x="1895" y="204"/>
                  </a:lnTo>
                  <a:lnTo>
                    <a:pt x="1893" y="204"/>
                  </a:lnTo>
                  <a:lnTo>
                    <a:pt x="1890" y="201"/>
                  </a:lnTo>
                  <a:lnTo>
                    <a:pt x="1888" y="199"/>
                  </a:lnTo>
                  <a:lnTo>
                    <a:pt x="1888" y="199"/>
                  </a:lnTo>
                  <a:lnTo>
                    <a:pt x="1890" y="199"/>
                  </a:lnTo>
                  <a:lnTo>
                    <a:pt x="1890" y="197"/>
                  </a:lnTo>
                  <a:lnTo>
                    <a:pt x="1888" y="197"/>
                  </a:lnTo>
                  <a:lnTo>
                    <a:pt x="1886" y="194"/>
                  </a:lnTo>
                  <a:lnTo>
                    <a:pt x="1886" y="194"/>
                  </a:lnTo>
                  <a:lnTo>
                    <a:pt x="1883" y="197"/>
                  </a:lnTo>
                  <a:lnTo>
                    <a:pt x="1886" y="197"/>
                  </a:lnTo>
                  <a:lnTo>
                    <a:pt x="1883" y="199"/>
                  </a:lnTo>
                  <a:lnTo>
                    <a:pt x="1886" y="199"/>
                  </a:lnTo>
                  <a:close/>
                  <a:moveTo>
                    <a:pt x="922" y="55"/>
                  </a:moveTo>
                  <a:lnTo>
                    <a:pt x="922" y="55"/>
                  </a:lnTo>
                  <a:lnTo>
                    <a:pt x="927" y="57"/>
                  </a:lnTo>
                  <a:lnTo>
                    <a:pt x="929" y="55"/>
                  </a:lnTo>
                  <a:lnTo>
                    <a:pt x="934" y="55"/>
                  </a:lnTo>
                  <a:lnTo>
                    <a:pt x="938" y="52"/>
                  </a:lnTo>
                  <a:lnTo>
                    <a:pt x="938" y="52"/>
                  </a:lnTo>
                  <a:lnTo>
                    <a:pt x="945" y="52"/>
                  </a:lnTo>
                  <a:lnTo>
                    <a:pt x="950" y="52"/>
                  </a:lnTo>
                  <a:lnTo>
                    <a:pt x="955" y="52"/>
                  </a:lnTo>
                  <a:lnTo>
                    <a:pt x="957" y="52"/>
                  </a:lnTo>
                  <a:lnTo>
                    <a:pt x="957" y="52"/>
                  </a:lnTo>
                  <a:lnTo>
                    <a:pt x="957" y="52"/>
                  </a:lnTo>
                  <a:lnTo>
                    <a:pt x="960" y="52"/>
                  </a:lnTo>
                  <a:lnTo>
                    <a:pt x="969" y="52"/>
                  </a:lnTo>
                  <a:lnTo>
                    <a:pt x="974" y="50"/>
                  </a:lnTo>
                  <a:lnTo>
                    <a:pt x="976" y="50"/>
                  </a:lnTo>
                  <a:lnTo>
                    <a:pt x="978" y="50"/>
                  </a:lnTo>
                  <a:lnTo>
                    <a:pt x="978" y="50"/>
                  </a:lnTo>
                  <a:lnTo>
                    <a:pt x="983" y="48"/>
                  </a:lnTo>
                  <a:lnTo>
                    <a:pt x="981" y="45"/>
                  </a:lnTo>
                  <a:lnTo>
                    <a:pt x="978" y="45"/>
                  </a:lnTo>
                  <a:lnTo>
                    <a:pt x="978" y="45"/>
                  </a:lnTo>
                  <a:lnTo>
                    <a:pt x="976" y="43"/>
                  </a:lnTo>
                  <a:lnTo>
                    <a:pt x="974" y="43"/>
                  </a:lnTo>
                  <a:lnTo>
                    <a:pt x="974" y="43"/>
                  </a:lnTo>
                  <a:lnTo>
                    <a:pt x="971" y="43"/>
                  </a:lnTo>
                  <a:lnTo>
                    <a:pt x="969" y="43"/>
                  </a:lnTo>
                  <a:lnTo>
                    <a:pt x="964" y="43"/>
                  </a:lnTo>
                  <a:lnTo>
                    <a:pt x="964" y="40"/>
                  </a:lnTo>
                  <a:lnTo>
                    <a:pt x="964" y="40"/>
                  </a:lnTo>
                  <a:lnTo>
                    <a:pt x="962" y="40"/>
                  </a:lnTo>
                  <a:lnTo>
                    <a:pt x="960" y="40"/>
                  </a:lnTo>
                  <a:lnTo>
                    <a:pt x="957" y="38"/>
                  </a:lnTo>
                  <a:lnTo>
                    <a:pt x="955" y="38"/>
                  </a:lnTo>
                  <a:lnTo>
                    <a:pt x="952" y="38"/>
                  </a:lnTo>
                  <a:lnTo>
                    <a:pt x="950" y="38"/>
                  </a:lnTo>
                  <a:lnTo>
                    <a:pt x="948" y="38"/>
                  </a:lnTo>
                  <a:lnTo>
                    <a:pt x="948" y="38"/>
                  </a:lnTo>
                  <a:lnTo>
                    <a:pt x="945" y="38"/>
                  </a:lnTo>
                  <a:lnTo>
                    <a:pt x="945" y="38"/>
                  </a:lnTo>
                  <a:lnTo>
                    <a:pt x="943" y="40"/>
                  </a:lnTo>
                  <a:lnTo>
                    <a:pt x="943" y="40"/>
                  </a:lnTo>
                  <a:lnTo>
                    <a:pt x="943" y="43"/>
                  </a:lnTo>
                  <a:lnTo>
                    <a:pt x="943" y="43"/>
                  </a:lnTo>
                  <a:lnTo>
                    <a:pt x="941" y="43"/>
                  </a:lnTo>
                  <a:lnTo>
                    <a:pt x="941" y="38"/>
                  </a:lnTo>
                  <a:lnTo>
                    <a:pt x="941" y="38"/>
                  </a:lnTo>
                  <a:lnTo>
                    <a:pt x="941" y="36"/>
                  </a:lnTo>
                  <a:lnTo>
                    <a:pt x="941" y="36"/>
                  </a:lnTo>
                  <a:lnTo>
                    <a:pt x="941" y="36"/>
                  </a:lnTo>
                  <a:lnTo>
                    <a:pt x="941" y="36"/>
                  </a:lnTo>
                  <a:lnTo>
                    <a:pt x="941" y="36"/>
                  </a:lnTo>
                  <a:lnTo>
                    <a:pt x="936" y="33"/>
                  </a:lnTo>
                  <a:lnTo>
                    <a:pt x="931" y="33"/>
                  </a:lnTo>
                  <a:lnTo>
                    <a:pt x="929" y="33"/>
                  </a:lnTo>
                  <a:lnTo>
                    <a:pt x="929" y="33"/>
                  </a:lnTo>
                  <a:lnTo>
                    <a:pt x="929" y="33"/>
                  </a:lnTo>
                  <a:lnTo>
                    <a:pt x="931" y="36"/>
                  </a:lnTo>
                  <a:lnTo>
                    <a:pt x="934" y="36"/>
                  </a:lnTo>
                  <a:lnTo>
                    <a:pt x="931" y="36"/>
                  </a:lnTo>
                  <a:lnTo>
                    <a:pt x="929" y="36"/>
                  </a:lnTo>
                  <a:lnTo>
                    <a:pt x="927" y="36"/>
                  </a:lnTo>
                  <a:lnTo>
                    <a:pt x="927" y="36"/>
                  </a:lnTo>
                  <a:lnTo>
                    <a:pt x="924" y="33"/>
                  </a:lnTo>
                  <a:lnTo>
                    <a:pt x="924" y="36"/>
                  </a:lnTo>
                  <a:lnTo>
                    <a:pt x="924" y="36"/>
                  </a:lnTo>
                  <a:lnTo>
                    <a:pt x="924" y="36"/>
                  </a:lnTo>
                  <a:lnTo>
                    <a:pt x="924" y="36"/>
                  </a:lnTo>
                  <a:lnTo>
                    <a:pt x="922" y="36"/>
                  </a:lnTo>
                  <a:lnTo>
                    <a:pt x="922" y="38"/>
                  </a:lnTo>
                  <a:lnTo>
                    <a:pt x="922" y="38"/>
                  </a:lnTo>
                  <a:lnTo>
                    <a:pt x="922" y="38"/>
                  </a:lnTo>
                  <a:lnTo>
                    <a:pt x="922" y="38"/>
                  </a:lnTo>
                  <a:lnTo>
                    <a:pt x="922" y="40"/>
                  </a:lnTo>
                  <a:lnTo>
                    <a:pt x="922" y="40"/>
                  </a:lnTo>
                  <a:lnTo>
                    <a:pt x="922" y="40"/>
                  </a:lnTo>
                  <a:lnTo>
                    <a:pt x="922" y="40"/>
                  </a:lnTo>
                  <a:lnTo>
                    <a:pt x="922" y="40"/>
                  </a:lnTo>
                  <a:lnTo>
                    <a:pt x="924" y="43"/>
                  </a:lnTo>
                  <a:lnTo>
                    <a:pt x="927" y="43"/>
                  </a:lnTo>
                  <a:lnTo>
                    <a:pt x="924" y="43"/>
                  </a:lnTo>
                  <a:lnTo>
                    <a:pt x="922" y="43"/>
                  </a:lnTo>
                  <a:lnTo>
                    <a:pt x="919" y="43"/>
                  </a:lnTo>
                  <a:lnTo>
                    <a:pt x="919" y="43"/>
                  </a:lnTo>
                  <a:lnTo>
                    <a:pt x="919" y="45"/>
                  </a:lnTo>
                  <a:lnTo>
                    <a:pt x="919" y="45"/>
                  </a:lnTo>
                  <a:lnTo>
                    <a:pt x="922" y="48"/>
                  </a:lnTo>
                  <a:lnTo>
                    <a:pt x="922" y="48"/>
                  </a:lnTo>
                  <a:lnTo>
                    <a:pt x="922" y="48"/>
                  </a:lnTo>
                  <a:lnTo>
                    <a:pt x="922" y="48"/>
                  </a:lnTo>
                  <a:lnTo>
                    <a:pt x="922" y="50"/>
                  </a:lnTo>
                  <a:lnTo>
                    <a:pt x="922" y="50"/>
                  </a:lnTo>
                  <a:lnTo>
                    <a:pt x="919" y="52"/>
                  </a:lnTo>
                  <a:lnTo>
                    <a:pt x="919" y="52"/>
                  </a:lnTo>
                  <a:lnTo>
                    <a:pt x="919" y="55"/>
                  </a:lnTo>
                  <a:lnTo>
                    <a:pt x="919" y="55"/>
                  </a:lnTo>
                  <a:lnTo>
                    <a:pt x="922" y="55"/>
                  </a:lnTo>
                  <a:close/>
                  <a:moveTo>
                    <a:pt x="1101" y="78"/>
                  </a:moveTo>
                  <a:lnTo>
                    <a:pt x="1103" y="78"/>
                  </a:lnTo>
                  <a:lnTo>
                    <a:pt x="1106" y="78"/>
                  </a:lnTo>
                  <a:lnTo>
                    <a:pt x="1108" y="81"/>
                  </a:lnTo>
                  <a:lnTo>
                    <a:pt x="1108" y="81"/>
                  </a:lnTo>
                  <a:lnTo>
                    <a:pt x="1108" y="78"/>
                  </a:lnTo>
                  <a:lnTo>
                    <a:pt x="1108" y="78"/>
                  </a:lnTo>
                  <a:lnTo>
                    <a:pt x="1108" y="78"/>
                  </a:lnTo>
                  <a:lnTo>
                    <a:pt x="1108" y="78"/>
                  </a:lnTo>
                  <a:lnTo>
                    <a:pt x="1106" y="76"/>
                  </a:lnTo>
                  <a:lnTo>
                    <a:pt x="1103" y="76"/>
                  </a:lnTo>
                  <a:lnTo>
                    <a:pt x="1103" y="76"/>
                  </a:lnTo>
                  <a:lnTo>
                    <a:pt x="1099" y="76"/>
                  </a:lnTo>
                  <a:lnTo>
                    <a:pt x="1099" y="76"/>
                  </a:lnTo>
                  <a:lnTo>
                    <a:pt x="1099" y="78"/>
                  </a:lnTo>
                  <a:lnTo>
                    <a:pt x="1101" y="78"/>
                  </a:lnTo>
                  <a:close/>
                  <a:moveTo>
                    <a:pt x="1268" y="135"/>
                  </a:moveTo>
                  <a:lnTo>
                    <a:pt x="1271" y="135"/>
                  </a:lnTo>
                  <a:lnTo>
                    <a:pt x="1268" y="135"/>
                  </a:lnTo>
                  <a:lnTo>
                    <a:pt x="1266" y="135"/>
                  </a:lnTo>
                  <a:lnTo>
                    <a:pt x="1264" y="135"/>
                  </a:lnTo>
                  <a:lnTo>
                    <a:pt x="1261" y="135"/>
                  </a:lnTo>
                  <a:lnTo>
                    <a:pt x="1261" y="135"/>
                  </a:lnTo>
                  <a:lnTo>
                    <a:pt x="1264" y="135"/>
                  </a:lnTo>
                  <a:lnTo>
                    <a:pt x="1268" y="135"/>
                  </a:lnTo>
                  <a:close/>
                  <a:moveTo>
                    <a:pt x="1308" y="123"/>
                  </a:moveTo>
                  <a:lnTo>
                    <a:pt x="1308" y="123"/>
                  </a:lnTo>
                  <a:lnTo>
                    <a:pt x="1311" y="123"/>
                  </a:lnTo>
                  <a:lnTo>
                    <a:pt x="1311" y="121"/>
                  </a:lnTo>
                  <a:lnTo>
                    <a:pt x="1311" y="121"/>
                  </a:lnTo>
                  <a:lnTo>
                    <a:pt x="1308" y="121"/>
                  </a:lnTo>
                  <a:lnTo>
                    <a:pt x="1306" y="121"/>
                  </a:lnTo>
                  <a:lnTo>
                    <a:pt x="1306" y="121"/>
                  </a:lnTo>
                  <a:lnTo>
                    <a:pt x="1306" y="121"/>
                  </a:lnTo>
                  <a:lnTo>
                    <a:pt x="1308" y="123"/>
                  </a:lnTo>
                  <a:close/>
                  <a:moveTo>
                    <a:pt x="1139" y="111"/>
                  </a:moveTo>
                  <a:lnTo>
                    <a:pt x="1139" y="111"/>
                  </a:lnTo>
                  <a:lnTo>
                    <a:pt x="1139" y="111"/>
                  </a:lnTo>
                  <a:lnTo>
                    <a:pt x="1141" y="114"/>
                  </a:lnTo>
                  <a:lnTo>
                    <a:pt x="1139" y="114"/>
                  </a:lnTo>
                  <a:lnTo>
                    <a:pt x="1136" y="114"/>
                  </a:lnTo>
                  <a:lnTo>
                    <a:pt x="1136" y="114"/>
                  </a:lnTo>
                  <a:lnTo>
                    <a:pt x="1134" y="114"/>
                  </a:lnTo>
                  <a:lnTo>
                    <a:pt x="1139" y="116"/>
                  </a:lnTo>
                  <a:lnTo>
                    <a:pt x="1143" y="116"/>
                  </a:lnTo>
                  <a:lnTo>
                    <a:pt x="1146" y="116"/>
                  </a:lnTo>
                  <a:lnTo>
                    <a:pt x="1148" y="119"/>
                  </a:lnTo>
                  <a:lnTo>
                    <a:pt x="1155" y="119"/>
                  </a:lnTo>
                  <a:lnTo>
                    <a:pt x="1155" y="119"/>
                  </a:lnTo>
                  <a:lnTo>
                    <a:pt x="1157" y="116"/>
                  </a:lnTo>
                  <a:lnTo>
                    <a:pt x="1157" y="116"/>
                  </a:lnTo>
                  <a:lnTo>
                    <a:pt x="1160" y="116"/>
                  </a:lnTo>
                  <a:lnTo>
                    <a:pt x="1157" y="114"/>
                  </a:lnTo>
                  <a:lnTo>
                    <a:pt x="1157" y="114"/>
                  </a:lnTo>
                  <a:lnTo>
                    <a:pt x="1157" y="114"/>
                  </a:lnTo>
                  <a:lnTo>
                    <a:pt x="1155" y="114"/>
                  </a:lnTo>
                  <a:lnTo>
                    <a:pt x="1150" y="111"/>
                  </a:lnTo>
                  <a:lnTo>
                    <a:pt x="1139" y="111"/>
                  </a:lnTo>
                  <a:lnTo>
                    <a:pt x="1139" y="111"/>
                  </a:lnTo>
                  <a:close/>
                  <a:moveTo>
                    <a:pt x="1407" y="92"/>
                  </a:moveTo>
                  <a:lnTo>
                    <a:pt x="1410" y="92"/>
                  </a:lnTo>
                  <a:lnTo>
                    <a:pt x="1412" y="95"/>
                  </a:lnTo>
                  <a:lnTo>
                    <a:pt x="1412" y="95"/>
                  </a:lnTo>
                  <a:lnTo>
                    <a:pt x="1412" y="95"/>
                  </a:lnTo>
                  <a:lnTo>
                    <a:pt x="1414" y="97"/>
                  </a:lnTo>
                  <a:lnTo>
                    <a:pt x="1417" y="97"/>
                  </a:lnTo>
                  <a:lnTo>
                    <a:pt x="1419" y="97"/>
                  </a:lnTo>
                  <a:lnTo>
                    <a:pt x="1419" y="97"/>
                  </a:lnTo>
                  <a:lnTo>
                    <a:pt x="1419" y="95"/>
                  </a:lnTo>
                  <a:lnTo>
                    <a:pt x="1417" y="95"/>
                  </a:lnTo>
                  <a:lnTo>
                    <a:pt x="1419" y="92"/>
                  </a:lnTo>
                  <a:lnTo>
                    <a:pt x="1417" y="92"/>
                  </a:lnTo>
                  <a:lnTo>
                    <a:pt x="1412" y="92"/>
                  </a:lnTo>
                  <a:lnTo>
                    <a:pt x="1412" y="92"/>
                  </a:lnTo>
                  <a:lnTo>
                    <a:pt x="1410" y="90"/>
                  </a:lnTo>
                  <a:lnTo>
                    <a:pt x="1407" y="90"/>
                  </a:lnTo>
                  <a:lnTo>
                    <a:pt x="1407" y="90"/>
                  </a:lnTo>
                  <a:lnTo>
                    <a:pt x="1407" y="92"/>
                  </a:lnTo>
                  <a:close/>
                  <a:moveTo>
                    <a:pt x="2171" y="651"/>
                  </a:moveTo>
                  <a:lnTo>
                    <a:pt x="2171" y="651"/>
                  </a:lnTo>
                  <a:lnTo>
                    <a:pt x="2166" y="655"/>
                  </a:lnTo>
                  <a:lnTo>
                    <a:pt x="2166" y="658"/>
                  </a:lnTo>
                  <a:lnTo>
                    <a:pt x="2164" y="660"/>
                  </a:lnTo>
                  <a:lnTo>
                    <a:pt x="2164" y="665"/>
                  </a:lnTo>
                  <a:lnTo>
                    <a:pt x="2166" y="665"/>
                  </a:lnTo>
                  <a:lnTo>
                    <a:pt x="2166" y="662"/>
                  </a:lnTo>
                  <a:lnTo>
                    <a:pt x="2169" y="660"/>
                  </a:lnTo>
                  <a:lnTo>
                    <a:pt x="2169" y="660"/>
                  </a:lnTo>
                  <a:lnTo>
                    <a:pt x="2171" y="660"/>
                  </a:lnTo>
                  <a:lnTo>
                    <a:pt x="2171" y="658"/>
                  </a:lnTo>
                  <a:lnTo>
                    <a:pt x="2171" y="655"/>
                  </a:lnTo>
                  <a:lnTo>
                    <a:pt x="2173" y="651"/>
                  </a:lnTo>
                  <a:lnTo>
                    <a:pt x="2171" y="651"/>
                  </a:lnTo>
                  <a:close/>
                  <a:moveTo>
                    <a:pt x="2194" y="584"/>
                  </a:moveTo>
                  <a:lnTo>
                    <a:pt x="2194" y="582"/>
                  </a:lnTo>
                  <a:lnTo>
                    <a:pt x="2194" y="582"/>
                  </a:lnTo>
                  <a:lnTo>
                    <a:pt x="2192" y="580"/>
                  </a:lnTo>
                  <a:lnTo>
                    <a:pt x="2192" y="587"/>
                  </a:lnTo>
                  <a:lnTo>
                    <a:pt x="2194" y="587"/>
                  </a:lnTo>
                  <a:lnTo>
                    <a:pt x="2197" y="589"/>
                  </a:lnTo>
                  <a:lnTo>
                    <a:pt x="2197" y="587"/>
                  </a:lnTo>
                  <a:lnTo>
                    <a:pt x="2197" y="587"/>
                  </a:lnTo>
                  <a:lnTo>
                    <a:pt x="2194" y="584"/>
                  </a:lnTo>
                  <a:close/>
                  <a:moveTo>
                    <a:pt x="2197" y="563"/>
                  </a:moveTo>
                  <a:lnTo>
                    <a:pt x="2197" y="561"/>
                  </a:lnTo>
                  <a:lnTo>
                    <a:pt x="2194" y="558"/>
                  </a:lnTo>
                  <a:lnTo>
                    <a:pt x="2192" y="558"/>
                  </a:lnTo>
                  <a:lnTo>
                    <a:pt x="2192" y="558"/>
                  </a:lnTo>
                  <a:lnTo>
                    <a:pt x="2194" y="563"/>
                  </a:lnTo>
                  <a:lnTo>
                    <a:pt x="2194" y="565"/>
                  </a:lnTo>
                  <a:lnTo>
                    <a:pt x="2190" y="565"/>
                  </a:lnTo>
                  <a:lnTo>
                    <a:pt x="2190" y="568"/>
                  </a:lnTo>
                  <a:lnTo>
                    <a:pt x="2187" y="568"/>
                  </a:lnTo>
                  <a:lnTo>
                    <a:pt x="2187" y="568"/>
                  </a:lnTo>
                  <a:lnTo>
                    <a:pt x="2190" y="568"/>
                  </a:lnTo>
                  <a:lnTo>
                    <a:pt x="2192" y="572"/>
                  </a:lnTo>
                  <a:lnTo>
                    <a:pt x="2192" y="572"/>
                  </a:lnTo>
                  <a:lnTo>
                    <a:pt x="2194" y="572"/>
                  </a:lnTo>
                  <a:lnTo>
                    <a:pt x="2194" y="572"/>
                  </a:lnTo>
                  <a:lnTo>
                    <a:pt x="2194" y="570"/>
                  </a:lnTo>
                  <a:lnTo>
                    <a:pt x="2197" y="570"/>
                  </a:lnTo>
                  <a:lnTo>
                    <a:pt x="2199" y="570"/>
                  </a:lnTo>
                  <a:lnTo>
                    <a:pt x="2199" y="568"/>
                  </a:lnTo>
                  <a:lnTo>
                    <a:pt x="2199" y="563"/>
                  </a:lnTo>
                  <a:lnTo>
                    <a:pt x="2197" y="563"/>
                  </a:lnTo>
                  <a:close/>
                  <a:moveTo>
                    <a:pt x="2145" y="700"/>
                  </a:moveTo>
                  <a:lnTo>
                    <a:pt x="2140" y="703"/>
                  </a:lnTo>
                  <a:lnTo>
                    <a:pt x="2140" y="703"/>
                  </a:lnTo>
                  <a:lnTo>
                    <a:pt x="2143" y="705"/>
                  </a:lnTo>
                  <a:lnTo>
                    <a:pt x="2143" y="705"/>
                  </a:lnTo>
                  <a:lnTo>
                    <a:pt x="2143" y="703"/>
                  </a:lnTo>
                  <a:lnTo>
                    <a:pt x="2145" y="703"/>
                  </a:lnTo>
                  <a:lnTo>
                    <a:pt x="2145" y="703"/>
                  </a:lnTo>
                  <a:lnTo>
                    <a:pt x="2145" y="700"/>
                  </a:lnTo>
                  <a:close/>
                  <a:moveTo>
                    <a:pt x="2129" y="691"/>
                  </a:moveTo>
                  <a:lnTo>
                    <a:pt x="2126" y="688"/>
                  </a:lnTo>
                  <a:lnTo>
                    <a:pt x="2124" y="688"/>
                  </a:lnTo>
                  <a:lnTo>
                    <a:pt x="2124" y="693"/>
                  </a:lnTo>
                  <a:lnTo>
                    <a:pt x="2124" y="693"/>
                  </a:lnTo>
                  <a:lnTo>
                    <a:pt x="2124" y="695"/>
                  </a:lnTo>
                  <a:lnTo>
                    <a:pt x="2124" y="695"/>
                  </a:lnTo>
                  <a:lnTo>
                    <a:pt x="2124" y="698"/>
                  </a:lnTo>
                  <a:lnTo>
                    <a:pt x="2121" y="698"/>
                  </a:lnTo>
                  <a:lnTo>
                    <a:pt x="2121" y="700"/>
                  </a:lnTo>
                  <a:lnTo>
                    <a:pt x="2121" y="703"/>
                  </a:lnTo>
                  <a:lnTo>
                    <a:pt x="2121" y="705"/>
                  </a:lnTo>
                  <a:lnTo>
                    <a:pt x="2126" y="705"/>
                  </a:lnTo>
                  <a:lnTo>
                    <a:pt x="2124" y="703"/>
                  </a:lnTo>
                  <a:lnTo>
                    <a:pt x="2126" y="700"/>
                  </a:lnTo>
                  <a:lnTo>
                    <a:pt x="2126" y="698"/>
                  </a:lnTo>
                  <a:lnTo>
                    <a:pt x="2126" y="695"/>
                  </a:lnTo>
                  <a:lnTo>
                    <a:pt x="2126" y="693"/>
                  </a:lnTo>
                  <a:lnTo>
                    <a:pt x="2129" y="693"/>
                  </a:lnTo>
                  <a:lnTo>
                    <a:pt x="2129" y="693"/>
                  </a:lnTo>
                  <a:lnTo>
                    <a:pt x="2131" y="691"/>
                  </a:lnTo>
                  <a:lnTo>
                    <a:pt x="2131" y="691"/>
                  </a:lnTo>
                  <a:lnTo>
                    <a:pt x="2131" y="688"/>
                  </a:lnTo>
                  <a:lnTo>
                    <a:pt x="2129" y="691"/>
                  </a:lnTo>
                  <a:close/>
                  <a:moveTo>
                    <a:pt x="2154" y="667"/>
                  </a:moveTo>
                  <a:lnTo>
                    <a:pt x="2154" y="667"/>
                  </a:lnTo>
                  <a:lnTo>
                    <a:pt x="2154" y="665"/>
                  </a:lnTo>
                  <a:lnTo>
                    <a:pt x="2154" y="665"/>
                  </a:lnTo>
                  <a:lnTo>
                    <a:pt x="2152" y="665"/>
                  </a:lnTo>
                  <a:lnTo>
                    <a:pt x="2152" y="667"/>
                  </a:lnTo>
                  <a:lnTo>
                    <a:pt x="2150" y="669"/>
                  </a:lnTo>
                  <a:lnTo>
                    <a:pt x="2147" y="672"/>
                  </a:lnTo>
                  <a:lnTo>
                    <a:pt x="2145" y="672"/>
                  </a:lnTo>
                  <a:lnTo>
                    <a:pt x="2143" y="669"/>
                  </a:lnTo>
                  <a:lnTo>
                    <a:pt x="2143" y="669"/>
                  </a:lnTo>
                  <a:lnTo>
                    <a:pt x="2143" y="669"/>
                  </a:lnTo>
                  <a:lnTo>
                    <a:pt x="2143" y="672"/>
                  </a:lnTo>
                  <a:lnTo>
                    <a:pt x="2143" y="672"/>
                  </a:lnTo>
                  <a:lnTo>
                    <a:pt x="2140" y="674"/>
                  </a:lnTo>
                  <a:lnTo>
                    <a:pt x="2140" y="674"/>
                  </a:lnTo>
                  <a:lnTo>
                    <a:pt x="2140" y="679"/>
                  </a:lnTo>
                  <a:lnTo>
                    <a:pt x="2138" y="681"/>
                  </a:lnTo>
                  <a:lnTo>
                    <a:pt x="2138" y="684"/>
                  </a:lnTo>
                  <a:lnTo>
                    <a:pt x="2138" y="686"/>
                  </a:lnTo>
                  <a:lnTo>
                    <a:pt x="2138" y="686"/>
                  </a:lnTo>
                  <a:lnTo>
                    <a:pt x="2138" y="688"/>
                  </a:lnTo>
                  <a:lnTo>
                    <a:pt x="2138" y="691"/>
                  </a:lnTo>
                  <a:lnTo>
                    <a:pt x="2140" y="688"/>
                  </a:lnTo>
                  <a:lnTo>
                    <a:pt x="2140" y="686"/>
                  </a:lnTo>
                  <a:lnTo>
                    <a:pt x="2140" y="684"/>
                  </a:lnTo>
                  <a:lnTo>
                    <a:pt x="2143" y="681"/>
                  </a:lnTo>
                  <a:lnTo>
                    <a:pt x="2143" y="681"/>
                  </a:lnTo>
                  <a:lnTo>
                    <a:pt x="2143" y="679"/>
                  </a:lnTo>
                  <a:lnTo>
                    <a:pt x="2143" y="679"/>
                  </a:lnTo>
                  <a:lnTo>
                    <a:pt x="2145" y="679"/>
                  </a:lnTo>
                  <a:lnTo>
                    <a:pt x="2147" y="679"/>
                  </a:lnTo>
                  <a:lnTo>
                    <a:pt x="2147" y="674"/>
                  </a:lnTo>
                  <a:lnTo>
                    <a:pt x="2150" y="672"/>
                  </a:lnTo>
                  <a:lnTo>
                    <a:pt x="2152" y="672"/>
                  </a:lnTo>
                  <a:lnTo>
                    <a:pt x="2154" y="669"/>
                  </a:lnTo>
                  <a:lnTo>
                    <a:pt x="2157" y="669"/>
                  </a:lnTo>
                  <a:lnTo>
                    <a:pt x="2157" y="669"/>
                  </a:lnTo>
                  <a:lnTo>
                    <a:pt x="2157" y="667"/>
                  </a:lnTo>
                  <a:lnTo>
                    <a:pt x="2154" y="667"/>
                  </a:lnTo>
                  <a:close/>
                  <a:moveTo>
                    <a:pt x="479" y="665"/>
                  </a:moveTo>
                  <a:lnTo>
                    <a:pt x="479" y="665"/>
                  </a:lnTo>
                  <a:lnTo>
                    <a:pt x="479" y="667"/>
                  </a:lnTo>
                  <a:lnTo>
                    <a:pt x="479" y="667"/>
                  </a:lnTo>
                  <a:lnTo>
                    <a:pt x="479" y="665"/>
                  </a:lnTo>
                  <a:lnTo>
                    <a:pt x="479" y="662"/>
                  </a:lnTo>
                  <a:lnTo>
                    <a:pt x="479" y="665"/>
                  </a:lnTo>
                  <a:close/>
                  <a:moveTo>
                    <a:pt x="684" y="249"/>
                  </a:moveTo>
                  <a:lnTo>
                    <a:pt x="681" y="249"/>
                  </a:lnTo>
                  <a:lnTo>
                    <a:pt x="681" y="246"/>
                  </a:lnTo>
                  <a:lnTo>
                    <a:pt x="679" y="246"/>
                  </a:lnTo>
                  <a:lnTo>
                    <a:pt x="677" y="246"/>
                  </a:lnTo>
                  <a:lnTo>
                    <a:pt x="677" y="249"/>
                  </a:lnTo>
                  <a:lnTo>
                    <a:pt x="679" y="251"/>
                  </a:lnTo>
                  <a:lnTo>
                    <a:pt x="684" y="251"/>
                  </a:lnTo>
                  <a:lnTo>
                    <a:pt x="686" y="251"/>
                  </a:lnTo>
                  <a:lnTo>
                    <a:pt x="686" y="251"/>
                  </a:lnTo>
                  <a:lnTo>
                    <a:pt x="686" y="251"/>
                  </a:lnTo>
                  <a:lnTo>
                    <a:pt x="686" y="251"/>
                  </a:lnTo>
                  <a:lnTo>
                    <a:pt x="686" y="249"/>
                  </a:lnTo>
                  <a:lnTo>
                    <a:pt x="684" y="249"/>
                  </a:lnTo>
                  <a:close/>
                  <a:moveTo>
                    <a:pt x="1822" y="471"/>
                  </a:moveTo>
                  <a:lnTo>
                    <a:pt x="1820" y="471"/>
                  </a:lnTo>
                  <a:lnTo>
                    <a:pt x="1817" y="473"/>
                  </a:lnTo>
                  <a:lnTo>
                    <a:pt x="1817" y="473"/>
                  </a:lnTo>
                  <a:lnTo>
                    <a:pt x="1820" y="473"/>
                  </a:lnTo>
                  <a:lnTo>
                    <a:pt x="1820" y="473"/>
                  </a:lnTo>
                  <a:lnTo>
                    <a:pt x="1822" y="473"/>
                  </a:lnTo>
                  <a:lnTo>
                    <a:pt x="1824" y="473"/>
                  </a:lnTo>
                  <a:lnTo>
                    <a:pt x="1822" y="471"/>
                  </a:lnTo>
                  <a:lnTo>
                    <a:pt x="1822" y="471"/>
                  </a:lnTo>
                  <a:lnTo>
                    <a:pt x="1822" y="471"/>
                  </a:lnTo>
                  <a:close/>
                  <a:moveTo>
                    <a:pt x="623" y="199"/>
                  </a:moveTo>
                  <a:lnTo>
                    <a:pt x="623" y="197"/>
                  </a:lnTo>
                  <a:lnTo>
                    <a:pt x="623" y="197"/>
                  </a:lnTo>
                  <a:lnTo>
                    <a:pt x="620" y="197"/>
                  </a:lnTo>
                  <a:lnTo>
                    <a:pt x="618" y="199"/>
                  </a:lnTo>
                  <a:lnTo>
                    <a:pt x="618" y="199"/>
                  </a:lnTo>
                  <a:lnTo>
                    <a:pt x="620" y="199"/>
                  </a:lnTo>
                  <a:lnTo>
                    <a:pt x="623" y="199"/>
                  </a:lnTo>
                  <a:close/>
                  <a:moveTo>
                    <a:pt x="2199" y="556"/>
                  </a:moveTo>
                  <a:lnTo>
                    <a:pt x="2199" y="556"/>
                  </a:lnTo>
                  <a:lnTo>
                    <a:pt x="2197" y="556"/>
                  </a:lnTo>
                  <a:lnTo>
                    <a:pt x="2194" y="558"/>
                  </a:lnTo>
                  <a:lnTo>
                    <a:pt x="2194" y="558"/>
                  </a:lnTo>
                  <a:lnTo>
                    <a:pt x="2197" y="558"/>
                  </a:lnTo>
                  <a:lnTo>
                    <a:pt x="2199" y="561"/>
                  </a:lnTo>
                  <a:lnTo>
                    <a:pt x="2202" y="561"/>
                  </a:lnTo>
                  <a:lnTo>
                    <a:pt x="2202" y="561"/>
                  </a:lnTo>
                  <a:lnTo>
                    <a:pt x="2199" y="558"/>
                  </a:lnTo>
                  <a:lnTo>
                    <a:pt x="2199" y="556"/>
                  </a:lnTo>
                  <a:close/>
                  <a:moveTo>
                    <a:pt x="1827" y="476"/>
                  </a:moveTo>
                  <a:lnTo>
                    <a:pt x="1829" y="476"/>
                  </a:lnTo>
                  <a:lnTo>
                    <a:pt x="1829" y="476"/>
                  </a:lnTo>
                  <a:lnTo>
                    <a:pt x="1832" y="476"/>
                  </a:lnTo>
                  <a:lnTo>
                    <a:pt x="1832" y="476"/>
                  </a:lnTo>
                  <a:lnTo>
                    <a:pt x="1836" y="480"/>
                  </a:lnTo>
                  <a:lnTo>
                    <a:pt x="1839" y="478"/>
                  </a:lnTo>
                  <a:lnTo>
                    <a:pt x="1839" y="478"/>
                  </a:lnTo>
                  <a:lnTo>
                    <a:pt x="1839" y="478"/>
                  </a:lnTo>
                  <a:lnTo>
                    <a:pt x="1841" y="476"/>
                  </a:lnTo>
                  <a:lnTo>
                    <a:pt x="1839" y="476"/>
                  </a:lnTo>
                  <a:lnTo>
                    <a:pt x="1839" y="473"/>
                  </a:lnTo>
                  <a:lnTo>
                    <a:pt x="1839" y="473"/>
                  </a:lnTo>
                  <a:lnTo>
                    <a:pt x="1839" y="471"/>
                  </a:lnTo>
                  <a:lnTo>
                    <a:pt x="1839" y="471"/>
                  </a:lnTo>
                  <a:lnTo>
                    <a:pt x="1836" y="471"/>
                  </a:lnTo>
                  <a:lnTo>
                    <a:pt x="1834" y="471"/>
                  </a:lnTo>
                  <a:lnTo>
                    <a:pt x="1834" y="471"/>
                  </a:lnTo>
                  <a:lnTo>
                    <a:pt x="1827" y="468"/>
                  </a:lnTo>
                  <a:lnTo>
                    <a:pt x="1827" y="468"/>
                  </a:lnTo>
                  <a:lnTo>
                    <a:pt x="1827" y="473"/>
                  </a:lnTo>
                  <a:lnTo>
                    <a:pt x="1827" y="473"/>
                  </a:lnTo>
                  <a:lnTo>
                    <a:pt x="1827" y="476"/>
                  </a:lnTo>
                  <a:close/>
                  <a:moveTo>
                    <a:pt x="2159" y="402"/>
                  </a:moveTo>
                  <a:lnTo>
                    <a:pt x="2159" y="402"/>
                  </a:lnTo>
                  <a:lnTo>
                    <a:pt x="2162" y="402"/>
                  </a:lnTo>
                  <a:lnTo>
                    <a:pt x="2162" y="402"/>
                  </a:lnTo>
                  <a:lnTo>
                    <a:pt x="2164" y="398"/>
                  </a:lnTo>
                  <a:lnTo>
                    <a:pt x="2166" y="398"/>
                  </a:lnTo>
                  <a:lnTo>
                    <a:pt x="2171" y="395"/>
                  </a:lnTo>
                  <a:lnTo>
                    <a:pt x="2169" y="395"/>
                  </a:lnTo>
                  <a:lnTo>
                    <a:pt x="2166" y="390"/>
                  </a:lnTo>
                  <a:lnTo>
                    <a:pt x="2162" y="388"/>
                  </a:lnTo>
                  <a:lnTo>
                    <a:pt x="2162" y="388"/>
                  </a:lnTo>
                  <a:lnTo>
                    <a:pt x="2159" y="393"/>
                  </a:lnTo>
                  <a:lnTo>
                    <a:pt x="2154" y="393"/>
                  </a:lnTo>
                  <a:lnTo>
                    <a:pt x="2154" y="395"/>
                  </a:lnTo>
                  <a:lnTo>
                    <a:pt x="2157" y="395"/>
                  </a:lnTo>
                  <a:lnTo>
                    <a:pt x="2159" y="398"/>
                  </a:lnTo>
                  <a:lnTo>
                    <a:pt x="2159" y="400"/>
                  </a:lnTo>
                  <a:lnTo>
                    <a:pt x="2159" y="402"/>
                  </a:lnTo>
                  <a:lnTo>
                    <a:pt x="2159" y="402"/>
                  </a:lnTo>
                  <a:close/>
                  <a:moveTo>
                    <a:pt x="2376" y="289"/>
                  </a:moveTo>
                  <a:lnTo>
                    <a:pt x="2374" y="289"/>
                  </a:lnTo>
                  <a:lnTo>
                    <a:pt x="2371" y="289"/>
                  </a:lnTo>
                  <a:lnTo>
                    <a:pt x="2371" y="289"/>
                  </a:lnTo>
                  <a:lnTo>
                    <a:pt x="2369" y="286"/>
                  </a:lnTo>
                  <a:lnTo>
                    <a:pt x="2364" y="286"/>
                  </a:lnTo>
                  <a:lnTo>
                    <a:pt x="2364" y="286"/>
                  </a:lnTo>
                  <a:lnTo>
                    <a:pt x="2362" y="286"/>
                  </a:lnTo>
                  <a:lnTo>
                    <a:pt x="2362" y="286"/>
                  </a:lnTo>
                  <a:lnTo>
                    <a:pt x="2359" y="284"/>
                  </a:lnTo>
                  <a:lnTo>
                    <a:pt x="2359" y="284"/>
                  </a:lnTo>
                  <a:lnTo>
                    <a:pt x="2359" y="284"/>
                  </a:lnTo>
                  <a:lnTo>
                    <a:pt x="2359" y="284"/>
                  </a:lnTo>
                  <a:lnTo>
                    <a:pt x="2357" y="282"/>
                  </a:lnTo>
                  <a:lnTo>
                    <a:pt x="2355" y="282"/>
                  </a:lnTo>
                  <a:lnTo>
                    <a:pt x="2355" y="282"/>
                  </a:lnTo>
                  <a:lnTo>
                    <a:pt x="2355" y="282"/>
                  </a:lnTo>
                  <a:lnTo>
                    <a:pt x="2355" y="282"/>
                  </a:lnTo>
                  <a:lnTo>
                    <a:pt x="2355" y="282"/>
                  </a:lnTo>
                  <a:lnTo>
                    <a:pt x="2357" y="282"/>
                  </a:lnTo>
                  <a:lnTo>
                    <a:pt x="2359" y="282"/>
                  </a:lnTo>
                  <a:lnTo>
                    <a:pt x="2362" y="279"/>
                  </a:lnTo>
                  <a:lnTo>
                    <a:pt x="2362" y="279"/>
                  </a:lnTo>
                  <a:lnTo>
                    <a:pt x="2362" y="279"/>
                  </a:lnTo>
                  <a:lnTo>
                    <a:pt x="2359" y="277"/>
                  </a:lnTo>
                  <a:lnTo>
                    <a:pt x="2357" y="275"/>
                  </a:lnTo>
                  <a:lnTo>
                    <a:pt x="2355" y="275"/>
                  </a:lnTo>
                  <a:lnTo>
                    <a:pt x="2352" y="275"/>
                  </a:lnTo>
                  <a:lnTo>
                    <a:pt x="2352" y="275"/>
                  </a:lnTo>
                  <a:lnTo>
                    <a:pt x="2350" y="275"/>
                  </a:lnTo>
                  <a:lnTo>
                    <a:pt x="2355" y="275"/>
                  </a:lnTo>
                  <a:lnTo>
                    <a:pt x="2355" y="275"/>
                  </a:lnTo>
                  <a:lnTo>
                    <a:pt x="2352" y="272"/>
                  </a:lnTo>
                  <a:lnTo>
                    <a:pt x="2350" y="270"/>
                  </a:lnTo>
                  <a:lnTo>
                    <a:pt x="2350" y="270"/>
                  </a:lnTo>
                  <a:lnTo>
                    <a:pt x="2348" y="270"/>
                  </a:lnTo>
                  <a:lnTo>
                    <a:pt x="2348" y="270"/>
                  </a:lnTo>
                  <a:lnTo>
                    <a:pt x="2348" y="270"/>
                  </a:lnTo>
                  <a:lnTo>
                    <a:pt x="2341" y="267"/>
                  </a:lnTo>
                  <a:lnTo>
                    <a:pt x="2336" y="267"/>
                  </a:lnTo>
                  <a:lnTo>
                    <a:pt x="2336" y="267"/>
                  </a:lnTo>
                  <a:lnTo>
                    <a:pt x="2338" y="267"/>
                  </a:lnTo>
                  <a:lnTo>
                    <a:pt x="2341" y="267"/>
                  </a:lnTo>
                  <a:lnTo>
                    <a:pt x="2345" y="267"/>
                  </a:lnTo>
                  <a:lnTo>
                    <a:pt x="2345" y="267"/>
                  </a:lnTo>
                  <a:lnTo>
                    <a:pt x="2348" y="270"/>
                  </a:lnTo>
                  <a:lnTo>
                    <a:pt x="2348" y="270"/>
                  </a:lnTo>
                  <a:lnTo>
                    <a:pt x="2352" y="270"/>
                  </a:lnTo>
                  <a:lnTo>
                    <a:pt x="2352" y="270"/>
                  </a:lnTo>
                  <a:lnTo>
                    <a:pt x="2355" y="270"/>
                  </a:lnTo>
                  <a:lnTo>
                    <a:pt x="2355" y="270"/>
                  </a:lnTo>
                  <a:lnTo>
                    <a:pt x="2359" y="270"/>
                  </a:lnTo>
                  <a:lnTo>
                    <a:pt x="2359" y="270"/>
                  </a:lnTo>
                  <a:lnTo>
                    <a:pt x="2364" y="270"/>
                  </a:lnTo>
                  <a:lnTo>
                    <a:pt x="2364" y="270"/>
                  </a:lnTo>
                  <a:lnTo>
                    <a:pt x="2364" y="270"/>
                  </a:lnTo>
                  <a:lnTo>
                    <a:pt x="2364" y="270"/>
                  </a:lnTo>
                  <a:lnTo>
                    <a:pt x="2362" y="267"/>
                  </a:lnTo>
                  <a:lnTo>
                    <a:pt x="2357" y="267"/>
                  </a:lnTo>
                  <a:lnTo>
                    <a:pt x="2355" y="265"/>
                  </a:lnTo>
                  <a:lnTo>
                    <a:pt x="2352" y="265"/>
                  </a:lnTo>
                  <a:lnTo>
                    <a:pt x="2352" y="265"/>
                  </a:lnTo>
                  <a:lnTo>
                    <a:pt x="2352" y="265"/>
                  </a:lnTo>
                  <a:lnTo>
                    <a:pt x="2357" y="265"/>
                  </a:lnTo>
                  <a:lnTo>
                    <a:pt x="2359" y="267"/>
                  </a:lnTo>
                  <a:lnTo>
                    <a:pt x="2362" y="267"/>
                  </a:lnTo>
                  <a:lnTo>
                    <a:pt x="2364" y="267"/>
                  </a:lnTo>
                  <a:lnTo>
                    <a:pt x="2369" y="267"/>
                  </a:lnTo>
                  <a:lnTo>
                    <a:pt x="2369" y="267"/>
                  </a:lnTo>
                  <a:lnTo>
                    <a:pt x="2367" y="265"/>
                  </a:lnTo>
                  <a:lnTo>
                    <a:pt x="2364" y="265"/>
                  </a:lnTo>
                  <a:lnTo>
                    <a:pt x="2364" y="263"/>
                  </a:lnTo>
                  <a:lnTo>
                    <a:pt x="2364" y="263"/>
                  </a:lnTo>
                  <a:lnTo>
                    <a:pt x="2364" y="260"/>
                  </a:lnTo>
                  <a:lnTo>
                    <a:pt x="2367" y="260"/>
                  </a:lnTo>
                  <a:lnTo>
                    <a:pt x="2367" y="260"/>
                  </a:lnTo>
                  <a:lnTo>
                    <a:pt x="2369" y="260"/>
                  </a:lnTo>
                  <a:lnTo>
                    <a:pt x="2369" y="260"/>
                  </a:lnTo>
                  <a:lnTo>
                    <a:pt x="2369" y="260"/>
                  </a:lnTo>
                  <a:lnTo>
                    <a:pt x="2367" y="258"/>
                  </a:lnTo>
                  <a:lnTo>
                    <a:pt x="2364" y="258"/>
                  </a:lnTo>
                  <a:lnTo>
                    <a:pt x="2359" y="258"/>
                  </a:lnTo>
                  <a:lnTo>
                    <a:pt x="2359" y="258"/>
                  </a:lnTo>
                  <a:lnTo>
                    <a:pt x="2357" y="256"/>
                  </a:lnTo>
                  <a:lnTo>
                    <a:pt x="2357" y="256"/>
                  </a:lnTo>
                  <a:lnTo>
                    <a:pt x="2355" y="256"/>
                  </a:lnTo>
                  <a:lnTo>
                    <a:pt x="2355" y="256"/>
                  </a:lnTo>
                  <a:lnTo>
                    <a:pt x="2352" y="256"/>
                  </a:lnTo>
                  <a:lnTo>
                    <a:pt x="2352" y="256"/>
                  </a:lnTo>
                  <a:lnTo>
                    <a:pt x="2352" y="256"/>
                  </a:lnTo>
                  <a:lnTo>
                    <a:pt x="2352" y="256"/>
                  </a:lnTo>
                  <a:lnTo>
                    <a:pt x="2350" y="256"/>
                  </a:lnTo>
                  <a:lnTo>
                    <a:pt x="2350" y="253"/>
                  </a:lnTo>
                  <a:lnTo>
                    <a:pt x="2341" y="251"/>
                  </a:lnTo>
                  <a:lnTo>
                    <a:pt x="2336" y="251"/>
                  </a:lnTo>
                  <a:lnTo>
                    <a:pt x="2329" y="249"/>
                  </a:lnTo>
                  <a:lnTo>
                    <a:pt x="2324" y="246"/>
                  </a:lnTo>
                  <a:lnTo>
                    <a:pt x="2317" y="244"/>
                  </a:lnTo>
                  <a:lnTo>
                    <a:pt x="2312" y="244"/>
                  </a:lnTo>
                  <a:lnTo>
                    <a:pt x="2310" y="244"/>
                  </a:lnTo>
                  <a:lnTo>
                    <a:pt x="2305" y="241"/>
                  </a:lnTo>
                  <a:lnTo>
                    <a:pt x="2303" y="241"/>
                  </a:lnTo>
                  <a:lnTo>
                    <a:pt x="2296" y="241"/>
                  </a:lnTo>
                  <a:lnTo>
                    <a:pt x="2298" y="241"/>
                  </a:lnTo>
                  <a:lnTo>
                    <a:pt x="2305" y="244"/>
                  </a:lnTo>
                  <a:lnTo>
                    <a:pt x="2305" y="244"/>
                  </a:lnTo>
                  <a:lnTo>
                    <a:pt x="2308" y="244"/>
                  </a:lnTo>
                  <a:lnTo>
                    <a:pt x="2305" y="244"/>
                  </a:lnTo>
                  <a:lnTo>
                    <a:pt x="2301" y="244"/>
                  </a:lnTo>
                  <a:lnTo>
                    <a:pt x="2298" y="244"/>
                  </a:lnTo>
                  <a:lnTo>
                    <a:pt x="2296" y="241"/>
                  </a:lnTo>
                  <a:lnTo>
                    <a:pt x="2296" y="241"/>
                  </a:lnTo>
                  <a:lnTo>
                    <a:pt x="2296" y="244"/>
                  </a:lnTo>
                  <a:lnTo>
                    <a:pt x="2298" y="244"/>
                  </a:lnTo>
                  <a:lnTo>
                    <a:pt x="2301" y="244"/>
                  </a:lnTo>
                  <a:lnTo>
                    <a:pt x="2298" y="246"/>
                  </a:lnTo>
                  <a:lnTo>
                    <a:pt x="2298" y="246"/>
                  </a:lnTo>
                  <a:lnTo>
                    <a:pt x="2296" y="244"/>
                  </a:lnTo>
                  <a:lnTo>
                    <a:pt x="2296" y="244"/>
                  </a:lnTo>
                  <a:lnTo>
                    <a:pt x="2293" y="241"/>
                  </a:lnTo>
                  <a:lnTo>
                    <a:pt x="2296" y="241"/>
                  </a:lnTo>
                  <a:lnTo>
                    <a:pt x="2293" y="241"/>
                  </a:lnTo>
                  <a:lnTo>
                    <a:pt x="2289" y="241"/>
                  </a:lnTo>
                  <a:lnTo>
                    <a:pt x="2286" y="239"/>
                  </a:lnTo>
                  <a:lnTo>
                    <a:pt x="2286" y="239"/>
                  </a:lnTo>
                  <a:lnTo>
                    <a:pt x="2284" y="241"/>
                  </a:lnTo>
                  <a:lnTo>
                    <a:pt x="2275" y="241"/>
                  </a:lnTo>
                  <a:lnTo>
                    <a:pt x="2275" y="241"/>
                  </a:lnTo>
                  <a:lnTo>
                    <a:pt x="2275" y="241"/>
                  </a:lnTo>
                  <a:lnTo>
                    <a:pt x="2277" y="241"/>
                  </a:lnTo>
                  <a:lnTo>
                    <a:pt x="2277" y="241"/>
                  </a:lnTo>
                  <a:lnTo>
                    <a:pt x="2279" y="241"/>
                  </a:lnTo>
                  <a:lnTo>
                    <a:pt x="2282" y="241"/>
                  </a:lnTo>
                  <a:lnTo>
                    <a:pt x="2284" y="244"/>
                  </a:lnTo>
                  <a:lnTo>
                    <a:pt x="2284" y="244"/>
                  </a:lnTo>
                  <a:lnTo>
                    <a:pt x="2286" y="244"/>
                  </a:lnTo>
                  <a:lnTo>
                    <a:pt x="2289" y="246"/>
                  </a:lnTo>
                  <a:lnTo>
                    <a:pt x="2291" y="246"/>
                  </a:lnTo>
                  <a:lnTo>
                    <a:pt x="2291" y="249"/>
                  </a:lnTo>
                  <a:lnTo>
                    <a:pt x="2291" y="249"/>
                  </a:lnTo>
                  <a:lnTo>
                    <a:pt x="2291" y="249"/>
                  </a:lnTo>
                  <a:lnTo>
                    <a:pt x="2293" y="251"/>
                  </a:lnTo>
                  <a:lnTo>
                    <a:pt x="2296" y="251"/>
                  </a:lnTo>
                  <a:lnTo>
                    <a:pt x="2298" y="251"/>
                  </a:lnTo>
                  <a:lnTo>
                    <a:pt x="2301" y="251"/>
                  </a:lnTo>
                  <a:lnTo>
                    <a:pt x="2303" y="253"/>
                  </a:lnTo>
                  <a:lnTo>
                    <a:pt x="2303" y="253"/>
                  </a:lnTo>
                  <a:lnTo>
                    <a:pt x="2305" y="256"/>
                  </a:lnTo>
                  <a:lnTo>
                    <a:pt x="2305" y="256"/>
                  </a:lnTo>
                  <a:lnTo>
                    <a:pt x="2305" y="256"/>
                  </a:lnTo>
                  <a:lnTo>
                    <a:pt x="2305" y="256"/>
                  </a:lnTo>
                  <a:lnTo>
                    <a:pt x="2305" y="256"/>
                  </a:lnTo>
                  <a:lnTo>
                    <a:pt x="2301" y="253"/>
                  </a:lnTo>
                  <a:lnTo>
                    <a:pt x="2298" y="253"/>
                  </a:lnTo>
                  <a:lnTo>
                    <a:pt x="2296" y="253"/>
                  </a:lnTo>
                  <a:lnTo>
                    <a:pt x="2296" y="253"/>
                  </a:lnTo>
                  <a:lnTo>
                    <a:pt x="2296" y="253"/>
                  </a:lnTo>
                  <a:lnTo>
                    <a:pt x="2296" y="253"/>
                  </a:lnTo>
                  <a:lnTo>
                    <a:pt x="2296" y="253"/>
                  </a:lnTo>
                  <a:lnTo>
                    <a:pt x="2293" y="253"/>
                  </a:lnTo>
                  <a:lnTo>
                    <a:pt x="2291" y="251"/>
                  </a:lnTo>
                  <a:lnTo>
                    <a:pt x="2289" y="251"/>
                  </a:lnTo>
                  <a:lnTo>
                    <a:pt x="2286" y="251"/>
                  </a:lnTo>
                  <a:lnTo>
                    <a:pt x="2286" y="249"/>
                  </a:lnTo>
                  <a:lnTo>
                    <a:pt x="2284" y="249"/>
                  </a:lnTo>
                  <a:lnTo>
                    <a:pt x="2282" y="249"/>
                  </a:lnTo>
                  <a:lnTo>
                    <a:pt x="2279" y="249"/>
                  </a:lnTo>
                  <a:lnTo>
                    <a:pt x="2279" y="246"/>
                  </a:lnTo>
                  <a:lnTo>
                    <a:pt x="2277" y="244"/>
                  </a:lnTo>
                  <a:lnTo>
                    <a:pt x="2275" y="244"/>
                  </a:lnTo>
                  <a:lnTo>
                    <a:pt x="2272" y="241"/>
                  </a:lnTo>
                  <a:lnTo>
                    <a:pt x="2270" y="241"/>
                  </a:lnTo>
                  <a:lnTo>
                    <a:pt x="2268" y="239"/>
                  </a:lnTo>
                  <a:lnTo>
                    <a:pt x="2265" y="237"/>
                  </a:lnTo>
                  <a:lnTo>
                    <a:pt x="2263" y="237"/>
                  </a:lnTo>
                  <a:lnTo>
                    <a:pt x="2260" y="234"/>
                  </a:lnTo>
                  <a:lnTo>
                    <a:pt x="2258" y="234"/>
                  </a:lnTo>
                  <a:lnTo>
                    <a:pt x="2258" y="234"/>
                  </a:lnTo>
                  <a:lnTo>
                    <a:pt x="2258" y="237"/>
                  </a:lnTo>
                  <a:lnTo>
                    <a:pt x="2258" y="237"/>
                  </a:lnTo>
                  <a:lnTo>
                    <a:pt x="2256" y="237"/>
                  </a:lnTo>
                  <a:lnTo>
                    <a:pt x="2256" y="234"/>
                  </a:lnTo>
                  <a:lnTo>
                    <a:pt x="2253" y="232"/>
                  </a:lnTo>
                  <a:lnTo>
                    <a:pt x="2251" y="232"/>
                  </a:lnTo>
                  <a:lnTo>
                    <a:pt x="2251" y="232"/>
                  </a:lnTo>
                  <a:lnTo>
                    <a:pt x="2249" y="230"/>
                  </a:lnTo>
                  <a:lnTo>
                    <a:pt x="2216" y="223"/>
                  </a:lnTo>
                  <a:lnTo>
                    <a:pt x="2211" y="220"/>
                  </a:lnTo>
                  <a:lnTo>
                    <a:pt x="2206" y="220"/>
                  </a:lnTo>
                  <a:lnTo>
                    <a:pt x="2204" y="220"/>
                  </a:lnTo>
                  <a:lnTo>
                    <a:pt x="2204" y="220"/>
                  </a:lnTo>
                  <a:lnTo>
                    <a:pt x="2204" y="220"/>
                  </a:lnTo>
                  <a:lnTo>
                    <a:pt x="2202" y="220"/>
                  </a:lnTo>
                  <a:lnTo>
                    <a:pt x="2202" y="220"/>
                  </a:lnTo>
                  <a:lnTo>
                    <a:pt x="2202" y="220"/>
                  </a:lnTo>
                  <a:lnTo>
                    <a:pt x="2199" y="218"/>
                  </a:lnTo>
                  <a:lnTo>
                    <a:pt x="2185" y="215"/>
                  </a:lnTo>
                  <a:lnTo>
                    <a:pt x="2183" y="213"/>
                  </a:lnTo>
                  <a:lnTo>
                    <a:pt x="2185" y="215"/>
                  </a:lnTo>
                  <a:lnTo>
                    <a:pt x="2194" y="218"/>
                  </a:lnTo>
                  <a:lnTo>
                    <a:pt x="2197" y="218"/>
                  </a:lnTo>
                  <a:lnTo>
                    <a:pt x="2197" y="220"/>
                  </a:lnTo>
                  <a:lnTo>
                    <a:pt x="2194" y="220"/>
                  </a:lnTo>
                  <a:lnTo>
                    <a:pt x="2194" y="218"/>
                  </a:lnTo>
                  <a:lnTo>
                    <a:pt x="2192" y="218"/>
                  </a:lnTo>
                  <a:lnTo>
                    <a:pt x="2190" y="218"/>
                  </a:lnTo>
                  <a:lnTo>
                    <a:pt x="2187" y="215"/>
                  </a:lnTo>
                  <a:lnTo>
                    <a:pt x="2183" y="215"/>
                  </a:lnTo>
                  <a:lnTo>
                    <a:pt x="2180" y="215"/>
                  </a:lnTo>
                  <a:lnTo>
                    <a:pt x="2178" y="213"/>
                  </a:lnTo>
                  <a:lnTo>
                    <a:pt x="2176" y="213"/>
                  </a:lnTo>
                  <a:lnTo>
                    <a:pt x="2178" y="213"/>
                  </a:lnTo>
                  <a:lnTo>
                    <a:pt x="2180" y="213"/>
                  </a:lnTo>
                  <a:lnTo>
                    <a:pt x="2176" y="213"/>
                  </a:lnTo>
                  <a:lnTo>
                    <a:pt x="2171" y="211"/>
                  </a:lnTo>
                  <a:lnTo>
                    <a:pt x="2164" y="211"/>
                  </a:lnTo>
                  <a:lnTo>
                    <a:pt x="2162" y="208"/>
                  </a:lnTo>
                  <a:lnTo>
                    <a:pt x="2159" y="208"/>
                  </a:lnTo>
                  <a:lnTo>
                    <a:pt x="2159" y="208"/>
                  </a:lnTo>
                  <a:lnTo>
                    <a:pt x="2157" y="208"/>
                  </a:lnTo>
                  <a:lnTo>
                    <a:pt x="2154" y="208"/>
                  </a:lnTo>
                  <a:lnTo>
                    <a:pt x="2154" y="208"/>
                  </a:lnTo>
                  <a:lnTo>
                    <a:pt x="2152" y="206"/>
                  </a:lnTo>
                  <a:lnTo>
                    <a:pt x="2147" y="206"/>
                  </a:lnTo>
                  <a:lnTo>
                    <a:pt x="2145" y="206"/>
                  </a:lnTo>
                  <a:lnTo>
                    <a:pt x="2133" y="201"/>
                  </a:lnTo>
                  <a:lnTo>
                    <a:pt x="2129" y="201"/>
                  </a:lnTo>
                  <a:lnTo>
                    <a:pt x="2126" y="201"/>
                  </a:lnTo>
                  <a:lnTo>
                    <a:pt x="2126" y="199"/>
                  </a:lnTo>
                  <a:lnTo>
                    <a:pt x="2124" y="199"/>
                  </a:lnTo>
                  <a:lnTo>
                    <a:pt x="2117" y="199"/>
                  </a:lnTo>
                  <a:lnTo>
                    <a:pt x="2110" y="197"/>
                  </a:lnTo>
                  <a:lnTo>
                    <a:pt x="2098" y="197"/>
                  </a:lnTo>
                  <a:lnTo>
                    <a:pt x="2091" y="194"/>
                  </a:lnTo>
                  <a:lnTo>
                    <a:pt x="2081" y="192"/>
                  </a:lnTo>
                  <a:lnTo>
                    <a:pt x="2074" y="192"/>
                  </a:lnTo>
                  <a:lnTo>
                    <a:pt x="2072" y="189"/>
                  </a:lnTo>
                  <a:lnTo>
                    <a:pt x="2070" y="189"/>
                  </a:lnTo>
                  <a:lnTo>
                    <a:pt x="2065" y="192"/>
                  </a:lnTo>
                  <a:lnTo>
                    <a:pt x="2058" y="192"/>
                  </a:lnTo>
                  <a:lnTo>
                    <a:pt x="2051" y="192"/>
                  </a:lnTo>
                  <a:lnTo>
                    <a:pt x="2046" y="192"/>
                  </a:lnTo>
                  <a:lnTo>
                    <a:pt x="2041" y="192"/>
                  </a:lnTo>
                  <a:lnTo>
                    <a:pt x="2037" y="189"/>
                  </a:lnTo>
                  <a:lnTo>
                    <a:pt x="2037" y="189"/>
                  </a:lnTo>
                  <a:lnTo>
                    <a:pt x="2039" y="192"/>
                  </a:lnTo>
                  <a:lnTo>
                    <a:pt x="2034" y="192"/>
                  </a:lnTo>
                  <a:lnTo>
                    <a:pt x="2030" y="189"/>
                  </a:lnTo>
                  <a:lnTo>
                    <a:pt x="2025" y="189"/>
                  </a:lnTo>
                  <a:lnTo>
                    <a:pt x="2015" y="189"/>
                  </a:lnTo>
                  <a:lnTo>
                    <a:pt x="2004" y="187"/>
                  </a:lnTo>
                  <a:lnTo>
                    <a:pt x="1999" y="187"/>
                  </a:lnTo>
                  <a:lnTo>
                    <a:pt x="1994" y="187"/>
                  </a:lnTo>
                  <a:lnTo>
                    <a:pt x="1999" y="189"/>
                  </a:lnTo>
                  <a:lnTo>
                    <a:pt x="1999" y="192"/>
                  </a:lnTo>
                  <a:lnTo>
                    <a:pt x="2001" y="194"/>
                  </a:lnTo>
                  <a:lnTo>
                    <a:pt x="2001" y="194"/>
                  </a:lnTo>
                  <a:lnTo>
                    <a:pt x="2001" y="194"/>
                  </a:lnTo>
                  <a:lnTo>
                    <a:pt x="2008" y="197"/>
                  </a:lnTo>
                  <a:lnTo>
                    <a:pt x="2015" y="199"/>
                  </a:lnTo>
                  <a:lnTo>
                    <a:pt x="2020" y="201"/>
                  </a:lnTo>
                  <a:lnTo>
                    <a:pt x="2025" y="204"/>
                  </a:lnTo>
                  <a:lnTo>
                    <a:pt x="2027" y="206"/>
                  </a:lnTo>
                  <a:lnTo>
                    <a:pt x="2027" y="208"/>
                  </a:lnTo>
                  <a:lnTo>
                    <a:pt x="2020" y="211"/>
                  </a:lnTo>
                  <a:lnTo>
                    <a:pt x="2015" y="211"/>
                  </a:lnTo>
                  <a:lnTo>
                    <a:pt x="2008" y="208"/>
                  </a:lnTo>
                  <a:lnTo>
                    <a:pt x="2004" y="206"/>
                  </a:lnTo>
                  <a:lnTo>
                    <a:pt x="1997" y="204"/>
                  </a:lnTo>
                  <a:lnTo>
                    <a:pt x="1989" y="201"/>
                  </a:lnTo>
                  <a:lnTo>
                    <a:pt x="1987" y="201"/>
                  </a:lnTo>
                  <a:lnTo>
                    <a:pt x="1985" y="201"/>
                  </a:lnTo>
                  <a:lnTo>
                    <a:pt x="1980" y="199"/>
                  </a:lnTo>
                  <a:lnTo>
                    <a:pt x="1975" y="197"/>
                  </a:lnTo>
                  <a:lnTo>
                    <a:pt x="1973" y="194"/>
                  </a:lnTo>
                  <a:lnTo>
                    <a:pt x="1971" y="194"/>
                  </a:lnTo>
                  <a:lnTo>
                    <a:pt x="1968" y="194"/>
                  </a:lnTo>
                  <a:lnTo>
                    <a:pt x="1964" y="194"/>
                  </a:lnTo>
                  <a:lnTo>
                    <a:pt x="1961" y="197"/>
                  </a:lnTo>
                  <a:lnTo>
                    <a:pt x="1961" y="197"/>
                  </a:lnTo>
                  <a:lnTo>
                    <a:pt x="1959" y="197"/>
                  </a:lnTo>
                  <a:lnTo>
                    <a:pt x="1947" y="197"/>
                  </a:lnTo>
                  <a:lnTo>
                    <a:pt x="1942" y="197"/>
                  </a:lnTo>
                  <a:lnTo>
                    <a:pt x="1926" y="197"/>
                  </a:lnTo>
                  <a:lnTo>
                    <a:pt x="1919" y="194"/>
                  </a:lnTo>
                  <a:lnTo>
                    <a:pt x="1914" y="194"/>
                  </a:lnTo>
                  <a:lnTo>
                    <a:pt x="1912" y="194"/>
                  </a:lnTo>
                  <a:lnTo>
                    <a:pt x="1909" y="194"/>
                  </a:lnTo>
                  <a:lnTo>
                    <a:pt x="1905" y="194"/>
                  </a:lnTo>
                  <a:lnTo>
                    <a:pt x="1902" y="194"/>
                  </a:lnTo>
                  <a:lnTo>
                    <a:pt x="1895" y="194"/>
                  </a:lnTo>
                  <a:lnTo>
                    <a:pt x="1895" y="197"/>
                  </a:lnTo>
                  <a:lnTo>
                    <a:pt x="1893" y="197"/>
                  </a:lnTo>
                  <a:lnTo>
                    <a:pt x="1890" y="199"/>
                  </a:lnTo>
                  <a:lnTo>
                    <a:pt x="1893" y="201"/>
                  </a:lnTo>
                  <a:lnTo>
                    <a:pt x="1895" y="204"/>
                  </a:lnTo>
                  <a:lnTo>
                    <a:pt x="1900" y="206"/>
                  </a:lnTo>
                  <a:lnTo>
                    <a:pt x="1902" y="208"/>
                  </a:lnTo>
                  <a:lnTo>
                    <a:pt x="1902" y="208"/>
                  </a:lnTo>
                  <a:lnTo>
                    <a:pt x="1902" y="211"/>
                  </a:lnTo>
                  <a:lnTo>
                    <a:pt x="1905" y="213"/>
                  </a:lnTo>
                  <a:lnTo>
                    <a:pt x="1905" y="213"/>
                  </a:lnTo>
                  <a:lnTo>
                    <a:pt x="1902" y="215"/>
                  </a:lnTo>
                  <a:lnTo>
                    <a:pt x="1902" y="213"/>
                  </a:lnTo>
                  <a:lnTo>
                    <a:pt x="1902" y="213"/>
                  </a:lnTo>
                  <a:lnTo>
                    <a:pt x="1900" y="208"/>
                  </a:lnTo>
                  <a:lnTo>
                    <a:pt x="1898" y="206"/>
                  </a:lnTo>
                  <a:lnTo>
                    <a:pt x="1893" y="206"/>
                  </a:lnTo>
                  <a:lnTo>
                    <a:pt x="1890" y="204"/>
                  </a:lnTo>
                  <a:lnTo>
                    <a:pt x="1886" y="201"/>
                  </a:lnTo>
                  <a:lnTo>
                    <a:pt x="1881" y="199"/>
                  </a:lnTo>
                  <a:lnTo>
                    <a:pt x="1879" y="197"/>
                  </a:lnTo>
                  <a:lnTo>
                    <a:pt x="1874" y="194"/>
                  </a:lnTo>
                  <a:lnTo>
                    <a:pt x="1865" y="194"/>
                  </a:lnTo>
                  <a:lnTo>
                    <a:pt x="1860" y="192"/>
                  </a:lnTo>
                  <a:lnTo>
                    <a:pt x="1855" y="192"/>
                  </a:lnTo>
                  <a:lnTo>
                    <a:pt x="1855" y="189"/>
                  </a:lnTo>
                  <a:lnTo>
                    <a:pt x="1853" y="187"/>
                  </a:lnTo>
                  <a:lnTo>
                    <a:pt x="1850" y="187"/>
                  </a:lnTo>
                  <a:lnTo>
                    <a:pt x="1850" y="185"/>
                  </a:lnTo>
                  <a:lnTo>
                    <a:pt x="1848" y="182"/>
                  </a:lnTo>
                  <a:lnTo>
                    <a:pt x="1846" y="182"/>
                  </a:lnTo>
                  <a:lnTo>
                    <a:pt x="1843" y="180"/>
                  </a:lnTo>
                  <a:lnTo>
                    <a:pt x="1839" y="178"/>
                  </a:lnTo>
                  <a:lnTo>
                    <a:pt x="1836" y="178"/>
                  </a:lnTo>
                  <a:lnTo>
                    <a:pt x="1829" y="175"/>
                  </a:lnTo>
                  <a:lnTo>
                    <a:pt x="1817" y="173"/>
                  </a:lnTo>
                  <a:lnTo>
                    <a:pt x="1806" y="171"/>
                  </a:lnTo>
                  <a:lnTo>
                    <a:pt x="1796" y="171"/>
                  </a:lnTo>
                  <a:lnTo>
                    <a:pt x="1787" y="171"/>
                  </a:lnTo>
                  <a:lnTo>
                    <a:pt x="1775" y="171"/>
                  </a:lnTo>
                  <a:lnTo>
                    <a:pt x="1773" y="171"/>
                  </a:lnTo>
                  <a:lnTo>
                    <a:pt x="1766" y="171"/>
                  </a:lnTo>
                  <a:lnTo>
                    <a:pt x="1758" y="171"/>
                  </a:lnTo>
                  <a:lnTo>
                    <a:pt x="1754" y="173"/>
                  </a:lnTo>
                  <a:lnTo>
                    <a:pt x="1749" y="173"/>
                  </a:lnTo>
                  <a:lnTo>
                    <a:pt x="1742" y="173"/>
                  </a:lnTo>
                  <a:lnTo>
                    <a:pt x="1737" y="175"/>
                  </a:lnTo>
                  <a:lnTo>
                    <a:pt x="1723" y="171"/>
                  </a:lnTo>
                  <a:lnTo>
                    <a:pt x="1725" y="171"/>
                  </a:lnTo>
                  <a:lnTo>
                    <a:pt x="1728" y="171"/>
                  </a:lnTo>
                  <a:lnTo>
                    <a:pt x="1718" y="168"/>
                  </a:lnTo>
                  <a:lnTo>
                    <a:pt x="1714" y="166"/>
                  </a:lnTo>
                  <a:lnTo>
                    <a:pt x="1707" y="166"/>
                  </a:lnTo>
                  <a:lnTo>
                    <a:pt x="1704" y="163"/>
                  </a:lnTo>
                  <a:lnTo>
                    <a:pt x="1702" y="166"/>
                  </a:lnTo>
                  <a:lnTo>
                    <a:pt x="1697" y="166"/>
                  </a:lnTo>
                  <a:lnTo>
                    <a:pt x="1697" y="168"/>
                  </a:lnTo>
                  <a:lnTo>
                    <a:pt x="1697" y="166"/>
                  </a:lnTo>
                  <a:lnTo>
                    <a:pt x="1700" y="163"/>
                  </a:lnTo>
                  <a:lnTo>
                    <a:pt x="1700" y="163"/>
                  </a:lnTo>
                  <a:lnTo>
                    <a:pt x="1697" y="163"/>
                  </a:lnTo>
                  <a:lnTo>
                    <a:pt x="1697" y="161"/>
                  </a:lnTo>
                  <a:lnTo>
                    <a:pt x="1690" y="163"/>
                  </a:lnTo>
                  <a:lnTo>
                    <a:pt x="1688" y="161"/>
                  </a:lnTo>
                  <a:lnTo>
                    <a:pt x="1685" y="161"/>
                  </a:lnTo>
                  <a:lnTo>
                    <a:pt x="1685" y="161"/>
                  </a:lnTo>
                  <a:lnTo>
                    <a:pt x="1678" y="159"/>
                  </a:lnTo>
                  <a:lnTo>
                    <a:pt x="1674" y="159"/>
                  </a:lnTo>
                  <a:lnTo>
                    <a:pt x="1671" y="159"/>
                  </a:lnTo>
                  <a:lnTo>
                    <a:pt x="1669" y="159"/>
                  </a:lnTo>
                  <a:lnTo>
                    <a:pt x="1669" y="159"/>
                  </a:lnTo>
                  <a:lnTo>
                    <a:pt x="1669" y="159"/>
                  </a:lnTo>
                  <a:lnTo>
                    <a:pt x="1669" y="156"/>
                  </a:lnTo>
                  <a:lnTo>
                    <a:pt x="1671" y="156"/>
                  </a:lnTo>
                  <a:lnTo>
                    <a:pt x="1681" y="156"/>
                  </a:lnTo>
                  <a:lnTo>
                    <a:pt x="1681" y="156"/>
                  </a:lnTo>
                  <a:lnTo>
                    <a:pt x="1678" y="154"/>
                  </a:lnTo>
                  <a:lnTo>
                    <a:pt x="1678" y="154"/>
                  </a:lnTo>
                  <a:lnTo>
                    <a:pt x="1671" y="152"/>
                  </a:lnTo>
                  <a:lnTo>
                    <a:pt x="1667" y="152"/>
                  </a:lnTo>
                  <a:lnTo>
                    <a:pt x="1657" y="149"/>
                  </a:lnTo>
                  <a:lnTo>
                    <a:pt x="1650" y="149"/>
                  </a:lnTo>
                  <a:lnTo>
                    <a:pt x="1636" y="149"/>
                  </a:lnTo>
                  <a:lnTo>
                    <a:pt x="1634" y="149"/>
                  </a:lnTo>
                  <a:lnTo>
                    <a:pt x="1634" y="149"/>
                  </a:lnTo>
                  <a:lnTo>
                    <a:pt x="1634" y="152"/>
                  </a:lnTo>
                  <a:lnTo>
                    <a:pt x="1631" y="156"/>
                  </a:lnTo>
                  <a:lnTo>
                    <a:pt x="1631" y="156"/>
                  </a:lnTo>
                  <a:lnTo>
                    <a:pt x="1629" y="159"/>
                  </a:lnTo>
                  <a:lnTo>
                    <a:pt x="1622" y="159"/>
                  </a:lnTo>
                  <a:lnTo>
                    <a:pt x="1619" y="159"/>
                  </a:lnTo>
                  <a:lnTo>
                    <a:pt x="1617" y="159"/>
                  </a:lnTo>
                  <a:lnTo>
                    <a:pt x="1617" y="156"/>
                  </a:lnTo>
                  <a:lnTo>
                    <a:pt x="1617" y="156"/>
                  </a:lnTo>
                  <a:lnTo>
                    <a:pt x="1617" y="156"/>
                  </a:lnTo>
                  <a:lnTo>
                    <a:pt x="1615" y="156"/>
                  </a:lnTo>
                  <a:lnTo>
                    <a:pt x="1615" y="156"/>
                  </a:lnTo>
                  <a:lnTo>
                    <a:pt x="1615" y="156"/>
                  </a:lnTo>
                  <a:lnTo>
                    <a:pt x="1617" y="156"/>
                  </a:lnTo>
                  <a:lnTo>
                    <a:pt x="1619" y="156"/>
                  </a:lnTo>
                  <a:lnTo>
                    <a:pt x="1624" y="154"/>
                  </a:lnTo>
                  <a:lnTo>
                    <a:pt x="1622" y="154"/>
                  </a:lnTo>
                  <a:lnTo>
                    <a:pt x="1619" y="152"/>
                  </a:lnTo>
                  <a:lnTo>
                    <a:pt x="1617" y="152"/>
                  </a:lnTo>
                  <a:lnTo>
                    <a:pt x="1617" y="149"/>
                  </a:lnTo>
                  <a:lnTo>
                    <a:pt x="1617" y="149"/>
                  </a:lnTo>
                  <a:lnTo>
                    <a:pt x="1617" y="149"/>
                  </a:lnTo>
                  <a:lnTo>
                    <a:pt x="1622" y="152"/>
                  </a:lnTo>
                  <a:lnTo>
                    <a:pt x="1624" y="152"/>
                  </a:lnTo>
                  <a:lnTo>
                    <a:pt x="1624" y="152"/>
                  </a:lnTo>
                  <a:lnTo>
                    <a:pt x="1627" y="154"/>
                  </a:lnTo>
                  <a:lnTo>
                    <a:pt x="1629" y="154"/>
                  </a:lnTo>
                  <a:lnTo>
                    <a:pt x="1629" y="154"/>
                  </a:lnTo>
                  <a:lnTo>
                    <a:pt x="1631" y="152"/>
                  </a:lnTo>
                  <a:lnTo>
                    <a:pt x="1631" y="149"/>
                  </a:lnTo>
                  <a:lnTo>
                    <a:pt x="1629" y="149"/>
                  </a:lnTo>
                  <a:lnTo>
                    <a:pt x="1627" y="149"/>
                  </a:lnTo>
                  <a:lnTo>
                    <a:pt x="1608" y="149"/>
                  </a:lnTo>
                  <a:lnTo>
                    <a:pt x="1601" y="152"/>
                  </a:lnTo>
                  <a:lnTo>
                    <a:pt x="1598" y="152"/>
                  </a:lnTo>
                  <a:lnTo>
                    <a:pt x="1596" y="149"/>
                  </a:lnTo>
                  <a:lnTo>
                    <a:pt x="1598" y="149"/>
                  </a:lnTo>
                  <a:lnTo>
                    <a:pt x="1601" y="149"/>
                  </a:lnTo>
                  <a:lnTo>
                    <a:pt x="1601" y="147"/>
                  </a:lnTo>
                  <a:lnTo>
                    <a:pt x="1603" y="147"/>
                  </a:lnTo>
                  <a:lnTo>
                    <a:pt x="1605" y="147"/>
                  </a:lnTo>
                  <a:lnTo>
                    <a:pt x="1610" y="147"/>
                  </a:lnTo>
                  <a:lnTo>
                    <a:pt x="1619" y="147"/>
                  </a:lnTo>
                  <a:lnTo>
                    <a:pt x="1619" y="147"/>
                  </a:lnTo>
                  <a:lnTo>
                    <a:pt x="1615" y="147"/>
                  </a:lnTo>
                  <a:lnTo>
                    <a:pt x="1610" y="145"/>
                  </a:lnTo>
                  <a:lnTo>
                    <a:pt x="1608" y="145"/>
                  </a:lnTo>
                  <a:lnTo>
                    <a:pt x="1603" y="145"/>
                  </a:lnTo>
                  <a:lnTo>
                    <a:pt x="1594" y="145"/>
                  </a:lnTo>
                  <a:lnTo>
                    <a:pt x="1589" y="142"/>
                  </a:lnTo>
                  <a:lnTo>
                    <a:pt x="1579" y="142"/>
                  </a:lnTo>
                  <a:lnTo>
                    <a:pt x="1577" y="142"/>
                  </a:lnTo>
                  <a:lnTo>
                    <a:pt x="1558" y="142"/>
                  </a:lnTo>
                  <a:lnTo>
                    <a:pt x="1549" y="140"/>
                  </a:lnTo>
                  <a:lnTo>
                    <a:pt x="1546" y="140"/>
                  </a:lnTo>
                  <a:lnTo>
                    <a:pt x="1539" y="140"/>
                  </a:lnTo>
                  <a:lnTo>
                    <a:pt x="1537" y="140"/>
                  </a:lnTo>
                  <a:lnTo>
                    <a:pt x="1537" y="140"/>
                  </a:lnTo>
                  <a:lnTo>
                    <a:pt x="1537" y="140"/>
                  </a:lnTo>
                  <a:lnTo>
                    <a:pt x="1544" y="142"/>
                  </a:lnTo>
                  <a:lnTo>
                    <a:pt x="1546" y="142"/>
                  </a:lnTo>
                  <a:lnTo>
                    <a:pt x="1549" y="145"/>
                  </a:lnTo>
                  <a:lnTo>
                    <a:pt x="1544" y="145"/>
                  </a:lnTo>
                  <a:lnTo>
                    <a:pt x="1542" y="145"/>
                  </a:lnTo>
                  <a:lnTo>
                    <a:pt x="1532" y="145"/>
                  </a:lnTo>
                  <a:lnTo>
                    <a:pt x="1530" y="147"/>
                  </a:lnTo>
                  <a:lnTo>
                    <a:pt x="1530" y="149"/>
                  </a:lnTo>
                  <a:lnTo>
                    <a:pt x="1530" y="149"/>
                  </a:lnTo>
                  <a:lnTo>
                    <a:pt x="1532" y="152"/>
                  </a:lnTo>
                  <a:lnTo>
                    <a:pt x="1537" y="152"/>
                  </a:lnTo>
                  <a:lnTo>
                    <a:pt x="1537" y="149"/>
                  </a:lnTo>
                  <a:lnTo>
                    <a:pt x="1537" y="149"/>
                  </a:lnTo>
                  <a:lnTo>
                    <a:pt x="1544" y="149"/>
                  </a:lnTo>
                  <a:lnTo>
                    <a:pt x="1546" y="152"/>
                  </a:lnTo>
                  <a:lnTo>
                    <a:pt x="1544" y="152"/>
                  </a:lnTo>
                  <a:lnTo>
                    <a:pt x="1542" y="152"/>
                  </a:lnTo>
                  <a:lnTo>
                    <a:pt x="1542" y="154"/>
                  </a:lnTo>
                  <a:lnTo>
                    <a:pt x="1539" y="154"/>
                  </a:lnTo>
                  <a:lnTo>
                    <a:pt x="1544" y="156"/>
                  </a:lnTo>
                  <a:lnTo>
                    <a:pt x="1546" y="156"/>
                  </a:lnTo>
                  <a:lnTo>
                    <a:pt x="1549" y="159"/>
                  </a:lnTo>
                  <a:lnTo>
                    <a:pt x="1556" y="161"/>
                  </a:lnTo>
                  <a:lnTo>
                    <a:pt x="1558" y="163"/>
                  </a:lnTo>
                  <a:lnTo>
                    <a:pt x="1553" y="163"/>
                  </a:lnTo>
                  <a:lnTo>
                    <a:pt x="1551" y="163"/>
                  </a:lnTo>
                  <a:lnTo>
                    <a:pt x="1549" y="163"/>
                  </a:lnTo>
                  <a:lnTo>
                    <a:pt x="1544" y="161"/>
                  </a:lnTo>
                  <a:lnTo>
                    <a:pt x="1539" y="161"/>
                  </a:lnTo>
                  <a:lnTo>
                    <a:pt x="1537" y="161"/>
                  </a:lnTo>
                  <a:lnTo>
                    <a:pt x="1537" y="161"/>
                  </a:lnTo>
                  <a:lnTo>
                    <a:pt x="1535" y="161"/>
                  </a:lnTo>
                  <a:lnTo>
                    <a:pt x="1532" y="161"/>
                  </a:lnTo>
                  <a:lnTo>
                    <a:pt x="1532" y="161"/>
                  </a:lnTo>
                  <a:lnTo>
                    <a:pt x="1532" y="161"/>
                  </a:lnTo>
                  <a:lnTo>
                    <a:pt x="1532" y="163"/>
                  </a:lnTo>
                  <a:lnTo>
                    <a:pt x="1532" y="163"/>
                  </a:lnTo>
                  <a:lnTo>
                    <a:pt x="1532" y="163"/>
                  </a:lnTo>
                  <a:lnTo>
                    <a:pt x="1535" y="166"/>
                  </a:lnTo>
                  <a:lnTo>
                    <a:pt x="1535" y="166"/>
                  </a:lnTo>
                  <a:lnTo>
                    <a:pt x="1539" y="166"/>
                  </a:lnTo>
                  <a:lnTo>
                    <a:pt x="1537" y="166"/>
                  </a:lnTo>
                  <a:lnTo>
                    <a:pt x="1537" y="166"/>
                  </a:lnTo>
                  <a:lnTo>
                    <a:pt x="1537" y="166"/>
                  </a:lnTo>
                  <a:lnTo>
                    <a:pt x="1535" y="168"/>
                  </a:lnTo>
                  <a:lnTo>
                    <a:pt x="1537" y="168"/>
                  </a:lnTo>
                  <a:lnTo>
                    <a:pt x="1537" y="168"/>
                  </a:lnTo>
                  <a:lnTo>
                    <a:pt x="1539" y="168"/>
                  </a:lnTo>
                  <a:lnTo>
                    <a:pt x="1539" y="168"/>
                  </a:lnTo>
                  <a:lnTo>
                    <a:pt x="1537" y="168"/>
                  </a:lnTo>
                  <a:lnTo>
                    <a:pt x="1532" y="168"/>
                  </a:lnTo>
                  <a:lnTo>
                    <a:pt x="1528" y="166"/>
                  </a:lnTo>
                  <a:lnTo>
                    <a:pt x="1525" y="166"/>
                  </a:lnTo>
                  <a:lnTo>
                    <a:pt x="1523" y="163"/>
                  </a:lnTo>
                  <a:lnTo>
                    <a:pt x="1509" y="161"/>
                  </a:lnTo>
                  <a:lnTo>
                    <a:pt x="1504" y="161"/>
                  </a:lnTo>
                  <a:lnTo>
                    <a:pt x="1502" y="161"/>
                  </a:lnTo>
                  <a:lnTo>
                    <a:pt x="1497" y="161"/>
                  </a:lnTo>
                  <a:lnTo>
                    <a:pt x="1497" y="161"/>
                  </a:lnTo>
                  <a:lnTo>
                    <a:pt x="1492" y="163"/>
                  </a:lnTo>
                  <a:lnTo>
                    <a:pt x="1490" y="163"/>
                  </a:lnTo>
                  <a:lnTo>
                    <a:pt x="1490" y="163"/>
                  </a:lnTo>
                  <a:lnTo>
                    <a:pt x="1483" y="166"/>
                  </a:lnTo>
                  <a:lnTo>
                    <a:pt x="1476" y="163"/>
                  </a:lnTo>
                  <a:lnTo>
                    <a:pt x="1471" y="163"/>
                  </a:lnTo>
                  <a:lnTo>
                    <a:pt x="1466" y="161"/>
                  </a:lnTo>
                  <a:lnTo>
                    <a:pt x="1459" y="159"/>
                  </a:lnTo>
                  <a:lnTo>
                    <a:pt x="1459" y="159"/>
                  </a:lnTo>
                  <a:lnTo>
                    <a:pt x="1457" y="156"/>
                  </a:lnTo>
                  <a:lnTo>
                    <a:pt x="1454" y="156"/>
                  </a:lnTo>
                  <a:lnTo>
                    <a:pt x="1452" y="156"/>
                  </a:lnTo>
                  <a:lnTo>
                    <a:pt x="1452" y="156"/>
                  </a:lnTo>
                  <a:lnTo>
                    <a:pt x="1452" y="159"/>
                  </a:lnTo>
                  <a:lnTo>
                    <a:pt x="1452" y="161"/>
                  </a:lnTo>
                  <a:lnTo>
                    <a:pt x="1454" y="163"/>
                  </a:lnTo>
                  <a:lnTo>
                    <a:pt x="1457" y="166"/>
                  </a:lnTo>
                  <a:lnTo>
                    <a:pt x="1457" y="166"/>
                  </a:lnTo>
                  <a:lnTo>
                    <a:pt x="1459" y="166"/>
                  </a:lnTo>
                  <a:lnTo>
                    <a:pt x="1457" y="168"/>
                  </a:lnTo>
                  <a:lnTo>
                    <a:pt x="1457" y="171"/>
                  </a:lnTo>
                  <a:lnTo>
                    <a:pt x="1459" y="173"/>
                  </a:lnTo>
                  <a:lnTo>
                    <a:pt x="1459" y="175"/>
                  </a:lnTo>
                  <a:lnTo>
                    <a:pt x="1457" y="175"/>
                  </a:lnTo>
                  <a:lnTo>
                    <a:pt x="1457" y="175"/>
                  </a:lnTo>
                  <a:lnTo>
                    <a:pt x="1454" y="175"/>
                  </a:lnTo>
                  <a:lnTo>
                    <a:pt x="1452" y="175"/>
                  </a:lnTo>
                  <a:lnTo>
                    <a:pt x="1447" y="173"/>
                  </a:lnTo>
                  <a:lnTo>
                    <a:pt x="1447" y="173"/>
                  </a:lnTo>
                  <a:lnTo>
                    <a:pt x="1447" y="173"/>
                  </a:lnTo>
                  <a:lnTo>
                    <a:pt x="1445" y="173"/>
                  </a:lnTo>
                  <a:lnTo>
                    <a:pt x="1440" y="173"/>
                  </a:lnTo>
                  <a:lnTo>
                    <a:pt x="1436" y="171"/>
                  </a:lnTo>
                  <a:lnTo>
                    <a:pt x="1431" y="168"/>
                  </a:lnTo>
                  <a:lnTo>
                    <a:pt x="1421" y="163"/>
                  </a:lnTo>
                  <a:lnTo>
                    <a:pt x="1417" y="163"/>
                  </a:lnTo>
                  <a:lnTo>
                    <a:pt x="1414" y="161"/>
                  </a:lnTo>
                  <a:lnTo>
                    <a:pt x="1410" y="161"/>
                  </a:lnTo>
                  <a:lnTo>
                    <a:pt x="1407" y="159"/>
                  </a:lnTo>
                  <a:lnTo>
                    <a:pt x="1410" y="159"/>
                  </a:lnTo>
                  <a:lnTo>
                    <a:pt x="1412" y="159"/>
                  </a:lnTo>
                  <a:lnTo>
                    <a:pt x="1414" y="159"/>
                  </a:lnTo>
                  <a:lnTo>
                    <a:pt x="1410" y="156"/>
                  </a:lnTo>
                  <a:lnTo>
                    <a:pt x="1407" y="156"/>
                  </a:lnTo>
                  <a:lnTo>
                    <a:pt x="1407" y="154"/>
                  </a:lnTo>
                  <a:lnTo>
                    <a:pt x="1407" y="156"/>
                  </a:lnTo>
                  <a:lnTo>
                    <a:pt x="1410" y="156"/>
                  </a:lnTo>
                  <a:lnTo>
                    <a:pt x="1410" y="159"/>
                  </a:lnTo>
                  <a:lnTo>
                    <a:pt x="1407" y="159"/>
                  </a:lnTo>
                  <a:lnTo>
                    <a:pt x="1393" y="152"/>
                  </a:lnTo>
                  <a:lnTo>
                    <a:pt x="1386" y="149"/>
                  </a:lnTo>
                  <a:lnTo>
                    <a:pt x="1384" y="149"/>
                  </a:lnTo>
                  <a:lnTo>
                    <a:pt x="1379" y="147"/>
                  </a:lnTo>
                  <a:lnTo>
                    <a:pt x="1379" y="147"/>
                  </a:lnTo>
                  <a:lnTo>
                    <a:pt x="1386" y="149"/>
                  </a:lnTo>
                  <a:lnTo>
                    <a:pt x="1393" y="149"/>
                  </a:lnTo>
                  <a:lnTo>
                    <a:pt x="1400" y="152"/>
                  </a:lnTo>
                  <a:lnTo>
                    <a:pt x="1405" y="152"/>
                  </a:lnTo>
                  <a:lnTo>
                    <a:pt x="1405" y="152"/>
                  </a:lnTo>
                  <a:lnTo>
                    <a:pt x="1403" y="149"/>
                  </a:lnTo>
                  <a:lnTo>
                    <a:pt x="1398" y="147"/>
                  </a:lnTo>
                  <a:lnTo>
                    <a:pt x="1396" y="145"/>
                  </a:lnTo>
                  <a:lnTo>
                    <a:pt x="1388" y="145"/>
                  </a:lnTo>
                  <a:lnTo>
                    <a:pt x="1386" y="145"/>
                  </a:lnTo>
                  <a:lnTo>
                    <a:pt x="1386" y="145"/>
                  </a:lnTo>
                  <a:lnTo>
                    <a:pt x="1388" y="145"/>
                  </a:lnTo>
                  <a:lnTo>
                    <a:pt x="1391" y="145"/>
                  </a:lnTo>
                  <a:lnTo>
                    <a:pt x="1391" y="142"/>
                  </a:lnTo>
                  <a:lnTo>
                    <a:pt x="1393" y="142"/>
                  </a:lnTo>
                  <a:lnTo>
                    <a:pt x="1391" y="140"/>
                  </a:lnTo>
                  <a:lnTo>
                    <a:pt x="1386" y="140"/>
                  </a:lnTo>
                  <a:lnTo>
                    <a:pt x="1381" y="140"/>
                  </a:lnTo>
                  <a:lnTo>
                    <a:pt x="1381" y="140"/>
                  </a:lnTo>
                  <a:lnTo>
                    <a:pt x="1381" y="137"/>
                  </a:lnTo>
                  <a:lnTo>
                    <a:pt x="1384" y="137"/>
                  </a:lnTo>
                  <a:lnTo>
                    <a:pt x="1384" y="135"/>
                  </a:lnTo>
                  <a:lnTo>
                    <a:pt x="1384" y="135"/>
                  </a:lnTo>
                  <a:lnTo>
                    <a:pt x="1381" y="135"/>
                  </a:lnTo>
                  <a:lnTo>
                    <a:pt x="1381" y="135"/>
                  </a:lnTo>
                  <a:lnTo>
                    <a:pt x="1379" y="135"/>
                  </a:lnTo>
                  <a:lnTo>
                    <a:pt x="1379" y="133"/>
                  </a:lnTo>
                  <a:lnTo>
                    <a:pt x="1377" y="133"/>
                  </a:lnTo>
                  <a:lnTo>
                    <a:pt x="1374" y="133"/>
                  </a:lnTo>
                  <a:lnTo>
                    <a:pt x="1370" y="133"/>
                  </a:lnTo>
                  <a:lnTo>
                    <a:pt x="1367" y="133"/>
                  </a:lnTo>
                  <a:lnTo>
                    <a:pt x="1367" y="130"/>
                  </a:lnTo>
                  <a:lnTo>
                    <a:pt x="1365" y="130"/>
                  </a:lnTo>
                  <a:lnTo>
                    <a:pt x="1363" y="130"/>
                  </a:lnTo>
                  <a:lnTo>
                    <a:pt x="1363" y="130"/>
                  </a:lnTo>
                  <a:lnTo>
                    <a:pt x="1363" y="130"/>
                  </a:lnTo>
                  <a:lnTo>
                    <a:pt x="1358" y="128"/>
                  </a:lnTo>
                  <a:lnTo>
                    <a:pt x="1348" y="128"/>
                  </a:lnTo>
                  <a:lnTo>
                    <a:pt x="1346" y="128"/>
                  </a:lnTo>
                  <a:lnTo>
                    <a:pt x="1348" y="130"/>
                  </a:lnTo>
                  <a:lnTo>
                    <a:pt x="1346" y="130"/>
                  </a:lnTo>
                  <a:lnTo>
                    <a:pt x="1341" y="130"/>
                  </a:lnTo>
                  <a:lnTo>
                    <a:pt x="1341" y="130"/>
                  </a:lnTo>
                  <a:lnTo>
                    <a:pt x="1341" y="130"/>
                  </a:lnTo>
                  <a:lnTo>
                    <a:pt x="1339" y="128"/>
                  </a:lnTo>
                  <a:lnTo>
                    <a:pt x="1339" y="128"/>
                  </a:lnTo>
                  <a:lnTo>
                    <a:pt x="1339" y="128"/>
                  </a:lnTo>
                  <a:lnTo>
                    <a:pt x="1337" y="128"/>
                  </a:lnTo>
                  <a:lnTo>
                    <a:pt x="1337" y="128"/>
                  </a:lnTo>
                  <a:lnTo>
                    <a:pt x="1334" y="128"/>
                  </a:lnTo>
                  <a:lnTo>
                    <a:pt x="1334" y="128"/>
                  </a:lnTo>
                  <a:lnTo>
                    <a:pt x="1332" y="130"/>
                  </a:lnTo>
                  <a:lnTo>
                    <a:pt x="1330" y="128"/>
                  </a:lnTo>
                  <a:lnTo>
                    <a:pt x="1315" y="126"/>
                  </a:lnTo>
                  <a:lnTo>
                    <a:pt x="1311" y="123"/>
                  </a:lnTo>
                  <a:lnTo>
                    <a:pt x="1311" y="123"/>
                  </a:lnTo>
                  <a:lnTo>
                    <a:pt x="1306" y="126"/>
                  </a:lnTo>
                  <a:lnTo>
                    <a:pt x="1306" y="126"/>
                  </a:lnTo>
                  <a:lnTo>
                    <a:pt x="1306" y="126"/>
                  </a:lnTo>
                  <a:lnTo>
                    <a:pt x="1301" y="126"/>
                  </a:lnTo>
                  <a:lnTo>
                    <a:pt x="1299" y="126"/>
                  </a:lnTo>
                  <a:lnTo>
                    <a:pt x="1301" y="128"/>
                  </a:lnTo>
                  <a:lnTo>
                    <a:pt x="1304" y="130"/>
                  </a:lnTo>
                  <a:lnTo>
                    <a:pt x="1304" y="130"/>
                  </a:lnTo>
                  <a:lnTo>
                    <a:pt x="1306" y="130"/>
                  </a:lnTo>
                  <a:lnTo>
                    <a:pt x="1308" y="133"/>
                  </a:lnTo>
                  <a:lnTo>
                    <a:pt x="1311" y="133"/>
                  </a:lnTo>
                  <a:lnTo>
                    <a:pt x="1311" y="133"/>
                  </a:lnTo>
                  <a:lnTo>
                    <a:pt x="1311" y="135"/>
                  </a:lnTo>
                  <a:lnTo>
                    <a:pt x="1311" y="135"/>
                  </a:lnTo>
                  <a:lnTo>
                    <a:pt x="1311" y="135"/>
                  </a:lnTo>
                  <a:lnTo>
                    <a:pt x="1311" y="137"/>
                  </a:lnTo>
                  <a:lnTo>
                    <a:pt x="1311" y="137"/>
                  </a:lnTo>
                  <a:lnTo>
                    <a:pt x="1308" y="137"/>
                  </a:lnTo>
                  <a:lnTo>
                    <a:pt x="1301" y="137"/>
                  </a:lnTo>
                  <a:lnTo>
                    <a:pt x="1301" y="137"/>
                  </a:lnTo>
                  <a:lnTo>
                    <a:pt x="1301" y="137"/>
                  </a:lnTo>
                  <a:lnTo>
                    <a:pt x="1304" y="137"/>
                  </a:lnTo>
                  <a:lnTo>
                    <a:pt x="1306" y="137"/>
                  </a:lnTo>
                  <a:lnTo>
                    <a:pt x="1306" y="140"/>
                  </a:lnTo>
                  <a:lnTo>
                    <a:pt x="1304" y="140"/>
                  </a:lnTo>
                  <a:lnTo>
                    <a:pt x="1299" y="140"/>
                  </a:lnTo>
                  <a:lnTo>
                    <a:pt x="1297" y="140"/>
                  </a:lnTo>
                  <a:lnTo>
                    <a:pt x="1294" y="137"/>
                  </a:lnTo>
                  <a:lnTo>
                    <a:pt x="1292" y="137"/>
                  </a:lnTo>
                  <a:lnTo>
                    <a:pt x="1287" y="137"/>
                  </a:lnTo>
                  <a:lnTo>
                    <a:pt x="1282" y="137"/>
                  </a:lnTo>
                  <a:lnTo>
                    <a:pt x="1275" y="137"/>
                  </a:lnTo>
                  <a:lnTo>
                    <a:pt x="1268" y="137"/>
                  </a:lnTo>
                  <a:lnTo>
                    <a:pt x="1266" y="137"/>
                  </a:lnTo>
                  <a:lnTo>
                    <a:pt x="1259" y="135"/>
                  </a:lnTo>
                  <a:lnTo>
                    <a:pt x="1252" y="135"/>
                  </a:lnTo>
                  <a:lnTo>
                    <a:pt x="1242" y="133"/>
                  </a:lnTo>
                  <a:lnTo>
                    <a:pt x="1240" y="130"/>
                  </a:lnTo>
                  <a:lnTo>
                    <a:pt x="1240" y="128"/>
                  </a:lnTo>
                  <a:lnTo>
                    <a:pt x="1242" y="128"/>
                  </a:lnTo>
                  <a:lnTo>
                    <a:pt x="1245" y="128"/>
                  </a:lnTo>
                  <a:lnTo>
                    <a:pt x="1245" y="128"/>
                  </a:lnTo>
                  <a:lnTo>
                    <a:pt x="1245" y="128"/>
                  </a:lnTo>
                  <a:lnTo>
                    <a:pt x="1238" y="128"/>
                  </a:lnTo>
                  <a:lnTo>
                    <a:pt x="1223" y="126"/>
                  </a:lnTo>
                  <a:lnTo>
                    <a:pt x="1212" y="126"/>
                  </a:lnTo>
                  <a:lnTo>
                    <a:pt x="1195" y="126"/>
                  </a:lnTo>
                  <a:lnTo>
                    <a:pt x="1190" y="126"/>
                  </a:lnTo>
                  <a:lnTo>
                    <a:pt x="1181" y="128"/>
                  </a:lnTo>
                  <a:lnTo>
                    <a:pt x="1179" y="128"/>
                  </a:lnTo>
                  <a:lnTo>
                    <a:pt x="1176" y="128"/>
                  </a:lnTo>
                  <a:lnTo>
                    <a:pt x="1176" y="130"/>
                  </a:lnTo>
                  <a:lnTo>
                    <a:pt x="1181" y="130"/>
                  </a:lnTo>
                  <a:lnTo>
                    <a:pt x="1181" y="130"/>
                  </a:lnTo>
                  <a:lnTo>
                    <a:pt x="1183" y="130"/>
                  </a:lnTo>
                  <a:lnTo>
                    <a:pt x="1183" y="130"/>
                  </a:lnTo>
                  <a:lnTo>
                    <a:pt x="1183" y="130"/>
                  </a:lnTo>
                  <a:lnTo>
                    <a:pt x="1181" y="133"/>
                  </a:lnTo>
                  <a:lnTo>
                    <a:pt x="1181" y="133"/>
                  </a:lnTo>
                  <a:lnTo>
                    <a:pt x="1183" y="135"/>
                  </a:lnTo>
                  <a:lnTo>
                    <a:pt x="1183" y="135"/>
                  </a:lnTo>
                  <a:lnTo>
                    <a:pt x="1183" y="137"/>
                  </a:lnTo>
                  <a:lnTo>
                    <a:pt x="1183" y="140"/>
                  </a:lnTo>
                  <a:lnTo>
                    <a:pt x="1183" y="140"/>
                  </a:lnTo>
                  <a:lnTo>
                    <a:pt x="1186" y="142"/>
                  </a:lnTo>
                  <a:lnTo>
                    <a:pt x="1188" y="142"/>
                  </a:lnTo>
                  <a:lnTo>
                    <a:pt x="1193" y="142"/>
                  </a:lnTo>
                  <a:lnTo>
                    <a:pt x="1193" y="142"/>
                  </a:lnTo>
                  <a:lnTo>
                    <a:pt x="1193" y="142"/>
                  </a:lnTo>
                  <a:lnTo>
                    <a:pt x="1188" y="142"/>
                  </a:lnTo>
                  <a:lnTo>
                    <a:pt x="1186" y="142"/>
                  </a:lnTo>
                  <a:lnTo>
                    <a:pt x="1183" y="140"/>
                  </a:lnTo>
                  <a:lnTo>
                    <a:pt x="1183" y="140"/>
                  </a:lnTo>
                  <a:lnTo>
                    <a:pt x="1183" y="140"/>
                  </a:lnTo>
                  <a:lnTo>
                    <a:pt x="1183" y="137"/>
                  </a:lnTo>
                  <a:lnTo>
                    <a:pt x="1183" y="135"/>
                  </a:lnTo>
                  <a:lnTo>
                    <a:pt x="1181" y="135"/>
                  </a:lnTo>
                  <a:lnTo>
                    <a:pt x="1179" y="130"/>
                  </a:lnTo>
                  <a:lnTo>
                    <a:pt x="1174" y="130"/>
                  </a:lnTo>
                  <a:lnTo>
                    <a:pt x="1172" y="128"/>
                  </a:lnTo>
                  <a:lnTo>
                    <a:pt x="1172" y="128"/>
                  </a:lnTo>
                  <a:lnTo>
                    <a:pt x="1172" y="126"/>
                  </a:lnTo>
                  <a:lnTo>
                    <a:pt x="1169" y="126"/>
                  </a:lnTo>
                  <a:lnTo>
                    <a:pt x="1165" y="123"/>
                  </a:lnTo>
                  <a:lnTo>
                    <a:pt x="1162" y="121"/>
                  </a:lnTo>
                  <a:lnTo>
                    <a:pt x="1160" y="121"/>
                  </a:lnTo>
                  <a:lnTo>
                    <a:pt x="1160" y="121"/>
                  </a:lnTo>
                  <a:lnTo>
                    <a:pt x="1162" y="123"/>
                  </a:lnTo>
                  <a:lnTo>
                    <a:pt x="1162" y="123"/>
                  </a:lnTo>
                  <a:lnTo>
                    <a:pt x="1162" y="123"/>
                  </a:lnTo>
                  <a:lnTo>
                    <a:pt x="1157" y="126"/>
                  </a:lnTo>
                  <a:lnTo>
                    <a:pt x="1155" y="126"/>
                  </a:lnTo>
                  <a:lnTo>
                    <a:pt x="1150" y="123"/>
                  </a:lnTo>
                  <a:lnTo>
                    <a:pt x="1143" y="123"/>
                  </a:lnTo>
                  <a:lnTo>
                    <a:pt x="1141" y="121"/>
                  </a:lnTo>
                  <a:lnTo>
                    <a:pt x="1139" y="121"/>
                  </a:lnTo>
                  <a:lnTo>
                    <a:pt x="1141" y="121"/>
                  </a:lnTo>
                  <a:lnTo>
                    <a:pt x="1141" y="119"/>
                  </a:lnTo>
                  <a:lnTo>
                    <a:pt x="1139" y="119"/>
                  </a:lnTo>
                  <a:lnTo>
                    <a:pt x="1136" y="119"/>
                  </a:lnTo>
                  <a:lnTo>
                    <a:pt x="1136" y="121"/>
                  </a:lnTo>
                  <a:lnTo>
                    <a:pt x="1134" y="121"/>
                  </a:lnTo>
                  <a:lnTo>
                    <a:pt x="1125" y="121"/>
                  </a:lnTo>
                  <a:lnTo>
                    <a:pt x="1125" y="121"/>
                  </a:lnTo>
                  <a:lnTo>
                    <a:pt x="1122" y="121"/>
                  </a:lnTo>
                  <a:lnTo>
                    <a:pt x="1122" y="121"/>
                  </a:lnTo>
                  <a:lnTo>
                    <a:pt x="1122" y="123"/>
                  </a:lnTo>
                  <a:lnTo>
                    <a:pt x="1122" y="123"/>
                  </a:lnTo>
                  <a:lnTo>
                    <a:pt x="1125" y="126"/>
                  </a:lnTo>
                  <a:lnTo>
                    <a:pt x="1129" y="126"/>
                  </a:lnTo>
                  <a:lnTo>
                    <a:pt x="1132" y="126"/>
                  </a:lnTo>
                  <a:lnTo>
                    <a:pt x="1136" y="123"/>
                  </a:lnTo>
                  <a:lnTo>
                    <a:pt x="1136" y="123"/>
                  </a:lnTo>
                  <a:lnTo>
                    <a:pt x="1139" y="126"/>
                  </a:lnTo>
                  <a:lnTo>
                    <a:pt x="1139" y="126"/>
                  </a:lnTo>
                  <a:lnTo>
                    <a:pt x="1134" y="126"/>
                  </a:lnTo>
                  <a:lnTo>
                    <a:pt x="1129" y="128"/>
                  </a:lnTo>
                  <a:lnTo>
                    <a:pt x="1127" y="130"/>
                  </a:lnTo>
                  <a:lnTo>
                    <a:pt x="1122" y="128"/>
                  </a:lnTo>
                  <a:lnTo>
                    <a:pt x="1122" y="130"/>
                  </a:lnTo>
                  <a:lnTo>
                    <a:pt x="1122" y="130"/>
                  </a:lnTo>
                  <a:lnTo>
                    <a:pt x="1115" y="130"/>
                  </a:lnTo>
                  <a:lnTo>
                    <a:pt x="1113" y="133"/>
                  </a:lnTo>
                  <a:lnTo>
                    <a:pt x="1113" y="133"/>
                  </a:lnTo>
                  <a:lnTo>
                    <a:pt x="1110" y="133"/>
                  </a:lnTo>
                  <a:lnTo>
                    <a:pt x="1110" y="133"/>
                  </a:lnTo>
                  <a:lnTo>
                    <a:pt x="1108" y="135"/>
                  </a:lnTo>
                  <a:lnTo>
                    <a:pt x="1103" y="135"/>
                  </a:lnTo>
                  <a:lnTo>
                    <a:pt x="1099" y="133"/>
                  </a:lnTo>
                  <a:lnTo>
                    <a:pt x="1092" y="135"/>
                  </a:lnTo>
                  <a:lnTo>
                    <a:pt x="1089" y="135"/>
                  </a:lnTo>
                  <a:lnTo>
                    <a:pt x="1089" y="135"/>
                  </a:lnTo>
                  <a:lnTo>
                    <a:pt x="1089" y="137"/>
                  </a:lnTo>
                  <a:lnTo>
                    <a:pt x="1089" y="137"/>
                  </a:lnTo>
                  <a:lnTo>
                    <a:pt x="1087" y="140"/>
                  </a:lnTo>
                  <a:lnTo>
                    <a:pt x="1084" y="140"/>
                  </a:lnTo>
                  <a:lnTo>
                    <a:pt x="1080" y="140"/>
                  </a:lnTo>
                  <a:lnTo>
                    <a:pt x="1082" y="140"/>
                  </a:lnTo>
                  <a:lnTo>
                    <a:pt x="1084" y="137"/>
                  </a:lnTo>
                  <a:lnTo>
                    <a:pt x="1084" y="133"/>
                  </a:lnTo>
                  <a:lnTo>
                    <a:pt x="1092" y="130"/>
                  </a:lnTo>
                  <a:lnTo>
                    <a:pt x="1092" y="130"/>
                  </a:lnTo>
                  <a:lnTo>
                    <a:pt x="1094" y="128"/>
                  </a:lnTo>
                  <a:lnTo>
                    <a:pt x="1094" y="126"/>
                  </a:lnTo>
                  <a:lnTo>
                    <a:pt x="1101" y="126"/>
                  </a:lnTo>
                  <a:lnTo>
                    <a:pt x="1106" y="126"/>
                  </a:lnTo>
                  <a:lnTo>
                    <a:pt x="1110" y="119"/>
                  </a:lnTo>
                  <a:lnTo>
                    <a:pt x="1115" y="119"/>
                  </a:lnTo>
                  <a:lnTo>
                    <a:pt x="1117" y="116"/>
                  </a:lnTo>
                  <a:lnTo>
                    <a:pt x="1117" y="116"/>
                  </a:lnTo>
                  <a:lnTo>
                    <a:pt x="1117" y="116"/>
                  </a:lnTo>
                  <a:lnTo>
                    <a:pt x="1115" y="116"/>
                  </a:lnTo>
                  <a:lnTo>
                    <a:pt x="1115" y="114"/>
                  </a:lnTo>
                  <a:lnTo>
                    <a:pt x="1117" y="114"/>
                  </a:lnTo>
                  <a:lnTo>
                    <a:pt x="1120" y="111"/>
                  </a:lnTo>
                  <a:lnTo>
                    <a:pt x="1125" y="111"/>
                  </a:lnTo>
                  <a:lnTo>
                    <a:pt x="1127" y="109"/>
                  </a:lnTo>
                  <a:lnTo>
                    <a:pt x="1132" y="107"/>
                  </a:lnTo>
                  <a:lnTo>
                    <a:pt x="1134" y="107"/>
                  </a:lnTo>
                  <a:lnTo>
                    <a:pt x="1141" y="104"/>
                  </a:lnTo>
                  <a:lnTo>
                    <a:pt x="1143" y="100"/>
                  </a:lnTo>
                  <a:lnTo>
                    <a:pt x="1143" y="95"/>
                  </a:lnTo>
                  <a:lnTo>
                    <a:pt x="1139" y="95"/>
                  </a:lnTo>
                  <a:lnTo>
                    <a:pt x="1136" y="95"/>
                  </a:lnTo>
                  <a:lnTo>
                    <a:pt x="1134" y="92"/>
                  </a:lnTo>
                  <a:lnTo>
                    <a:pt x="1132" y="92"/>
                  </a:lnTo>
                  <a:lnTo>
                    <a:pt x="1132" y="95"/>
                  </a:lnTo>
                  <a:lnTo>
                    <a:pt x="1125" y="90"/>
                  </a:lnTo>
                  <a:lnTo>
                    <a:pt x="1120" y="90"/>
                  </a:lnTo>
                  <a:lnTo>
                    <a:pt x="1120" y="90"/>
                  </a:lnTo>
                  <a:lnTo>
                    <a:pt x="1120" y="90"/>
                  </a:lnTo>
                  <a:lnTo>
                    <a:pt x="1122" y="90"/>
                  </a:lnTo>
                  <a:lnTo>
                    <a:pt x="1129" y="92"/>
                  </a:lnTo>
                  <a:lnTo>
                    <a:pt x="1134" y="92"/>
                  </a:lnTo>
                  <a:lnTo>
                    <a:pt x="1136" y="92"/>
                  </a:lnTo>
                  <a:lnTo>
                    <a:pt x="1136" y="92"/>
                  </a:lnTo>
                  <a:lnTo>
                    <a:pt x="1136" y="95"/>
                  </a:lnTo>
                  <a:lnTo>
                    <a:pt x="1139" y="95"/>
                  </a:lnTo>
                  <a:lnTo>
                    <a:pt x="1139" y="92"/>
                  </a:lnTo>
                  <a:lnTo>
                    <a:pt x="1139" y="92"/>
                  </a:lnTo>
                  <a:lnTo>
                    <a:pt x="1136" y="90"/>
                  </a:lnTo>
                  <a:lnTo>
                    <a:pt x="1134" y="88"/>
                  </a:lnTo>
                  <a:lnTo>
                    <a:pt x="1132" y="88"/>
                  </a:lnTo>
                  <a:lnTo>
                    <a:pt x="1127" y="85"/>
                  </a:lnTo>
                  <a:lnTo>
                    <a:pt x="1125" y="83"/>
                  </a:lnTo>
                  <a:lnTo>
                    <a:pt x="1122" y="83"/>
                  </a:lnTo>
                  <a:lnTo>
                    <a:pt x="1120" y="83"/>
                  </a:lnTo>
                  <a:lnTo>
                    <a:pt x="1117" y="83"/>
                  </a:lnTo>
                  <a:lnTo>
                    <a:pt x="1120" y="83"/>
                  </a:lnTo>
                  <a:lnTo>
                    <a:pt x="1122" y="83"/>
                  </a:lnTo>
                  <a:lnTo>
                    <a:pt x="1122" y="85"/>
                  </a:lnTo>
                  <a:lnTo>
                    <a:pt x="1122" y="85"/>
                  </a:lnTo>
                  <a:lnTo>
                    <a:pt x="1120" y="85"/>
                  </a:lnTo>
                  <a:lnTo>
                    <a:pt x="1117" y="85"/>
                  </a:lnTo>
                  <a:lnTo>
                    <a:pt x="1117" y="85"/>
                  </a:lnTo>
                  <a:lnTo>
                    <a:pt x="1117" y="85"/>
                  </a:lnTo>
                  <a:lnTo>
                    <a:pt x="1115" y="83"/>
                  </a:lnTo>
                  <a:lnTo>
                    <a:pt x="1115" y="83"/>
                  </a:lnTo>
                  <a:lnTo>
                    <a:pt x="1110" y="81"/>
                  </a:lnTo>
                  <a:lnTo>
                    <a:pt x="1108" y="81"/>
                  </a:lnTo>
                  <a:lnTo>
                    <a:pt x="1106" y="81"/>
                  </a:lnTo>
                  <a:lnTo>
                    <a:pt x="1103" y="81"/>
                  </a:lnTo>
                  <a:lnTo>
                    <a:pt x="1103" y="81"/>
                  </a:lnTo>
                  <a:lnTo>
                    <a:pt x="1103" y="81"/>
                  </a:lnTo>
                  <a:lnTo>
                    <a:pt x="1103" y="78"/>
                  </a:lnTo>
                  <a:lnTo>
                    <a:pt x="1099" y="78"/>
                  </a:lnTo>
                  <a:lnTo>
                    <a:pt x="1096" y="78"/>
                  </a:lnTo>
                  <a:lnTo>
                    <a:pt x="1094" y="76"/>
                  </a:lnTo>
                  <a:lnTo>
                    <a:pt x="1089" y="76"/>
                  </a:lnTo>
                  <a:lnTo>
                    <a:pt x="1087" y="76"/>
                  </a:lnTo>
                  <a:lnTo>
                    <a:pt x="1077" y="76"/>
                  </a:lnTo>
                  <a:lnTo>
                    <a:pt x="1073" y="76"/>
                  </a:lnTo>
                  <a:lnTo>
                    <a:pt x="1063" y="76"/>
                  </a:lnTo>
                  <a:lnTo>
                    <a:pt x="1056" y="76"/>
                  </a:lnTo>
                  <a:lnTo>
                    <a:pt x="1051" y="76"/>
                  </a:lnTo>
                  <a:lnTo>
                    <a:pt x="1049" y="76"/>
                  </a:lnTo>
                  <a:lnTo>
                    <a:pt x="1049" y="76"/>
                  </a:lnTo>
                  <a:lnTo>
                    <a:pt x="1049" y="76"/>
                  </a:lnTo>
                  <a:lnTo>
                    <a:pt x="1049" y="78"/>
                  </a:lnTo>
                  <a:lnTo>
                    <a:pt x="1049" y="78"/>
                  </a:lnTo>
                  <a:lnTo>
                    <a:pt x="1047" y="78"/>
                  </a:lnTo>
                  <a:lnTo>
                    <a:pt x="1042" y="78"/>
                  </a:lnTo>
                  <a:lnTo>
                    <a:pt x="1037" y="78"/>
                  </a:lnTo>
                  <a:lnTo>
                    <a:pt x="1035" y="78"/>
                  </a:lnTo>
                  <a:lnTo>
                    <a:pt x="1033" y="78"/>
                  </a:lnTo>
                  <a:lnTo>
                    <a:pt x="1030" y="78"/>
                  </a:lnTo>
                  <a:lnTo>
                    <a:pt x="1033" y="78"/>
                  </a:lnTo>
                  <a:lnTo>
                    <a:pt x="1035" y="78"/>
                  </a:lnTo>
                  <a:lnTo>
                    <a:pt x="1035" y="76"/>
                  </a:lnTo>
                  <a:lnTo>
                    <a:pt x="1037" y="74"/>
                  </a:lnTo>
                  <a:lnTo>
                    <a:pt x="1037" y="71"/>
                  </a:lnTo>
                  <a:lnTo>
                    <a:pt x="1035" y="71"/>
                  </a:lnTo>
                  <a:lnTo>
                    <a:pt x="1030" y="71"/>
                  </a:lnTo>
                  <a:lnTo>
                    <a:pt x="1028" y="71"/>
                  </a:lnTo>
                  <a:lnTo>
                    <a:pt x="1028" y="71"/>
                  </a:lnTo>
                  <a:lnTo>
                    <a:pt x="1021" y="71"/>
                  </a:lnTo>
                  <a:lnTo>
                    <a:pt x="1018" y="71"/>
                  </a:lnTo>
                  <a:lnTo>
                    <a:pt x="1016" y="71"/>
                  </a:lnTo>
                  <a:lnTo>
                    <a:pt x="1014" y="71"/>
                  </a:lnTo>
                  <a:lnTo>
                    <a:pt x="1011" y="69"/>
                  </a:lnTo>
                  <a:lnTo>
                    <a:pt x="1009" y="69"/>
                  </a:lnTo>
                  <a:lnTo>
                    <a:pt x="995" y="69"/>
                  </a:lnTo>
                  <a:lnTo>
                    <a:pt x="995" y="69"/>
                  </a:lnTo>
                  <a:lnTo>
                    <a:pt x="1002" y="69"/>
                  </a:lnTo>
                  <a:lnTo>
                    <a:pt x="1007" y="66"/>
                  </a:lnTo>
                  <a:lnTo>
                    <a:pt x="1009" y="66"/>
                  </a:lnTo>
                  <a:lnTo>
                    <a:pt x="1011" y="64"/>
                  </a:lnTo>
                  <a:lnTo>
                    <a:pt x="1009" y="64"/>
                  </a:lnTo>
                  <a:lnTo>
                    <a:pt x="1009" y="64"/>
                  </a:lnTo>
                  <a:lnTo>
                    <a:pt x="1004" y="62"/>
                  </a:lnTo>
                  <a:lnTo>
                    <a:pt x="1000" y="62"/>
                  </a:lnTo>
                  <a:lnTo>
                    <a:pt x="995" y="62"/>
                  </a:lnTo>
                  <a:lnTo>
                    <a:pt x="993" y="62"/>
                  </a:lnTo>
                  <a:lnTo>
                    <a:pt x="983" y="59"/>
                  </a:lnTo>
                  <a:lnTo>
                    <a:pt x="981" y="59"/>
                  </a:lnTo>
                  <a:lnTo>
                    <a:pt x="978" y="62"/>
                  </a:lnTo>
                  <a:lnTo>
                    <a:pt x="974" y="62"/>
                  </a:lnTo>
                  <a:lnTo>
                    <a:pt x="971" y="62"/>
                  </a:lnTo>
                  <a:lnTo>
                    <a:pt x="969" y="62"/>
                  </a:lnTo>
                  <a:lnTo>
                    <a:pt x="960" y="69"/>
                  </a:lnTo>
                  <a:lnTo>
                    <a:pt x="960" y="69"/>
                  </a:lnTo>
                  <a:lnTo>
                    <a:pt x="960" y="71"/>
                  </a:lnTo>
                  <a:lnTo>
                    <a:pt x="957" y="71"/>
                  </a:lnTo>
                  <a:lnTo>
                    <a:pt x="957" y="74"/>
                  </a:lnTo>
                  <a:lnTo>
                    <a:pt x="960" y="74"/>
                  </a:lnTo>
                  <a:lnTo>
                    <a:pt x="962" y="74"/>
                  </a:lnTo>
                  <a:lnTo>
                    <a:pt x="964" y="76"/>
                  </a:lnTo>
                  <a:lnTo>
                    <a:pt x="964" y="76"/>
                  </a:lnTo>
                  <a:lnTo>
                    <a:pt x="964" y="78"/>
                  </a:lnTo>
                  <a:lnTo>
                    <a:pt x="967" y="78"/>
                  </a:lnTo>
                  <a:lnTo>
                    <a:pt x="969" y="78"/>
                  </a:lnTo>
                  <a:lnTo>
                    <a:pt x="976" y="78"/>
                  </a:lnTo>
                  <a:lnTo>
                    <a:pt x="974" y="81"/>
                  </a:lnTo>
                  <a:lnTo>
                    <a:pt x="971" y="78"/>
                  </a:lnTo>
                  <a:lnTo>
                    <a:pt x="967" y="78"/>
                  </a:lnTo>
                  <a:lnTo>
                    <a:pt x="964" y="78"/>
                  </a:lnTo>
                  <a:lnTo>
                    <a:pt x="960" y="78"/>
                  </a:lnTo>
                  <a:lnTo>
                    <a:pt x="952" y="78"/>
                  </a:lnTo>
                  <a:lnTo>
                    <a:pt x="950" y="78"/>
                  </a:lnTo>
                  <a:lnTo>
                    <a:pt x="941" y="78"/>
                  </a:lnTo>
                  <a:lnTo>
                    <a:pt x="941" y="78"/>
                  </a:lnTo>
                  <a:lnTo>
                    <a:pt x="943" y="81"/>
                  </a:lnTo>
                  <a:lnTo>
                    <a:pt x="945" y="81"/>
                  </a:lnTo>
                  <a:lnTo>
                    <a:pt x="952" y="83"/>
                  </a:lnTo>
                  <a:lnTo>
                    <a:pt x="955" y="83"/>
                  </a:lnTo>
                  <a:lnTo>
                    <a:pt x="957" y="85"/>
                  </a:lnTo>
                  <a:lnTo>
                    <a:pt x="962" y="88"/>
                  </a:lnTo>
                  <a:lnTo>
                    <a:pt x="962" y="90"/>
                  </a:lnTo>
                  <a:lnTo>
                    <a:pt x="962" y="90"/>
                  </a:lnTo>
                  <a:lnTo>
                    <a:pt x="960" y="90"/>
                  </a:lnTo>
                  <a:lnTo>
                    <a:pt x="960" y="90"/>
                  </a:lnTo>
                  <a:lnTo>
                    <a:pt x="960" y="90"/>
                  </a:lnTo>
                  <a:lnTo>
                    <a:pt x="960" y="88"/>
                  </a:lnTo>
                  <a:lnTo>
                    <a:pt x="960" y="85"/>
                  </a:lnTo>
                  <a:lnTo>
                    <a:pt x="957" y="85"/>
                  </a:lnTo>
                  <a:lnTo>
                    <a:pt x="957" y="85"/>
                  </a:lnTo>
                  <a:lnTo>
                    <a:pt x="955" y="85"/>
                  </a:lnTo>
                  <a:lnTo>
                    <a:pt x="950" y="83"/>
                  </a:lnTo>
                  <a:lnTo>
                    <a:pt x="948" y="83"/>
                  </a:lnTo>
                  <a:lnTo>
                    <a:pt x="943" y="83"/>
                  </a:lnTo>
                  <a:lnTo>
                    <a:pt x="943" y="83"/>
                  </a:lnTo>
                  <a:lnTo>
                    <a:pt x="938" y="83"/>
                  </a:lnTo>
                  <a:lnTo>
                    <a:pt x="938" y="85"/>
                  </a:lnTo>
                  <a:lnTo>
                    <a:pt x="936" y="85"/>
                  </a:lnTo>
                  <a:lnTo>
                    <a:pt x="936" y="85"/>
                  </a:lnTo>
                  <a:lnTo>
                    <a:pt x="934" y="85"/>
                  </a:lnTo>
                  <a:lnTo>
                    <a:pt x="934" y="85"/>
                  </a:lnTo>
                  <a:lnTo>
                    <a:pt x="931" y="88"/>
                  </a:lnTo>
                  <a:lnTo>
                    <a:pt x="929" y="85"/>
                  </a:lnTo>
                  <a:lnTo>
                    <a:pt x="929" y="88"/>
                  </a:lnTo>
                  <a:lnTo>
                    <a:pt x="924" y="88"/>
                  </a:lnTo>
                  <a:lnTo>
                    <a:pt x="922" y="88"/>
                  </a:lnTo>
                  <a:lnTo>
                    <a:pt x="922" y="88"/>
                  </a:lnTo>
                  <a:lnTo>
                    <a:pt x="922" y="88"/>
                  </a:lnTo>
                  <a:lnTo>
                    <a:pt x="919" y="88"/>
                  </a:lnTo>
                  <a:lnTo>
                    <a:pt x="915" y="88"/>
                  </a:lnTo>
                  <a:lnTo>
                    <a:pt x="912" y="90"/>
                  </a:lnTo>
                  <a:lnTo>
                    <a:pt x="910" y="88"/>
                  </a:lnTo>
                  <a:lnTo>
                    <a:pt x="912" y="88"/>
                  </a:lnTo>
                  <a:lnTo>
                    <a:pt x="912" y="85"/>
                  </a:lnTo>
                  <a:lnTo>
                    <a:pt x="910" y="85"/>
                  </a:lnTo>
                  <a:lnTo>
                    <a:pt x="905" y="85"/>
                  </a:lnTo>
                  <a:lnTo>
                    <a:pt x="903" y="85"/>
                  </a:lnTo>
                  <a:lnTo>
                    <a:pt x="901" y="85"/>
                  </a:lnTo>
                  <a:lnTo>
                    <a:pt x="894" y="85"/>
                  </a:lnTo>
                  <a:lnTo>
                    <a:pt x="894" y="85"/>
                  </a:lnTo>
                  <a:lnTo>
                    <a:pt x="891" y="85"/>
                  </a:lnTo>
                  <a:lnTo>
                    <a:pt x="889" y="85"/>
                  </a:lnTo>
                  <a:lnTo>
                    <a:pt x="884" y="85"/>
                  </a:lnTo>
                  <a:lnTo>
                    <a:pt x="884" y="85"/>
                  </a:lnTo>
                  <a:lnTo>
                    <a:pt x="879" y="85"/>
                  </a:lnTo>
                  <a:lnTo>
                    <a:pt x="877" y="85"/>
                  </a:lnTo>
                  <a:lnTo>
                    <a:pt x="877" y="88"/>
                  </a:lnTo>
                  <a:lnTo>
                    <a:pt x="875" y="85"/>
                  </a:lnTo>
                  <a:lnTo>
                    <a:pt x="875" y="88"/>
                  </a:lnTo>
                  <a:lnTo>
                    <a:pt x="877" y="88"/>
                  </a:lnTo>
                  <a:lnTo>
                    <a:pt x="877" y="88"/>
                  </a:lnTo>
                  <a:lnTo>
                    <a:pt x="879" y="88"/>
                  </a:lnTo>
                  <a:lnTo>
                    <a:pt x="879" y="88"/>
                  </a:lnTo>
                  <a:lnTo>
                    <a:pt x="879" y="88"/>
                  </a:lnTo>
                  <a:lnTo>
                    <a:pt x="882" y="88"/>
                  </a:lnTo>
                  <a:lnTo>
                    <a:pt x="884" y="88"/>
                  </a:lnTo>
                  <a:lnTo>
                    <a:pt x="884" y="88"/>
                  </a:lnTo>
                  <a:lnTo>
                    <a:pt x="886" y="88"/>
                  </a:lnTo>
                  <a:lnTo>
                    <a:pt x="891" y="88"/>
                  </a:lnTo>
                  <a:lnTo>
                    <a:pt x="891" y="88"/>
                  </a:lnTo>
                  <a:lnTo>
                    <a:pt x="886" y="90"/>
                  </a:lnTo>
                  <a:lnTo>
                    <a:pt x="875" y="90"/>
                  </a:lnTo>
                  <a:lnTo>
                    <a:pt x="872" y="90"/>
                  </a:lnTo>
                  <a:lnTo>
                    <a:pt x="865" y="92"/>
                  </a:lnTo>
                  <a:lnTo>
                    <a:pt x="863" y="92"/>
                  </a:lnTo>
                  <a:lnTo>
                    <a:pt x="858" y="92"/>
                  </a:lnTo>
                  <a:lnTo>
                    <a:pt x="849" y="95"/>
                  </a:lnTo>
                  <a:lnTo>
                    <a:pt x="842" y="95"/>
                  </a:lnTo>
                  <a:lnTo>
                    <a:pt x="839" y="95"/>
                  </a:lnTo>
                  <a:lnTo>
                    <a:pt x="832" y="97"/>
                  </a:lnTo>
                  <a:lnTo>
                    <a:pt x="832" y="100"/>
                  </a:lnTo>
                  <a:lnTo>
                    <a:pt x="823" y="102"/>
                  </a:lnTo>
                  <a:lnTo>
                    <a:pt x="816" y="100"/>
                  </a:lnTo>
                  <a:lnTo>
                    <a:pt x="813" y="100"/>
                  </a:lnTo>
                  <a:lnTo>
                    <a:pt x="813" y="102"/>
                  </a:lnTo>
                  <a:lnTo>
                    <a:pt x="816" y="102"/>
                  </a:lnTo>
                  <a:lnTo>
                    <a:pt x="818" y="102"/>
                  </a:lnTo>
                  <a:lnTo>
                    <a:pt x="820" y="102"/>
                  </a:lnTo>
                  <a:lnTo>
                    <a:pt x="823" y="104"/>
                  </a:lnTo>
                  <a:lnTo>
                    <a:pt x="823" y="104"/>
                  </a:lnTo>
                  <a:lnTo>
                    <a:pt x="820" y="107"/>
                  </a:lnTo>
                  <a:lnTo>
                    <a:pt x="818" y="109"/>
                  </a:lnTo>
                  <a:lnTo>
                    <a:pt x="816" y="109"/>
                  </a:lnTo>
                  <a:lnTo>
                    <a:pt x="809" y="107"/>
                  </a:lnTo>
                  <a:lnTo>
                    <a:pt x="809" y="107"/>
                  </a:lnTo>
                  <a:lnTo>
                    <a:pt x="809" y="109"/>
                  </a:lnTo>
                  <a:lnTo>
                    <a:pt x="806" y="107"/>
                  </a:lnTo>
                  <a:lnTo>
                    <a:pt x="806" y="109"/>
                  </a:lnTo>
                  <a:lnTo>
                    <a:pt x="811" y="109"/>
                  </a:lnTo>
                  <a:lnTo>
                    <a:pt x="816" y="111"/>
                  </a:lnTo>
                  <a:lnTo>
                    <a:pt x="820" y="111"/>
                  </a:lnTo>
                  <a:lnTo>
                    <a:pt x="823" y="111"/>
                  </a:lnTo>
                  <a:lnTo>
                    <a:pt x="825" y="114"/>
                  </a:lnTo>
                  <a:lnTo>
                    <a:pt x="828" y="114"/>
                  </a:lnTo>
                  <a:lnTo>
                    <a:pt x="825" y="114"/>
                  </a:lnTo>
                  <a:lnTo>
                    <a:pt x="820" y="114"/>
                  </a:lnTo>
                  <a:lnTo>
                    <a:pt x="818" y="114"/>
                  </a:lnTo>
                  <a:lnTo>
                    <a:pt x="816" y="111"/>
                  </a:lnTo>
                  <a:lnTo>
                    <a:pt x="813" y="114"/>
                  </a:lnTo>
                  <a:lnTo>
                    <a:pt x="813" y="114"/>
                  </a:lnTo>
                  <a:lnTo>
                    <a:pt x="816" y="116"/>
                  </a:lnTo>
                  <a:lnTo>
                    <a:pt x="820" y="116"/>
                  </a:lnTo>
                  <a:lnTo>
                    <a:pt x="823" y="116"/>
                  </a:lnTo>
                  <a:lnTo>
                    <a:pt x="835" y="123"/>
                  </a:lnTo>
                  <a:lnTo>
                    <a:pt x="837" y="123"/>
                  </a:lnTo>
                  <a:lnTo>
                    <a:pt x="839" y="123"/>
                  </a:lnTo>
                  <a:lnTo>
                    <a:pt x="839" y="123"/>
                  </a:lnTo>
                  <a:lnTo>
                    <a:pt x="839" y="123"/>
                  </a:lnTo>
                  <a:lnTo>
                    <a:pt x="837" y="126"/>
                  </a:lnTo>
                  <a:lnTo>
                    <a:pt x="837" y="126"/>
                  </a:lnTo>
                  <a:lnTo>
                    <a:pt x="828" y="128"/>
                  </a:lnTo>
                  <a:lnTo>
                    <a:pt x="825" y="128"/>
                  </a:lnTo>
                  <a:lnTo>
                    <a:pt x="825" y="128"/>
                  </a:lnTo>
                  <a:lnTo>
                    <a:pt x="825" y="128"/>
                  </a:lnTo>
                  <a:lnTo>
                    <a:pt x="823" y="130"/>
                  </a:lnTo>
                  <a:lnTo>
                    <a:pt x="825" y="130"/>
                  </a:lnTo>
                  <a:lnTo>
                    <a:pt x="825" y="130"/>
                  </a:lnTo>
                  <a:lnTo>
                    <a:pt x="828" y="133"/>
                  </a:lnTo>
                  <a:lnTo>
                    <a:pt x="837" y="135"/>
                  </a:lnTo>
                  <a:lnTo>
                    <a:pt x="837" y="135"/>
                  </a:lnTo>
                  <a:lnTo>
                    <a:pt x="835" y="135"/>
                  </a:lnTo>
                  <a:lnTo>
                    <a:pt x="832" y="133"/>
                  </a:lnTo>
                  <a:lnTo>
                    <a:pt x="828" y="133"/>
                  </a:lnTo>
                  <a:lnTo>
                    <a:pt x="823" y="130"/>
                  </a:lnTo>
                  <a:lnTo>
                    <a:pt x="823" y="130"/>
                  </a:lnTo>
                  <a:lnTo>
                    <a:pt x="823" y="130"/>
                  </a:lnTo>
                  <a:lnTo>
                    <a:pt x="823" y="128"/>
                  </a:lnTo>
                  <a:lnTo>
                    <a:pt x="823" y="128"/>
                  </a:lnTo>
                  <a:lnTo>
                    <a:pt x="825" y="128"/>
                  </a:lnTo>
                  <a:lnTo>
                    <a:pt x="828" y="126"/>
                  </a:lnTo>
                  <a:lnTo>
                    <a:pt x="830" y="126"/>
                  </a:lnTo>
                  <a:lnTo>
                    <a:pt x="832" y="123"/>
                  </a:lnTo>
                  <a:lnTo>
                    <a:pt x="832" y="123"/>
                  </a:lnTo>
                  <a:lnTo>
                    <a:pt x="830" y="121"/>
                  </a:lnTo>
                  <a:lnTo>
                    <a:pt x="828" y="121"/>
                  </a:lnTo>
                  <a:lnTo>
                    <a:pt x="818" y="123"/>
                  </a:lnTo>
                  <a:lnTo>
                    <a:pt x="816" y="123"/>
                  </a:lnTo>
                  <a:lnTo>
                    <a:pt x="813" y="126"/>
                  </a:lnTo>
                  <a:lnTo>
                    <a:pt x="811" y="126"/>
                  </a:lnTo>
                  <a:lnTo>
                    <a:pt x="809" y="126"/>
                  </a:lnTo>
                  <a:lnTo>
                    <a:pt x="804" y="123"/>
                  </a:lnTo>
                  <a:lnTo>
                    <a:pt x="802" y="126"/>
                  </a:lnTo>
                  <a:lnTo>
                    <a:pt x="792" y="126"/>
                  </a:lnTo>
                  <a:lnTo>
                    <a:pt x="790" y="126"/>
                  </a:lnTo>
                  <a:lnTo>
                    <a:pt x="769" y="126"/>
                  </a:lnTo>
                  <a:lnTo>
                    <a:pt x="764" y="126"/>
                  </a:lnTo>
                  <a:lnTo>
                    <a:pt x="754" y="128"/>
                  </a:lnTo>
                  <a:lnTo>
                    <a:pt x="754" y="128"/>
                  </a:lnTo>
                  <a:lnTo>
                    <a:pt x="754" y="128"/>
                  </a:lnTo>
                  <a:lnTo>
                    <a:pt x="754" y="130"/>
                  </a:lnTo>
                  <a:lnTo>
                    <a:pt x="754" y="130"/>
                  </a:lnTo>
                  <a:lnTo>
                    <a:pt x="754" y="133"/>
                  </a:lnTo>
                  <a:lnTo>
                    <a:pt x="757" y="133"/>
                  </a:lnTo>
                  <a:lnTo>
                    <a:pt x="757" y="135"/>
                  </a:lnTo>
                  <a:lnTo>
                    <a:pt x="759" y="135"/>
                  </a:lnTo>
                  <a:lnTo>
                    <a:pt x="762" y="135"/>
                  </a:lnTo>
                  <a:lnTo>
                    <a:pt x="764" y="137"/>
                  </a:lnTo>
                  <a:lnTo>
                    <a:pt x="764" y="137"/>
                  </a:lnTo>
                  <a:lnTo>
                    <a:pt x="764" y="140"/>
                  </a:lnTo>
                  <a:lnTo>
                    <a:pt x="764" y="140"/>
                  </a:lnTo>
                  <a:lnTo>
                    <a:pt x="766" y="142"/>
                  </a:lnTo>
                  <a:lnTo>
                    <a:pt x="766" y="142"/>
                  </a:lnTo>
                  <a:lnTo>
                    <a:pt x="769" y="145"/>
                  </a:lnTo>
                  <a:lnTo>
                    <a:pt x="771" y="145"/>
                  </a:lnTo>
                  <a:lnTo>
                    <a:pt x="776" y="147"/>
                  </a:lnTo>
                  <a:lnTo>
                    <a:pt x="778" y="147"/>
                  </a:lnTo>
                  <a:lnTo>
                    <a:pt x="780" y="147"/>
                  </a:lnTo>
                  <a:lnTo>
                    <a:pt x="785" y="149"/>
                  </a:lnTo>
                  <a:lnTo>
                    <a:pt x="790" y="149"/>
                  </a:lnTo>
                  <a:lnTo>
                    <a:pt x="790" y="149"/>
                  </a:lnTo>
                  <a:lnTo>
                    <a:pt x="792" y="149"/>
                  </a:lnTo>
                  <a:lnTo>
                    <a:pt x="795" y="152"/>
                  </a:lnTo>
                  <a:lnTo>
                    <a:pt x="795" y="152"/>
                  </a:lnTo>
                  <a:lnTo>
                    <a:pt x="799" y="156"/>
                  </a:lnTo>
                  <a:lnTo>
                    <a:pt x="802" y="156"/>
                  </a:lnTo>
                  <a:lnTo>
                    <a:pt x="809" y="156"/>
                  </a:lnTo>
                  <a:lnTo>
                    <a:pt x="811" y="156"/>
                  </a:lnTo>
                  <a:lnTo>
                    <a:pt x="816" y="159"/>
                  </a:lnTo>
                  <a:lnTo>
                    <a:pt x="816" y="161"/>
                  </a:lnTo>
                  <a:lnTo>
                    <a:pt x="816" y="161"/>
                  </a:lnTo>
                  <a:lnTo>
                    <a:pt x="816" y="161"/>
                  </a:lnTo>
                  <a:lnTo>
                    <a:pt x="816" y="163"/>
                  </a:lnTo>
                  <a:lnTo>
                    <a:pt x="816" y="163"/>
                  </a:lnTo>
                  <a:lnTo>
                    <a:pt x="816" y="166"/>
                  </a:lnTo>
                  <a:lnTo>
                    <a:pt x="816" y="171"/>
                  </a:lnTo>
                  <a:lnTo>
                    <a:pt x="820" y="171"/>
                  </a:lnTo>
                  <a:lnTo>
                    <a:pt x="825" y="175"/>
                  </a:lnTo>
                  <a:lnTo>
                    <a:pt x="828" y="178"/>
                  </a:lnTo>
                  <a:lnTo>
                    <a:pt x="830" y="180"/>
                  </a:lnTo>
                  <a:lnTo>
                    <a:pt x="832" y="180"/>
                  </a:lnTo>
                  <a:lnTo>
                    <a:pt x="832" y="182"/>
                  </a:lnTo>
                  <a:lnTo>
                    <a:pt x="830" y="182"/>
                  </a:lnTo>
                  <a:lnTo>
                    <a:pt x="828" y="182"/>
                  </a:lnTo>
                  <a:lnTo>
                    <a:pt x="825" y="185"/>
                  </a:lnTo>
                  <a:lnTo>
                    <a:pt x="825" y="185"/>
                  </a:lnTo>
                  <a:lnTo>
                    <a:pt x="828" y="187"/>
                  </a:lnTo>
                  <a:lnTo>
                    <a:pt x="828" y="187"/>
                  </a:lnTo>
                  <a:lnTo>
                    <a:pt x="828" y="187"/>
                  </a:lnTo>
                  <a:lnTo>
                    <a:pt x="825" y="187"/>
                  </a:lnTo>
                  <a:lnTo>
                    <a:pt x="825" y="187"/>
                  </a:lnTo>
                  <a:lnTo>
                    <a:pt x="823" y="187"/>
                  </a:lnTo>
                  <a:lnTo>
                    <a:pt x="820" y="185"/>
                  </a:lnTo>
                  <a:lnTo>
                    <a:pt x="820" y="185"/>
                  </a:lnTo>
                  <a:lnTo>
                    <a:pt x="820" y="182"/>
                  </a:lnTo>
                  <a:lnTo>
                    <a:pt x="820" y="178"/>
                  </a:lnTo>
                  <a:lnTo>
                    <a:pt x="820" y="178"/>
                  </a:lnTo>
                  <a:lnTo>
                    <a:pt x="818" y="175"/>
                  </a:lnTo>
                  <a:lnTo>
                    <a:pt x="818" y="173"/>
                  </a:lnTo>
                  <a:lnTo>
                    <a:pt x="813" y="173"/>
                  </a:lnTo>
                  <a:lnTo>
                    <a:pt x="813" y="173"/>
                  </a:lnTo>
                  <a:lnTo>
                    <a:pt x="811" y="173"/>
                  </a:lnTo>
                  <a:lnTo>
                    <a:pt x="811" y="178"/>
                  </a:lnTo>
                  <a:lnTo>
                    <a:pt x="811" y="180"/>
                  </a:lnTo>
                  <a:lnTo>
                    <a:pt x="811" y="180"/>
                  </a:lnTo>
                  <a:lnTo>
                    <a:pt x="811" y="180"/>
                  </a:lnTo>
                  <a:lnTo>
                    <a:pt x="813" y="182"/>
                  </a:lnTo>
                  <a:lnTo>
                    <a:pt x="811" y="180"/>
                  </a:lnTo>
                  <a:lnTo>
                    <a:pt x="809" y="178"/>
                  </a:lnTo>
                  <a:lnTo>
                    <a:pt x="809" y="175"/>
                  </a:lnTo>
                  <a:lnTo>
                    <a:pt x="809" y="175"/>
                  </a:lnTo>
                  <a:lnTo>
                    <a:pt x="809" y="173"/>
                  </a:lnTo>
                  <a:lnTo>
                    <a:pt x="806" y="171"/>
                  </a:lnTo>
                  <a:lnTo>
                    <a:pt x="806" y="171"/>
                  </a:lnTo>
                  <a:lnTo>
                    <a:pt x="804" y="171"/>
                  </a:lnTo>
                  <a:lnTo>
                    <a:pt x="804" y="166"/>
                  </a:lnTo>
                  <a:lnTo>
                    <a:pt x="806" y="166"/>
                  </a:lnTo>
                  <a:lnTo>
                    <a:pt x="809" y="163"/>
                  </a:lnTo>
                  <a:lnTo>
                    <a:pt x="811" y="163"/>
                  </a:lnTo>
                  <a:lnTo>
                    <a:pt x="811" y="161"/>
                  </a:lnTo>
                  <a:lnTo>
                    <a:pt x="811" y="161"/>
                  </a:lnTo>
                  <a:lnTo>
                    <a:pt x="811" y="159"/>
                  </a:lnTo>
                  <a:lnTo>
                    <a:pt x="809" y="159"/>
                  </a:lnTo>
                  <a:lnTo>
                    <a:pt x="806" y="159"/>
                  </a:lnTo>
                  <a:lnTo>
                    <a:pt x="804" y="159"/>
                  </a:lnTo>
                  <a:lnTo>
                    <a:pt x="802" y="159"/>
                  </a:lnTo>
                  <a:lnTo>
                    <a:pt x="795" y="159"/>
                  </a:lnTo>
                  <a:lnTo>
                    <a:pt x="790" y="159"/>
                  </a:lnTo>
                  <a:lnTo>
                    <a:pt x="787" y="159"/>
                  </a:lnTo>
                  <a:lnTo>
                    <a:pt x="776" y="154"/>
                  </a:lnTo>
                  <a:lnTo>
                    <a:pt x="776" y="154"/>
                  </a:lnTo>
                  <a:lnTo>
                    <a:pt x="773" y="152"/>
                  </a:lnTo>
                  <a:lnTo>
                    <a:pt x="773" y="152"/>
                  </a:lnTo>
                  <a:lnTo>
                    <a:pt x="769" y="152"/>
                  </a:lnTo>
                  <a:lnTo>
                    <a:pt x="762" y="149"/>
                  </a:lnTo>
                  <a:lnTo>
                    <a:pt x="752" y="147"/>
                  </a:lnTo>
                  <a:lnTo>
                    <a:pt x="740" y="147"/>
                  </a:lnTo>
                  <a:lnTo>
                    <a:pt x="738" y="147"/>
                  </a:lnTo>
                  <a:lnTo>
                    <a:pt x="736" y="149"/>
                  </a:lnTo>
                  <a:lnTo>
                    <a:pt x="733" y="149"/>
                  </a:lnTo>
                  <a:lnTo>
                    <a:pt x="731" y="152"/>
                  </a:lnTo>
                  <a:lnTo>
                    <a:pt x="731" y="152"/>
                  </a:lnTo>
                  <a:lnTo>
                    <a:pt x="731" y="152"/>
                  </a:lnTo>
                  <a:lnTo>
                    <a:pt x="731" y="152"/>
                  </a:lnTo>
                  <a:lnTo>
                    <a:pt x="731" y="152"/>
                  </a:lnTo>
                  <a:lnTo>
                    <a:pt x="736" y="152"/>
                  </a:lnTo>
                  <a:lnTo>
                    <a:pt x="738" y="152"/>
                  </a:lnTo>
                  <a:lnTo>
                    <a:pt x="740" y="154"/>
                  </a:lnTo>
                  <a:lnTo>
                    <a:pt x="743" y="154"/>
                  </a:lnTo>
                  <a:lnTo>
                    <a:pt x="743" y="156"/>
                  </a:lnTo>
                  <a:lnTo>
                    <a:pt x="738" y="156"/>
                  </a:lnTo>
                  <a:lnTo>
                    <a:pt x="736" y="156"/>
                  </a:lnTo>
                  <a:lnTo>
                    <a:pt x="726" y="154"/>
                  </a:lnTo>
                  <a:lnTo>
                    <a:pt x="724" y="154"/>
                  </a:lnTo>
                  <a:lnTo>
                    <a:pt x="719" y="154"/>
                  </a:lnTo>
                  <a:lnTo>
                    <a:pt x="714" y="156"/>
                  </a:lnTo>
                  <a:lnTo>
                    <a:pt x="714" y="156"/>
                  </a:lnTo>
                  <a:lnTo>
                    <a:pt x="717" y="156"/>
                  </a:lnTo>
                  <a:lnTo>
                    <a:pt x="719" y="159"/>
                  </a:lnTo>
                  <a:lnTo>
                    <a:pt x="721" y="161"/>
                  </a:lnTo>
                  <a:lnTo>
                    <a:pt x="724" y="161"/>
                  </a:lnTo>
                  <a:lnTo>
                    <a:pt x="731" y="163"/>
                  </a:lnTo>
                  <a:lnTo>
                    <a:pt x="733" y="163"/>
                  </a:lnTo>
                  <a:lnTo>
                    <a:pt x="740" y="166"/>
                  </a:lnTo>
                  <a:lnTo>
                    <a:pt x="743" y="166"/>
                  </a:lnTo>
                  <a:lnTo>
                    <a:pt x="745" y="166"/>
                  </a:lnTo>
                  <a:lnTo>
                    <a:pt x="750" y="166"/>
                  </a:lnTo>
                  <a:lnTo>
                    <a:pt x="754" y="171"/>
                  </a:lnTo>
                  <a:lnTo>
                    <a:pt x="757" y="171"/>
                  </a:lnTo>
                  <a:lnTo>
                    <a:pt x="757" y="171"/>
                  </a:lnTo>
                  <a:lnTo>
                    <a:pt x="759" y="171"/>
                  </a:lnTo>
                  <a:lnTo>
                    <a:pt x="762" y="171"/>
                  </a:lnTo>
                  <a:lnTo>
                    <a:pt x="762" y="171"/>
                  </a:lnTo>
                  <a:lnTo>
                    <a:pt x="764" y="171"/>
                  </a:lnTo>
                  <a:lnTo>
                    <a:pt x="764" y="173"/>
                  </a:lnTo>
                  <a:lnTo>
                    <a:pt x="764" y="173"/>
                  </a:lnTo>
                  <a:lnTo>
                    <a:pt x="757" y="173"/>
                  </a:lnTo>
                  <a:lnTo>
                    <a:pt x="754" y="173"/>
                  </a:lnTo>
                  <a:lnTo>
                    <a:pt x="750" y="171"/>
                  </a:lnTo>
                  <a:lnTo>
                    <a:pt x="743" y="168"/>
                  </a:lnTo>
                  <a:lnTo>
                    <a:pt x="736" y="168"/>
                  </a:lnTo>
                  <a:lnTo>
                    <a:pt x="733" y="168"/>
                  </a:lnTo>
                  <a:lnTo>
                    <a:pt x="731" y="168"/>
                  </a:lnTo>
                  <a:lnTo>
                    <a:pt x="721" y="168"/>
                  </a:lnTo>
                  <a:lnTo>
                    <a:pt x="717" y="166"/>
                  </a:lnTo>
                  <a:lnTo>
                    <a:pt x="712" y="166"/>
                  </a:lnTo>
                  <a:lnTo>
                    <a:pt x="710" y="166"/>
                  </a:lnTo>
                  <a:lnTo>
                    <a:pt x="710" y="163"/>
                  </a:lnTo>
                  <a:lnTo>
                    <a:pt x="710" y="163"/>
                  </a:lnTo>
                  <a:lnTo>
                    <a:pt x="710" y="161"/>
                  </a:lnTo>
                  <a:lnTo>
                    <a:pt x="710" y="159"/>
                  </a:lnTo>
                  <a:lnTo>
                    <a:pt x="705" y="156"/>
                  </a:lnTo>
                  <a:lnTo>
                    <a:pt x="703" y="154"/>
                  </a:lnTo>
                  <a:lnTo>
                    <a:pt x="705" y="154"/>
                  </a:lnTo>
                  <a:lnTo>
                    <a:pt x="705" y="152"/>
                  </a:lnTo>
                  <a:lnTo>
                    <a:pt x="705" y="149"/>
                  </a:lnTo>
                  <a:lnTo>
                    <a:pt x="705" y="149"/>
                  </a:lnTo>
                  <a:lnTo>
                    <a:pt x="707" y="149"/>
                  </a:lnTo>
                  <a:lnTo>
                    <a:pt x="705" y="147"/>
                  </a:lnTo>
                  <a:lnTo>
                    <a:pt x="705" y="147"/>
                  </a:lnTo>
                  <a:lnTo>
                    <a:pt x="703" y="147"/>
                  </a:lnTo>
                  <a:lnTo>
                    <a:pt x="703" y="145"/>
                  </a:lnTo>
                  <a:lnTo>
                    <a:pt x="700" y="145"/>
                  </a:lnTo>
                  <a:lnTo>
                    <a:pt x="698" y="142"/>
                  </a:lnTo>
                  <a:lnTo>
                    <a:pt x="696" y="140"/>
                  </a:lnTo>
                  <a:lnTo>
                    <a:pt x="693" y="140"/>
                  </a:lnTo>
                  <a:lnTo>
                    <a:pt x="691" y="140"/>
                  </a:lnTo>
                  <a:lnTo>
                    <a:pt x="688" y="140"/>
                  </a:lnTo>
                  <a:lnTo>
                    <a:pt x="688" y="140"/>
                  </a:lnTo>
                  <a:lnTo>
                    <a:pt x="691" y="142"/>
                  </a:lnTo>
                  <a:lnTo>
                    <a:pt x="693" y="145"/>
                  </a:lnTo>
                  <a:lnTo>
                    <a:pt x="696" y="145"/>
                  </a:lnTo>
                  <a:lnTo>
                    <a:pt x="696" y="147"/>
                  </a:lnTo>
                  <a:lnTo>
                    <a:pt x="698" y="149"/>
                  </a:lnTo>
                  <a:lnTo>
                    <a:pt x="698" y="152"/>
                  </a:lnTo>
                  <a:lnTo>
                    <a:pt x="698" y="152"/>
                  </a:lnTo>
                  <a:lnTo>
                    <a:pt x="696" y="152"/>
                  </a:lnTo>
                  <a:lnTo>
                    <a:pt x="693" y="154"/>
                  </a:lnTo>
                  <a:lnTo>
                    <a:pt x="691" y="154"/>
                  </a:lnTo>
                  <a:lnTo>
                    <a:pt x="686" y="156"/>
                  </a:lnTo>
                  <a:lnTo>
                    <a:pt x="684" y="156"/>
                  </a:lnTo>
                  <a:lnTo>
                    <a:pt x="681" y="163"/>
                  </a:lnTo>
                  <a:lnTo>
                    <a:pt x="681" y="163"/>
                  </a:lnTo>
                  <a:lnTo>
                    <a:pt x="686" y="166"/>
                  </a:lnTo>
                  <a:lnTo>
                    <a:pt x="688" y="166"/>
                  </a:lnTo>
                  <a:lnTo>
                    <a:pt x="688" y="168"/>
                  </a:lnTo>
                  <a:lnTo>
                    <a:pt x="693" y="171"/>
                  </a:lnTo>
                  <a:lnTo>
                    <a:pt x="705" y="178"/>
                  </a:lnTo>
                  <a:lnTo>
                    <a:pt x="705" y="178"/>
                  </a:lnTo>
                  <a:lnTo>
                    <a:pt x="705" y="180"/>
                  </a:lnTo>
                  <a:lnTo>
                    <a:pt x="703" y="185"/>
                  </a:lnTo>
                  <a:lnTo>
                    <a:pt x="703" y="185"/>
                  </a:lnTo>
                  <a:lnTo>
                    <a:pt x="703" y="192"/>
                  </a:lnTo>
                  <a:lnTo>
                    <a:pt x="705" y="194"/>
                  </a:lnTo>
                  <a:lnTo>
                    <a:pt x="707" y="197"/>
                  </a:lnTo>
                  <a:lnTo>
                    <a:pt x="710" y="197"/>
                  </a:lnTo>
                  <a:lnTo>
                    <a:pt x="712" y="199"/>
                  </a:lnTo>
                  <a:lnTo>
                    <a:pt x="712" y="204"/>
                  </a:lnTo>
                  <a:lnTo>
                    <a:pt x="714" y="204"/>
                  </a:lnTo>
                  <a:lnTo>
                    <a:pt x="714" y="204"/>
                  </a:lnTo>
                  <a:lnTo>
                    <a:pt x="721" y="204"/>
                  </a:lnTo>
                  <a:lnTo>
                    <a:pt x="726" y="204"/>
                  </a:lnTo>
                  <a:lnTo>
                    <a:pt x="731" y="204"/>
                  </a:lnTo>
                  <a:lnTo>
                    <a:pt x="733" y="201"/>
                  </a:lnTo>
                  <a:lnTo>
                    <a:pt x="736" y="201"/>
                  </a:lnTo>
                  <a:lnTo>
                    <a:pt x="743" y="201"/>
                  </a:lnTo>
                  <a:lnTo>
                    <a:pt x="752" y="204"/>
                  </a:lnTo>
                  <a:lnTo>
                    <a:pt x="762" y="206"/>
                  </a:lnTo>
                  <a:lnTo>
                    <a:pt x="764" y="208"/>
                  </a:lnTo>
                  <a:lnTo>
                    <a:pt x="766" y="208"/>
                  </a:lnTo>
                  <a:lnTo>
                    <a:pt x="771" y="213"/>
                  </a:lnTo>
                  <a:lnTo>
                    <a:pt x="776" y="215"/>
                  </a:lnTo>
                  <a:lnTo>
                    <a:pt x="778" y="218"/>
                  </a:lnTo>
                  <a:lnTo>
                    <a:pt x="778" y="220"/>
                  </a:lnTo>
                  <a:lnTo>
                    <a:pt x="778" y="220"/>
                  </a:lnTo>
                  <a:lnTo>
                    <a:pt x="776" y="220"/>
                  </a:lnTo>
                  <a:lnTo>
                    <a:pt x="776" y="220"/>
                  </a:lnTo>
                  <a:lnTo>
                    <a:pt x="776" y="225"/>
                  </a:lnTo>
                  <a:lnTo>
                    <a:pt x="776" y="225"/>
                  </a:lnTo>
                  <a:lnTo>
                    <a:pt x="778" y="230"/>
                  </a:lnTo>
                  <a:lnTo>
                    <a:pt x="787" y="230"/>
                  </a:lnTo>
                  <a:lnTo>
                    <a:pt x="792" y="232"/>
                  </a:lnTo>
                  <a:lnTo>
                    <a:pt x="797" y="232"/>
                  </a:lnTo>
                  <a:lnTo>
                    <a:pt x="797" y="232"/>
                  </a:lnTo>
                  <a:lnTo>
                    <a:pt x="799" y="232"/>
                  </a:lnTo>
                  <a:lnTo>
                    <a:pt x="795" y="232"/>
                  </a:lnTo>
                  <a:lnTo>
                    <a:pt x="785" y="232"/>
                  </a:lnTo>
                  <a:lnTo>
                    <a:pt x="783" y="232"/>
                  </a:lnTo>
                  <a:lnTo>
                    <a:pt x="780" y="232"/>
                  </a:lnTo>
                  <a:lnTo>
                    <a:pt x="780" y="230"/>
                  </a:lnTo>
                  <a:lnTo>
                    <a:pt x="776" y="230"/>
                  </a:lnTo>
                  <a:lnTo>
                    <a:pt x="776" y="230"/>
                  </a:lnTo>
                  <a:lnTo>
                    <a:pt x="773" y="227"/>
                  </a:lnTo>
                  <a:lnTo>
                    <a:pt x="771" y="225"/>
                  </a:lnTo>
                  <a:lnTo>
                    <a:pt x="769" y="218"/>
                  </a:lnTo>
                  <a:lnTo>
                    <a:pt x="766" y="215"/>
                  </a:lnTo>
                  <a:lnTo>
                    <a:pt x="764" y="213"/>
                  </a:lnTo>
                  <a:lnTo>
                    <a:pt x="757" y="211"/>
                  </a:lnTo>
                  <a:lnTo>
                    <a:pt x="752" y="208"/>
                  </a:lnTo>
                  <a:lnTo>
                    <a:pt x="750" y="206"/>
                  </a:lnTo>
                  <a:lnTo>
                    <a:pt x="747" y="206"/>
                  </a:lnTo>
                  <a:lnTo>
                    <a:pt x="745" y="206"/>
                  </a:lnTo>
                  <a:lnTo>
                    <a:pt x="740" y="208"/>
                  </a:lnTo>
                  <a:lnTo>
                    <a:pt x="733" y="208"/>
                  </a:lnTo>
                  <a:lnTo>
                    <a:pt x="726" y="211"/>
                  </a:lnTo>
                  <a:lnTo>
                    <a:pt x="726" y="213"/>
                  </a:lnTo>
                  <a:lnTo>
                    <a:pt x="729" y="218"/>
                  </a:lnTo>
                  <a:lnTo>
                    <a:pt x="731" y="218"/>
                  </a:lnTo>
                  <a:lnTo>
                    <a:pt x="733" y="220"/>
                  </a:lnTo>
                  <a:lnTo>
                    <a:pt x="736" y="223"/>
                  </a:lnTo>
                  <a:lnTo>
                    <a:pt x="738" y="225"/>
                  </a:lnTo>
                  <a:lnTo>
                    <a:pt x="738" y="227"/>
                  </a:lnTo>
                  <a:lnTo>
                    <a:pt x="740" y="230"/>
                  </a:lnTo>
                  <a:lnTo>
                    <a:pt x="738" y="230"/>
                  </a:lnTo>
                  <a:lnTo>
                    <a:pt x="733" y="234"/>
                  </a:lnTo>
                  <a:lnTo>
                    <a:pt x="733" y="237"/>
                  </a:lnTo>
                  <a:lnTo>
                    <a:pt x="733" y="241"/>
                  </a:lnTo>
                  <a:lnTo>
                    <a:pt x="733" y="241"/>
                  </a:lnTo>
                  <a:lnTo>
                    <a:pt x="731" y="246"/>
                  </a:lnTo>
                  <a:lnTo>
                    <a:pt x="729" y="246"/>
                  </a:lnTo>
                  <a:lnTo>
                    <a:pt x="719" y="251"/>
                  </a:lnTo>
                  <a:lnTo>
                    <a:pt x="719" y="251"/>
                  </a:lnTo>
                  <a:lnTo>
                    <a:pt x="719" y="256"/>
                  </a:lnTo>
                  <a:lnTo>
                    <a:pt x="717" y="256"/>
                  </a:lnTo>
                  <a:lnTo>
                    <a:pt x="714" y="256"/>
                  </a:lnTo>
                  <a:lnTo>
                    <a:pt x="710" y="256"/>
                  </a:lnTo>
                  <a:lnTo>
                    <a:pt x="705" y="253"/>
                  </a:lnTo>
                  <a:lnTo>
                    <a:pt x="703" y="253"/>
                  </a:lnTo>
                  <a:lnTo>
                    <a:pt x="691" y="256"/>
                  </a:lnTo>
                  <a:lnTo>
                    <a:pt x="686" y="253"/>
                  </a:lnTo>
                  <a:lnTo>
                    <a:pt x="681" y="251"/>
                  </a:lnTo>
                  <a:lnTo>
                    <a:pt x="677" y="251"/>
                  </a:lnTo>
                  <a:lnTo>
                    <a:pt x="674" y="251"/>
                  </a:lnTo>
                  <a:lnTo>
                    <a:pt x="672" y="249"/>
                  </a:lnTo>
                  <a:lnTo>
                    <a:pt x="672" y="249"/>
                  </a:lnTo>
                  <a:lnTo>
                    <a:pt x="670" y="246"/>
                  </a:lnTo>
                  <a:lnTo>
                    <a:pt x="670" y="246"/>
                  </a:lnTo>
                  <a:lnTo>
                    <a:pt x="670" y="246"/>
                  </a:lnTo>
                  <a:lnTo>
                    <a:pt x="672" y="246"/>
                  </a:lnTo>
                  <a:lnTo>
                    <a:pt x="679" y="246"/>
                  </a:lnTo>
                  <a:lnTo>
                    <a:pt x="681" y="246"/>
                  </a:lnTo>
                  <a:lnTo>
                    <a:pt x="681" y="246"/>
                  </a:lnTo>
                  <a:lnTo>
                    <a:pt x="684" y="246"/>
                  </a:lnTo>
                  <a:lnTo>
                    <a:pt x="688" y="249"/>
                  </a:lnTo>
                  <a:lnTo>
                    <a:pt x="691" y="249"/>
                  </a:lnTo>
                  <a:lnTo>
                    <a:pt x="691" y="246"/>
                  </a:lnTo>
                  <a:lnTo>
                    <a:pt x="691" y="246"/>
                  </a:lnTo>
                  <a:lnTo>
                    <a:pt x="693" y="246"/>
                  </a:lnTo>
                  <a:lnTo>
                    <a:pt x="691" y="249"/>
                  </a:lnTo>
                  <a:lnTo>
                    <a:pt x="691" y="249"/>
                  </a:lnTo>
                  <a:lnTo>
                    <a:pt x="691" y="249"/>
                  </a:lnTo>
                  <a:lnTo>
                    <a:pt x="691" y="249"/>
                  </a:lnTo>
                  <a:lnTo>
                    <a:pt x="693" y="251"/>
                  </a:lnTo>
                  <a:lnTo>
                    <a:pt x="696" y="251"/>
                  </a:lnTo>
                  <a:lnTo>
                    <a:pt x="698" y="251"/>
                  </a:lnTo>
                  <a:lnTo>
                    <a:pt x="700" y="249"/>
                  </a:lnTo>
                  <a:lnTo>
                    <a:pt x="703" y="249"/>
                  </a:lnTo>
                  <a:lnTo>
                    <a:pt x="705" y="249"/>
                  </a:lnTo>
                  <a:lnTo>
                    <a:pt x="705" y="246"/>
                  </a:lnTo>
                  <a:lnTo>
                    <a:pt x="703" y="244"/>
                  </a:lnTo>
                  <a:lnTo>
                    <a:pt x="700" y="244"/>
                  </a:lnTo>
                  <a:lnTo>
                    <a:pt x="705" y="244"/>
                  </a:lnTo>
                  <a:lnTo>
                    <a:pt x="707" y="241"/>
                  </a:lnTo>
                  <a:lnTo>
                    <a:pt x="712" y="232"/>
                  </a:lnTo>
                  <a:lnTo>
                    <a:pt x="714" y="230"/>
                  </a:lnTo>
                  <a:lnTo>
                    <a:pt x="717" y="230"/>
                  </a:lnTo>
                  <a:lnTo>
                    <a:pt x="717" y="227"/>
                  </a:lnTo>
                  <a:lnTo>
                    <a:pt x="717" y="225"/>
                  </a:lnTo>
                  <a:lnTo>
                    <a:pt x="714" y="223"/>
                  </a:lnTo>
                  <a:lnTo>
                    <a:pt x="712" y="220"/>
                  </a:lnTo>
                  <a:lnTo>
                    <a:pt x="714" y="220"/>
                  </a:lnTo>
                  <a:lnTo>
                    <a:pt x="714" y="215"/>
                  </a:lnTo>
                  <a:lnTo>
                    <a:pt x="717" y="215"/>
                  </a:lnTo>
                  <a:lnTo>
                    <a:pt x="717" y="215"/>
                  </a:lnTo>
                  <a:lnTo>
                    <a:pt x="714" y="213"/>
                  </a:lnTo>
                  <a:lnTo>
                    <a:pt x="710" y="211"/>
                  </a:lnTo>
                  <a:lnTo>
                    <a:pt x="703" y="211"/>
                  </a:lnTo>
                  <a:lnTo>
                    <a:pt x="700" y="208"/>
                  </a:lnTo>
                  <a:lnTo>
                    <a:pt x="698" y="206"/>
                  </a:lnTo>
                  <a:lnTo>
                    <a:pt x="696" y="206"/>
                  </a:lnTo>
                  <a:lnTo>
                    <a:pt x="696" y="204"/>
                  </a:lnTo>
                  <a:lnTo>
                    <a:pt x="693" y="199"/>
                  </a:lnTo>
                  <a:lnTo>
                    <a:pt x="693" y="199"/>
                  </a:lnTo>
                  <a:lnTo>
                    <a:pt x="691" y="192"/>
                  </a:lnTo>
                  <a:lnTo>
                    <a:pt x="686" y="185"/>
                  </a:lnTo>
                  <a:lnTo>
                    <a:pt x="684" y="185"/>
                  </a:lnTo>
                  <a:lnTo>
                    <a:pt x="684" y="182"/>
                  </a:lnTo>
                  <a:lnTo>
                    <a:pt x="686" y="182"/>
                  </a:lnTo>
                  <a:lnTo>
                    <a:pt x="686" y="180"/>
                  </a:lnTo>
                  <a:lnTo>
                    <a:pt x="681" y="175"/>
                  </a:lnTo>
                  <a:lnTo>
                    <a:pt x="679" y="173"/>
                  </a:lnTo>
                  <a:lnTo>
                    <a:pt x="677" y="168"/>
                  </a:lnTo>
                  <a:lnTo>
                    <a:pt x="670" y="166"/>
                  </a:lnTo>
                  <a:lnTo>
                    <a:pt x="665" y="163"/>
                  </a:lnTo>
                  <a:lnTo>
                    <a:pt x="665" y="163"/>
                  </a:lnTo>
                  <a:lnTo>
                    <a:pt x="665" y="161"/>
                  </a:lnTo>
                  <a:lnTo>
                    <a:pt x="667" y="161"/>
                  </a:lnTo>
                  <a:lnTo>
                    <a:pt x="667" y="159"/>
                  </a:lnTo>
                  <a:lnTo>
                    <a:pt x="667" y="156"/>
                  </a:lnTo>
                  <a:lnTo>
                    <a:pt x="667" y="154"/>
                  </a:lnTo>
                  <a:lnTo>
                    <a:pt x="667" y="152"/>
                  </a:lnTo>
                  <a:lnTo>
                    <a:pt x="667" y="147"/>
                  </a:lnTo>
                  <a:lnTo>
                    <a:pt x="665" y="145"/>
                  </a:lnTo>
                  <a:lnTo>
                    <a:pt x="665" y="142"/>
                  </a:lnTo>
                  <a:lnTo>
                    <a:pt x="660" y="142"/>
                  </a:lnTo>
                  <a:lnTo>
                    <a:pt x="658" y="140"/>
                  </a:lnTo>
                  <a:lnTo>
                    <a:pt x="653" y="140"/>
                  </a:lnTo>
                  <a:lnTo>
                    <a:pt x="651" y="140"/>
                  </a:lnTo>
                  <a:lnTo>
                    <a:pt x="646" y="137"/>
                  </a:lnTo>
                  <a:lnTo>
                    <a:pt x="644" y="137"/>
                  </a:lnTo>
                  <a:lnTo>
                    <a:pt x="634" y="140"/>
                  </a:lnTo>
                  <a:lnTo>
                    <a:pt x="627" y="137"/>
                  </a:lnTo>
                  <a:lnTo>
                    <a:pt x="625" y="140"/>
                  </a:lnTo>
                  <a:lnTo>
                    <a:pt x="623" y="140"/>
                  </a:lnTo>
                  <a:lnTo>
                    <a:pt x="620" y="140"/>
                  </a:lnTo>
                  <a:lnTo>
                    <a:pt x="620" y="137"/>
                  </a:lnTo>
                  <a:lnTo>
                    <a:pt x="620" y="137"/>
                  </a:lnTo>
                  <a:lnTo>
                    <a:pt x="620" y="137"/>
                  </a:lnTo>
                  <a:lnTo>
                    <a:pt x="620" y="137"/>
                  </a:lnTo>
                  <a:lnTo>
                    <a:pt x="618" y="137"/>
                  </a:lnTo>
                  <a:lnTo>
                    <a:pt x="615" y="142"/>
                  </a:lnTo>
                  <a:lnTo>
                    <a:pt x="615" y="147"/>
                  </a:lnTo>
                  <a:lnTo>
                    <a:pt x="615" y="154"/>
                  </a:lnTo>
                  <a:lnTo>
                    <a:pt x="615" y="156"/>
                  </a:lnTo>
                  <a:lnTo>
                    <a:pt x="615" y="159"/>
                  </a:lnTo>
                  <a:lnTo>
                    <a:pt x="613" y="161"/>
                  </a:lnTo>
                  <a:lnTo>
                    <a:pt x="608" y="163"/>
                  </a:lnTo>
                  <a:lnTo>
                    <a:pt x="606" y="166"/>
                  </a:lnTo>
                  <a:lnTo>
                    <a:pt x="601" y="166"/>
                  </a:lnTo>
                  <a:lnTo>
                    <a:pt x="601" y="168"/>
                  </a:lnTo>
                  <a:lnTo>
                    <a:pt x="599" y="171"/>
                  </a:lnTo>
                  <a:lnTo>
                    <a:pt x="601" y="171"/>
                  </a:lnTo>
                  <a:lnTo>
                    <a:pt x="601" y="171"/>
                  </a:lnTo>
                  <a:lnTo>
                    <a:pt x="601" y="173"/>
                  </a:lnTo>
                  <a:lnTo>
                    <a:pt x="601" y="173"/>
                  </a:lnTo>
                  <a:lnTo>
                    <a:pt x="601" y="173"/>
                  </a:lnTo>
                  <a:lnTo>
                    <a:pt x="601" y="175"/>
                  </a:lnTo>
                  <a:lnTo>
                    <a:pt x="604" y="175"/>
                  </a:lnTo>
                  <a:lnTo>
                    <a:pt x="608" y="173"/>
                  </a:lnTo>
                  <a:lnTo>
                    <a:pt x="608" y="175"/>
                  </a:lnTo>
                  <a:lnTo>
                    <a:pt x="611" y="175"/>
                  </a:lnTo>
                  <a:lnTo>
                    <a:pt x="613" y="180"/>
                  </a:lnTo>
                  <a:lnTo>
                    <a:pt x="613" y="182"/>
                  </a:lnTo>
                  <a:lnTo>
                    <a:pt x="613" y="185"/>
                  </a:lnTo>
                  <a:lnTo>
                    <a:pt x="615" y="185"/>
                  </a:lnTo>
                  <a:lnTo>
                    <a:pt x="615" y="187"/>
                  </a:lnTo>
                  <a:lnTo>
                    <a:pt x="615" y="187"/>
                  </a:lnTo>
                  <a:lnTo>
                    <a:pt x="615" y="189"/>
                  </a:lnTo>
                  <a:lnTo>
                    <a:pt x="613" y="189"/>
                  </a:lnTo>
                  <a:lnTo>
                    <a:pt x="613" y="192"/>
                  </a:lnTo>
                  <a:lnTo>
                    <a:pt x="613" y="194"/>
                  </a:lnTo>
                  <a:lnTo>
                    <a:pt x="613" y="194"/>
                  </a:lnTo>
                  <a:lnTo>
                    <a:pt x="615" y="197"/>
                  </a:lnTo>
                  <a:lnTo>
                    <a:pt x="615" y="197"/>
                  </a:lnTo>
                  <a:lnTo>
                    <a:pt x="615" y="197"/>
                  </a:lnTo>
                  <a:lnTo>
                    <a:pt x="615" y="194"/>
                  </a:lnTo>
                  <a:lnTo>
                    <a:pt x="618" y="194"/>
                  </a:lnTo>
                  <a:lnTo>
                    <a:pt x="625" y="197"/>
                  </a:lnTo>
                  <a:lnTo>
                    <a:pt x="627" y="197"/>
                  </a:lnTo>
                  <a:lnTo>
                    <a:pt x="632" y="199"/>
                  </a:lnTo>
                  <a:lnTo>
                    <a:pt x="632" y="199"/>
                  </a:lnTo>
                  <a:lnTo>
                    <a:pt x="634" y="201"/>
                  </a:lnTo>
                  <a:lnTo>
                    <a:pt x="639" y="206"/>
                  </a:lnTo>
                  <a:lnTo>
                    <a:pt x="644" y="206"/>
                  </a:lnTo>
                  <a:lnTo>
                    <a:pt x="646" y="208"/>
                  </a:lnTo>
                  <a:lnTo>
                    <a:pt x="646" y="208"/>
                  </a:lnTo>
                  <a:lnTo>
                    <a:pt x="648" y="208"/>
                  </a:lnTo>
                  <a:lnTo>
                    <a:pt x="651" y="208"/>
                  </a:lnTo>
                  <a:lnTo>
                    <a:pt x="651" y="211"/>
                  </a:lnTo>
                  <a:lnTo>
                    <a:pt x="651" y="213"/>
                  </a:lnTo>
                  <a:lnTo>
                    <a:pt x="648" y="218"/>
                  </a:lnTo>
                  <a:lnTo>
                    <a:pt x="646" y="218"/>
                  </a:lnTo>
                  <a:lnTo>
                    <a:pt x="644" y="218"/>
                  </a:lnTo>
                  <a:lnTo>
                    <a:pt x="637" y="215"/>
                  </a:lnTo>
                  <a:lnTo>
                    <a:pt x="634" y="213"/>
                  </a:lnTo>
                  <a:lnTo>
                    <a:pt x="627" y="211"/>
                  </a:lnTo>
                  <a:lnTo>
                    <a:pt x="623" y="208"/>
                  </a:lnTo>
                  <a:lnTo>
                    <a:pt x="620" y="208"/>
                  </a:lnTo>
                  <a:lnTo>
                    <a:pt x="615" y="208"/>
                  </a:lnTo>
                  <a:lnTo>
                    <a:pt x="613" y="206"/>
                  </a:lnTo>
                  <a:lnTo>
                    <a:pt x="611" y="206"/>
                  </a:lnTo>
                  <a:lnTo>
                    <a:pt x="606" y="206"/>
                  </a:lnTo>
                  <a:lnTo>
                    <a:pt x="604" y="204"/>
                  </a:lnTo>
                  <a:lnTo>
                    <a:pt x="601" y="204"/>
                  </a:lnTo>
                  <a:lnTo>
                    <a:pt x="599" y="204"/>
                  </a:lnTo>
                  <a:lnTo>
                    <a:pt x="594" y="201"/>
                  </a:lnTo>
                  <a:lnTo>
                    <a:pt x="592" y="201"/>
                  </a:lnTo>
                  <a:lnTo>
                    <a:pt x="592" y="201"/>
                  </a:lnTo>
                  <a:lnTo>
                    <a:pt x="587" y="199"/>
                  </a:lnTo>
                  <a:lnTo>
                    <a:pt x="580" y="197"/>
                  </a:lnTo>
                  <a:lnTo>
                    <a:pt x="568" y="194"/>
                  </a:lnTo>
                  <a:lnTo>
                    <a:pt x="557" y="194"/>
                  </a:lnTo>
                  <a:lnTo>
                    <a:pt x="545" y="192"/>
                  </a:lnTo>
                  <a:lnTo>
                    <a:pt x="535" y="192"/>
                  </a:lnTo>
                  <a:lnTo>
                    <a:pt x="533" y="192"/>
                  </a:lnTo>
                  <a:lnTo>
                    <a:pt x="533" y="192"/>
                  </a:lnTo>
                  <a:lnTo>
                    <a:pt x="531" y="194"/>
                  </a:lnTo>
                  <a:lnTo>
                    <a:pt x="526" y="194"/>
                  </a:lnTo>
                  <a:lnTo>
                    <a:pt x="526" y="197"/>
                  </a:lnTo>
                  <a:lnTo>
                    <a:pt x="528" y="199"/>
                  </a:lnTo>
                  <a:lnTo>
                    <a:pt x="535" y="204"/>
                  </a:lnTo>
                  <a:lnTo>
                    <a:pt x="538" y="204"/>
                  </a:lnTo>
                  <a:lnTo>
                    <a:pt x="540" y="206"/>
                  </a:lnTo>
                  <a:lnTo>
                    <a:pt x="540" y="208"/>
                  </a:lnTo>
                  <a:lnTo>
                    <a:pt x="538" y="211"/>
                  </a:lnTo>
                  <a:lnTo>
                    <a:pt x="535" y="211"/>
                  </a:lnTo>
                  <a:lnTo>
                    <a:pt x="533" y="211"/>
                  </a:lnTo>
                  <a:lnTo>
                    <a:pt x="528" y="211"/>
                  </a:lnTo>
                  <a:lnTo>
                    <a:pt x="528" y="213"/>
                  </a:lnTo>
                  <a:lnTo>
                    <a:pt x="531" y="215"/>
                  </a:lnTo>
                  <a:lnTo>
                    <a:pt x="531" y="215"/>
                  </a:lnTo>
                  <a:lnTo>
                    <a:pt x="531" y="218"/>
                  </a:lnTo>
                  <a:lnTo>
                    <a:pt x="531" y="218"/>
                  </a:lnTo>
                  <a:lnTo>
                    <a:pt x="531" y="218"/>
                  </a:lnTo>
                  <a:lnTo>
                    <a:pt x="528" y="218"/>
                  </a:lnTo>
                  <a:lnTo>
                    <a:pt x="528" y="218"/>
                  </a:lnTo>
                  <a:lnTo>
                    <a:pt x="524" y="218"/>
                  </a:lnTo>
                  <a:lnTo>
                    <a:pt x="519" y="215"/>
                  </a:lnTo>
                  <a:lnTo>
                    <a:pt x="519" y="213"/>
                  </a:lnTo>
                  <a:lnTo>
                    <a:pt x="519" y="213"/>
                  </a:lnTo>
                  <a:lnTo>
                    <a:pt x="521" y="211"/>
                  </a:lnTo>
                  <a:lnTo>
                    <a:pt x="521" y="211"/>
                  </a:lnTo>
                  <a:lnTo>
                    <a:pt x="519" y="208"/>
                  </a:lnTo>
                  <a:lnTo>
                    <a:pt x="516" y="208"/>
                  </a:lnTo>
                  <a:lnTo>
                    <a:pt x="514" y="206"/>
                  </a:lnTo>
                  <a:lnTo>
                    <a:pt x="514" y="206"/>
                  </a:lnTo>
                  <a:lnTo>
                    <a:pt x="514" y="206"/>
                  </a:lnTo>
                  <a:lnTo>
                    <a:pt x="507" y="208"/>
                  </a:lnTo>
                  <a:lnTo>
                    <a:pt x="505" y="208"/>
                  </a:lnTo>
                  <a:lnTo>
                    <a:pt x="505" y="208"/>
                  </a:lnTo>
                  <a:lnTo>
                    <a:pt x="495" y="213"/>
                  </a:lnTo>
                  <a:lnTo>
                    <a:pt x="493" y="215"/>
                  </a:lnTo>
                  <a:lnTo>
                    <a:pt x="488" y="213"/>
                  </a:lnTo>
                  <a:lnTo>
                    <a:pt x="486" y="213"/>
                  </a:lnTo>
                  <a:lnTo>
                    <a:pt x="481" y="213"/>
                  </a:lnTo>
                  <a:lnTo>
                    <a:pt x="476" y="213"/>
                  </a:lnTo>
                  <a:lnTo>
                    <a:pt x="474" y="213"/>
                  </a:lnTo>
                  <a:lnTo>
                    <a:pt x="472" y="213"/>
                  </a:lnTo>
                  <a:lnTo>
                    <a:pt x="469" y="213"/>
                  </a:lnTo>
                  <a:lnTo>
                    <a:pt x="465" y="215"/>
                  </a:lnTo>
                  <a:lnTo>
                    <a:pt x="462" y="218"/>
                  </a:lnTo>
                  <a:lnTo>
                    <a:pt x="465" y="220"/>
                  </a:lnTo>
                  <a:lnTo>
                    <a:pt x="462" y="220"/>
                  </a:lnTo>
                  <a:lnTo>
                    <a:pt x="460" y="220"/>
                  </a:lnTo>
                  <a:lnTo>
                    <a:pt x="458" y="220"/>
                  </a:lnTo>
                  <a:lnTo>
                    <a:pt x="458" y="220"/>
                  </a:lnTo>
                  <a:lnTo>
                    <a:pt x="455" y="220"/>
                  </a:lnTo>
                  <a:lnTo>
                    <a:pt x="453" y="220"/>
                  </a:lnTo>
                  <a:lnTo>
                    <a:pt x="450" y="220"/>
                  </a:lnTo>
                  <a:lnTo>
                    <a:pt x="450" y="220"/>
                  </a:lnTo>
                  <a:lnTo>
                    <a:pt x="446" y="220"/>
                  </a:lnTo>
                  <a:lnTo>
                    <a:pt x="443" y="220"/>
                  </a:lnTo>
                  <a:lnTo>
                    <a:pt x="441" y="220"/>
                  </a:lnTo>
                  <a:lnTo>
                    <a:pt x="441" y="218"/>
                  </a:lnTo>
                  <a:lnTo>
                    <a:pt x="441" y="218"/>
                  </a:lnTo>
                  <a:lnTo>
                    <a:pt x="446" y="218"/>
                  </a:lnTo>
                  <a:lnTo>
                    <a:pt x="446" y="218"/>
                  </a:lnTo>
                  <a:lnTo>
                    <a:pt x="448" y="218"/>
                  </a:lnTo>
                  <a:lnTo>
                    <a:pt x="450" y="215"/>
                  </a:lnTo>
                  <a:lnTo>
                    <a:pt x="448" y="215"/>
                  </a:lnTo>
                  <a:lnTo>
                    <a:pt x="446" y="213"/>
                  </a:lnTo>
                  <a:lnTo>
                    <a:pt x="446" y="211"/>
                  </a:lnTo>
                  <a:lnTo>
                    <a:pt x="446" y="211"/>
                  </a:lnTo>
                  <a:lnTo>
                    <a:pt x="446" y="211"/>
                  </a:lnTo>
                  <a:lnTo>
                    <a:pt x="448" y="208"/>
                  </a:lnTo>
                  <a:lnTo>
                    <a:pt x="446" y="208"/>
                  </a:lnTo>
                  <a:lnTo>
                    <a:pt x="446" y="208"/>
                  </a:lnTo>
                  <a:lnTo>
                    <a:pt x="443" y="208"/>
                  </a:lnTo>
                  <a:lnTo>
                    <a:pt x="446" y="208"/>
                  </a:lnTo>
                  <a:lnTo>
                    <a:pt x="453" y="206"/>
                  </a:lnTo>
                  <a:lnTo>
                    <a:pt x="453" y="206"/>
                  </a:lnTo>
                  <a:lnTo>
                    <a:pt x="448" y="206"/>
                  </a:lnTo>
                  <a:lnTo>
                    <a:pt x="443" y="206"/>
                  </a:lnTo>
                  <a:lnTo>
                    <a:pt x="439" y="208"/>
                  </a:lnTo>
                  <a:lnTo>
                    <a:pt x="432" y="211"/>
                  </a:lnTo>
                  <a:lnTo>
                    <a:pt x="427" y="213"/>
                  </a:lnTo>
                  <a:lnTo>
                    <a:pt x="427" y="213"/>
                  </a:lnTo>
                  <a:lnTo>
                    <a:pt x="429" y="213"/>
                  </a:lnTo>
                  <a:lnTo>
                    <a:pt x="432" y="215"/>
                  </a:lnTo>
                  <a:lnTo>
                    <a:pt x="432" y="215"/>
                  </a:lnTo>
                  <a:lnTo>
                    <a:pt x="432" y="218"/>
                  </a:lnTo>
                  <a:lnTo>
                    <a:pt x="429" y="218"/>
                  </a:lnTo>
                  <a:lnTo>
                    <a:pt x="429" y="218"/>
                  </a:lnTo>
                  <a:lnTo>
                    <a:pt x="429" y="218"/>
                  </a:lnTo>
                  <a:lnTo>
                    <a:pt x="427" y="218"/>
                  </a:lnTo>
                  <a:lnTo>
                    <a:pt x="427" y="218"/>
                  </a:lnTo>
                  <a:lnTo>
                    <a:pt x="427" y="218"/>
                  </a:lnTo>
                  <a:lnTo>
                    <a:pt x="427" y="215"/>
                  </a:lnTo>
                  <a:lnTo>
                    <a:pt x="425" y="215"/>
                  </a:lnTo>
                  <a:lnTo>
                    <a:pt x="422" y="215"/>
                  </a:lnTo>
                  <a:lnTo>
                    <a:pt x="422" y="215"/>
                  </a:lnTo>
                  <a:lnTo>
                    <a:pt x="417" y="215"/>
                  </a:lnTo>
                  <a:lnTo>
                    <a:pt x="415" y="218"/>
                  </a:lnTo>
                  <a:lnTo>
                    <a:pt x="410" y="218"/>
                  </a:lnTo>
                  <a:lnTo>
                    <a:pt x="408" y="218"/>
                  </a:lnTo>
                  <a:lnTo>
                    <a:pt x="406" y="218"/>
                  </a:lnTo>
                  <a:lnTo>
                    <a:pt x="403" y="220"/>
                  </a:lnTo>
                  <a:lnTo>
                    <a:pt x="401" y="220"/>
                  </a:lnTo>
                  <a:lnTo>
                    <a:pt x="396" y="223"/>
                  </a:lnTo>
                  <a:lnTo>
                    <a:pt x="387" y="227"/>
                  </a:lnTo>
                  <a:lnTo>
                    <a:pt x="384" y="227"/>
                  </a:lnTo>
                  <a:lnTo>
                    <a:pt x="384" y="227"/>
                  </a:lnTo>
                  <a:lnTo>
                    <a:pt x="382" y="227"/>
                  </a:lnTo>
                  <a:lnTo>
                    <a:pt x="382" y="227"/>
                  </a:lnTo>
                  <a:lnTo>
                    <a:pt x="382" y="227"/>
                  </a:lnTo>
                  <a:lnTo>
                    <a:pt x="384" y="230"/>
                  </a:lnTo>
                  <a:lnTo>
                    <a:pt x="384" y="230"/>
                  </a:lnTo>
                  <a:lnTo>
                    <a:pt x="382" y="230"/>
                  </a:lnTo>
                  <a:lnTo>
                    <a:pt x="377" y="230"/>
                  </a:lnTo>
                  <a:lnTo>
                    <a:pt x="373" y="232"/>
                  </a:lnTo>
                  <a:lnTo>
                    <a:pt x="373" y="232"/>
                  </a:lnTo>
                  <a:lnTo>
                    <a:pt x="373" y="234"/>
                  </a:lnTo>
                  <a:lnTo>
                    <a:pt x="373" y="237"/>
                  </a:lnTo>
                  <a:lnTo>
                    <a:pt x="373" y="237"/>
                  </a:lnTo>
                  <a:lnTo>
                    <a:pt x="373" y="241"/>
                  </a:lnTo>
                  <a:lnTo>
                    <a:pt x="373" y="244"/>
                  </a:lnTo>
                  <a:lnTo>
                    <a:pt x="370" y="244"/>
                  </a:lnTo>
                  <a:lnTo>
                    <a:pt x="359" y="246"/>
                  </a:lnTo>
                  <a:lnTo>
                    <a:pt x="359" y="246"/>
                  </a:lnTo>
                  <a:lnTo>
                    <a:pt x="356" y="246"/>
                  </a:lnTo>
                  <a:lnTo>
                    <a:pt x="356" y="246"/>
                  </a:lnTo>
                  <a:lnTo>
                    <a:pt x="354" y="246"/>
                  </a:lnTo>
                  <a:lnTo>
                    <a:pt x="351" y="246"/>
                  </a:lnTo>
                  <a:lnTo>
                    <a:pt x="349" y="246"/>
                  </a:lnTo>
                  <a:lnTo>
                    <a:pt x="349" y="244"/>
                  </a:lnTo>
                  <a:lnTo>
                    <a:pt x="347" y="244"/>
                  </a:lnTo>
                  <a:lnTo>
                    <a:pt x="342" y="239"/>
                  </a:lnTo>
                  <a:lnTo>
                    <a:pt x="335" y="237"/>
                  </a:lnTo>
                  <a:lnTo>
                    <a:pt x="333" y="237"/>
                  </a:lnTo>
                  <a:lnTo>
                    <a:pt x="333" y="234"/>
                  </a:lnTo>
                  <a:lnTo>
                    <a:pt x="333" y="234"/>
                  </a:lnTo>
                  <a:lnTo>
                    <a:pt x="337" y="230"/>
                  </a:lnTo>
                  <a:lnTo>
                    <a:pt x="340" y="230"/>
                  </a:lnTo>
                  <a:lnTo>
                    <a:pt x="347" y="227"/>
                  </a:lnTo>
                  <a:lnTo>
                    <a:pt x="351" y="227"/>
                  </a:lnTo>
                  <a:lnTo>
                    <a:pt x="354" y="227"/>
                  </a:lnTo>
                  <a:lnTo>
                    <a:pt x="354" y="225"/>
                  </a:lnTo>
                  <a:lnTo>
                    <a:pt x="349" y="223"/>
                  </a:lnTo>
                  <a:lnTo>
                    <a:pt x="344" y="220"/>
                  </a:lnTo>
                  <a:lnTo>
                    <a:pt x="340" y="215"/>
                  </a:lnTo>
                  <a:lnTo>
                    <a:pt x="335" y="215"/>
                  </a:lnTo>
                  <a:lnTo>
                    <a:pt x="328" y="213"/>
                  </a:lnTo>
                  <a:lnTo>
                    <a:pt x="316" y="215"/>
                  </a:lnTo>
                  <a:lnTo>
                    <a:pt x="314" y="215"/>
                  </a:lnTo>
                  <a:lnTo>
                    <a:pt x="307" y="213"/>
                  </a:lnTo>
                  <a:lnTo>
                    <a:pt x="304" y="213"/>
                  </a:lnTo>
                  <a:lnTo>
                    <a:pt x="304" y="213"/>
                  </a:lnTo>
                  <a:lnTo>
                    <a:pt x="304" y="213"/>
                  </a:lnTo>
                  <a:lnTo>
                    <a:pt x="304" y="213"/>
                  </a:lnTo>
                  <a:lnTo>
                    <a:pt x="316" y="218"/>
                  </a:lnTo>
                  <a:lnTo>
                    <a:pt x="318" y="220"/>
                  </a:lnTo>
                  <a:lnTo>
                    <a:pt x="318" y="223"/>
                  </a:lnTo>
                  <a:lnTo>
                    <a:pt x="318" y="223"/>
                  </a:lnTo>
                  <a:lnTo>
                    <a:pt x="318" y="223"/>
                  </a:lnTo>
                  <a:lnTo>
                    <a:pt x="318" y="225"/>
                  </a:lnTo>
                  <a:lnTo>
                    <a:pt x="318" y="230"/>
                  </a:lnTo>
                  <a:lnTo>
                    <a:pt x="318" y="234"/>
                  </a:lnTo>
                  <a:lnTo>
                    <a:pt x="316" y="237"/>
                  </a:lnTo>
                  <a:lnTo>
                    <a:pt x="316" y="237"/>
                  </a:lnTo>
                  <a:lnTo>
                    <a:pt x="318" y="239"/>
                  </a:lnTo>
                  <a:lnTo>
                    <a:pt x="321" y="239"/>
                  </a:lnTo>
                  <a:lnTo>
                    <a:pt x="326" y="241"/>
                  </a:lnTo>
                  <a:lnTo>
                    <a:pt x="328" y="241"/>
                  </a:lnTo>
                  <a:lnTo>
                    <a:pt x="328" y="244"/>
                  </a:lnTo>
                  <a:lnTo>
                    <a:pt x="328" y="246"/>
                  </a:lnTo>
                  <a:lnTo>
                    <a:pt x="330" y="249"/>
                  </a:lnTo>
                  <a:lnTo>
                    <a:pt x="328" y="251"/>
                  </a:lnTo>
                  <a:lnTo>
                    <a:pt x="328" y="253"/>
                  </a:lnTo>
                  <a:lnTo>
                    <a:pt x="326" y="256"/>
                  </a:lnTo>
                  <a:lnTo>
                    <a:pt x="328" y="258"/>
                  </a:lnTo>
                  <a:lnTo>
                    <a:pt x="328" y="260"/>
                  </a:lnTo>
                  <a:lnTo>
                    <a:pt x="328" y="260"/>
                  </a:lnTo>
                  <a:lnTo>
                    <a:pt x="326" y="260"/>
                  </a:lnTo>
                  <a:lnTo>
                    <a:pt x="326" y="258"/>
                  </a:lnTo>
                  <a:lnTo>
                    <a:pt x="323" y="258"/>
                  </a:lnTo>
                  <a:lnTo>
                    <a:pt x="323" y="258"/>
                  </a:lnTo>
                  <a:lnTo>
                    <a:pt x="321" y="258"/>
                  </a:lnTo>
                  <a:lnTo>
                    <a:pt x="318" y="258"/>
                  </a:lnTo>
                  <a:lnTo>
                    <a:pt x="318" y="258"/>
                  </a:lnTo>
                  <a:lnTo>
                    <a:pt x="321" y="256"/>
                  </a:lnTo>
                  <a:lnTo>
                    <a:pt x="318" y="256"/>
                  </a:lnTo>
                  <a:lnTo>
                    <a:pt x="318" y="256"/>
                  </a:lnTo>
                  <a:lnTo>
                    <a:pt x="314" y="253"/>
                  </a:lnTo>
                  <a:lnTo>
                    <a:pt x="311" y="253"/>
                  </a:lnTo>
                  <a:lnTo>
                    <a:pt x="307" y="253"/>
                  </a:lnTo>
                  <a:lnTo>
                    <a:pt x="304" y="253"/>
                  </a:lnTo>
                  <a:lnTo>
                    <a:pt x="302" y="251"/>
                  </a:lnTo>
                  <a:lnTo>
                    <a:pt x="300" y="251"/>
                  </a:lnTo>
                  <a:lnTo>
                    <a:pt x="300" y="251"/>
                  </a:lnTo>
                  <a:lnTo>
                    <a:pt x="297" y="253"/>
                  </a:lnTo>
                  <a:lnTo>
                    <a:pt x="295" y="256"/>
                  </a:lnTo>
                  <a:lnTo>
                    <a:pt x="290" y="258"/>
                  </a:lnTo>
                  <a:lnTo>
                    <a:pt x="285" y="260"/>
                  </a:lnTo>
                  <a:lnTo>
                    <a:pt x="281" y="260"/>
                  </a:lnTo>
                  <a:lnTo>
                    <a:pt x="281" y="260"/>
                  </a:lnTo>
                  <a:lnTo>
                    <a:pt x="278" y="263"/>
                  </a:lnTo>
                  <a:lnTo>
                    <a:pt x="276" y="265"/>
                  </a:lnTo>
                  <a:lnTo>
                    <a:pt x="269" y="267"/>
                  </a:lnTo>
                  <a:lnTo>
                    <a:pt x="269" y="270"/>
                  </a:lnTo>
                  <a:lnTo>
                    <a:pt x="269" y="270"/>
                  </a:lnTo>
                  <a:lnTo>
                    <a:pt x="271" y="272"/>
                  </a:lnTo>
                  <a:lnTo>
                    <a:pt x="271" y="275"/>
                  </a:lnTo>
                  <a:lnTo>
                    <a:pt x="276" y="277"/>
                  </a:lnTo>
                  <a:lnTo>
                    <a:pt x="278" y="279"/>
                  </a:lnTo>
                  <a:lnTo>
                    <a:pt x="281" y="282"/>
                  </a:lnTo>
                  <a:lnTo>
                    <a:pt x="283" y="284"/>
                  </a:lnTo>
                  <a:lnTo>
                    <a:pt x="281" y="284"/>
                  </a:lnTo>
                  <a:lnTo>
                    <a:pt x="278" y="284"/>
                  </a:lnTo>
                  <a:lnTo>
                    <a:pt x="276" y="284"/>
                  </a:lnTo>
                  <a:lnTo>
                    <a:pt x="274" y="284"/>
                  </a:lnTo>
                  <a:lnTo>
                    <a:pt x="274" y="286"/>
                  </a:lnTo>
                  <a:lnTo>
                    <a:pt x="274" y="286"/>
                  </a:lnTo>
                  <a:lnTo>
                    <a:pt x="271" y="286"/>
                  </a:lnTo>
                  <a:lnTo>
                    <a:pt x="262" y="284"/>
                  </a:lnTo>
                  <a:lnTo>
                    <a:pt x="257" y="284"/>
                  </a:lnTo>
                  <a:lnTo>
                    <a:pt x="255" y="284"/>
                  </a:lnTo>
                  <a:lnTo>
                    <a:pt x="252" y="282"/>
                  </a:lnTo>
                  <a:lnTo>
                    <a:pt x="252" y="282"/>
                  </a:lnTo>
                  <a:lnTo>
                    <a:pt x="250" y="282"/>
                  </a:lnTo>
                  <a:lnTo>
                    <a:pt x="248" y="282"/>
                  </a:lnTo>
                  <a:lnTo>
                    <a:pt x="248" y="282"/>
                  </a:lnTo>
                  <a:lnTo>
                    <a:pt x="241" y="277"/>
                  </a:lnTo>
                  <a:lnTo>
                    <a:pt x="234" y="275"/>
                  </a:lnTo>
                  <a:lnTo>
                    <a:pt x="234" y="275"/>
                  </a:lnTo>
                  <a:lnTo>
                    <a:pt x="231" y="277"/>
                  </a:lnTo>
                  <a:lnTo>
                    <a:pt x="229" y="279"/>
                  </a:lnTo>
                  <a:lnTo>
                    <a:pt x="229" y="282"/>
                  </a:lnTo>
                  <a:lnTo>
                    <a:pt x="227" y="279"/>
                  </a:lnTo>
                  <a:lnTo>
                    <a:pt x="227" y="282"/>
                  </a:lnTo>
                  <a:lnTo>
                    <a:pt x="227" y="284"/>
                  </a:lnTo>
                  <a:lnTo>
                    <a:pt x="229" y="284"/>
                  </a:lnTo>
                  <a:lnTo>
                    <a:pt x="231" y="284"/>
                  </a:lnTo>
                  <a:lnTo>
                    <a:pt x="236" y="289"/>
                  </a:lnTo>
                  <a:lnTo>
                    <a:pt x="238" y="291"/>
                  </a:lnTo>
                  <a:lnTo>
                    <a:pt x="238" y="291"/>
                  </a:lnTo>
                  <a:lnTo>
                    <a:pt x="241" y="291"/>
                  </a:lnTo>
                  <a:lnTo>
                    <a:pt x="245" y="291"/>
                  </a:lnTo>
                  <a:lnTo>
                    <a:pt x="248" y="291"/>
                  </a:lnTo>
                  <a:lnTo>
                    <a:pt x="248" y="291"/>
                  </a:lnTo>
                  <a:lnTo>
                    <a:pt x="250" y="293"/>
                  </a:lnTo>
                  <a:lnTo>
                    <a:pt x="250" y="296"/>
                  </a:lnTo>
                  <a:lnTo>
                    <a:pt x="252" y="298"/>
                  </a:lnTo>
                  <a:lnTo>
                    <a:pt x="250" y="298"/>
                  </a:lnTo>
                  <a:lnTo>
                    <a:pt x="245" y="301"/>
                  </a:lnTo>
                  <a:lnTo>
                    <a:pt x="243" y="301"/>
                  </a:lnTo>
                  <a:lnTo>
                    <a:pt x="243" y="301"/>
                  </a:lnTo>
                  <a:lnTo>
                    <a:pt x="236" y="301"/>
                  </a:lnTo>
                  <a:lnTo>
                    <a:pt x="234" y="298"/>
                  </a:lnTo>
                  <a:lnTo>
                    <a:pt x="227" y="298"/>
                  </a:lnTo>
                  <a:lnTo>
                    <a:pt x="227" y="298"/>
                  </a:lnTo>
                  <a:lnTo>
                    <a:pt x="224" y="293"/>
                  </a:lnTo>
                  <a:lnTo>
                    <a:pt x="217" y="291"/>
                  </a:lnTo>
                  <a:lnTo>
                    <a:pt x="215" y="291"/>
                  </a:lnTo>
                  <a:lnTo>
                    <a:pt x="212" y="291"/>
                  </a:lnTo>
                  <a:lnTo>
                    <a:pt x="210" y="291"/>
                  </a:lnTo>
                  <a:lnTo>
                    <a:pt x="208" y="289"/>
                  </a:lnTo>
                  <a:lnTo>
                    <a:pt x="203" y="286"/>
                  </a:lnTo>
                  <a:lnTo>
                    <a:pt x="203" y="284"/>
                  </a:lnTo>
                  <a:lnTo>
                    <a:pt x="203" y="284"/>
                  </a:lnTo>
                  <a:lnTo>
                    <a:pt x="205" y="284"/>
                  </a:lnTo>
                  <a:lnTo>
                    <a:pt x="203" y="284"/>
                  </a:lnTo>
                  <a:lnTo>
                    <a:pt x="203" y="282"/>
                  </a:lnTo>
                  <a:lnTo>
                    <a:pt x="201" y="279"/>
                  </a:lnTo>
                  <a:lnTo>
                    <a:pt x="198" y="277"/>
                  </a:lnTo>
                  <a:lnTo>
                    <a:pt x="196" y="275"/>
                  </a:lnTo>
                  <a:lnTo>
                    <a:pt x="194" y="272"/>
                  </a:lnTo>
                  <a:lnTo>
                    <a:pt x="196" y="270"/>
                  </a:lnTo>
                  <a:lnTo>
                    <a:pt x="196" y="270"/>
                  </a:lnTo>
                  <a:lnTo>
                    <a:pt x="198" y="267"/>
                  </a:lnTo>
                  <a:lnTo>
                    <a:pt x="198" y="265"/>
                  </a:lnTo>
                  <a:lnTo>
                    <a:pt x="198" y="265"/>
                  </a:lnTo>
                  <a:lnTo>
                    <a:pt x="198" y="265"/>
                  </a:lnTo>
                  <a:lnTo>
                    <a:pt x="198" y="263"/>
                  </a:lnTo>
                  <a:lnTo>
                    <a:pt x="196" y="263"/>
                  </a:lnTo>
                  <a:lnTo>
                    <a:pt x="191" y="258"/>
                  </a:lnTo>
                  <a:lnTo>
                    <a:pt x="186" y="256"/>
                  </a:lnTo>
                  <a:lnTo>
                    <a:pt x="179" y="256"/>
                  </a:lnTo>
                  <a:lnTo>
                    <a:pt x="177" y="256"/>
                  </a:lnTo>
                  <a:lnTo>
                    <a:pt x="177" y="256"/>
                  </a:lnTo>
                  <a:lnTo>
                    <a:pt x="179" y="253"/>
                  </a:lnTo>
                  <a:lnTo>
                    <a:pt x="179" y="253"/>
                  </a:lnTo>
                  <a:lnTo>
                    <a:pt x="179" y="253"/>
                  </a:lnTo>
                  <a:lnTo>
                    <a:pt x="179" y="253"/>
                  </a:lnTo>
                  <a:lnTo>
                    <a:pt x="177" y="251"/>
                  </a:lnTo>
                  <a:lnTo>
                    <a:pt x="175" y="251"/>
                  </a:lnTo>
                  <a:lnTo>
                    <a:pt x="172" y="251"/>
                  </a:lnTo>
                  <a:lnTo>
                    <a:pt x="175" y="249"/>
                  </a:lnTo>
                  <a:lnTo>
                    <a:pt x="172" y="249"/>
                  </a:lnTo>
                  <a:lnTo>
                    <a:pt x="170" y="249"/>
                  </a:lnTo>
                  <a:lnTo>
                    <a:pt x="168" y="249"/>
                  </a:lnTo>
                  <a:lnTo>
                    <a:pt x="168" y="246"/>
                  </a:lnTo>
                  <a:lnTo>
                    <a:pt x="165" y="246"/>
                  </a:lnTo>
                  <a:lnTo>
                    <a:pt x="163" y="244"/>
                  </a:lnTo>
                  <a:lnTo>
                    <a:pt x="163" y="241"/>
                  </a:lnTo>
                  <a:lnTo>
                    <a:pt x="161" y="241"/>
                  </a:lnTo>
                  <a:lnTo>
                    <a:pt x="158" y="241"/>
                  </a:lnTo>
                  <a:lnTo>
                    <a:pt x="156" y="239"/>
                  </a:lnTo>
                  <a:lnTo>
                    <a:pt x="153" y="239"/>
                  </a:lnTo>
                  <a:lnTo>
                    <a:pt x="161" y="239"/>
                  </a:lnTo>
                  <a:lnTo>
                    <a:pt x="168" y="241"/>
                  </a:lnTo>
                  <a:lnTo>
                    <a:pt x="168" y="241"/>
                  </a:lnTo>
                  <a:lnTo>
                    <a:pt x="168" y="241"/>
                  </a:lnTo>
                  <a:lnTo>
                    <a:pt x="170" y="244"/>
                  </a:lnTo>
                  <a:lnTo>
                    <a:pt x="172" y="246"/>
                  </a:lnTo>
                  <a:lnTo>
                    <a:pt x="177" y="246"/>
                  </a:lnTo>
                  <a:lnTo>
                    <a:pt x="177" y="246"/>
                  </a:lnTo>
                  <a:lnTo>
                    <a:pt x="179" y="246"/>
                  </a:lnTo>
                  <a:lnTo>
                    <a:pt x="182" y="246"/>
                  </a:lnTo>
                  <a:lnTo>
                    <a:pt x="182" y="249"/>
                  </a:lnTo>
                  <a:lnTo>
                    <a:pt x="186" y="249"/>
                  </a:lnTo>
                  <a:lnTo>
                    <a:pt x="191" y="249"/>
                  </a:lnTo>
                  <a:lnTo>
                    <a:pt x="191" y="249"/>
                  </a:lnTo>
                  <a:lnTo>
                    <a:pt x="191" y="249"/>
                  </a:lnTo>
                  <a:lnTo>
                    <a:pt x="191" y="251"/>
                  </a:lnTo>
                  <a:lnTo>
                    <a:pt x="194" y="251"/>
                  </a:lnTo>
                  <a:lnTo>
                    <a:pt x="196" y="249"/>
                  </a:lnTo>
                  <a:lnTo>
                    <a:pt x="205" y="253"/>
                  </a:lnTo>
                  <a:lnTo>
                    <a:pt x="205" y="253"/>
                  </a:lnTo>
                  <a:lnTo>
                    <a:pt x="219" y="256"/>
                  </a:lnTo>
                  <a:lnTo>
                    <a:pt x="224" y="256"/>
                  </a:lnTo>
                  <a:lnTo>
                    <a:pt x="227" y="256"/>
                  </a:lnTo>
                  <a:lnTo>
                    <a:pt x="231" y="256"/>
                  </a:lnTo>
                  <a:lnTo>
                    <a:pt x="236" y="258"/>
                  </a:lnTo>
                  <a:lnTo>
                    <a:pt x="241" y="258"/>
                  </a:lnTo>
                  <a:lnTo>
                    <a:pt x="248" y="260"/>
                  </a:lnTo>
                  <a:lnTo>
                    <a:pt x="252" y="260"/>
                  </a:lnTo>
                  <a:lnTo>
                    <a:pt x="260" y="258"/>
                  </a:lnTo>
                  <a:lnTo>
                    <a:pt x="271" y="256"/>
                  </a:lnTo>
                  <a:lnTo>
                    <a:pt x="276" y="253"/>
                  </a:lnTo>
                  <a:lnTo>
                    <a:pt x="283" y="246"/>
                  </a:lnTo>
                  <a:lnTo>
                    <a:pt x="283" y="244"/>
                  </a:lnTo>
                  <a:lnTo>
                    <a:pt x="285" y="239"/>
                  </a:lnTo>
                  <a:lnTo>
                    <a:pt x="283" y="239"/>
                  </a:lnTo>
                  <a:lnTo>
                    <a:pt x="283" y="239"/>
                  </a:lnTo>
                  <a:lnTo>
                    <a:pt x="281" y="237"/>
                  </a:lnTo>
                  <a:lnTo>
                    <a:pt x="281" y="234"/>
                  </a:lnTo>
                  <a:lnTo>
                    <a:pt x="278" y="234"/>
                  </a:lnTo>
                  <a:lnTo>
                    <a:pt x="276" y="230"/>
                  </a:lnTo>
                  <a:lnTo>
                    <a:pt x="274" y="230"/>
                  </a:lnTo>
                  <a:lnTo>
                    <a:pt x="271" y="227"/>
                  </a:lnTo>
                  <a:lnTo>
                    <a:pt x="269" y="227"/>
                  </a:lnTo>
                  <a:lnTo>
                    <a:pt x="267" y="227"/>
                  </a:lnTo>
                  <a:lnTo>
                    <a:pt x="264" y="225"/>
                  </a:lnTo>
                  <a:lnTo>
                    <a:pt x="262" y="225"/>
                  </a:lnTo>
                  <a:lnTo>
                    <a:pt x="260" y="223"/>
                  </a:lnTo>
                  <a:lnTo>
                    <a:pt x="260" y="223"/>
                  </a:lnTo>
                  <a:lnTo>
                    <a:pt x="257" y="223"/>
                  </a:lnTo>
                  <a:lnTo>
                    <a:pt x="260" y="223"/>
                  </a:lnTo>
                  <a:lnTo>
                    <a:pt x="260" y="223"/>
                  </a:lnTo>
                  <a:lnTo>
                    <a:pt x="255" y="223"/>
                  </a:lnTo>
                  <a:lnTo>
                    <a:pt x="245" y="218"/>
                  </a:lnTo>
                  <a:lnTo>
                    <a:pt x="243" y="218"/>
                  </a:lnTo>
                  <a:lnTo>
                    <a:pt x="243" y="218"/>
                  </a:lnTo>
                  <a:lnTo>
                    <a:pt x="238" y="218"/>
                  </a:lnTo>
                  <a:lnTo>
                    <a:pt x="238" y="218"/>
                  </a:lnTo>
                  <a:lnTo>
                    <a:pt x="229" y="213"/>
                  </a:lnTo>
                  <a:lnTo>
                    <a:pt x="212" y="206"/>
                  </a:lnTo>
                  <a:lnTo>
                    <a:pt x="201" y="204"/>
                  </a:lnTo>
                  <a:lnTo>
                    <a:pt x="194" y="201"/>
                  </a:lnTo>
                  <a:lnTo>
                    <a:pt x="191" y="201"/>
                  </a:lnTo>
                  <a:lnTo>
                    <a:pt x="191" y="201"/>
                  </a:lnTo>
                  <a:lnTo>
                    <a:pt x="189" y="204"/>
                  </a:lnTo>
                  <a:lnTo>
                    <a:pt x="186" y="201"/>
                  </a:lnTo>
                  <a:lnTo>
                    <a:pt x="179" y="201"/>
                  </a:lnTo>
                  <a:lnTo>
                    <a:pt x="177" y="201"/>
                  </a:lnTo>
                  <a:lnTo>
                    <a:pt x="170" y="201"/>
                  </a:lnTo>
                  <a:lnTo>
                    <a:pt x="170" y="201"/>
                  </a:lnTo>
                  <a:lnTo>
                    <a:pt x="168" y="204"/>
                  </a:lnTo>
                  <a:lnTo>
                    <a:pt x="168" y="204"/>
                  </a:lnTo>
                  <a:lnTo>
                    <a:pt x="165" y="206"/>
                  </a:lnTo>
                  <a:lnTo>
                    <a:pt x="165" y="204"/>
                  </a:lnTo>
                  <a:lnTo>
                    <a:pt x="168" y="204"/>
                  </a:lnTo>
                  <a:lnTo>
                    <a:pt x="168" y="201"/>
                  </a:lnTo>
                  <a:lnTo>
                    <a:pt x="168" y="201"/>
                  </a:lnTo>
                  <a:lnTo>
                    <a:pt x="168" y="199"/>
                  </a:lnTo>
                  <a:lnTo>
                    <a:pt x="168" y="199"/>
                  </a:lnTo>
                  <a:lnTo>
                    <a:pt x="165" y="199"/>
                  </a:lnTo>
                  <a:lnTo>
                    <a:pt x="165" y="199"/>
                  </a:lnTo>
                  <a:lnTo>
                    <a:pt x="161" y="199"/>
                  </a:lnTo>
                  <a:lnTo>
                    <a:pt x="161" y="199"/>
                  </a:lnTo>
                  <a:lnTo>
                    <a:pt x="161" y="199"/>
                  </a:lnTo>
                  <a:lnTo>
                    <a:pt x="161" y="199"/>
                  </a:lnTo>
                  <a:lnTo>
                    <a:pt x="161" y="199"/>
                  </a:lnTo>
                  <a:lnTo>
                    <a:pt x="156" y="199"/>
                  </a:lnTo>
                  <a:lnTo>
                    <a:pt x="153" y="199"/>
                  </a:lnTo>
                  <a:lnTo>
                    <a:pt x="151" y="197"/>
                  </a:lnTo>
                  <a:lnTo>
                    <a:pt x="149" y="197"/>
                  </a:lnTo>
                  <a:lnTo>
                    <a:pt x="149" y="194"/>
                  </a:lnTo>
                  <a:lnTo>
                    <a:pt x="149" y="194"/>
                  </a:lnTo>
                  <a:lnTo>
                    <a:pt x="158" y="197"/>
                  </a:lnTo>
                  <a:lnTo>
                    <a:pt x="161" y="197"/>
                  </a:lnTo>
                  <a:lnTo>
                    <a:pt x="161" y="194"/>
                  </a:lnTo>
                  <a:lnTo>
                    <a:pt x="161" y="194"/>
                  </a:lnTo>
                  <a:lnTo>
                    <a:pt x="161" y="194"/>
                  </a:lnTo>
                  <a:lnTo>
                    <a:pt x="158" y="194"/>
                  </a:lnTo>
                  <a:lnTo>
                    <a:pt x="153" y="192"/>
                  </a:lnTo>
                  <a:lnTo>
                    <a:pt x="151" y="192"/>
                  </a:lnTo>
                  <a:lnTo>
                    <a:pt x="146" y="189"/>
                  </a:lnTo>
                  <a:lnTo>
                    <a:pt x="146" y="189"/>
                  </a:lnTo>
                  <a:lnTo>
                    <a:pt x="146" y="192"/>
                  </a:lnTo>
                  <a:lnTo>
                    <a:pt x="146" y="192"/>
                  </a:lnTo>
                  <a:lnTo>
                    <a:pt x="144" y="192"/>
                  </a:lnTo>
                  <a:lnTo>
                    <a:pt x="144" y="192"/>
                  </a:lnTo>
                  <a:lnTo>
                    <a:pt x="142" y="194"/>
                  </a:lnTo>
                  <a:lnTo>
                    <a:pt x="142" y="194"/>
                  </a:lnTo>
                  <a:lnTo>
                    <a:pt x="139" y="194"/>
                  </a:lnTo>
                  <a:lnTo>
                    <a:pt x="135" y="192"/>
                  </a:lnTo>
                  <a:lnTo>
                    <a:pt x="132" y="192"/>
                  </a:lnTo>
                  <a:lnTo>
                    <a:pt x="132" y="194"/>
                  </a:lnTo>
                  <a:lnTo>
                    <a:pt x="132" y="197"/>
                  </a:lnTo>
                  <a:lnTo>
                    <a:pt x="132" y="197"/>
                  </a:lnTo>
                  <a:lnTo>
                    <a:pt x="132" y="197"/>
                  </a:lnTo>
                  <a:lnTo>
                    <a:pt x="132" y="197"/>
                  </a:lnTo>
                  <a:lnTo>
                    <a:pt x="130" y="197"/>
                  </a:lnTo>
                  <a:lnTo>
                    <a:pt x="125" y="197"/>
                  </a:lnTo>
                  <a:lnTo>
                    <a:pt x="123" y="194"/>
                  </a:lnTo>
                  <a:lnTo>
                    <a:pt x="123" y="194"/>
                  </a:lnTo>
                  <a:lnTo>
                    <a:pt x="123" y="194"/>
                  </a:lnTo>
                  <a:lnTo>
                    <a:pt x="123" y="197"/>
                  </a:lnTo>
                  <a:lnTo>
                    <a:pt x="123" y="197"/>
                  </a:lnTo>
                  <a:lnTo>
                    <a:pt x="123" y="197"/>
                  </a:lnTo>
                  <a:lnTo>
                    <a:pt x="123" y="199"/>
                  </a:lnTo>
                  <a:lnTo>
                    <a:pt x="123" y="199"/>
                  </a:lnTo>
                  <a:lnTo>
                    <a:pt x="121" y="199"/>
                  </a:lnTo>
                  <a:lnTo>
                    <a:pt x="118" y="199"/>
                  </a:lnTo>
                  <a:lnTo>
                    <a:pt x="113" y="201"/>
                  </a:lnTo>
                  <a:lnTo>
                    <a:pt x="113" y="201"/>
                  </a:lnTo>
                  <a:lnTo>
                    <a:pt x="111" y="204"/>
                  </a:lnTo>
                  <a:lnTo>
                    <a:pt x="111" y="206"/>
                  </a:lnTo>
                  <a:lnTo>
                    <a:pt x="111" y="206"/>
                  </a:lnTo>
                  <a:lnTo>
                    <a:pt x="109" y="206"/>
                  </a:lnTo>
                  <a:lnTo>
                    <a:pt x="106" y="206"/>
                  </a:lnTo>
                  <a:lnTo>
                    <a:pt x="104" y="206"/>
                  </a:lnTo>
                  <a:lnTo>
                    <a:pt x="104" y="208"/>
                  </a:lnTo>
                  <a:lnTo>
                    <a:pt x="102" y="208"/>
                  </a:lnTo>
                  <a:lnTo>
                    <a:pt x="102" y="208"/>
                  </a:lnTo>
                  <a:lnTo>
                    <a:pt x="104" y="208"/>
                  </a:lnTo>
                  <a:lnTo>
                    <a:pt x="106" y="208"/>
                  </a:lnTo>
                  <a:lnTo>
                    <a:pt x="106" y="208"/>
                  </a:lnTo>
                  <a:lnTo>
                    <a:pt x="106" y="211"/>
                  </a:lnTo>
                  <a:lnTo>
                    <a:pt x="106" y="211"/>
                  </a:lnTo>
                  <a:lnTo>
                    <a:pt x="104" y="215"/>
                  </a:lnTo>
                  <a:lnTo>
                    <a:pt x="104" y="215"/>
                  </a:lnTo>
                  <a:lnTo>
                    <a:pt x="104" y="218"/>
                  </a:lnTo>
                  <a:lnTo>
                    <a:pt x="106" y="220"/>
                  </a:lnTo>
                  <a:lnTo>
                    <a:pt x="111" y="223"/>
                  </a:lnTo>
                  <a:lnTo>
                    <a:pt x="116" y="223"/>
                  </a:lnTo>
                  <a:lnTo>
                    <a:pt x="118" y="225"/>
                  </a:lnTo>
                  <a:lnTo>
                    <a:pt x="123" y="230"/>
                  </a:lnTo>
                  <a:lnTo>
                    <a:pt x="125" y="230"/>
                  </a:lnTo>
                  <a:lnTo>
                    <a:pt x="125" y="230"/>
                  </a:lnTo>
                  <a:lnTo>
                    <a:pt x="125" y="232"/>
                  </a:lnTo>
                  <a:lnTo>
                    <a:pt x="123" y="234"/>
                  </a:lnTo>
                  <a:lnTo>
                    <a:pt x="121" y="237"/>
                  </a:lnTo>
                  <a:lnTo>
                    <a:pt x="118" y="239"/>
                  </a:lnTo>
                  <a:lnTo>
                    <a:pt x="118" y="241"/>
                  </a:lnTo>
                  <a:lnTo>
                    <a:pt x="116" y="244"/>
                  </a:lnTo>
                  <a:lnTo>
                    <a:pt x="116" y="244"/>
                  </a:lnTo>
                  <a:lnTo>
                    <a:pt x="116" y="244"/>
                  </a:lnTo>
                  <a:lnTo>
                    <a:pt x="116" y="246"/>
                  </a:lnTo>
                  <a:lnTo>
                    <a:pt x="118" y="249"/>
                  </a:lnTo>
                  <a:lnTo>
                    <a:pt x="121" y="249"/>
                  </a:lnTo>
                  <a:lnTo>
                    <a:pt x="123" y="251"/>
                  </a:lnTo>
                  <a:lnTo>
                    <a:pt x="123" y="253"/>
                  </a:lnTo>
                  <a:lnTo>
                    <a:pt x="125" y="253"/>
                  </a:lnTo>
                  <a:lnTo>
                    <a:pt x="125" y="256"/>
                  </a:lnTo>
                  <a:lnTo>
                    <a:pt x="125" y="256"/>
                  </a:lnTo>
                  <a:lnTo>
                    <a:pt x="128" y="258"/>
                  </a:lnTo>
                  <a:lnTo>
                    <a:pt x="130" y="258"/>
                  </a:lnTo>
                  <a:lnTo>
                    <a:pt x="130" y="260"/>
                  </a:lnTo>
                  <a:lnTo>
                    <a:pt x="132" y="265"/>
                  </a:lnTo>
                  <a:lnTo>
                    <a:pt x="132" y="265"/>
                  </a:lnTo>
                  <a:lnTo>
                    <a:pt x="132" y="267"/>
                  </a:lnTo>
                  <a:lnTo>
                    <a:pt x="132" y="267"/>
                  </a:lnTo>
                  <a:lnTo>
                    <a:pt x="130" y="267"/>
                  </a:lnTo>
                  <a:lnTo>
                    <a:pt x="128" y="267"/>
                  </a:lnTo>
                  <a:lnTo>
                    <a:pt x="128" y="267"/>
                  </a:lnTo>
                  <a:lnTo>
                    <a:pt x="130" y="270"/>
                  </a:lnTo>
                  <a:lnTo>
                    <a:pt x="128" y="270"/>
                  </a:lnTo>
                  <a:lnTo>
                    <a:pt x="128" y="272"/>
                  </a:lnTo>
                  <a:lnTo>
                    <a:pt x="128" y="275"/>
                  </a:lnTo>
                  <a:lnTo>
                    <a:pt x="128" y="275"/>
                  </a:lnTo>
                  <a:lnTo>
                    <a:pt x="128" y="275"/>
                  </a:lnTo>
                  <a:lnTo>
                    <a:pt x="128" y="275"/>
                  </a:lnTo>
                  <a:lnTo>
                    <a:pt x="130" y="275"/>
                  </a:lnTo>
                  <a:lnTo>
                    <a:pt x="130" y="277"/>
                  </a:lnTo>
                  <a:lnTo>
                    <a:pt x="130" y="277"/>
                  </a:lnTo>
                  <a:lnTo>
                    <a:pt x="130" y="277"/>
                  </a:lnTo>
                  <a:lnTo>
                    <a:pt x="130" y="277"/>
                  </a:lnTo>
                  <a:lnTo>
                    <a:pt x="128" y="279"/>
                  </a:lnTo>
                  <a:lnTo>
                    <a:pt x="128" y="279"/>
                  </a:lnTo>
                  <a:lnTo>
                    <a:pt x="128" y="279"/>
                  </a:lnTo>
                  <a:lnTo>
                    <a:pt x="130" y="282"/>
                  </a:lnTo>
                  <a:lnTo>
                    <a:pt x="130" y="282"/>
                  </a:lnTo>
                  <a:lnTo>
                    <a:pt x="132" y="284"/>
                  </a:lnTo>
                  <a:lnTo>
                    <a:pt x="135" y="284"/>
                  </a:lnTo>
                  <a:lnTo>
                    <a:pt x="137" y="284"/>
                  </a:lnTo>
                  <a:lnTo>
                    <a:pt x="137" y="284"/>
                  </a:lnTo>
                  <a:lnTo>
                    <a:pt x="137" y="286"/>
                  </a:lnTo>
                  <a:lnTo>
                    <a:pt x="135" y="286"/>
                  </a:lnTo>
                  <a:lnTo>
                    <a:pt x="135" y="289"/>
                  </a:lnTo>
                  <a:lnTo>
                    <a:pt x="137" y="289"/>
                  </a:lnTo>
                  <a:lnTo>
                    <a:pt x="137" y="291"/>
                  </a:lnTo>
                  <a:lnTo>
                    <a:pt x="142" y="293"/>
                  </a:lnTo>
                  <a:lnTo>
                    <a:pt x="142" y="293"/>
                  </a:lnTo>
                  <a:lnTo>
                    <a:pt x="144" y="293"/>
                  </a:lnTo>
                  <a:lnTo>
                    <a:pt x="144" y="296"/>
                  </a:lnTo>
                  <a:lnTo>
                    <a:pt x="144" y="296"/>
                  </a:lnTo>
                  <a:lnTo>
                    <a:pt x="144" y="298"/>
                  </a:lnTo>
                  <a:lnTo>
                    <a:pt x="142" y="298"/>
                  </a:lnTo>
                  <a:lnTo>
                    <a:pt x="139" y="301"/>
                  </a:lnTo>
                  <a:lnTo>
                    <a:pt x="137" y="303"/>
                  </a:lnTo>
                  <a:lnTo>
                    <a:pt x="137" y="303"/>
                  </a:lnTo>
                  <a:lnTo>
                    <a:pt x="137" y="303"/>
                  </a:lnTo>
                  <a:lnTo>
                    <a:pt x="144" y="308"/>
                  </a:lnTo>
                  <a:lnTo>
                    <a:pt x="146" y="310"/>
                  </a:lnTo>
                  <a:lnTo>
                    <a:pt x="153" y="310"/>
                  </a:lnTo>
                  <a:lnTo>
                    <a:pt x="156" y="312"/>
                  </a:lnTo>
                  <a:lnTo>
                    <a:pt x="156" y="315"/>
                  </a:lnTo>
                  <a:lnTo>
                    <a:pt x="158" y="315"/>
                  </a:lnTo>
                  <a:lnTo>
                    <a:pt x="161" y="317"/>
                  </a:lnTo>
                  <a:lnTo>
                    <a:pt x="161" y="317"/>
                  </a:lnTo>
                  <a:lnTo>
                    <a:pt x="161" y="317"/>
                  </a:lnTo>
                  <a:lnTo>
                    <a:pt x="161" y="319"/>
                  </a:lnTo>
                  <a:lnTo>
                    <a:pt x="161" y="322"/>
                  </a:lnTo>
                  <a:lnTo>
                    <a:pt x="161" y="322"/>
                  </a:lnTo>
                  <a:lnTo>
                    <a:pt x="158" y="324"/>
                  </a:lnTo>
                  <a:lnTo>
                    <a:pt x="158" y="327"/>
                  </a:lnTo>
                  <a:lnTo>
                    <a:pt x="156" y="329"/>
                  </a:lnTo>
                  <a:lnTo>
                    <a:pt x="149" y="334"/>
                  </a:lnTo>
                  <a:lnTo>
                    <a:pt x="149" y="334"/>
                  </a:lnTo>
                  <a:lnTo>
                    <a:pt x="146" y="336"/>
                  </a:lnTo>
                  <a:lnTo>
                    <a:pt x="142" y="341"/>
                  </a:lnTo>
                  <a:lnTo>
                    <a:pt x="142" y="341"/>
                  </a:lnTo>
                  <a:lnTo>
                    <a:pt x="139" y="345"/>
                  </a:lnTo>
                  <a:lnTo>
                    <a:pt x="137" y="345"/>
                  </a:lnTo>
                  <a:lnTo>
                    <a:pt x="137" y="345"/>
                  </a:lnTo>
                  <a:lnTo>
                    <a:pt x="132" y="350"/>
                  </a:lnTo>
                  <a:lnTo>
                    <a:pt x="130" y="353"/>
                  </a:lnTo>
                  <a:lnTo>
                    <a:pt x="125" y="353"/>
                  </a:lnTo>
                  <a:lnTo>
                    <a:pt x="125" y="355"/>
                  </a:lnTo>
                  <a:lnTo>
                    <a:pt x="123" y="355"/>
                  </a:lnTo>
                  <a:lnTo>
                    <a:pt x="123" y="357"/>
                  </a:lnTo>
                  <a:lnTo>
                    <a:pt x="121" y="357"/>
                  </a:lnTo>
                  <a:lnTo>
                    <a:pt x="118" y="360"/>
                  </a:lnTo>
                  <a:lnTo>
                    <a:pt x="113" y="364"/>
                  </a:lnTo>
                  <a:lnTo>
                    <a:pt x="118" y="362"/>
                  </a:lnTo>
                  <a:lnTo>
                    <a:pt x="123" y="362"/>
                  </a:lnTo>
                  <a:lnTo>
                    <a:pt x="125" y="362"/>
                  </a:lnTo>
                  <a:lnTo>
                    <a:pt x="125" y="362"/>
                  </a:lnTo>
                  <a:lnTo>
                    <a:pt x="125" y="364"/>
                  </a:lnTo>
                  <a:lnTo>
                    <a:pt x="125" y="364"/>
                  </a:lnTo>
                  <a:lnTo>
                    <a:pt x="123" y="364"/>
                  </a:lnTo>
                  <a:lnTo>
                    <a:pt x="125" y="364"/>
                  </a:lnTo>
                  <a:lnTo>
                    <a:pt x="125" y="367"/>
                  </a:lnTo>
                  <a:lnTo>
                    <a:pt x="130" y="367"/>
                  </a:lnTo>
                  <a:lnTo>
                    <a:pt x="132" y="372"/>
                  </a:lnTo>
                  <a:lnTo>
                    <a:pt x="137" y="372"/>
                  </a:lnTo>
                  <a:lnTo>
                    <a:pt x="139" y="369"/>
                  </a:lnTo>
                  <a:lnTo>
                    <a:pt x="142" y="372"/>
                  </a:lnTo>
                  <a:lnTo>
                    <a:pt x="144" y="372"/>
                  </a:lnTo>
                  <a:lnTo>
                    <a:pt x="146" y="374"/>
                  </a:lnTo>
                  <a:lnTo>
                    <a:pt x="149" y="374"/>
                  </a:lnTo>
                  <a:lnTo>
                    <a:pt x="151" y="374"/>
                  </a:lnTo>
                  <a:lnTo>
                    <a:pt x="151" y="376"/>
                  </a:lnTo>
                  <a:lnTo>
                    <a:pt x="149" y="376"/>
                  </a:lnTo>
                  <a:lnTo>
                    <a:pt x="142" y="374"/>
                  </a:lnTo>
                  <a:lnTo>
                    <a:pt x="135" y="374"/>
                  </a:lnTo>
                  <a:lnTo>
                    <a:pt x="135" y="374"/>
                  </a:lnTo>
                  <a:lnTo>
                    <a:pt x="132" y="376"/>
                  </a:lnTo>
                  <a:lnTo>
                    <a:pt x="132" y="376"/>
                  </a:lnTo>
                  <a:lnTo>
                    <a:pt x="132" y="379"/>
                  </a:lnTo>
                  <a:lnTo>
                    <a:pt x="130" y="379"/>
                  </a:lnTo>
                  <a:lnTo>
                    <a:pt x="130" y="379"/>
                  </a:lnTo>
                  <a:lnTo>
                    <a:pt x="128" y="379"/>
                  </a:lnTo>
                  <a:lnTo>
                    <a:pt x="125" y="376"/>
                  </a:lnTo>
                  <a:lnTo>
                    <a:pt x="125" y="379"/>
                  </a:lnTo>
                  <a:lnTo>
                    <a:pt x="125" y="379"/>
                  </a:lnTo>
                  <a:lnTo>
                    <a:pt x="123" y="381"/>
                  </a:lnTo>
                  <a:lnTo>
                    <a:pt x="121" y="379"/>
                  </a:lnTo>
                  <a:lnTo>
                    <a:pt x="121" y="379"/>
                  </a:lnTo>
                  <a:lnTo>
                    <a:pt x="118" y="379"/>
                  </a:lnTo>
                  <a:lnTo>
                    <a:pt x="118" y="379"/>
                  </a:lnTo>
                  <a:lnTo>
                    <a:pt x="118" y="381"/>
                  </a:lnTo>
                  <a:lnTo>
                    <a:pt x="121" y="383"/>
                  </a:lnTo>
                  <a:lnTo>
                    <a:pt x="118" y="383"/>
                  </a:lnTo>
                  <a:lnTo>
                    <a:pt x="121" y="386"/>
                  </a:lnTo>
                  <a:lnTo>
                    <a:pt x="121" y="386"/>
                  </a:lnTo>
                  <a:lnTo>
                    <a:pt x="121" y="386"/>
                  </a:lnTo>
                  <a:lnTo>
                    <a:pt x="121" y="386"/>
                  </a:lnTo>
                  <a:lnTo>
                    <a:pt x="121" y="386"/>
                  </a:lnTo>
                  <a:lnTo>
                    <a:pt x="121" y="388"/>
                  </a:lnTo>
                  <a:lnTo>
                    <a:pt x="121" y="388"/>
                  </a:lnTo>
                  <a:lnTo>
                    <a:pt x="118" y="388"/>
                  </a:lnTo>
                  <a:lnTo>
                    <a:pt x="118" y="388"/>
                  </a:lnTo>
                  <a:lnTo>
                    <a:pt x="118" y="390"/>
                  </a:lnTo>
                  <a:lnTo>
                    <a:pt x="116" y="393"/>
                  </a:lnTo>
                  <a:lnTo>
                    <a:pt x="113" y="395"/>
                  </a:lnTo>
                  <a:lnTo>
                    <a:pt x="113" y="395"/>
                  </a:lnTo>
                  <a:lnTo>
                    <a:pt x="113" y="398"/>
                  </a:lnTo>
                  <a:lnTo>
                    <a:pt x="111" y="398"/>
                  </a:lnTo>
                  <a:lnTo>
                    <a:pt x="111" y="400"/>
                  </a:lnTo>
                  <a:lnTo>
                    <a:pt x="113" y="405"/>
                  </a:lnTo>
                  <a:lnTo>
                    <a:pt x="113" y="405"/>
                  </a:lnTo>
                  <a:lnTo>
                    <a:pt x="113" y="407"/>
                  </a:lnTo>
                  <a:lnTo>
                    <a:pt x="113" y="407"/>
                  </a:lnTo>
                  <a:lnTo>
                    <a:pt x="113" y="409"/>
                  </a:lnTo>
                  <a:lnTo>
                    <a:pt x="116" y="409"/>
                  </a:lnTo>
                  <a:lnTo>
                    <a:pt x="118" y="412"/>
                  </a:lnTo>
                  <a:lnTo>
                    <a:pt x="118" y="414"/>
                  </a:lnTo>
                  <a:lnTo>
                    <a:pt x="118" y="414"/>
                  </a:lnTo>
                  <a:lnTo>
                    <a:pt x="118" y="416"/>
                  </a:lnTo>
                  <a:lnTo>
                    <a:pt x="121" y="416"/>
                  </a:lnTo>
                  <a:lnTo>
                    <a:pt x="121" y="416"/>
                  </a:lnTo>
                  <a:lnTo>
                    <a:pt x="118" y="416"/>
                  </a:lnTo>
                  <a:lnTo>
                    <a:pt x="116" y="416"/>
                  </a:lnTo>
                  <a:lnTo>
                    <a:pt x="116" y="419"/>
                  </a:lnTo>
                  <a:lnTo>
                    <a:pt x="116" y="419"/>
                  </a:lnTo>
                  <a:lnTo>
                    <a:pt x="113" y="419"/>
                  </a:lnTo>
                  <a:lnTo>
                    <a:pt x="113" y="421"/>
                  </a:lnTo>
                  <a:lnTo>
                    <a:pt x="113" y="421"/>
                  </a:lnTo>
                  <a:lnTo>
                    <a:pt x="113" y="421"/>
                  </a:lnTo>
                  <a:lnTo>
                    <a:pt x="116" y="424"/>
                  </a:lnTo>
                  <a:lnTo>
                    <a:pt x="116" y="424"/>
                  </a:lnTo>
                  <a:lnTo>
                    <a:pt x="116" y="424"/>
                  </a:lnTo>
                  <a:lnTo>
                    <a:pt x="118" y="426"/>
                  </a:lnTo>
                  <a:lnTo>
                    <a:pt x="121" y="426"/>
                  </a:lnTo>
                  <a:lnTo>
                    <a:pt x="121" y="426"/>
                  </a:lnTo>
                  <a:lnTo>
                    <a:pt x="123" y="428"/>
                  </a:lnTo>
                  <a:lnTo>
                    <a:pt x="123" y="428"/>
                  </a:lnTo>
                  <a:lnTo>
                    <a:pt x="121" y="428"/>
                  </a:lnTo>
                  <a:lnTo>
                    <a:pt x="121" y="431"/>
                  </a:lnTo>
                  <a:lnTo>
                    <a:pt x="121" y="431"/>
                  </a:lnTo>
                  <a:lnTo>
                    <a:pt x="121" y="433"/>
                  </a:lnTo>
                  <a:lnTo>
                    <a:pt x="121" y="435"/>
                  </a:lnTo>
                  <a:lnTo>
                    <a:pt x="121" y="435"/>
                  </a:lnTo>
                  <a:lnTo>
                    <a:pt x="123" y="435"/>
                  </a:lnTo>
                  <a:lnTo>
                    <a:pt x="123" y="435"/>
                  </a:lnTo>
                  <a:lnTo>
                    <a:pt x="123" y="435"/>
                  </a:lnTo>
                  <a:lnTo>
                    <a:pt x="123" y="438"/>
                  </a:lnTo>
                  <a:lnTo>
                    <a:pt x="125" y="438"/>
                  </a:lnTo>
                  <a:lnTo>
                    <a:pt x="125" y="440"/>
                  </a:lnTo>
                  <a:lnTo>
                    <a:pt x="125" y="440"/>
                  </a:lnTo>
                  <a:lnTo>
                    <a:pt x="128" y="442"/>
                  </a:lnTo>
                  <a:lnTo>
                    <a:pt x="128" y="442"/>
                  </a:lnTo>
                  <a:lnTo>
                    <a:pt x="128" y="445"/>
                  </a:lnTo>
                  <a:lnTo>
                    <a:pt x="130" y="447"/>
                  </a:lnTo>
                  <a:lnTo>
                    <a:pt x="130" y="447"/>
                  </a:lnTo>
                  <a:lnTo>
                    <a:pt x="130" y="450"/>
                  </a:lnTo>
                  <a:lnTo>
                    <a:pt x="130" y="450"/>
                  </a:lnTo>
                  <a:lnTo>
                    <a:pt x="132" y="452"/>
                  </a:lnTo>
                  <a:lnTo>
                    <a:pt x="132" y="452"/>
                  </a:lnTo>
                  <a:lnTo>
                    <a:pt x="132" y="452"/>
                  </a:lnTo>
                  <a:lnTo>
                    <a:pt x="132" y="450"/>
                  </a:lnTo>
                  <a:lnTo>
                    <a:pt x="135" y="450"/>
                  </a:lnTo>
                  <a:lnTo>
                    <a:pt x="137" y="452"/>
                  </a:lnTo>
                  <a:lnTo>
                    <a:pt x="137" y="452"/>
                  </a:lnTo>
                  <a:lnTo>
                    <a:pt x="139" y="454"/>
                  </a:lnTo>
                  <a:lnTo>
                    <a:pt x="139" y="454"/>
                  </a:lnTo>
                  <a:lnTo>
                    <a:pt x="142" y="452"/>
                  </a:lnTo>
                  <a:lnTo>
                    <a:pt x="142" y="452"/>
                  </a:lnTo>
                  <a:lnTo>
                    <a:pt x="144" y="452"/>
                  </a:lnTo>
                  <a:lnTo>
                    <a:pt x="146" y="454"/>
                  </a:lnTo>
                  <a:lnTo>
                    <a:pt x="149" y="454"/>
                  </a:lnTo>
                  <a:lnTo>
                    <a:pt x="149" y="454"/>
                  </a:lnTo>
                  <a:lnTo>
                    <a:pt x="149" y="454"/>
                  </a:lnTo>
                  <a:lnTo>
                    <a:pt x="149" y="457"/>
                  </a:lnTo>
                  <a:lnTo>
                    <a:pt x="149" y="457"/>
                  </a:lnTo>
                  <a:lnTo>
                    <a:pt x="149" y="459"/>
                  </a:lnTo>
                  <a:lnTo>
                    <a:pt x="151" y="459"/>
                  </a:lnTo>
                  <a:lnTo>
                    <a:pt x="153" y="457"/>
                  </a:lnTo>
                  <a:lnTo>
                    <a:pt x="153" y="457"/>
                  </a:lnTo>
                  <a:lnTo>
                    <a:pt x="153" y="457"/>
                  </a:lnTo>
                  <a:lnTo>
                    <a:pt x="156" y="457"/>
                  </a:lnTo>
                  <a:lnTo>
                    <a:pt x="156" y="457"/>
                  </a:lnTo>
                  <a:lnTo>
                    <a:pt x="158" y="457"/>
                  </a:lnTo>
                  <a:lnTo>
                    <a:pt x="158" y="457"/>
                  </a:lnTo>
                  <a:lnTo>
                    <a:pt x="163" y="457"/>
                  </a:lnTo>
                  <a:lnTo>
                    <a:pt x="165" y="457"/>
                  </a:lnTo>
                  <a:lnTo>
                    <a:pt x="165" y="457"/>
                  </a:lnTo>
                  <a:lnTo>
                    <a:pt x="168" y="459"/>
                  </a:lnTo>
                  <a:lnTo>
                    <a:pt x="168" y="459"/>
                  </a:lnTo>
                  <a:lnTo>
                    <a:pt x="170" y="459"/>
                  </a:lnTo>
                  <a:lnTo>
                    <a:pt x="170" y="459"/>
                  </a:lnTo>
                  <a:lnTo>
                    <a:pt x="170" y="461"/>
                  </a:lnTo>
                  <a:lnTo>
                    <a:pt x="172" y="461"/>
                  </a:lnTo>
                  <a:lnTo>
                    <a:pt x="172" y="461"/>
                  </a:lnTo>
                  <a:lnTo>
                    <a:pt x="172" y="461"/>
                  </a:lnTo>
                  <a:lnTo>
                    <a:pt x="172" y="461"/>
                  </a:lnTo>
                  <a:lnTo>
                    <a:pt x="172" y="464"/>
                  </a:lnTo>
                  <a:lnTo>
                    <a:pt x="172" y="466"/>
                  </a:lnTo>
                  <a:lnTo>
                    <a:pt x="172" y="466"/>
                  </a:lnTo>
                  <a:lnTo>
                    <a:pt x="172" y="466"/>
                  </a:lnTo>
                  <a:lnTo>
                    <a:pt x="172" y="466"/>
                  </a:lnTo>
                  <a:lnTo>
                    <a:pt x="172" y="468"/>
                  </a:lnTo>
                  <a:lnTo>
                    <a:pt x="175" y="468"/>
                  </a:lnTo>
                  <a:lnTo>
                    <a:pt x="175" y="471"/>
                  </a:lnTo>
                  <a:lnTo>
                    <a:pt x="175" y="471"/>
                  </a:lnTo>
                  <a:lnTo>
                    <a:pt x="175" y="473"/>
                  </a:lnTo>
                  <a:lnTo>
                    <a:pt x="172" y="473"/>
                  </a:lnTo>
                  <a:lnTo>
                    <a:pt x="172" y="476"/>
                  </a:lnTo>
                  <a:lnTo>
                    <a:pt x="172" y="476"/>
                  </a:lnTo>
                  <a:lnTo>
                    <a:pt x="172" y="476"/>
                  </a:lnTo>
                  <a:lnTo>
                    <a:pt x="177" y="478"/>
                  </a:lnTo>
                  <a:lnTo>
                    <a:pt x="179" y="480"/>
                  </a:lnTo>
                  <a:lnTo>
                    <a:pt x="179" y="480"/>
                  </a:lnTo>
                  <a:lnTo>
                    <a:pt x="179" y="480"/>
                  </a:lnTo>
                  <a:lnTo>
                    <a:pt x="179" y="483"/>
                  </a:lnTo>
                  <a:lnTo>
                    <a:pt x="179" y="483"/>
                  </a:lnTo>
                  <a:lnTo>
                    <a:pt x="179" y="483"/>
                  </a:lnTo>
                  <a:lnTo>
                    <a:pt x="182" y="485"/>
                  </a:lnTo>
                  <a:lnTo>
                    <a:pt x="182" y="487"/>
                  </a:lnTo>
                  <a:lnTo>
                    <a:pt x="184" y="487"/>
                  </a:lnTo>
                  <a:lnTo>
                    <a:pt x="189" y="490"/>
                  </a:lnTo>
                  <a:lnTo>
                    <a:pt x="191" y="492"/>
                  </a:lnTo>
                  <a:lnTo>
                    <a:pt x="191" y="492"/>
                  </a:lnTo>
                  <a:lnTo>
                    <a:pt x="191" y="492"/>
                  </a:lnTo>
                  <a:lnTo>
                    <a:pt x="191" y="494"/>
                  </a:lnTo>
                  <a:lnTo>
                    <a:pt x="191" y="494"/>
                  </a:lnTo>
                  <a:lnTo>
                    <a:pt x="191" y="497"/>
                  </a:lnTo>
                  <a:lnTo>
                    <a:pt x="191" y="497"/>
                  </a:lnTo>
                  <a:lnTo>
                    <a:pt x="194" y="497"/>
                  </a:lnTo>
                  <a:lnTo>
                    <a:pt x="198" y="497"/>
                  </a:lnTo>
                  <a:lnTo>
                    <a:pt x="203" y="499"/>
                  </a:lnTo>
                  <a:lnTo>
                    <a:pt x="203" y="499"/>
                  </a:lnTo>
                  <a:lnTo>
                    <a:pt x="201" y="499"/>
                  </a:lnTo>
                  <a:lnTo>
                    <a:pt x="203" y="502"/>
                  </a:lnTo>
                  <a:lnTo>
                    <a:pt x="203" y="502"/>
                  </a:lnTo>
                  <a:lnTo>
                    <a:pt x="205" y="504"/>
                  </a:lnTo>
                  <a:lnTo>
                    <a:pt x="208" y="504"/>
                  </a:lnTo>
                  <a:lnTo>
                    <a:pt x="208" y="504"/>
                  </a:lnTo>
                  <a:lnTo>
                    <a:pt x="208" y="506"/>
                  </a:lnTo>
                  <a:lnTo>
                    <a:pt x="205" y="506"/>
                  </a:lnTo>
                  <a:lnTo>
                    <a:pt x="205" y="506"/>
                  </a:lnTo>
                  <a:lnTo>
                    <a:pt x="203" y="506"/>
                  </a:lnTo>
                  <a:lnTo>
                    <a:pt x="203" y="509"/>
                  </a:lnTo>
                  <a:lnTo>
                    <a:pt x="201" y="509"/>
                  </a:lnTo>
                  <a:lnTo>
                    <a:pt x="198" y="511"/>
                  </a:lnTo>
                  <a:lnTo>
                    <a:pt x="198" y="511"/>
                  </a:lnTo>
                  <a:lnTo>
                    <a:pt x="194" y="511"/>
                  </a:lnTo>
                  <a:lnTo>
                    <a:pt x="194" y="509"/>
                  </a:lnTo>
                  <a:lnTo>
                    <a:pt x="191" y="509"/>
                  </a:lnTo>
                  <a:lnTo>
                    <a:pt x="191" y="509"/>
                  </a:lnTo>
                  <a:lnTo>
                    <a:pt x="189" y="509"/>
                  </a:lnTo>
                  <a:lnTo>
                    <a:pt x="186" y="509"/>
                  </a:lnTo>
                  <a:lnTo>
                    <a:pt x="186" y="509"/>
                  </a:lnTo>
                  <a:lnTo>
                    <a:pt x="186" y="509"/>
                  </a:lnTo>
                  <a:lnTo>
                    <a:pt x="186" y="511"/>
                  </a:lnTo>
                  <a:lnTo>
                    <a:pt x="184" y="511"/>
                  </a:lnTo>
                  <a:lnTo>
                    <a:pt x="186" y="513"/>
                  </a:lnTo>
                  <a:lnTo>
                    <a:pt x="186" y="513"/>
                  </a:lnTo>
                  <a:lnTo>
                    <a:pt x="189" y="516"/>
                  </a:lnTo>
                  <a:lnTo>
                    <a:pt x="189" y="516"/>
                  </a:lnTo>
                  <a:lnTo>
                    <a:pt x="191" y="518"/>
                  </a:lnTo>
                  <a:lnTo>
                    <a:pt x="191" y="518"/>
                  </a:lnTo>
                  <a:lnTo>
                    <a:pt x="189" y="518"/>
                  </a:lnTo>
                  <a:lnTo>
                    <a:pt x="191" y="520"/>
                  </a:lnTo>
                  <a:lnTo>
                    <a:pt x="191" y="520"/>
                  </a:lnTo>
                  <a:lnTo>
                    <a:pt x="191" y="523"/>
                  </a:lnTo>
                  <a:lnTo>
                    <a:pt x="191" y="523"/>
                  </a:lnTo>
                  <a:lnTo>
                    <a:pt x="191" y="525"/>
                  </a:lnTo>
                  <a:lnTo>
                    <a:pt x="191" y="528"/>
                  </a:lnTo>
                  <a:lnTo>
                    <a:pt x="194" y="528"/>
                  </a:lnTo>
                  <a:lnTo>
                    <a:pt x="194" y="528"/>
                  </a:lnTo>
                  <a:lnTo>
                    <a:pt x="196" y="530"/>
                  </a:lnTo>
                  <a:lnTo>
                    <a:pt x="196" y="530"/>
                  </a:lnTo>
                  <a:lnTo>
                    <a:pt x="196" y="530"/>
                  </a:lnTo>
                  <a:lnTo>
                    <a:pt x="196" y="532"/>
                  </a:lnTo>
                  <a:lnTo>
                    <a:pt x="198" y="532"/>
                  </a:lnTo>
                  <a:lnTo>
                    <a:pt x="201" y="532"/>
                  </a:lnTo>
                  <a:lnTo>
                    <a:pt x="201" y="532"/>
                  </a:lnTo>
                  <a:lnTo>
                    <a:pt x="203" y="530"/>
                  </a:lnTo>
                  <a:lnTo>
                    <a:pt x="203" y="530"/>
                  </a:lnTo>
                  <a:lnTo>
                    <a:pt x="205" y="528"/>
                  </a:lnTo>
                  <a:lnTo>
                    <a:pt x="205" y="528"/>
                  </a:lnTo>
                  <a:lnTo>
                    <a:pt x="205" y="525"/>
                  </a:lnTo>
                  <a:lnTo>
                    <a:pt x="205" y="525"/>
                  </a:lnTo>
                  <a:lnTo>
                    <a:pt x="208" y="528"/>
                  </a:lnTo>
                  <a:lnTo>
                    <a:pt x="212" y="528"/>
                  </a:lnTo>
                  <a:lnTo>
                    <a:pt x="212" y="528"/>
                  </a:lnTo>
                  <a:lnTo>
                    <a:pt x="217" y="525"/>
                  </a:lnTo>
                  <a:lnTo>
                    <a:pt x="219" y="525"/>
                  </a:lnTo>
                  <a:lnTo>
                    <a:pt x="222" y="525"/>
                  </a:lnTo>
                  <a:lnTo>
                    <a:pt x="224" y="525"/>
                  </a:lnTo>
                  <a:lnTo>
                    <a:pt x="227" y="525"/>
                  </a:lnTo>
                  <a:lnTo>
                    <a:pt x="227" y="525"/>
                  </a:lnTo>
                  <a:lnTo>
                    <a:pt x="229" y="528"/>
                  </a:lnTo>
                  <a:lnTo>
                    <a:pt x="231" y="530"/>
                  </a:lnTo>
                  <a:lnTo>
                    <a:pt x="234" y="532"/>
                  </a:lnTo>
                  <a:lnTo>
                    <a:pt x="238" y="537"/>
                  </a:lnTo>
                  <a:lnTo>
                    <a:pt x="238" y="537"/>
                  </a:lnTo>
                  <a:lnTo>
                    <a:pt x="238" y="539"/>
                  </a:lnTo>
                  <a:lnTo>
                    <a:pt x="236" y="539"/>
                  </a:lnTo>
                  <a:lnTo>
                    <a:pt x="234" y="539"/>
                  </a:lnTo>
                  <a:lnTo>
                    <a:pt x="234" y="539"/>
                  </a:lnTo>
                  <a:lnTo>
                    <a:pt x="234" y="539"/>
                  </a:lnTo>
                  <a:lnTo>
                    <a:pt x="236" y="542"/>
                  </a:lnTo>
                  <a:lnTo>
                    <a:pt x="236" y="544"/>
                  </a:lnTo>
                  <a:lnTo>
                    <a:pt x="236" y="544"/>
                  </a:lnTo>
                  <a:lnTo>
                    <a:pt x="236" y="546"/>
                  </a:lnTo>
                  <a:lnTo>
                    <a:pt x="238" y="546"/>
                  </a:lnTo>
                  <a:lnTo>
                    <a:pt x="238" y="546"/>
                  </a:lnTo>
                  <a:lnTo>
                    <a:pt x="236" y="546"/>
                  </a:lnTo>
                  <a:lnTo>
                    <a:pt x="236" y="549"/>
                  </a:lnTo>
                  <a:lnTo>
                    <a:pt x="236" y="549"/>
                  </a:lnTo>
                  <a:lnTo>
                    <a:pt x="241" y="549"/>
                  </a:lnTo>
                  <a:lnTo>
                    <a:pt x="243" y="549"/>
                  </a:lnTo>
                  <a:lnTo>
                    <a:pt x="245" y="549"/>
                  </a:lnTo>
                  <a:lnTo>
                    <a:pt x="245" y="549"/>
                  </a:lnTo>
                  <a:lnTo>
                    <a:pt x="248" y="549"/>
                  </a:lnTo>
                  <a:lnTo>
                    <a:pt x="250" y="549"/>
                  </a:lnTo>
                  <a:lnTo>
                    <a:pt x="250" y="549"/>
                  </a:lnTo>
                  <a:lnTo>
                    <a:pt x="250" y="549"/>
                  </a:lnTo>
                  <a:lnTo>
                    <a:pt x="252" y="551"/>
                  </a:lnTo>
                  <a:lnTo>
                    <a:pt x="252" y="551"/>
                  </a:lnTo>
                  <a:lnTo>
                    <a:pt x="252" y="551"/>
                  </a:lnTo>
                  <a:lnTo>
                    <a:pt x="255" y="551"/>
                  </a:lnTo>
                  <a:lnTo>
                    <a:pt x="255" y="551"/>
                  </a:lnTo>
                  <a:lnTo>
                    <a:pt x="255" y="554"/>
                  </a:lnTo>
                  <a:lnTo>
                    <a:pt x="255" y="554"/>
                  </a:lnTo>
                  <a:lnTo>
                    <a:pt x="255" y="554"/>
                  </a:lnTo>
                  <a:lnTo>
                    <a:pt x="255" y="556"/>
                  </a:lnTo>
                  <a:lnTo>
                    <a:pt x="257" y="556"/>
                  </a:lnTo>
                  <a:lnTo>
                    <a:pt x="257" y="558"/>
                  </a:lnTo>
                  <a:lnTo>
                    <a:pt x="257" y="558"/>
                  </a:lnTo>
                  <a:lnTo>
                    <a:pt x="257" y="558"/>
                  </a:lnTo>
                  <a:lnTo>
                    <a:pt x="257" y="561"/>
                  </a:lnTo>
                  <a:lnTo>
                    <a:pt x="257" y="561"/>
                  </a:lnTo>
                  <a:lnTo>
                    <a:pt x="257" y="563"/>
                  </a:lnTo>
                  <a:lnTo>
                    <a:pt x="260" y="563"/>
                  </a:lnTo>
                  <a:lnTo>
                    <a:pt x="260" y="565"/>
                  </a:lnTo>
                  <a:lnTo>
                    <a:pt x="262" y="565"/>
                  </a:lnTo>
                  <a:lnTo>
                    <a:pt x="262" y="565"/>
                  </a:lnTo>
                  <a:lnTo>
                    <a:pt x="264" y="565"/>
                  </a:lnTo>
                  <a:lnTo>
                    <a:pt x="267" y="565"/>
                  </a:lnTo>
                  <a:lnTo>
                    <a:pt x="267" y="565"/>
                  </a:lnTo>
                  <a:lnTo>
                    <a:pt x="269" y="565"/>
                  </a:lnTo>
                  <a:lnTo>
                    <a:pt x="271" y="565"/>
                  </a:lnTo>
                  <a:lnTo>
                    <a:pt x="271" y="568"/>
                  </a:lnTo>
                  <a:lnTo>
                    <a:pt x="274" y="568"/>
                  </a:lnTo>
                  <a:lnTo>
                    <a:pt x="274" y="568"/>
                  </a:lnTo>
                  <a:lnTo>
                    <a:pt x="276" y="568"/>
                  </a:lnTo>
                  <a:lnTo>
                    <a:pt x="276" y="568"/>
                  </a:lnTo>
                  <a:lnTo>
                    <a:pt x="278" y="570"/>
                  </a:lnTo>
                  <a:lnTo>
                    <a:pt x="278" y="568"/>
                  </a:lnTo>
                  <a:lnTo>
                    <a:pt x="281" y="568"/>
                  </a:lnTo>
                  <a:lnTo>
                    <a:pt x="283" y="565"/>
                  </a:lnTo>
                  <a:lnTo>
                    <a:pt x="285" y="565"/>
                  </a:lnTo>
                  <a:lnTo>
                    <a:pt x="285" y="565"/>
                  </a:lnTo>
                  <a:lnTo>
                    <a:pt x="288" y="565"/>
                  </a:lnTo>
                  <a:lnTo>
                    <a:pt x="290" y="565"/>
                  </a:lnTo>
                  <a:lnTo>
                    <a:pt x="290" y="565"/>
                  </a:lnTo>
                  <a:lnTo>
                    <a:pt x="293" y="565"/>
                  </a:lnTo>
                  <a:lnTo>
                    <a:pt x="293" y="568"/>
                  </a:lnTo>
                  <a:lnTo>
                    <a:pt x="295" y="568"/>
                  </a:lnTo>
                  <a:lnTo>
                    <a:pt x="295" y="570"/>
                  </a:lnTo>
                  <a:lnTo>
                    <a:pt x="300" y="575"/>
                  </a:lnTo>
                  <a:lnTo>
                    <a:pt x="302" y="575"/>
                  </a:lnTo>
                  <a:lnTo>
                    <a:pt x="302" y="575"/>
                  </a:lnTo>
                  <a:lnTo>
                    <a:pt x="304" y="575"/>
                  </a:lnTo>
                  <a:lnTo>
                    <a:pt x="304" y="575"/>
                  </a:lnTo>
                  <a:lnTo>
                    <a:pt x="304" y="572"/>
                  </a:lnTo>
                  <a:lnTo>
                    <a:pt x="304" y="572"/>
                  </a:lnTo>
                  <a:lnTo>
                    <a:pt x="304" y="572"/>
                  </a:lnTo>
                  <a:lnTo>
                    <a:pt x="309" y="575"/>
                  </a:lnTo>
                  <a:lnTo>
                    <a:pt x="309" y="575"/>
                  </a:lnTo>
                  <a:lnTo>
                    <a:pt x="311" y="575"/>
                  </a:lnTo>
                  <a:lnTo>
                    <a:pt x="314" y="575"/>
                  </a:lnTo>
                  <a:lnTo>
                    <a:pt x="316" y="577"/>
                  </a:lnTo>
                  <a:lnTo>
                    <a:pt x="318" y="577"/>
                  </a:lnTo>
                  <a:lnTo>
                    <a:pt x="318" y="577"/>
                  </a:lnTo>
                  <a:lnTo>
                    <a:pt x="321" y="577"/>
                  </a:lnTo>
                  <a:lnTo>
                    <a:pt x="321" y="577"/>
                  </a:lnTo>
                  <a:lnTo>
                    <a:pt x="321" y="577"/>
                  </a:lnTo>
                  <a:lnTo>
                    <a:pt x="323" y="580"/>
                  </a:lnTo>
                  <a:lnTo>
                    <a:pt x="323" y="580"/>
                  </a:lnTo>
                  <a:lnTo>
                    <a:pt x="326" y="580"/>
                  </a:lnTo>
                  <a:lnTo>
                    <a:pt x="328" y="580"/>
                  </a:lnTo>
                  <a:lnTo>
                    <a:pt x="330" y="582"/>
                  </a:lnTo>
                  <a:lnTo>
                    <a:pt x="333" y="582"/>
                  </a:lnTo>
                  <a:lnTo>
                    <a:pt x="335" y="582"/>
                  </a:lnTo>
                  <a:lnTo>
                    <a:pt x="335" y="582"/>
                  </a:lnTo>
                  <a:lnTo>
                    <a:pt x="335" y="582"/>
                  </a:lnTo>
                  <a:lnTo>
                    <a:pt x="337" y="582"/>
                  </a:lnTo>
                  <a:lnTo>
                    <a:pt x="335" y="584"/>
                  </a:lnTo>
                  <a:lnTo>
                    <a:pt x="335" y="584"/>
                  </a:lnTo>
                  <a:lnTo>
                    <a:pt x="337" y="587"/>
                  </a:lnTo>
                  <a:lnTo>
                    <a:pt x="337" y="587"/>
                  </a:lnTo>
                  <a:lnTo>
                    <a:pt x="337" y="589"/>
                  </a:lnTo>
                  <a:lnTo>
                    <a:pt x="337" y="589"/>
                  </a:lnTo>
                  <a:lnTo>
                    <a:pt x="335" y="591"/>
                  </a:lnTo>
                  <a:lnTo>
                    <a:pt x="335" y="591"/>
                  </a:lnTo>
                  <a:lnTo>
                    <a:pt x="333" y="594"/>
                  </a:lnTo>
                  <a:lnTo>
                    <a:pt x="330" y="594"/>
                  </a:lnTo>
                  <a:lnTo>
                    <a:pt x="333" y="594"/>
                  </a:lnTo>
                  <a:lnTo>
                    <a:pt x="333" y="596"/>
                  </a:lnTo>
                  <a:lnTo>
                    <a:pt x="335" y="596"/>
                  </a:lnTo>
                  <a:lnTo>
                    <a:pt x="337" y="596"/>
                  </a:lnTo>
                  <a:lnTo>
                    <a:pt x="337" y="598"/>
                  </a:lnTo>
                  <a:lnTo>
                    <a:pt x="337" y="598"/>
                  </a:lnTo>
                  <a:lnTo>
                    <a:pt x="335" y="598"/>
                  </a:lnTo>
                  <a:lnTo>
                    <a:pt x="333" y="598"/>
                  </a:lnTo>
                  <a:lnTo>
                    <a:pt x="333" y="598"/>
                  </a:lnTo>
                  <a:lnTo>
                    <a:pt x="333" y="598"/>
                  </a:lnTo>
                  <a:lnTo>
                    <a:pt x="333" y="601"/>
                  </a:lnTo>
                  <a:lnTo>
                    <a:pt x="333" y="603"/>
                  </a:lnTo>
                  <a:lnTo>
                    <a:pt x="335" y="603"/>
                  </a:lnTo>
                  <a:lnTo>
                    <a:pt x="335" y="603"/>
                  </a:lnTo>
                  <a:lnTo>
                    <a:pt x="335" y="606"/>
                  </a:lnTo>
                  <a:lnTo>
                    <a:pt x="337" y="606"/>
                  </a:lnTo>
                  <a:lnTo>
                    <a:pt x="337" y="608"/>
                  </a:lnTo>
                  <a:lnTo>
                    <a:pt x="335" y="608"/>
                  </a:lnTo>
                  <a:lnTo>
                    <a:pt x="337" y="608"/>
                  </a:lnTo>
                  <a:lnTo>
                    <a:pt x="337" y="608"/>
                  </a:lnTo>
                  <a:lnTo>
                    <a:pt x="337" y="608"/>
                  </a:lnTo>
                  <a:lnTo>
                    <a:pt x="337" y="608"/>
                  </a:lnTo>
                  <a:lnTo>
                    <a:pt x="337" y="610"/>
                  </a:lnTo>
                  <a:lnTo>
                    <a:pt x="337" y="610"/>
                  </a:lnTo>
                  <a:lnTo>
                    <a:pt x="337" y="613"/>
                  </a:lnTo>
                  <a:lnTo>
                    <a:pt x="335" y="615"/>
                  </a:lnTo>
                  <a:lnTo>
                    <a:pt x="337" y="617"/>
                  </a:lnTo>
                  <a:lnTo>
                    <a:pt x="335" y="617"/>
                  </a:lnTo>
                  <a:lnTo>
                    <a:pt x="335" y="617"/>
                  </a:lnTo>
                  <a:lnTo>
                    <a:pt x="330" y="617"/>
                  </a:lnTo>
                  <a:lnTo>
                    <a:pt x="326" y="617"/>
                  </a:lnTo>
                  <a:lnTo>
                    <a:pt x="326" y="617"/>
                  </a:lnTo>
                  <a:lnTo>
                    <a:pt x="323" y="617"/>
                  </a:lnTo>
                  <a:lnTo>
                    <a:pt x="321" y="617"/>
                  </a:lnTo>
                  <a:lnTo>
                    <a:pt x="318" y="620"/>
                  </a:lnTo>
                  <a:lnTo>
                    <a:pt x="318" y="622"/>
                  </a:lnTo>
                  <a:lnTo>
                    <a:pt x="316" y="622"/>
                  </a:lnTo>
                  <a:lnTo>
                    <a:pt x="314" y="622"/>
                  </a:lnTo>
                  <a:lnTo>
                    <a:pt x="314" y="625"/>
                  </a:lnTo>
                  <a:lnTo>
                    <a:pt x="314" y="625"/>
                  </a:lnTo>
                  <a:lnTo>
                    <a:pt x="314" y="627"/>
                  </a:lnTo>
                  <a:lnTo>
                    <a:pt x="314" y="627"/>
                  </a:lnTo>
                  <a:lnTo>
                    <a:pt x="311" y="627"/>
                  </a:lnTo>
                  <a:lnTo>
                    <a:pt x="311" y="629"/>
                  </a:lnTo>
                  <a:lnTo>
                    <a:pt x="311" y="629"/>
                  </a:lnTo>
                  <a:lnTo>
                    <a:pt x="314" y="629"/>
                  </a:lnTo>
                  <a:lnTo>
                    <a:pt x="314" y="629"/>
                  </a:lnTo>
                  <a:lnTo>
                    <a:pt x="314" y="629"/>
                  </a:lnTo>
                  <a:lnTo>
                    <a:pt x="314" y="629"/>
                  </a:lnTo>
                  <a:lnTo>
                    <a:pt x="314" y="632"/>
                  </a:lnTo>
                  <a:lnTo>
                    <a:pt x="311" y="632"/>
                  </a:lnTo>
                  <a:lnTo>
                    <a:pt x="314" y="632"/>
                  </a:lnTo>
                  <a:lnTo>
                    <a:pt x="314" y="634"/>
                  </a:lnTo>
                  <a:lnTo>
                    <a:pt x="316" y="632"/>
                  </a:lnTo>
                  <a:lnTo>
                    <a:pt x="318" y="629"/>
                  </a:lnTo>
                  <a:lnTo>
                    <a:pt x="321" y="629"/>
                  </a:lnTo>
                  <a:lnTo>
                    <a:pt x="321" y="629"/>
                  </a:lnTo>
                  <a:lnTo>
                    <a:pt x="321" y="632"/>
                  </a:lnTo>
                  <a:lnTo>
                    <a:pt x="318" y="632"/>
                  </a:lnTo>
                  <a:lnTo>
                    <a:pt x="321" y="632"/>
                  </a:lnTo>
                  <a:lnTo>
                    <a:pt x="326" y="632"/>
                  </a:lnTo>
                  <a:lnTo>
                    <a:pt x="326" y="629"/>
                  </a:lnTo>
                  <a:lnTo>
                    <a:pt x="328" y="629"/>
                  </a:lnTo>
                  <a:lnTo>
                    <a:pt x="330" y="632"/>
                  </a:lnTo>
                  <a:lnTo>
                    <a:pt x="330" y="634"/>
                  </a:lnTo>
                  <a:lnTo>
                    <a:pt x="330" y="634"/>
                  </a:lnTo>
                  <a:lnTo>
                    <a:pt x="330" y="634"/>
                  </a:lnTo>
                  <a:lnTo>
                    <a:pt x="328" y="634"/>
                  </a:lnTo>
                  <a:lnTo>
                    <a:pt x="323" y="636"/>
                  </a:lnTo>
                  <a:lnTo>
                    <a:pt x="321" y="639"/>
                  </a:lnTo>
                  <a:lnTo>
                    <a:pt x="318" y="639"/>
                  </a:lnTo>
                  <a:lnTo>
                    <a:pt x="318" y="641"/>
                  </a:lnTo>
                  <a:lnTo>
                    <a:pt x="318" y="641"/>
                  </a:lnTo>
                  <a:lnTo>
                    <a:pt x="316" y="641"/>
                  </a:lnTo>
                  <a:lnTo>
                    <a:pt x="314" y="641"/>
                  </a:lnTo>
                  <a:lnTo>
                    <a:pt x="314" y="641"/>
                  </a:lnTo>
                  <a:lnTo>
                    <a:pt x="311" y="643"/>
                  </a:lnTo>
                  <a:lnTo>
                    <a:pt x="309" y="643"/>
                  </a:lnTo>
                  <a:lnTo>
                    <a:pt x="307" y="643"/>
                  </a:lnTo>
                  <a:lnTo>
                    <a:pt x="309" y="646"/>
                  </a:lnTo>
                  <a:lnTo>
                    <a:pt x="309" y="648"/>
                  </a:lnTo>
                  <a:lnTo>
                    <a:pt x="311" y="648"/>
                  </a:lnTo>
                  <a:lnTo>
                    <a:pt x="314" y="648"/>
                  </a:lnTo>
                  <a:lnTo>
                    <a:pt x="316" y="651"/>
                  </a:lnTo>
                  <a:lnTo>
                    <a:pt x="321" y="653"/>
                  </a:lnTo>
                  <a:lnTo>
                    <a:pt x="318" y="655"/>
                  </a:lnTo>
                  <a:lnTo>
                    <a:pt x="318" y="653"/>
                  </a:lnTo>
                  <a:lnTo>
                    <a:pt x="316" y="653"/>
                  </a:lnTo>
                  <a:lnTo>
                    <a:pt x="314" y="655"/>
                  </a:lnTo>
                  <a:lnTo>
                    <a:pt x="314" y="658"/>
                  </a:lnTo>
                  <a:lnTo>
                    <a:pt x="314" y="655"/>
                  </a:lnTo>
                  <a:lnTo>
                    <a:pt x="314" y="655"/>
                  </a:lnTo>
                  <a:lnTo>
                    <a:pt x="314" y="655"/>
                  </a:lnTo>
                  <a:lnTo>
                    <a:pt x="311" y="655"/>
                  </a:lnTo>
                  <a:lnTo>
                    <a:pt x="311" y="660"/>
                  </a:lnTo>
                  <a:lnTo>
                    <a:pt x="309" y="662"/>
                  </a:lnTo>
                  <a:lnTo>
                    <a:pt x="307" y="665"/>
                  </a:lnTo>
                  <a:lnTo>
                    <a:pt x="307" y="667"/>
                  </a:lnTo>
                  <a:lnTo>
                    <a:pt x="307" y="667"/>
                  </a:lnTo>
                  <a:lnTo>
                    <a:pt x="309" y="667"/>
                  </a:lnTo>
                  <a:lnTo>
                    <a:pt x="309" y="667"/>
                  </a:lnTo>
                  <a:lnTo>
                    <a:pt x="309" y="669"/>
                  </a:lnTo>
                  <a:lnTo>
                    <a:pt x="302" y="669"/>
                  </a:lnTo>
                  <a:lnTo>
                    <a:pt x="302" y="672"/>
                  </a:lnTo>
                  <a:lnTo>
                    <a:pt x="300" y="669"/>
                  </a:lnTo>
                  <a:lnTo>
                    <a:pt x="297" y="669"/>
                  </a:lnTo>
                  <a:lnTo>
                    <a:pt x="295" y="667"/>
                  </a:lnTo>
                  <a:lnTo>
                    <a:pt x="295" y="667"/>
                  </a:lnTo>
                  <a:lnTo>
                    <a:pt x="293" y="669"/>
                  </a:lnTo>
                  <a:lnTo>
                    <a:pt x="293" y="669"/>
                  </a:lnTo>
                  <a:lnTo>
                    <a:pt x="295" y="669"/>
                  </a:lnTo>
                  <a:lnTo>
                    <a:pt x="297" y="669"/>
                  </a:lnTo>
                  <a:lnTo>
                    <a:pt x="295" y="672"/>
                  </a:lnTo>
                  <a:lnTo>
                    <a:pt x="293" y="672"/>
                  </a:lnTo>
                  <a:lnTo>
                    <a:pt x="293" y="674"/>
                  </a:lnTo>
                  <a:lnTo>
                    <a:pt x="293" y="674"/>
                  </a:lnTo>
                  <a:lnTo>
                    <a:pt x="297" y="674"/>
                  </a:lnTo>
                  <a:lnTo>
                    <a:pt x="302" y="679"/>
                  </a:lnTo>
                  <a:lnTo>
                    <a:pt x="304" y="679"/>
                  </a:lnTo>
                  <a:lnTo>
                    <a:pt x="304" y="681"/>
                  </a:lnTo>
                  <a:lnTo>
                    <a:pt x="307" y="684"/>
                  </a:lnTo>
                  <a:lnTo>
                    <a:pt x="307" y="684"/>
                  </a:lnTo>
                  <a:lnTo>
                    <a:pt x="309" y="684"/>
                  </a:lnTo>
                  <a:lnTo>
                    <a:pt x="311" y="686"/>
                  </a:lnTo>
                  <a:lnTo>
                    <a:pt x="314" y="684"/>
                  </a:lnTo>
                  <a:lnTo>
                    <a:pt x="321" y="691"/>
                  </a:lnTo>
                  <a:lnTo>
                    <a:pt x="323" y="691"/>
                  </a:lnTo>
                  <a:lnTo>
                    <a:pt x="328" y="693"/>
                  </a:lnTo>
                  <a:lnTo>
                    <a:pt x="330" y="693"/>
                  </a:lnTo>
                  <a:lnTo>
                    <a:pt x="340" y="700"/>
                  </a:lnTo>
                  <a:lnTo>
                    <a:pt x="344" y="705"/>
                  </a:lnTo>
                  <a:lnTo>
                    <a:pt x="351" y="710"/>
                  </a:lnTo>
                  <a:lnTo>
                    <a:pt x="354" y="710"/>
                  </a:lnTo>
                  <a:lnTo>
                    <a:pt x="354" y="710"/>
                  </a:lnTo>
                  <a:lnTo>
                    <a:pt x="354" y="707"/>
                  </a:lnTo>
                  <a:lnTo>
                    <a:pt x="356" y="707"/>
                  </a:lnTo>
                  <a:lnTo>
                    <a:pt x="359" y="707"/>
                  </a:lnTo>
                  <a:lnTo>
                    <a:pt x="361" y="707"/>
                  </a:lnTo>
                  <a:lnTo>
                    <a:pt x="363" y="707"/>
                  </a:lnTo>
                  <a:lnTo>
                    <a:pt x="366" y="710"/>
                  </a:lnTo>
                  <a:lnTo>
                    <a:pt x="368" y="710"/>
                  </a:lnTo>
                  <a:lnTo>
                    <a:pt x="370" y="712"/>
                  </a:lnTo>
                  <a:lnTo>
                    <a:pt x="375" y="712"/>
                  </a:lnTo>
                  <a:lnTo>
                    <a:pt x="377" y="714"/>
                  </a:lnTo>
                  <a:lnTo>
                    <a:pt x="380" y="714"/>
                  </a:lnTo>
                  <a:lnTo>
                    <a:pt x="389" y="714"/>
                  </a:lnTo>
                  <a:lnTo>
                    <a:pt x="389" y="714"/>
                  </a:lnTo>
                  <a:lnTo>
                    <a:pt x="389" y="714"/>
                  </a:lnTo>
                  <a:lnTo>
                    <a:pt x="392" y="714"/>
                  </a:lnTo>
                  <a:lnTo>
                    <a:pt x="394" y="714"/>
                  </a:lnTo>
                  <a:lnTo>
                    <a:pt x="396" y="717"/>
                  </a:lnTo>
                  <a:lnTo>
                    <a:pt x="399" y="717"/>
                  </a:lnTo>
                  <a:lnTo>
                    <a:pt x="401" y="714"/>
                  </a:lnTo>
                  <a:lnTo>
                    <a:pt x="403" y="717"/>
                  </a:lnTo>
                  <a:lnTo>
                    <a:pt x="403" y="717"/>
                  </a:lnTo>
                  <a:lnTo>
                    <a:pt x="406" y="717"/>
                  </a:lnTo>
                  <a:lnTo>
                    <a:pt x="406" y="719"/>
                  </a:lnTo>
                  <a:lnTo>
                    <a:pt x="410" y="721"/>
                  </a:lnTo>
                  <a:lnTo>
                    <a:pt x="415" y="721"/>
                  </a:lnTo>
                  <a:lnTo>
                    <a:pt x="415" y="724"/>
                  </a:lnTo>
                  <a:lnTo>
                    <a:pt x="420" y="724"/>
                  </a:lnTo>
                  <a:lnTo>
                    <a:pt x="420" y="724"/>
                  </a:lnTo>
                  <a:lnTo>
                    <a:pt x="420" y="724"/>
                  </a:lnTo>
                  <a:lnTo>
                    <a:pt x="417" y="726"/>
                  </a:lnTo>
                  <a:lnTo>
                    <a:pt x="417" y="726"/>
                  </a:lnTo>
                  <a:lnTo>
                    <a:pt x="420" y="726"/>
                  </a:lnTo>
                  <a:lnTo>
                    <a:pt x="420" y="729"/>
                  </a:lnTo>
                  <a:lnTo>
                    <a:pt x="422" y="729"/>
                  </a:lnTo>
                  <a:lnTo>
                    <a:pt x="422" y="726"/>
                  </a:lnTo>
                  <a:lnTo>
                    <a:pt x="425" y="726"/>
                  </a:lnTo>
                  <a:lnTo>
                    <a:pt x="427" y="726"/>
                  </a:lnTo>
                  <a:lnTo>
                    <a:pt x="429" y="724"/>
                  </a:lnTo>
                  <a:lnTo>
                    <a:pt x="432" y="724"/>
                  </a:lnTo>
                  <a:lnTo>
                    <a:pt x="432" y="724"/>
                  </a:lnTo>
                  <a:lnTo>
                    <a:pt x="434" y="724"/>
                  </a:lnTo>
                  <a:lnTo>
                    <a:pt x="434" y="724"/>
                  </a:lnTo>
                  <a:lnTo>
                    <a:pt x="436" y="726"/>
                  </a:lnTo>
                  <a:lnTo>
                    <a:pt x="436" y="724"/>
                  </a:lnTo>
                  <a:lnTo>
                    <a:pt x="436" y="724"/>
                  </a:lnTo>
                  <a:lnTo>
                    <a:pt x="439" y="724"/>
                  </a:lnTo>
                  <a:lnTo>
                    <a:pt x="441" y="726"/>
                  </a:lnTo>
                  <a:lnTo>
                    <a:pt x="443" y="726"/>
                  </a:lnTo>
                  <a:lnTo>
                    <a:pt x="443" y="726"/>
                  </a:lnTo>
                  <a:lnTo>
                    <a:pt x="446" y="729"/>
                  </a:lnTo>
                  <a:lnTo>
                    <a:pt x="450" y="729"/>
                  </a:lnTo>
                  <a:lnTo>
                    <a:pt x="450" y="729"/>
                  </a:lnTo>
                  <a:lnTo>
                    <a:pt x="453" y="729"/>
                  </a:lnTo>
                  <a:lnTo>
                    <a:pt x="453" y="729"/>
                  </a:lnTo>
                  <a:lnTo>
                    <a:pt x="453" y="731"/>
                  </a:lnTo>
                  <a:lnTo>
                    <a:pt x="453" y="733"/>
                  </a:lnTo>
                  <a:lnTo>
                    <a:pt x="453" y="736"/>
                  </a:lnTo>
                  <a:lnTo>
                    <a:pt x="453" y="736"/>
                  </a:lnTo>
                  <a:lnTo>
                    <a:pt x="455" y="738"/>
                  </a:lnTo>
                  <a:lnTo>
                    <a:pt x="458" y="738"/>
                  </a:lnTo>
                  <a:lnTo>
                    <a:pt x="458" y="738"/>
                  </a:lnTo>
                  <a:lnTo>
                    <a:pt x="460" y="738"/>
                  </a:lnTo>
                  <a:lnTo>
                    <a:pt x="462" y="740"/>
                  </a:lnTo>
                  <a:lnTo>
                    <a:pt x="462" y="740"/>
                  </a:lnTo>
                  <a:lnTo>
                    <a:pt x="462" y="740"/>
                  </a:lnTo>
                  <a:lnTo>
                    <a:pt x="467" y="740"/>
                  </a:lnTo>
                  <a:lnTo>
                    <a:pt x="467" y="740"/>
                  </a:lnTo>
                  <a:lnTo>
                    <a:pt x="469" y="743"/>
                  </a:lnTo>
                  <a:lnTo>
                    <a:pt x="469" y="743"/>
                  </a:lnTo>
                  <a:lnTo>
                    <a:pt x="469" y="743"/>
                  </a:lnTo>
                  <a:lnTo>
                    <a:pt x="469" y="743"/>
                  </a:lnTo>
                  <a:lnTo>
                    <a:pt x="472" y="743"/>
                  </a:lnTo>
                  <a:lnTo>
                    <a:pt x="472" y="743"/>
                  </a:lnTo>
                  <a:lnTo>
                    <a:pt x="474" y="745"/>
                  </a:lnTo>
                  <a:lnTo>
                    <a:pt x="476" y="745"/>
                  </a:lnTo>
                  <a:lnTo>
                    <a:pt x="476" y="747"/>
                  </a:lnTo>
                  <a:lnTo>
                    <a:pt x="476" y="747"/>
                  </a:lnTo>
                  <a:lnTo>
                    <a:pt x="479" y="747"/>
                  </a:lnTo>
                  <a:lnTo>
                    <a:pt x="479" y="750"/>
                  </a:lnTo>
                  <a:lnTo>
                    <a:pt x="481" y="750"/>
                  </a:lnTo>
                  <a:lnTo>
                    <a:pt x="483" y="752"/>
                  </a:lnTo>
                  <a:lnTo>
                    <a:pt x="483" y="755"/>
                  </a:lnTo>
                  <a:lnTo>
                    <a:pt x="488" y="755"/>
                  </a:lnTo>
                  <a:lnTo>
                    <a:pt x="488" y="755"/>
                  </a:lnTo>
                  <a:lnTo>
                    <a:pt x="493" y="755"/>
                  </a:lnTo>
                  <a:lnTo>
                    <a:pt x="493" y="755"/>
                  </a:lnTo>
                  <a:lnTo>
                    <a:pt x="495" y="752"/>
                  </a:lnTo>
                  <a:lnTo>
                    <a:pt x="495" y="750"/>
                  </a:lnTo>
                  <a:lnTo>
                    <a:pt x="498" y="750"/>
                  </a:lnTo>
                  <a:lnTo>
                    <a:pt x="500" y="747"/>
                  </a:lnTo>
                  <a:lnTo>
                    <a:pt x="500" y="747"/>
                  </a:lnTo>
                  <a:lnTo>
                    <a:pt x="500" y="745"/>
                  </a:lnTo>
                  <a:lnTo>
                    <a:pt x="502" y="743"/>
                  </a:lnTo>
                  <a:lnTo>
                    <a:pt x="502" y="743"/>
                  </a:lnTo>
                  <a:lnTo>
                    <a:pt x="500" y="740"/>
                  </a:lnTo>
                  <a:lnTo>
                    <a:pt x="500" y="740"/>
                  </a:lnTo>
                  <a:lnTo>
                    <a:pt x="500" y="740"/>
                  </a:lnTo>
                  <a:lnTo>
                    <a:pt x="498" y="738"/>
                  </a:lnTo>
                  <a:lnTo>
                    <a:pt x="495" y="736"/>
                  </a:lnTo>
                  <a:lnTo>
                    <a:pt x="493" y="731"/>
                  </a:lnTo>
                  <a:lnTo>
                    <a:pt x="488" y="726"/>
                  </a:lnTo>
                  <a:lnTo>
                    <a:pt x="486" y="726"/>
                  </a:lnTo>
                  <a:lnTo>
                    <a:pt x="486" y="726"/>
                  </a:lnTo>
                  <a:lnTo>
                    <a:pt x="486" y="724"/>
                  </a:lnTo>
                  <a:lnTo>
                    <a:pt x="483" y="721"/>
                  </a:lnTo>
                  <a:lnTo>
                    <a:pt x="481" y="719"/>
                  </a:lnTo>
                  <a:lnTo>
                    <a:pt x="481" y="719"/>
                  </a:lnTo>
                  <a:lnTo>
                    <a:pt x="481" y="719"/>
                  </a:lnTo>
                  <a:lnTo>
                    <a:pt x="481" y="714"/>
                  </a:lnTo>
                  <a:lnTo>
                    <a:pt x="479" y="714"/>
                  </a:lnTo>
                  <a:lnTo>
                    <a:pt x="479" y="712"/>
                  </a:lnTo>
                  <a:lnTo>
                    <a:pt x="479" y="707"/>
                  </a:lnTo>
                  <a:lnTo>
                    <a:pt x="479" y="705"/>
                  </a:lnTo>
                  <a:lnTo>
                    <a:pt x="481" y="703"/>
                  </a:lnTo>
                  <a:lnTo>
                    <a:pt x="481" y="700"/>
                  </a:lnTo>
                  <a:lnTo>
                    <a:pt x="479" y="703"/>
                  </a:lnTo>
                  <a:lnTo>
                    <a:pt x="479" y="707"/>
                  </a:lnTo>
                  <a:lnTo>
                    <a:pt x="476" y="703"/>
                  </a:lnTo>
                  <a:lnTo>
                    <a:pt x="474" y="698"/>
                  </a:lnTo>
                  <a:lnTo>
                    <a:pt x="474" y="695"/>
                  </a:lnTo>
                  <a:lnTo>
                    <a:pt x="472" y="695"/>
                  </a:lnTo>
                  <a:lnTo>
                    <a:pt x="469" y="693"/>
                  </a:lnTo>
                  <a:lnTo>
                    <a:pt x="467" y="691"/>
                  </a:lnTo>
                  <a:lnTo>
                    <a:pt x="467" y="691"/>
                  </a:lnTo>
                  <a:lnTo>
                    <a:pt x="462" y="691"/>
                  </a:lnTo>
                  <a:lnTo>
                    <a:pt x="462" y="688"/>
                  </a:lnTo>
                  <a:lnTo>
                    <a:pt x="462" y="688"/>
                  </a:lnTo>
                  <a:lnTo>
                    <a:pt x="462" y="686"/>
                  </a:lnTo>
                  <a:lnTo>
                    <a:pt x="462" y="686"/>
                  </a:lnTo>
                  <a:lnTo>
                    <a:pt x="465" y="684"/>
                  </a:lnTo>
                  <a:lnTo>
                    <a:pt x="465" y="684"/>
                  </a:lnTo>
                  <a:lnTo>
                    <a:pt x="465" y="681"/>
                  </a:lnTo>
                  <a:lnTo>
                    <a:pt x="465" y="681"/>
                  </a:lnTo>
                  <a:lnTo>
                    <a:pt x="467" y="681"/>
                  </a:lnTo>
                  <a:lnTo>
                    <a:pt x="467" y="681"/>
                  </a:lnTo>
                  <a:lnTo>
                    <a:pt x="467" y="679"/>
                  </a:lnTo>
                  <a:lnTo>
                    <a:pt x="467" y="679"/>
                  </a:lnTo>
                  <a:lnTo>
                    <a:pt x="469" y="677"/>
                  </a:lnTo>
                  <a:lnTo>
                    <a:pt x="469" y="674"/>
                  </a:lnTo>
                  <a:lnTo>
                    <a:pt x="469" y="672"/>
                  </a:lnTo>
                  <a:lnTo>
                    <a:pt x="472" y="669"/>
                  </a:lnTo>
                  <a:lnTo>
                    <a:pt x="472" y="667"/>
                  </a:lnTo>
                  <a:lnTo>
                    <a:pt x="472" y="667"/>
                  </a:lnTo>
                  <a:lnTo>
                    <a:pt x="472" y="667"/>
                  </a:lnTo>
                  <a:lnTo>
                    <a:pt x="472" y="667"/>
                  </a:lnTo>
                  <a:lnTo>
                    <a:pt x="472" y="665"/>
                  </a:lnTo>
                  <a:lnTo>
                    <a:pt x="472" y="665"/>
                  </a:lnTo>
                  <a:lnTo>
                    <a:pt x="469" y="662"/>
                  </a:lnTo>
                  <a:lnTo>
                    <a:pt x="472" y="662"/>
                  </a:lnTo>
                  <a:lnTo>
                    <a:pt x="472" y="662"/>
                  </a:lnTo>
                  <a:lnTo>
                    <a:pt x="472" y="662"/>
                  </a:lnTo>
                  <a:lnTo>
                    <a:pt x="474" y="665"/>
                  </a:lnTo>
                  <a:lnTo>
                    <a:pt x="474" y="662"/>
                  </a:lnTo>
                  <a:lnTo>
                    <a:pt x="474" y="662"/>
                  </a:lnTo>
                  <a:lnTo>
                    <a:pt x="476" y="662"/>
                  </a:lnTo>
                  <a:lnTo>
                    <a:pt x="476" y="662"/>
                  </a:lnTo>
                  <a:lnTo>
                    <a:pt x="481" y="662"/>
                  </a:lnTo>
                  <a:lnTo>
                    <a:pt x="481" y="662"/>
                  </a:lnTo>
                  <a:lnTo>
                    <a:pt x="483" y="660"/>
                  </a:lnTo>
                  <a:lnTo>
                    <a:pt x="486" y="658"/>
                  </a:lnTo>
                  <a:lnTo>
                    <a:pt x="488" y="658"/>
                  </a:lnTo>
                  <a:lnTo>
                    <a:pt x="488" y="658"/>
                  </a:lnTo>
                  <a:lnTo>
                    <a:pt x="488" y="658"/>
                  </a:lnTo>
                  <a:lnTo>
                    <a:pt x="491" y="658"/>
                  </a:lnTo>
                  <a:lnTo>
                    <a:pt x="491" y="658"/>
                  </a:lnTo>
                  <a:lnTo>
                    <a:pt x="491" y="658"/>
                  </a:lnTo>
                  <a:lnTo>
                    <a:pt x="491" y="655"/>
                  </a:lnTo>
                  <a:lnTo>
                    <a:pt x="491" y="655"/>
                  </a:lnTo>
                  <a:lnTo>
                    <a:pt x="488" y="653"/>
                  </a:lnTo>
                  <a:lnTo>
                    <a:pt x="491" y="653"/>
                  </a:lnTo>
                  <a:lnTo>
                    <a:pt x="491" y="653"/>
                  </a:lnTo>
                  <a:lnTo>
                    <a:pt x="495" y="653"/>
                  </a:lnTo>
                  <a:lnTo>
                    <a:pt x="495" y="651"/>
                  </a:lnTo>
                  <a:lnTo>
                    <a:pt x="495" y="651"/>
                  </a:lnTo>
                  <a:lnTo>
                    <a:pt x="498" y="651"/>
                  </a:lnTo>
                  <a:lnTo>
                    <a:pt x="498" y="648"/>
                  </a:lnTo>
                  <a:lnTo>
                    <a:pt x="495" y="648"/>
                  </a:lnTo>
                  <a:lnTo>
                    <a:pt x="493" y="646"/>
                  </a:lnTo>
                  <a:lnTo>
                    <a:pt x="488" y="646"/>
                  </a:lnTo>
                  <a:lnTo>
                    <a:pt x="486" y="643"/>
                  </a:lnTo>
                  <a:lnTo>
                    <a:pt x="486" y="643"/>
                  </a:lnTo>
                  <a:lnTo>
                    <a:pt x="486" y="643"/>
                  </a:lnTo>
                  <a:lnTo>
                    <a:pt x="483" y="643"/>
                  </a:lnTo>
                  <a:lnTo>
                    <a:pt x="483" y="641"/>
                  </a:lnTo>
                  <a:lnTo>
                    <a:pt x="483" y="641"/>
                  </a:lnTo>
                  <a:lnTo>
                    <a:pt x="483" y="641"/>
                  </a:lnTo>
                  <a:lnTo>
                    <a:pt x="486" y="641"/>
                  </a:lnTo>
                  <a:lnTo>
                    <a:pt x="486" y="641"/>
                  </a:lnTo>
                  <a:lnTo>
                    <a:pt x="486" y="641"/>
                  </a:lnTo>
                  <a:lnTo>
                    <a:pt x="488" y="641"/>
                  </a:lnTo>
                  <a:lnTo>
                    <a:pt x="491" y="641"/>
                  </a:lnTo>
                  <a:lnTo>
                    <a:pt x="491" y="641"/>
                  </a:lnTo>
                  <a:lnTo>
                    <a:pt x="491" y="639"/>
                  </a:lnTo>
                  <a:lnTo>
                    <a:pt x="488" y="636"/>
                  </a:lnTo>
                  <a:lnTo>
                    <a:pt x="486" y="634"/>
                  </a:lnTo>
                  <a:lnTo>
                    <a:pt x="483" y="629"/>
                  </a:lnTo>
                  <a:lnTo>
                    <a:pt x="481" y="629"/>
                  </a:lnTo>
                  <a:lnTo>
                    <a:pt x="479" y="627"/>
                  </a:lnTo>
                  <a:lnTo>
                    <a:pt x="476" y="622"/>
                  </a:lnTo>
                  <a:lnTo>
                    <a:pt x="474" y="620"/>
                  </a:lnTo>
                  <a:lnTo>
                    <a:pt x="474" y="620"/>
                  </a:lnTo>
                  <a:lnTo>
                    <a:pt x="469" y="620"/>
                  </a:lnTo>
                  <a:lnTo>
                    <a:pt x="465" y="620"/>
                  </a:lnTo>
                  <a:lnTo>
                    <a:pt x="462" y="617"/>
                  </a:lnTo>
                  <a:lnTo>
                    <a:pt x="462" y="620"/>
                  </a:lnTo>
                  <a:lnTo>
                    <a:pt x="460" y="620"/>
                  </a:lnTo>
                  <a:lnTo>
                    <a:pt x="458" y="620"/>
                  </a:lnTo>
                  <a:lnTo>
                    <a:pt x="458" y="617"/>
                  </a:lnTo>
                  <a:lnTo>
                    <a:pt x="455" y="615"/>
                  </a:lnTo>
                  <a:lnTo>
                    <a:pt x="455" y="615"/>
                  </a:lnTo>
                  <a:lnTo>
                    <a:pt x="455" y="613"/>
                  </a:lnTo>
                  <a:lnTo>
                    <a:pt x="455" y="610"/>
                  </a:lnTo>
                  <a:lnTo>
                    <a:pt x="453" y="608"/>
                  </a:lnTo>
                  <a:lnTo>
                    <a:pt x="450" y="608"/>
                  </a:lnTo>
                  <a:lnTo>
                    <a:pt x="448" y="606"/>
                  </a:lnTo>
                  <a:lnTo>
                    <a:pt x="446" y="603"/>
                  </a:lnTo>
                  <a:lnTo>
                    <a:pt x="446" y="598"/>
                  </a:lnTo>
                  <a:lnTo>
                    <a:pt x="448" y="594"/>
                  </a:lnTo>
                  <a:lnTo>
                    <a:pt x="450" y="594"/>
                  </a:lnTo>
                  <a:lnTo>
                    <a:pt x="450" y="591"/>
                  </a:lnTo>
                  <a:lnTo>
                    <a:pt x="450" y="591"/>
                  </a:lnTo>
                  <a:lnTo>
                    <a:pt x="450" y="589"/>
                  </a:lnTo>
                  <a:lnTo>
                    <a:pt x="448" y="589"/>
                  </a:lnTo>
                  <a:lnTo>
                    <a:pt x="446" y="587"/>
                  </a:lnTo>
                  <a:lnTo>
                    <a:pt x="446" y="587"/>
                  </a:lnTo>
                  <a:lnTo>
                    <a:pt x="446" y="584"/>
                  </a:lnTo>
                  <a:lnTo>
                    <a:pt x="446" y="580"/>
                  </a:lnTo>
                  <a:lnTo>
                    <a:pt x="446" y="577"/>
                  </a:lnTo>
                  <a:lnTo>
                    <a:pt x="448" y="575"/>
                  </a:lnTo>
                  <a:lnTo>
                    <a:pt x="450" y="572"/>
                  </a:lnTo>
                  <a:lnTo>
                    <a:pt x="450" y="572"/>
                  </a:lnTo>
                  <a:lnTo>
                    <a:pt x="450" y="570"/>
                  </a:lnTo>
                  <a:lnTo>
                    <a:pt x="450" y="568"/>
                  </a:lnTo>
                  <a:lnTo>
                    <a:pt x="450" y="568"/>
                  </a:lnTo>
                  <a:lnTo>
                    <a:pt x="450" y="568"/>
                  </a:lnTo>
                  <a:lnTo>
                    <a:pt x="453" y="565"/>
                  </a:lnTo>
                  <a:lnTo>
                    <a:pt x="453" y="565"/>
                  </a:lnTo>
                  <a:lnTo>
                    <a:pt x="455" y="565"/>
                  </a:lnTo>
                  <a:lnTo>
                    <a:pt x="455" y="565"/>
                  </a:lnTo>
                  <a:lnTo>
                    <a:pt x="460" y="568"/>
                  </a:lnTo>
                  <a:lnTo>
                    <a:pt x="462" y="572"/>
                  </a:lnTo>
                  <a:lnTo>
                    <a:pt x="465" y="575"/>
                  </a:lnTo>
                  <a:lnTo>
                    <a:pt x="467" y="575"/>
                  </a:lnTo>
                  <a:lnTo>
                    <a:pt x="469" y="577"/>
                  </a:lnTo>
                  <a:lnTo>
                    <a:pt x="469" y="577"/>
                  </a:lnTo>
                  <a:lnTo>
                    <a:pt x="472" y="575"/>
                  </a:lnTo>
                  <a:lnTo>
                    <a:pt x="474" y="575"/>
                  </a:lnTo>
                  <a:lnTo>
                    <a:pt x="476" y="575"/>
                  </a:lnTo>
                  <a:lnTo>
                    <a:pt x="476" y="572"/>
                  </a:lnTo>
                  <a:lnTo>
                    <a:pt x="474" y="570"/>
                  </a:lnTo>
                  <a:lnTo>
                    <a:pt x="474" y="570"/>
                  </a:lnTo>
                  <a:lnTo>
                    <a:pt x="474" y="568"/>
                  </a:lnTo>
                  <a:lnTo>
                    <a:pt x="472" y="565"/>
                  </a:lnTo>
                  <a:lnTo>
                    <a:pt x="472" y="563"/>
                  </a:lnTo>
                  <a:lnTo>
                    <a:pt x="469" y="561"/>
                  </a:lnTo>
                  <a:lnTo>
                    <a:pt x="469" y="561"/>
                  </a:lnTo>
                  <a:lnTo>
                    <a:pt x="472" y="561"/>
                  </a:lnTo>
                  <a:lnTo>
                    <a:pt x="472" y="561"/>
                  </a:lnTo>
                  <a:lnTo>
                    <a:pt x="474" y="561"/>
                  </a:lnTo>
                  <a:lnTo>
                    <a:pt x="476" y="558"/>
                  </a:lnTo>
                  <a:lnTo>
                    <a:pt x="481" y="556"/>
                  </a:lnTo>
                  <a:lnTo>
                    <a:pt x="481" y="554"/>
                  </a:lnTo>
                  <a:lnTo>
                    <a:pt x="481" y="551"/>
                  </a:lnTo>
                  <a:lnTo>
                    <a:pt x="481" y="551"/>
                  </a:lnTo>
                  <a:lnTo>
                    <a:pt x="483" y="551"/>
                  </a:lnTo>
                  <a:lnTo>
                    <a:pt x="486" y="551"/>
                  </a:lnTo>
                  <a:lnTo>
                    <a:pt x="488" y="549"/>
                  </a:lnTo>
                  <a:lnTo>
                    <a:pt x="491" y="549"/>
                  </a:lnTo>
                  <a:lnTo>
                    <a:pt x="493" y="546"/>
                  </a:lnTo>
                  <a:lnTo>
                    <a:pt x="493" y="546"/>
                  </a:lnTo>
                  <a:lnTo>
                    <a:pt x="495" y="546"/>
                  </a:lnTo>
                  <a:lnTo>
                    <a:pt x="495" y="542"/>
                  </a:lnTo>
                  <a:lnTo>
                    <a:pt x="498" y="542"/>
                  </a:lnTo>
                  <a:lnTo>
                    <a:pt x="500" y="539"/>
                  </a:lnTo>
                  <a:lnTo>
                    <a:pt x="500" y="537"/>
                  </a:lnTo>
                  <a:lnTo>
                    <a:pt x="500" y="539"/>
                  </a:lnTo>
                  <a:lnTo>
                    <a:pt x="502" y="539"/>
                  </a:lnTo>
                  <a:lnTo>
                    <a:pt x="505" y="539"/>
                  </a:lnTo>
                  <a:lnTo>
                    <a:pt x="507" y="542"/>
                  </a:lnTo>
                  <a:lnTo>
                    <a:pt x="509" y="542"/>
                  </a:lnTo>
                  <a:lnTo>
                    <a:pt x="509" y="542"/>
                  </a:lnTo>
                  <a:lnTo>
                    <a:pt x="509" y="544"/>
                  </a:lnTo>
                  <a:lnTo>
                    <a:pt x="509" y="544"/>
                  </a:lnTo>
                  <a:lnTo>
                    <a:pt x="512" y="544"/>
                  </a:lnTo>
                  <a:lnTo>
                    <a:pt x="514" y="544"/>
                  </a:lnTo>
                  <a:lnTo>
                    <a:pt x="516" y="542"/>
                  </a:lnTo>
                  <a:lnTo>
                    <a:pt x="519" y="539"/>
                  </a:lnTo>
                  <a:lnTo>
                    <a:pt x="521" y="539"/>
                  </a:lnTo>
                  <a:lnTo>
                    <a:pt x="524" y="539"/>
                  </a:lnTo>
                  <a:lnTo>
                    <a:pt x="526" y="542"/>
                  </a:lnTo>
                  <a:lnTo>
                    <a:pt x="528" y="542"/>
                  </a:lnTo>
                  <a:lnTo>
                    <a:pt x="528" y="544"/>
                  </a:lnTo>
                  <a:lnTo>
                    <a:pt x="531" y="544"/>
                  </a:lnTo>
                  <a:lnTo>
                    <a:pt x="531" y="544"/>
                  </a:lnTo>
                  <a:lnTo>
                    <a:pt x="531" y="542"/>
                  </a:lnTo>
                  <a:lnTo>
                    <a:pt x="531" y="542"/>
                  </a:lnTo>
                  <a:lnTo>
                    <a:pt x="533" y="542"/>
                  </a:lnTo>
                  <a:lnTo>
                    <a:pt x="535" y="544"/>
                  </a:lnTo>
                  <a:lnTo>
                    <a:pt x="538" y="544"/>
                  </a:lnTo>
                  <a:lnTo>
                    <a:pt x="540" y="544"/>
                  </a:lnTo>
                  <a:lnTo>
                    <a:pt x="540" y="542"/>
                  </a:lnTo>
                  <a:lnTo>
                    <a:pt x="542" y="544"/>
                  </a:lnTo>
                  <a:lnTo>
                    <a:pt x="542" y="544"/>
                  </a:lnTo>
                  <a:lnTo>
                    <a:pt x="545" y="544"/>
                  </a:lnTo>
                  <a:lnTo>
                    <a:pt x="547" y="549"/>
                  </a:lnTo>
                  <a:lnTo>
                    <a:pt x="549" y="549"/>
                  </a:lnTo>
                  <a:lnTo>
                    <a:pt x="552" y="549"/>
                  </a:lnTo>
                  <a:lnTo>
                    <a:pt x="554" y="551"/>
                  </a:lnTo>
                  <a:lnTo>
                    <a:pt x="557" y="551"/>
                  </a:lnTo>
                  <a:lnTo>
                    <a:pt x="557" y="554"/>
                  </a:lnTo>
                  <a:lnTo>
                    <a:pt x="559" y="554"/>
                  </a:lnTo>
                  <a:lnTo>
                    <a:pt x="561" y="558"/>
                  </a:lnTo>
                  <a:lnTo>
                    <a:pt x="564" y="561"/>
                  </a:lnTo>
                  <a:lnTo>
                    <a:pt x="564" y="561"/>
                  </a:lnTo>
                  <a:lnTo>
                    <a:pt x="566" y="563"/>
                  </a:lnTo>
                  <a:lnTo>
                    <a:pt x="566" y="563"/>
                  </a:lnTo>
                  <a:lnTo>
                    <a:pt x="566" y="563"/>
                  </a:lnTo>
                  <a:lnTo>
                    <a:pt x="566" y="561"/>
                  </a:lnTo>
                  <a:lnTo>
                    <a:pt x="566" y="561"/>
                  </a:lnTo>
                  <a:lnTo>
                    <a:pt x="566" y="558"/>
                  </a:lnTo>
                  <a:lnTo>
                    <a:pt x="564" y="556"/>
                  </a:lnTo>
                  <a:lnTo>
                    <a:pt x="564" y="554"/>
                  </a:lnTo>
                  <a:lnTo>
                    <a:pt x="564" y="554"/>
                  </a:lnTo>
                  <a:lnTo>
                    <a:pt x="564" y="554"/>
                  </a:lnTo>
                  <a:lnTo>
                    <a:pt x="564" y="554"/>
                  </a:lnTo>
                  <a:lnTo>
                    <a:pt x="566" y="554"/>
                  </a:lnTo>
                  <a:lnTo>
                    <a:pt x="568" y="554"/>
                  </a:lnTo>
                  <a:lnTo>
                    <a:pt x="571" y="556"/>
                  </a:lnTo>
                  <a:lnTo>
                    <a:pt x="575" y="558"/>
                  </a:lnTo>
                  <a:lnTo>
                    <a:pt x="578" y="561"/>
                  </a:lnTo>
                  <a:lnTo>
                    <a:pt x="580" y="561"/>
                  </a:lnTo>
                  <a:lnTo>
                    <a:pt x="582" y="561"/>
                  </a:lnTo>
                  <a:lnTo>
                    <a:pt x="585" y="561"/>
                  </a:lnTo>
                  <a:lnTo>
                    <a:pt x="587" y="561"/>
                  </a:lnTo>
                  <a:lnTo>
                    <a:pt x="590" y="558"/>
                  </a:lnTo>
                  <a:lnTo>
                    <a:pt x="590" y="558"/>
                  </a:lnTo>
                  <a:lnTo>
                    <a:pt x="590" y="556"/>
                  </a:lnTo>
                  <a:lnTo>
                    <a:pt x="592" y="554"/>
                  </a:lnTo>
                  <a:lnTo>
                    <a:pt x="594" y="554"/>
                  </a:lnTo>
                  <a:lnTo>
                    <a:pt x="594" y="554"/>
                  </a:lnTo>
                  <a:lnTo>
                    <a:pt x="597" y="554"/>
                  </a:lnTo>
                  <a:lnTo>
                    <a:pt x="599" y="551"/>
                  </a:lnTo>
                  <a:lnTo>
                    <a:pt x="599" y="551"/>
                  </a:lnTo>
                  <a:lnTo>
                    <a:pt x="601" y="551"/>
                  </a:lnTo>
                  <a:lnTo>
                    <a:pt x="606" y="551"/>
                  </a:lnTo>
                  <a:lnTo>
                    <a:pt x="608" y="554"/>
                  </a:lnTo>
                  <a:lnTo>
                    <a:pt x="611" y="556"/>
                  </a:lnTo>
                  <a:lnTo>
                    <a:pt x="611" y="556"/>
                  </a:lnTo>
                  <a:lnTo>
                    <a:pt x="613" y="554"/>
                  </a:lnTo>
                  <a:lnTo>
                    <a:pt x="613" y="554"/>
                  </a:lnTo>
                  <a:lnTo>
                    <a:pt x="615" y="551"/>
                  </a:lnTo>
                  <a:lnTo>
                    <a:pt x="615" y="551"/>
                  </a:lnTo>
                  <a:lnTo>
                    <a:pt x="615" y="551"/>
                  </a:lnTo>
                  <a:lnTo>
                    <a:pt x="618" y="551"/>
                  </a:lnTo>
                  <a:lnTo>
                    <a:pt x="620" y="551"/>
                  </a:lnTo>
                  <a:lnTo>
                    <a:pt x="620" y="551"/>
                  </a:lnTo>
                  <a:lnTo>
                    <a:pt x="625" y="551"/>
                  </a:lnTo>
                  <a:lnTo>
                    <a:pt x="627" y="554"/>
                  </a:lnTo>
                  <a:lnTo>
                    <a:pt x="630" y="556"/>
                  </a:lnTo>
                  <a:lnTo>
                    <a:pt x="632" y="558"/>
                  </a:lnTo>
                  <a:lnTo>
                    <a:pt x="634" y="558"/>
                  </a:lnTo>
                  <a:lnTo>
                    <a:pt x="637" y="558"/>
                  </a:lnTo>
                  <a:lnTo>
                    <a:pt x="637" y="561"/>
                  </a:lnTo>
                  <a:lnTo>
                    <a:pt x="639" y="561"/>
                  </a:lnTo>
                  <a:lnTo>
                    <a:pt x="644" y="561"/>
                  </a:lnTo>
                  <a:lnTo>
                    <a:pt x="644" y="561"/>
                  </a:lnTo>
                  <a:lnTo>
                    <a:pt x="646" y="561"/>
                  </a:lnTo>
                  <a:lnTo>
                    <a:pt x="646" y="563"/>
                  </a:lnTo>
                  <a:lnTo>
                    <a:pt x="646" y="563"/>
                  </a:lnTo>
                  <a:lnTo>
                    <a:pt x="648" y="563"/>
                  </a:lnTo>
                  <a:lnTo>
                    <a:pt x="651" y="561"/>
                  </a:lnTo>
                  <a:lnTo>
                    <a:pt x="651" y="558"/>
                  </a:lnTo>
                  <a:lnTo>
                    <a:pt x="651" y="556"/>
                  </a:lnTo>
                  <a:lnTo>
                    <a:pt x="651" y="556"/>
                  </a:lnTo>
                  <a:lnTo>
                    <a:pt x="653" y="556"/>
                  </a:lnTo>
                  <a:lnTo>
                    <a:pt x="653" y="556"/>
                  </a:lnTo>
                  <a:lnTo>
                    <a:pt x="655" y="558"/>
                  </a:lnTo>
                  <a:lnTo>
                    <a:pt x="655" y="558"/>
                  </a:lnTo>
                  <a:lnTo>
                    <a:pt x="658" y="558"/>
                  </a:lnTo>
                  <a:lnTo>
                    <a:pt x="660" y="561"/>
                  </a:lnTo>
                  <a:lnTo>
                    <a:pt x="663" y="561"/>
                  </a:lnTo>
                  <a:lnTo>
                    <a:pt x="667" y="558"/>
                  </a:lnTo>
                  <a:lnTo>
                    <a:pt x="672" y="558"/>
                  </a:lnTo>
                  <a:lnTo>
                    <a:pt x="674" y="556"/>
                  </a:lnTo>
                  <a:lnTo>
                    <a:pt x="674" y="554"/>
                  </a:lnTo>
                  <a:lnTo>
                    <a:pt x="674" y="551"/>
                  </a:lnTo>
                  <a:lnTo>
                    <a:pt x="674" y="549"/>
                  </a:lnTo>
                  <a:lnTo>
                    <a:pt x="674" y="546"/>
                  </a:lnTo>
                  <a:lnTo>
                    <a:pt x="670" y="544"/>
                  </a:lnTo>
                  <a:lnTo>
                    <a:pt x="670" y="544"/>
                  </a:lnTo>
                  <a:lnTo>
                    <a:pt x="663" y="542"/>
                  </a:lnTo>
                  <a:lnTo>
                    <a:pt x="663" y="542"/>
                  </a:lnTo>
                  <a:lnTo>
                    <a:pt x="663" y="542"/>
                  </a:lnTo>
                  <a:lnTo>
                    <a:pt x="658" y="539"/>
                  </a:lnTo>
                  <a:lnTo>
                    <a:pt x="653" y="539"/>
                  </a:lnTo>
                  <a:lnTo>
                    <a:pt x="653" y="539"/>
                  </a:lnTo>
                  <a:lnTo>
                    <a:pt x="653" y="537"/>
                  </a:lnTo>
                  <a:lnTo>
                    <a:pt x="651" y="537"/>
                  </a:lnTo>
                  <a:lnTo>
                    <a:pt x="646" y="535"/>
                  </a:lnTo>
                  <a:lnTo>
                    <a:pt x="646" y="535"/>
                  </a:lnTo>
                  <a:lnTo>
                    <a:pt x="646" y="532"/>
                  </a:lnTo>
                  <a:lnTo>
                    <a:pt x="648" y="532"/>
                  </a:lnTo>
                  <a:lnTo>
                    <a:pt x="651" y="530"/>
                  </a:lnTo>
                  <a:lnTo>
                    <a:pt x="651" y="530"/>
                  </a:lnTo>
                  <a:lnTo>
                    <a:pt x="653" y="530"/>
                  </a:lnTo>
                  <a:lnTo>
                    <a:pt x="655" y="528"/>
                  </a:lnTo>
                  <a:lnTo>
                    <a:pt x="658" y="528"/>
                  </a:lnTo>
                  <a:lnTo>
                    <a:pt x="658" y="525"/>
                  </a:lnTo>
                  <a:lnTo>
                    <a:pt x="658" y="525"/>
                  </a:lnTo>
                  <a:lnTo>
                    <a:pt x="653" y="520"/>
                  </a:lnTo>
                  <a:lnTo>
                    <a:pt x="653" y="518"/>
                  </a:lnTo>
                  <a:lnTo>
                    <a:pt x="653" y="518"/>
                  </a:lnTo>
                  <a:lnTo>
                    <a:pt x="653" y="516"/>
                  </a:lnTo>
                  <a:lnTo>
                    <a:pt x="653" y="516"/>
                  </a:lnTo>
                  <a:lnTo>
                    <a:pt x="655" y="513"/>
                  </a:lnTo>
                  <a:lnTo>
                    <a:pt x="655" y="513"/>
                  </a:lnTo>
                  <a:lnTo>
                    <a:pt x="658" y="513"/>
                  </a:lnTo>
                  <a:lnTo>
                    <a:pt x="660" y="513"/>
                  </a:lnTo>
                  <a:lnTo>
                    <a:pt x="663" y="513"/>
                  </a:lnTo>
                  <a:lnTo>
                    <a:pt x="665" y="513"/>
                  </a:lnTo>
                  <a:lnTo>
                    <a:pt x="670" y="513"/>
                  </a:lnTo>
                  <a:lnTo>
                    <a:pt x="670" y="513"/>
                  </a:lnTo>
                  <a:lnTo>
                    <a:pt x="672" y="513"/>
                  </a:lnTo>
                  <a:lnTo>
                    <a:pt x="672" y="513"/>
                  </a:lnTo>
                  <a:lnTo>
                    <a:pt x="672" y="511"/>
                  </a:lnTo>
                  <a:lnTo>
                    <a:pt x="670" y="511"/>
                  </a:lnTo>
                  <a:lnTo>
                    <a:pt x="665" y="509"/>
                  </a:lnTo>
                  <a:lnTo>
                    <a:pt x="663" y="509"/>
                  </a:lnTo>
                  <a:lnTo>
                    <a:pt x="663" y="509"/>
                  </a:lnTo>
                  <a:lnTo>
                    <a:pt x="660" y="509"/>
                  </a:lnTo>
                  <a:lnTo>
                    <a:pt x="658" y="506"/>
                  </a:lnTo>
                  <a:lnTo>
                    <a:pt x="655" y="506"/>
                  </a:lnTo>
                  <a:lnTo>
                    <a:pt x="655" y="506"/>
                  </a:lnTo>
                  <a:lnTo>
                    <a:pt x="655" y="504"/>
                  </a:lnTo>
                  <a:lnTo>
                    <a:pt x="655" y="504"/>
                  </a:lnTo>
                  <a:lnTo>
                    <a:pt x="655" y="504"/>
                  </a:lnTo>
                  <a:lnTo>
                    <a:pt x="658" y="504"/>
                  </a:lnTo>
                  <a:lnTo>
                    <a:pt x="660" y="502"/>
                  </a:lnTo>
                  <a:lnTo>
                    <a:pt x="660" y="502"/>
                  </a:lnTo>
                  <a:lnTo>
                    <a:pt x="660" y="502"/>
                  </a:lnTo>
                  <a:lnTo>
                    <a:pt x="658" y="502"/>
                  </a:lnTo>
                  <a:lnTo>
                    <a:pt x="658" y="502"/>
                  </a:lnTo>
                  <a:lnTo>
                    <a:pt x="658" y="502"/>
                  </a:lnTo>
                  <a:lnTo>
                    <a:pt x="655" y="502"/>
                  </a:lnTo>
                  <a:lnTo>
                    <a:pt x="655" y="502"/>
                  </a:lnTo>
                  <a:lnTo>
                    <a:pt x="653" y="502"/>
                  </a:lnTo>
                  <a:lnTo>
                    <a:pt x="651" y="499"/>
                  </a:lnTo>
                  <a:lnTo>
                    <a:pt x="651" y="499"/>
                  </a:lnTo>
                  <a:lnTo>
                    <a:pt x="651" y="499"/>
                  </a:lnTo>
                  <a:lnTo>
                    <a:pt x="651" y="497"/>
                  </a:lnTo>
                  <a:lnTo>
                    <a:pt x="651" y="497"/>
                  </a:lnTo>
                  <a:lnTo>
                    <a:pt x="651" y="494"/>
                  </a:lnTo>
                  <a:lnTo>
                    <a:pt x="651" y="492"/>
                  </a:lnTo>
                  <a:lnTo>
                    <a:pt x="651" y="492"/>
                  </a:lnTo>
                  <a:lnTo>
                    <a:pt x="653" y="492"/>
                  </a:lnTo>
                  <a:lnTo>
                    <a:pt x="658" y="492"/>
                  </a:lnTo>
                  <a:lnTo>
                    <a:pt x="663" y="494"/>
                  </a:lnTo>
                  <a:lnTo>
                    <a:pt x="663" y="492"/>
                  </a:lnTo>
                  <a:lnTo>
                    <a:pt x="665" y="492"/>
                  </a:lnTo>
                  <a:lnTo>
                    <a:pt x="665" y="492"/>
                  </a:lnTo>
                  <a:lnTo>
                    <a:pt x="672" y="492"/>
                  </a:lnTo>
                  <a:lnTo>
                    <a:pt x="672" y="492"/>
                  </a:lnTo>
                  <a:lnTo>
                    <a:pt x="672" y="492"/>
                  </a:lnTo>
                  <a:lnTo>
                    <a:pt x="679" y="490"/>
                  </a:lnTo>
                  <a:lnTo>
                    <a:pt x="681" y="490"/>
                  </a:lnTo>
                  <a:lnTo>
                    <a:pt x="681" y="490"/>
                  </a:lnTo>
                  <a:lnTo>
                    <a:pt x="684" y="490"/>
                  </a:lnTo>
                  <a:lnTo>
                    <a:pt x="684" y="490"/>
                  </a:lnTo>
                  <a:lnTo>
                    <a:pt x="686" y="487"/>
                  </a:lnTo>
                  <a:lnTo>
                    <a:pt x="688" y="487"/>
                  </a:lnTo>
                  <a:lnTo>
                    <a:pt x="688" y="487"/>
                  </a:lnTo>
                  <a:lnTo>
                    <a:pt x="691" y="487"/>
                  </a:lnTo>
                  <a:lnTo>
                    <a:pt x="693" y="487"/>
                  </a:lnTo>
                  <a:lnTo>
                    <a:pt x="693" y="487"/>
                  </a:lnTo>
                  <a:lnTo>
                    <a:pt x="693" y="487"/>
                  </a:lnTo>
                  <a:lnTo>
                    <a:pt x="696" y="485"/>
                  </a:lnTo>
                  <a:lnTo>
                    <a:pt x="700" y="485"/>
                  </a:lnTo>
                  <a:lnTo>
                    <a:pt x="700" y="485"/>
                  </a:lnTo>
                  <a:lnTo>
                    <a:pt x="703" y="485"/>
                  </a:lnTo>
                  <a:lnTo>
                    <a:pt x="705" y="485"/>
                  </a:lnTo>
                  <a:lnTo>
                    <a:pt x="707" y="485"/>
                  </a:lnTo>
                  <a:lnTo>
                    <a:pt x="707" y="485"/>
                  </a:lnTo>
                  <a:lnTo>
                    <a:pt x="710" y="485"/>
                  </a:lnTo>
                  <a:lnTo>
                    <a:pt x="710" y="485"/>
                  </a:lnTo>
                  <a:lnTo>
                    <a:pt x="710" y="483"/>
                  </a:lnTo>
                  <a:lnTo>
                    <a:pt x="710" y="483"/>
                  </a:lnTo>
                  <a:lnTo>
                    <a:pt x="712" y="480"/>
                  </a:lnTo>
                  <a:lnTo>
                    <a:pt x="712" y="480"/>
                  </a:lnTo>
                  <a:lnTo>
                    <a:pt x="714" y="480"/>
                  </a:lnTo>
                  <a:lnTo>
                    <a:pt x="714" y="480"/>
                  </a:lnTo>
                  <a:lnTo>
                    <a:pt x="717" y="480"/>
                  </a:lnTo>
                  <a:lnTo>
                    <a:pt x="719" y="478"/>
                  </a:lnTo>
                  <a:lnTo>
                    <a:pt x="721" y="480"/>
                  </a:lnTo>
                  <a:lnTo>
                    <a:pt x="724" y="478"/>
                  </a:lnTo>
                  <a:lnTo>
                    <a:pt x="731" y="478"/>
                  </a:lnTo>
                  <a:lnTo>
                    <a:pt x="733" y="478"/>
                  </a:lnTo>
                  <a:lnTo>
                    <a:pt x="738" y="476"/>
                  </a:lnTo>
                  <a:lnTo>
                    <a:pt x="740" y="476"/>
                  </a:lnTo>
                  <a:lnTo>
                    <a:pt x="743" y="476"/>
                  </a:lnTo>
                  <a:lnTo>
                    <a:pt x="747" y="476"/>
                  </a:lnTo>
                  <a:lnTo>
                    <a:pt x="747" y="473"/>
                  </a:lnTo>
                  <a:lnTo>
                    <a:pt x="750" y="473"/>
                  </a:lnTo>
                  <a:lnTo>
                    <a:pt x="752" y="473"/>
                  </a:lnTo>
                  <a:lnTo>
                    <a:pt x="752" y="473"/>
                  </a:lnTo>
                  <a:lnTo>
                    <a:pt x="754" y="473"/>
                  </a:lnTo>
                  <a:lnTo>
                    <a:pt x="754" y="471"/>
                  </a:lnTo>
                  <a:lnTo>
                    <a:pt x="752" y="471"/>
                  </a:lnTo>
                  <a:lnTo>
                    <a:pt x="752" y="468"/>
                  </a:lnTo>
                  <a:lnTo>
                    <a:pt x="754" y="468"/>
                  </a:lnTo>
                  <a:lnTo>
                    <a:pt x="754" y="468"/>
                  </a:lnTo>
                  <a:lnTo>
                    <a:pt x="757" y="468"/>
                  </a:lnTo>
                  <a:lnTo>
                    <a:pt x="759" y="466"/>
                  </a:lnTo>
                  <a:lnTo>
                    <a:pt x="762" y="466"/>
                  </a:lnTo>
                  <a:lnTo>
                    <a:pt x="762" y="464"/>
                  </a:lnTo>
                  <a:lnTo>
                    <a:pt x="766" y="466"/>
                  </a:lnTo>
                  <a:lnTo>
                    <a:pt x="771" y="466"/>
                  </a:lnTo>
                  <a:lnTo>
                    <a:pt x="776" y="466"/>
                  </a:lnTo>
                  <a:lnTo>
                    <a:pt x="778" y="468"/>
                  </a:lnTo>
                  <a:lnTo>
                    <a:pt x="780" y="468"/>
                  </a:lnTo>
                  <a:lnTo>
                    <a:pt x="780" y="468"/>
                  </a:lnTo>
                  <a:lnTo>
                    <a:pt x="783" y="468"/>
                  </a:lnTo>
                  <a:lnTo>
                    <a:pt x="785" y="468"/>
                  </a:lnTo>
                  <a:lnTo>
                    <a:pt x="785" y="468"/>
                  </a:lnTo>
                  <a:lnTo>
                    <a:pt x="785" y="468"/>
                  </a:lnTo>
                  <a:lnTo>
                    <a:pt x="787" y="466"/>
                  </a:lnTo>
                  <a:lnTo>
                    <a:pt x="790" y="466"/>
                  </a:lnTo>
                  <a:lnTo>
                    <a:pt x="792" y="466"/>
                  </a:lnTo>
                  <a:lnTo>
                    <a:pt x="795" y="471"/>
                  </a:lnTo>
                  <a:lnTo>
                    <a:pt x="797" y="473"/>
                  </a:lnTo>
                  <a:lnTo>
                    <a:pt x="802" y="478"/>
                  </a:lnTo>
                  <a:lnTo>
                    <a:pt x="804" y="480"/>
                  </a:lnTo>
                  <a:lnTo>
                    <a:pt x="804" y="483"/>
                  </a:lnTo>
                  <a:lnTo>
                    <a:pt x="804" y="483"/>
                  </a:lnTo>
                  <a:lnTo>
                    <a:pt x="804" y="485"/>
                  </a:lnTo>
                  <a:lnTo>
                    <a:pt x="804" y="487"/>
                  </a:lnTo>
                  <a:lnTo>
                    <a:pt x="804" y="487"/>
                  </a:lnTo>
                  <a:lnTo>
                    <a:pt x="809" y="490"/>
                  </a:lnTo>
                  <a:lnTo>
                    <a:pt x="813" y="490"/>
                  </a:lnTo>
                  <a:lnTo>
                    <a:pt x="816" y="487"/>
                  </a:lnTo>
                  <a:lnTo>
                    <a:pt x="818" y="487"/>
                  </a:lnTo>
                  <a:lnTo>
                    <a:pt x="820" y="487"/>
                  </a:lnTo>
                  <a:lnTo>
                    <a:pt x="820" y="485"/>
                  </a:lnTo>
                  <a:lnTo>
                    <a:pt x="820" y="485"/>
                  </a:lnTo>
                  <a:lnTo>
                    <a:pt x="823" y="487"/>
                  </a:lnTo>
                  <a:lnTo>
                    <a:pt x="823" y="490"/>
                  </a:lnTo>
                  <a:lnTo>
                    <a:pt x="825" y="490"/>
                  </a:lnTo>
                  <a:lnTo>
                    <a:pt x="825" y="492"/>
                  </a:lnTo>
                  <a:lnTo>
                    <a:pt x="828" y="492"/>
                  </a:lnTo>
                  <a:lnTo>
                    <a:pt x="828" y="494"/>
                  </a:lnTo>
                  <a:lnTo>
                    <a:pt x="828" y="492"/>
                  </a:lnTo>
                  <a:lnTo>
                    <a:pt x="830" y="492"/>
                  </a:lnTo>
                  <a:lnTo>
                    <a:pt x="830" y="492"/>
                  </a:lnTo>
                  <a:lnTo>
                    <a:pt x="830" y="492"/>
                  </a:lnTo>
                  <a:lnTo>
                    <a:pt x="828" y="490"/>
                  </a:lnTo>
                  <a:lnTo>
                    <a:pt x="828" y="490"/>
                  </a:lnTo>
                  <a:lnTo>
                    <a:pt x="830" y="490"/>
                  </a:lnTo>
                  <a:lnTo>
                    <a:pt x="830" y="490"/>
                  </a:lnTo>
                  <a:lnTo>
                    <a:pt x="835" y="490"/>
                  </a:lnTo>
                  <a:lnTo>
                    <a:pt x="837" y="492"/>
                  </a:lnTo>
                  <a:lnTo>
                    <a:pt x="839" y="492"/>
                  </a:lnTo>
                  <a:lnTo>
                    <a:pt x="839" y="492"/>
                  </a:lnTo>
                  <a:lnTo>
                    <a:pt x="842" y="492"/>
                  </a:lnTo>
                  <a:lnTo>
                    <a:pt x="844" y="492"/>
                  </a:lnTo>
                  <a:lnTo>
                    <a:pt x="844" y="492"/>
                  </a:lnTo>
                  <a:lnTo>
                    <a:pt x="844" y="492"/>
                  </a:lnTo>
                  <a:lnTo>
                    <a:pt x="846" y="492"/>
                  </a:lnTo>
                  <a:lnTo>
                    <a:pt x="846" y="492"/>
                  </a:lnTo>
                  <a:lnTo>
                    <a:pt x="846" y="492"/>
                  </a:lnTo>
                  <a:lnTo>
                    <a:pt x="846" y="494"/>
                  </a:lnTo>
                  <a:lnTo>
                    <a:pt x="846" y="494"/>
                  </a:lnTo>
                  <a:lnTo>
                    <a:pt x="844" y="497"/>
                  </a:lnTo>
                  <a:lnTo>
                    <a:pt x="844" y="499"/>
                  </a:lnTo>
                  <a:lnTo>
                    <a:pt x="844" y="499"/>
                  </a:lnTo>
                  <a:lnTo>
                    <a:pt x="844" y="502"/>
                  </a:lnTo>
                  <a:lnTo>
                    <a:pt x="846" y="502"/>
                  </a:lnTo>
                  <a:lnTo>
                    <a:pt x="846" y="504"/>
                  </a:lnTo>
                  <a:lnTo>
                    <a:pt x="846" y="504"/>
                  </a:lnTo>
                  <a:lnTo>
                    <a:pt x="846" y="504"/>
                  </a:lnTo>
                  <a:lnTo>
                    <a:pt x="849" y="502"/>
                  </a:lnTo>
                  <a:lnTo>
                    <a:pt x="851" y="499"/>
                  </a:lnTo>
                  <a:lnTo>
                    <a:pt x="853" y="499"/>
                  </a:lnTo>
                  <a:lnTo>
                    <a:pt x="856" y="499"/>
                  </a:lnTo>
                  <a:lnTo>
                    <a:pt x="858" y="502"/>
                  </a:lnTo>
                  <a:lnTo>
                    <a:pt x="861" y="502"/>
                  </a:lnTo>
                  <a:lnTo>
                    <a:pt x="861" y="502"/>
                  </a:lnTo>
                  <a:lnTo>
                    <a:pt x="863" y="502"/>
                  </a:lnTo>
                  <a:lnTo>
                    <a:pt x="863" y="502"/>
                  </a:lnTo>
                  <a:lnTo>
                    <a:pt x="861" y="499"/>
                  </a:lnTo>
                  <a:lnTo>
                    <a:pt x="861" y="499"/>
                  </a:lnTo>
                  <a:lnTo>
                    <a:pt x="865" y="497"/>
                  </a:lnTo>
                  <a:lnTo>
                    <a:pt x="865" y="497"/>
                  </a:lnTo>
                  <a:lnTo>
                    <a:pt x="868" y="494"/>
                  </a:lnTo>
                  <a:lnTo>
                    <a:pt x="868" y="497"/>
                  </a:lnTo>
                  <a:lnTo>
                    <a:pt x="870" y="497"/>
                  </a:lnTo>
                  <a:lnTo>
                    <a:pt x="872" y="494"/>
                  </a:lnTo>
                  <a:lnTo>
                    <a:pt x="872" y="492"/>
                  </a:lnTo>
                  <a:lnTo>
                    <a:pt x="872" y="492"/>
                  </a:lnTo>
                  <a:lnTo>
                    <a:pt x="872" y="492"/>
                  </a:lnTo>
                  <a:lnTo>
                    <a:pt x="872" y="490"/>
                  </a:lnTo>
                  <a:lnTo>
                    <a:pt x="877" y="490"/>
                  </a:lnTo>
                  <a:lnTo>
                    <a:pt x="877" y="490"/>
                  </a:lnTo>
                  <a:lnTo>
                    <a:pt x="879" y="490"/>
                  </a:lnTo>
                  <a:lnTo>
                    <a:pt x="882" y="487"/>
                  </a:lnTo>
                  <a:lnTo>
                    <a:pt x="884" y="485"/>
                  </a:lnTo>
                  <a:lnTo>
                    <a:pt x="889" y="485"/>
                  </a:lnTo>
                  <a:lnTo>
                    <a:pt x="889" y="485"/>
                  </a:lnTo>
                  <a:lnTo>
                    <a:pt x="889" y="485"/>
                  </a:lnTo>
                  <a:lnTo>
                    <a:pt x="891" y="483"/>
                  </a:lnTo>
                  <a:lnTo>
                    <a:pt x="891" y="483"/>
                  </a:lnTo>
                  <a:lnTo>
                    <a:pt x="894" y="485"/>
                  </a:lnTo>
                  <a:lnTo>
                    <a:pt x="891" y="490"/>
                  </a:lnTo>
                  <a:lnTo>
                    <a:pt x="891" y="490"/>
                  </a:lnTo>
                  <a:lnTo>
                    <a:pt x="889" y="490"/>
                  </a:lnTo>
                  <a:lnTo>
                    <a:pt x="889" y="490"/>
                  </a:lnTo>
                  <a:lnTo>
                    <a:pt x="889" y="492"/>
                  </a:lnTo>
                  <a:lnTo>
                    <a:pt x="891" y="492"/>
                  </a:lnTo>
                  <a:lnTo>
                    <a:pt x="891" y="492"/>
                  </a:lnTo>
                  <a:lnTo>
                    <a:pt x="891" y="494"/>
                  </a:lnTo>
                  <a:lnTo>
                    <a:pt x="898" y="497"/>
                  </a:lnTo>
                  <a:lnTo>
                    <a:pt x="903" y="499"/>
                  </a:lnTo>
                  <a:lnTo>
                    <a:pt x="910" y="502"/>
                  </a:lnTo>
                  <a:lnTo>
                    <a:pt x="915" y="504"/>
                  </a:lnTo>
                  <a:lnTo>
                    <a:pt x="917" y="506"/>
                  </a:lnTo>
                  <a:lnTo>
                    <a:pt x="917" y="506"/>
                  </a:lnTo>
                  <a:lnTo>
                    <a:pt x="922" y="511"/>
                  </a:lnTo>
                  <a:lnTo>
                    <a:pt x="927" y="513"/>
                  </a:lnTo>
                  <a:lnTo>
                    <a:pt x="934" y="520"/>
                  </a:lnTo>
                  <a:lnTo>
                    <a:pt x="938" y="525"/>
                  </a:lnTo>
                  <a:lnTo>
                    <a:pt x="945" y="532"/>
                  </a:lnTo>
                  <a:lnTo>
                    <a:pt x="950" y="535"/>
                  </a:lnTo>
                  <a:lnTo>
                    <a:pt x="957" y="542"/>
                  </a:lnTo>
                  <a:lnTo>
                    <a:pt x="960" y="544"/>
                  </a:lnTo>
                  <a:lnTo>
                    <a:pt x="964" y="549"/>
                  </a:lnTo>
                  <a:lnTo>
                    <a:pt x="969" y="554"/>
                  </a:lnTo>
                  <a:lnTo>
                    <a:pt x="971" y="558"/>
                  </a:lnTo>
                  <a:lnTo>
                    <a:pt x="974" y="558"/>
                  </a:lnTo>
                  <a:lnTo>
                    <a:pt x="974" y="556"/>
                  </a:lnTo>
                  <a:lnTo>
                    <a:pt x="974" y="556"/>
                  </a:lnTo>
                  <a:lnTo>
                    <a:pt x="974" y="556"/>
                  </a:lnTo>
                  <a:lnTo>
                    <a:pt x="976" y="554"/>
                  </a:lnTo>
                  <a:lnTo>
                    <a:pt x="976" y="554"/>
                  </a:lnTo>
                  <a:lnTo>
                    <a:pt x="976" y="554"/>
                  </a:lnTo>
                  <a:lnTo>
                    <a:pt x="978" y="554"/>
                  </a:lnTo>
                  <a:lnTo>
                    <a:pt x="978" y="554"/>
                  </a:lnTo>
                  <a:lnTo>
                    <a:pt x="976" y="551"/>
                  </a:lnTo>
                  <a:lnTo>
                    <a:pt x="976" y="551"/>
                  </a:lnTo>
                  <a:lnTo>
                    <a:pt x="976" y="549"/>
                  </a:lnTo>
                  <a:lnTo>
                    <a:pt x="976" y="549"/>
                  </a:lnTo>
                  <a:lnTo>
                    <a:pt x="978" y="549"/>
                  </a:lnTo>
                  <a:lnTo>
                    <a:pt x="978" y="549"/>
                  </a:lnTo>
                  <a:lnTo>
                    <a:pt x="978" y="546"/>
                  </a:lnTo>
                  <a:lnTo>
                    <a:pt x="981" y="546"/>
                  </a:lnTo>
                  <a:lnTo>
                    <a:pt x="981" y="546"/>
                  </a:lnTo>
                  <a:lnTo>
                    <a:pt x="983" y="546"/>
                  </a:lnTo>
                  <a:lnTo>
                    <a:pt x="983" y="549"/>
                  </a:lnTo>
                  <a:lnTo>
                    <a:pt x="985" y="549"/>
                  </a:lnTo>
                  <a:lnTo>
                    <a:pt x="985" y="549"/>
                  </a:lnTo>
                  <a:lnTo>
                    <a:pt x="988" y="549"/>
                  </a:lnTo>
                  <a:lnTo>
                    <a:pt x="988" y="549"/>
                  </a:lnTo>
                  <a:lnTo>
                    <a:pt x="988" y="551"/>
                  </a:lnTo>
                  <a:lnTo>
                    <a:pt x="988" y="554"/>
                  </a:lnTo>
                  <a:lnTo>
                    <a:pt x="988" y="554"/>
                  </a:lnTo>
                  <a:lnTo>
                    <a:pt x="990" y="554"/>
                  </a:lnTo>
                  <a:lnTo>
                    <a:pt x="993" y="554"/>
                  </a:lnTo>
                  <a:lnTo>
                    <a:pt x="993" y="554"/>
                  </a:lnTo>
                  <a:lnTo>
                    <a:pt x="995" y="554"/>
                  </a:lnTo>
                  <a:lnTo>
                    <a:pt x="995" y="556"/>
                  </a:lnTo>
                  <a:lnTo>
                    <a:pt x="995" y="556"/>
                  </a:lnTo>
                  <a:lnTo>
                    <a:pt x="995" y="558"/>
                  </a:lnTo>
                  <a:lnTo>
                    <a:pt x="997" y="558"/>
                  </a:lnTo>
                  <a:lnTo>
                    <a:pt x="1000" y="558"/>
                  </a:lnTo>
                  <a:lnTo>
                    <a:pt x="1002" y="558"/>
                  </a:lnTo>
                  <a:lnTo>
                    <a:pt x="1004" y="558"/>
                  </a:lnTo>
                  <a:lnTo>
                    <a:pt x="1007" y="558"/>
                  </a:lnTo>
                  <a:lnTo>
                    <a:pt x="1009" y="558"/>
                  </a:lnTo>
                  <a:lnTo>
                    <a:pt x="1009" y="558"/>
                  </a:lnTo>
                  <a:lnTo>
                    <a:pt x="1014" y="558"/>
                  </a:lnTo>
                  <a:lnTo>
                    <a:pt x="1014" y="558"/>
                  </a:lnTo>
                  <a:lnTo>
                    <a:pt x="1016" y="556"/>
                  </a:lnTo>
                  <a:lnTo>
                    <a:pt x="1016" y="556"/>
                  </a:lnTo>
                  <a:lnTo>
                    <a:pt x="1016" y="556"/>
                  </a:lnTo>
                  <a:lnTo>
                    <a:pt x="1018" y="556"/>
                  </a:lnTo>
                  <a:lnTo>
                    <a:pt x="1021" y="556"/>
                  </a:lnTo>
                  <a:lnTo>
                    <a:pt x="1021" y="554"/>
                  </a:lnTo>
                  <a:lnTo>
                    <a:pt x="1021" y="554"/>
                  </a:lnTo>
                  <a:lnTo>
                    <a:pt x="1023" y="554"/>
                  </a:lnTo>
                  <a:lnTo>
                    <a:pt x="1026" y="554"/>
                  </a:lnTo>
                  <a:lnTo>
                    <a:pt x="1028" y="554"/>
                  </a:lnTo>
                  <a:lnTo>
                    <a:pt x="1030" y="556"/>
                  </a:lnTo>
                  <a:lnTo>
                    <a:pt x="1035" y="556"/>
                  </a:lnTo>
                  <a:lnTo>
                    <a:pt x="1035" y="558"/>
                  </a:lnTo>
                  <a:lnTo>
                    <a:pt x="1037" y="558"/>
                  </a:lnTo>
                  <a:lnTo>
                    <a:pt x="1040" y="561"/>
                  </a:lnTo>
                  <a:lnTo>
                    <a:pt x="1042" y="563"/>
                  </a:lnTo>
                  <a:lnTo>
                    <a:pt x="1042" y="565"/>
                  </a:lnTo>
                  <a:lnTo>
                    <a:pt x="1044" y="568"/>
                  </a:lnTo>
                  <a:lnTo>
                    <a:pt x="1047" y="568"/>
                  </a:lnTo>
                  <a:lnTo>
                    <a:pt x="1047" y="568"/>
                  </a:lnTo>
                  <a:lnTo>
                    <a:pt x="1049" y="568"/>
                  </a:lnTo>
                  <a:lnTo>
                    <a:pt x="1051" y="570"/>
                  </a:lnTo>
                  <a:lnTo>
                    <a:pt x="1056" y="572"/>
                  </a:lnTo>
                  <a:lnTo>
                    <a:pt x="1059" y="572"/>
                  </a:lnTo>
                  <a:lnTo>
                    <a:pt x="1059" y="572"/>
                  </a:lnTo>
                  <a:lnTo>
                    <a:pt x="1059" y="572"/>
                  </a:lnTo>
                  <a:lnTo>
                    <a:pt x="1059" y="575"/>
                  </a:lnTo>
                  <a:lnTo>
                    <a:pt x="1061" y="575"/>
                  </a:lnTo>
                  <a:lnTo>
                    <a:pt x="1063" y="577"/>
                  </a:lnTo>
                  <a:lnTo>
                    <a:pt x="1063" y="580"/>
                  </a:lnTo>
                  <a:lnTo>
                    <a:pt x="1066" y="580"/>
                  </a:lnTo>
                  <a:lnTo>
                    <a:pt x="1066" y="582"/>
                  </a:lnTo>
                  <a:lnTo>
                    <a:pt x="1068" y="582"/>
                  </a:lnTo>
                  <a:lnTo>
                    <a:pt x="1068" y="582"/>
                  </a:lnTo>
                  <a:lnTo>
                    <a:pt x="1070" y="582"/>
                  </a:lnTo>
                  <a:lnTo>
                    <a:pt x="1077" y="582"/>
                  </a:lnTo>
                  <a:lnTo>
                    <a:pt x="1077" y="582"/>
                  </a:lnTo>
                  <a:lnTo>
                    <a:pt x="1080" y="584"/>
                  </a:lnTo>
                  <a:lnTo>
                    <a:pt x="1080" y="584"/>
                  </a:lnTo>
                  <a:lnTo>
                    <a:pt x="1082" y="584"/>
                  </a:lnTo>
                  <a:lnTo>
                    <a:pt x="1082" y="584"/>
                  </a:lnTo>
                  <a:lnTo>
                    <a:pt x="1084" y="582"/>
                  </a:lnTo>
                  <a:lnTo>
                    <a:pt x="1084" y="582"/>
                  </a:lnTo>
                  <a:lnTo>
                    <a:pt x="1084" y="580"/>
                  </a:lnTo>
                  <a:lnTo>
                    <a:pt x="1087" y="580"/>
                  </a:lnTo>
                  <a:lnTo>
                    <a:pt x="1087" y="577"/>
                  </a:lnTo>
                  <a:lnTo>
                    <a:pt x="1089" y="577"/>
                  </a:lnTo>
                  <a:lnTo>
                    <a:pt x="1089" y="580"/>
                  </a:lnTo>
                  <a:lnTo>
                    <a:pt x="1089" y="580"/>
                  </a:lnTo>
                  <a:lnTo>
                    <a:pt x="1089" y="580"/>
                  </a:lnTo>
                  <a:lnTo>
                    <a:pt x="1089" y="582"/>
                  </a:lnTo>
                  <a:lnTo>
                    <a:pt x="1089" y="582"/>
                  </a:lnTo>
                  <a:lnTo>
                    <a:pt x="1092" y="582"/>
                  </a:lnTo>
                  <a:lnTo>
                    <a:pt x="1094" y="584"/>
                  </a:lnTo>
                  <a:lnTo>
                    <a:pt x="1096" y="587"/>
                  </a:lnTo>
                  <a:lnTo>
                    <a:pt x="1099" y="589"/>
                  </a:lnTo>
                  <a:lnTo>
                    <a:pt x="1099" y="589"/>
                  </a:lnTo>
                  <a:lnTo>
                    <a:pt x="1101" y="589"/>
                  </a:lnTo>
                  <a:lnTo>
                    <a:pt x="1103" y="589"/>
                  </a:lnTo>
                  <a:lnTo>
                    <a:pt x="1103" y="591"/>
                  </a:lnTo>
                  <a:lnTo>
                    <a:pt x="1106" y="591"/>
                  </a:lnTo>
                  <a:lnTo>
                    <a:pt x="1106" y="591"/>
                  </a:lnTo>
                  <a:lnTo>
                    <a:pt x="1108" y="591"/>
                  </a:lnTo>
                  <a:lnTo>
                    <a:pt x="1108" y="591"/>
                  </a:lnTo>
                  <a:lnTo>
                    <a:pt x="1108" y="591"/>
                  </a:lnTo>
                  <a:lnTo>
                    <a:pt x="1110" y="591"/>
                  </a:lnTo>
                  <a:lnTo>
                    <a:pt x="1110" y="591"/>
                  </a:lnTo>
                  <a:lnTo>
                    <a:pt x="1113" y="591"/>
                  </a:lnTo>
                  <a:lnTo>
                    <a:pt x="1113" y="591"/>
                  </a:lnTo>
                  <a:lnTo>
                    <a:pt x="1115" y="591"/>
                  </a:lnTo>
                  <a:lnTo>
                    <a:pt x="1115" y="589"/>
                  </a:lnTo>
                  <a:lnTo>
                    <a:pt x="1115" y="589"/>
                  </a:lnTo>
                  <a:lnTo>
                    <a:pt x="1115" y="589"/>
                  </a:lnTo>
                  <a:lnTo>
                    <a:pt x="1115" y="587"/>
                  </a:lnTo>
                  <a:lnTo>
                    <a:pt x="1115" y="587"/>
                  </a:lnTo>
                  <a:lnTo>
                    <a:pt x="1115" y="584"/>
                  </a:lnTo>
                  <a:lnTo>
                    <a:pt x="1117" y="584"/>
                  </a:lnTo>
                  <a:lnTo>
                    <a:pt x="1120" y="584"/>
                  </a:lnTo>
                  <a:lnTo>
                    <a:pt x="1120" y="584"/>
                  </a:lnTo>
                  <a:lnTo>
                    <a:pt x="1122" y="584"/>
                  </a:lnTo>
                  <a:lnTo>
                    <a:pt x="1122" y="584"/>
                  </a:lnTo>
                  <a:lnTo>
                    <a:pt x="1125" y="584"/>
                  </a:lnTo>
                  <a:lnTo>
                    <a:pt x="1125" y="584"/>
                  </a:lnTo>
                  <a:lnTo>
                    <a:pt x="1127" y="584"/>
                  </a:lnTo>
                  <a:lnTo>
                    <a:pt x="1127" y="584"/>
                  </a:lnTo>
                  <a:lnTo>
                    <a:pt x="1127" y="582"/>
                  </a:lnTo>
                  <a:lnTo>
                    <a:pt x="1127" y="582"/>
                  </a:lnTo>
                  <a:lnTo>
                    <a:pt x="1127" y="584"/>
                  </a:lnTo>
                  <a:lnTo>
                    <a:pt x="1127" y="584"/>
                  </a:lnTo>
                  <a:lnTo>
                    <a:pt x="1129" y="584"/>
                  </a:lnTo>
                  <a:lnTo>
                    <a:pt x="1129" y="584"/>
                  </a:lnTo>
                  <a:lnTo>
                    <a:pt x="1132" y="582"/>
                  </a:lnTo>
                  <a:lnTo>
                    <a:pt x="1132" y="582"/>
                  </a:lnTo>
                  <a:lnTo>
                    <a:pt x="1132" y="582"/>
                  </a:lnTo>
                  <a:lnTo>
                    <a:pt x="1132" y="582"/>
                  </a:lnTo>
                  <a:lnTo>
                    <a:pt x="1134" y="582"/>
                  </a:lnTo>
                  <a:lnTo>
                    <a:pt x="1134" y="580"/>
                  </a:lnTo>
                  <a:lnTo>
                    <a:pt x="1136" y="580"/>
                  </a:lnTo>
                  <a:lnTo>
                    <a:pt x="1136" y="580"/>
                  </a:lnTo>
                  <a:lnTo>
                    <a:pt x="1136" y="580"/>
                  </a:lnTo>
                  <a:lnTo>
                    <a:pt x="1136" y="577"/>
                  </a:lnTo>
                  <a:lnTo>
                    <a:pt x="1136" y="575"/>
                  </a:lnTo>
                  <a:lnTo>
                    <a:pt x="1136" y="575"/>
                  </a:lnTo>
                  <a:lnTo>
                    <a:pt x="1139" y="575"/>
                  </a:lnTo>
                  <a:lnTo>
                    <a:pt x="1141" y="572"/>
                  </a:lnTo>
                  <a:lnTo>
                    <a:pt x="1139" y="572"/>
                  </a:lnTo>
                  <a:lnTo>
                    <a:pt x="1141" y="572"/>
                  </a:lnTo>
                  <a:lnTo>
                    <a:pt x="1141" y="570"/>
                  </a:lnTo>
                  <a:lnTo>
                    <a:pt x="1143" y="570"/>
                  </a:lnTo>
                  <a:lnTo>
                    <a:pt x="1143" y="570"/>
                  </a:lnTo>
                  <a:lnTo>
                    <a:pt x="1143" y="570"/>
                  </a:lnTo>
                  <a:lnTo>
                    <a:pt x="1146" y="568"/>
                  </a:lnTo>
                  <a:lnTo>
                    <a:pt x="1148" y="568"/>
                  </a:lnTo>
                  <a:lnTo>
                    <a:pt x="1150" y="568"/>
                  </a:lnTo>
                  <a:lnTo>
                    <a:pt x="1150" y="568"/>
                  </a:lnTo>
                  <a:lnTo>
                    <a:pt x="1150" y="568"/>
                  </a:lnTo>
                  <a:lnTo>
                    <a:pt x="1150" y="565"/>
                  </a:lnTo>
                  <a:lnTo>
                    <a:pt x="1153" y="565"/>
                  </a:lnTo>
                  <a:lnTo>
                    <a:pt x="1153" y="565"/>
                  </a:lnTo>
                  <a:lnTo>
                    <a:pt x="1155" y="563"/>
                  </a:lnTo>
                  <a:lnTo>
                    <a:pt x="1157" y="563"/>
                  </a:lnTo>
                  <a:lnTo>
                    <a:pt x="1157" y="563"/>
                  </a:lnTo>
                  <a:lnTo>
                    <a:pt x="1157" y="563"/>
                  </a:lnTo>
                  <a:lnTo>
                    <a:pt x="1157" y="563"/>
                  </a:lnTo>
                  <a:lnTo>
                    <a:pt x="1160" y="561"/>
                  </a:lnTo>
                  <a:lnTo>
                    <a:pt x="1160" y="561"/>
                  </a:lnTo>
                  <a:lnTo>
                    <a:pt x="1160" y="561"/>
                  </a:lnTo>
                  <a:lnTo>
                    <a:pt x="1162" y="561"/>
                  </a:lnTo>
                  <a:lnTo>
                    <a:pt x="1162" y="558"/>
                  </a:lnTo>
                  <a:lnTo>
                    <a:pt x="1165" y="558"/>
                  </a:lnTo>
                  <a:lnTo>
                    <a:pt x="1167" y="558"/>
                  </a:lnTo>
                  <a:lnTo>
                    <a:pt x="1169" y="558"/>
                  </a:lnTo>
                  <a:lnTo>
                    <a:pt x="1169" y="558"/>
                  </a:lnTo>
                  <a:lnTo>
                    <a:pt x="1169" y="556"/>
                  </a:lnTo>
                  <a:lnTo>
                    <a:pt x="1169" y="556"/>
                  </a:lnTo>
                  <a:lnTo>
                    <a:pt x="1169" y="556"/>
                  </a:lnTo>
                  <a:lnTo>
                    <a:pt x="1172" y="556"/>
                  </a:lnTo>
                  <a:lnTo>
                    <a:pt x="1174" y="558"/>
                  </a:lnTo>
                  <a:lnTo>
                    <a:pt x="1174" y="558"/>
                  </a:lnTo>
                  <a:lnTo>
                    <a:pt x="1176" y="558"/>
                  </a:lnTo>
                  <a:lnTo>
                    <a:pt x="1176" y="558"/>
                  </a:lnTo>
                  <a:lnTo>
                    <a:pt x="1179" y="558"/>
                  </a:lnTo>
                  <a:lnTo>
                    <a:pt x="1179" y="558"/>
                  </a:lnTo>
                  <a:lnTo>
                    <a:pt x="1179" y="558"/>
                  </a:lnTo>
                  <a:lnTo>
                    <a:pt x="1181" y="558"/>
                  </a:lnTo>
                  <a:lnTo>
                    <a:pt x="1181" y="558"/>
                  </a:lnTo>
                  <a:lnTo>
                    <a:pt x="1181" y="558"/>
                  </a:lnTo>
                  <a:lnTo>
                    <a:pt x="1183" y="561"/>
                  </a:lnTo>
                  <a:lnTo>
                    <a:pt x="1183" y="561"/>
                  </a:lnTo>
                  <a:lnTo>
                    <a:pt x="1186" y="561"/>
                  </a:lnTo>
                  <a:lnTo>
                    <a:pt x="1188" y="561"/>
                  </a:lnTo>
                  <a:lnTo>
                    <a:pt x="1188" y="561"/>
                  </a:lnTo>
                  <a:lnTo>
                    <a:pt x="1190" y="561"/>
                  </a:lnTo>
                  <a:lnTo>
                    <a:pt x="1193" y="561"/>
                  </a:lnTo>
                  <a:lnTo>
                    <a:pt x="1193" y="561"/>
                  </a:lnTo>
                  <a:lnTo>
                    <a:pt x="1195" y="561"/>
                  </a:lnTo>
                  <a:lnTo>
                    <a:pt x="1200" y="561"/>
                  </a:lnTo>
                  <a:lnTo>
                    <a:pt x="1200" y="561"/>
                  </a:lnTo>
                  <a:lnTo>
                    <a:pt x="1202" y="563"/>
                  </a:lnTo>
                  <a:lnTo>
                    <a:pt x="1205" y="563"/>
                  </a:lnTo>
                  <a:lnTo>
                    <a:pt x="1207" y="565"/>
                  </a:lnTo>
                  <a:lnTo>
                    <a:pt x="1207" y="568"/>
                  </a:lnTo>
                  <a:lnTo>
                    <a:pt x="1209" y="568"/>
                  </a:lnTo>
                  <a:lnTo>
                    <a:pt x="1209" y="570"/>
                  </a:lnTo>
                  <a:lnTo>
                    <a:pt x="1209" y="570"/>
                  </a:lnTo>
                  <a:lnTo>
                    <a:pt x="1212" y="570"/>
                  </a:lnTo>
                  <a:lnTo>
                    <a:pt x="1214" y="572"/>
                  </a:lnTo>
                  <a:lnTo>
                    <a:pt x="1214" y="572"/>
                  </a:lnTo>
                  <a:lnTo>
                    <a:pt x="1216" y="572"/>
                  </a:lnTo>
                  <a:lnTo>
                    <a:pt x="1216" y="572"/>
                  </a:lnTo>
                  <a:lnTo>
                    <a:pt x="1216" y="572"/>
                  </a:lnTo>
                  <a:lnTo>
                    <a:pt x="1219" y="572"/>
                  </a:lnTo>
                  <a:lnTo>
                    <a:pt x="1221" y="572"/>
                  </a:lnTo>
                  <a:lnTo>
                    <a:pt x="1221" y="575"/>
                  </a:lnTo>
                  <a:lnTo>
                    <a:pt x="1223" y="575"/>
                  </a:lnTo>
                  <a:lnTo>
                    <a:pt x="1223" y="575"/>
                  </a:lnTo>
                  <a:lnTo>
                    <a:pt x="1226" y="575"/>
                  </a:lnTo>
                  <a:lnTo>
                    <a:pt x="1228" y="575"/>
                  </a:lnTo>
                  <a:lnTo>
                    <a:pt x="1228" y="575"/>
                  </a:lnTo>
                  <a:lnTo>
                    <a:pt x="1231" y="575"/>
                  </a:lnTo>
                  <a:lnTo>
                    <a:pt x="1231" y="575"/>
                  </a:lnTo>
                  <a:lnTo>
                    <a:pt x="1233" y="575"/>
                  </a:lnTo>
                  <a:lnTo>
                    <a:pt x="1233" y="572"/>
                  </a:lnTo>
                  <a:lnTo>
                    <a:pt x="1235" y="572"/>
                  </a:lnTo>
                  <a:lnTo>
                    <a:pt x="1235" y="572"/>
                  </a:lnTo>
                  <a:lnTo>
                    <a:pt x="1235" y="575"/>
                  </a:lnTo>
                  <a:lnTo>
                    <a:pt x="1238" y="575"/>
                  </a:lnTo>
                  <a:lnTo>
                    <a:pt x="1238" y="572"/>
                  </a:lnTo>
                  <a:lnTo>
                    <a:pt x="1238" y="572"/>
                  </a:lnTo>
                  <a:lnTo>
                    <a:pt x="1240" y="572"/>
                  </a:lnTo>
                  <a:lnTo>
                    <a:pt x="1240" y="575"/>
                  </a:lnTo>
                  <a:lnTo>
                    <a:pt x="1242" y="575"/>
                  </a:lnTo>
                  <a:lnTo>
                    <a:pt x="1245" y="575"/>
                  </a:lnTo>
                  <a:lnTo>
                    <a:pt x="1245" y="575"/>
                  </a:lnTo>
                  <a:lnTo>
                    <a:pt x="1245" y="575"/>
                  </a:lnTo>
                  <a:lnTo>
                    <a:pt x="1247" y="575"/>
                  </a:lnTo>
                  <a:lnTo>
                    <a:pt x="1247" y="575"/>
                  </a:lnTo>
                  <a:lnTo>
                    <a:pt x="1249" y="575"/>
                  </a:lnTo>
                  <a:lnTo>
                    <a:pt x="1249" y="575"/>
                  </a:lnTo>
                  <a:lnTo>
                    <a:pt x="1254" y="575"/>
                  </a:lnTo>
                  <a:lnTo>
                    <a:pt x="1256" y="577"/>
                  </a:lnTo>
                  <a:lnTo>
                    <a:pt x="1256" y="577"/>
                  </a:lnTo>
                  <a:lnTo>
                    <a:pt x="1256" y="577"/>
                  </a:lnTo>
                  <a:lnTo>
                    <a:pt x="1259" y="580"/>
                  </a:lnTo>
                  <a:lnTo>
                    <a:pt x="1261" y="580"/>
                  </a:lnTo>
                  <a:lnTo>
                    <a:pt x="1261" y="577"/>
                  </a:lnTo>
                  <a:lnTo>
                    <a:pt x="1264" y="577"/>
                  </a:lnTo>
                  <a:lnTo>
                    <a:pt x="1264" y="575"/>
                  </a:lnTo>
                  <a:lnTo>
                    <a:pt x="1264" y="575"/>
                  </a:lnTo>
                  <a:lnTo>
                    <a:pt x="1266" y="575"/>
                  </a:lnTo>
                  <a:lnTo>
                    <a:pt x="1266" y="575"/>
                  </a:lnTo>
                  <a:lnTo>
                    <a:pt x="1268" y="575"/>
                  </a:lnTo>
                  <a:lnTo>
                    <a:pt x="1268" y="572"/>
                  </a:lnTo>
                  <a:lnTo>
                    <a:pt x="1268" y="572"/>
                  </a:lnTo>
                  <a:lnTo>
                    <a:pt x="1271" y="572"/>
                  </a:lnTo>
                  <a:lnTo>
                    <a:pt x="1271" y="570"/>
                  </a:lnTo>
                  <a:lnTo>
                    <a:pt x="1271" y="570"/>
                  </a:lnTo>
                  <a:lnTo>
                    <a:pt x="1271" y="568"/>
                  </a:lnTo>
                  <a:lnTo>
                    <a:pt x="1271" y="568"/>
                  </a:lnTo>
                  <a:lnTo>
                    <a:pt x="1271" y="565"/>
                  </a:lnTo>
                  <a:lnTo>
                    <a:pt x="1268" y="563"/>
                  </a:lnTo>
                  <a:lnTo>
                    <a:pt x="1268" y="563"/>
                  </a:lnTo>
                  <a:lnTo>
                    <a:pt x="1268" y="563"/>
                  </a:lnTo>
                  <a:lnTo>
                    <a:pt x="1266" y="561"/>
                  </a:lnTo>
                  <a:lnTo>
                    <a:pt x="1264" y="561"/>
                  </a:lnTo>
                  <a:lnTo>
                    <a:pt x="1264" y="561"/>
                  </a:lnTo>
                  <a:lnTo>
                    <a:pt x="1261" y="558"/>
                  </a:lnTo>
                  <a:lnTo>
                    <a:pt x="1261" y="558"/>
                  </a:lnTo>
                  <a:lnTo>
                    <a:pt x="1261" y="556"/>
                  </a:lnTo>
                  <a:lnTo>
                    <a:pt x="1259" y="556"/>
                  </a:lnTo>
                  <a:lnTo>
                    <a:pt x="1259" y="556"/>
                  </a:lnTo>
                  <a:lnTo>
                    <a:pt x="1256" y="554"/>
                  </a:lnTo>
                  <a:lnTo>
                    <a:pt x="1256" y="554"/>
                  </a:lnTo>
                  <a:lnTo>
                    <a:pt x="1256" y="551"/>
                  </a:lnTo>
                  <a:lnTo>
                    <a:pt x="1256" y="549"/>
                  </a:lnTo>
                  <a:lnTo>
                    <a:pt x="1256" y="549"/>
                  </a:lnTo>
                  <a:lnTo>
                    <a:pt x="1256" y="549"/>
                  </a:lnTo>
                  <a:lnTo>
                    <a:pt x="1254" y="546"/>
                  </a:lnTo>
                  <a:lnTo>
                    <a:pt x="1254" y="546"/>
                  </a:lnTo>
                  <a:lnTo>
                    <a:pt x="1254" y="544"/>
                  </a:lnTo>
                  <a:lnTo>
                    <a:pt x="1254" y="544"/>
                  </a:lnTo>
                  <a:lnTo>
                    <a:pt x="1256" y="544"/>
                  </a:lnTo>
                  <a:lnTo>
                    <a:pt x="1256" y="544"/>
                  </a:lnTo>
                  <a:lnTo>
                    <a:pt x="1256" y="542"/>
                  </a:lnTo>
                  <a:lnTo>
                    <a:pt x="1256" y="542"/>
                  </a:lnTo>
                  <a:lnTo>
                    <a:pt x="1256" y="539"/>
                  </a:lnTo>
                  <a:lnTo>
                    <a:pt x="1256" y="539"/>
                  </a:lnTo>
                  <a:lnTo>
                    <a:pt x="1256" y="539"/>
                  </a:lnTo>
                  <a:lnTo>
                    <a:pt x="1261" y="537"/>
                  </a:lnTo>
                  <a:lnTo>
                    <a:pt x="1261" y="535"/>
                  </a:lnTo>
                  <a:lnTo>
                    <a:pt x="1261" y="532"/>
                  </a:lnTo>
                  <a:lnTo>
                    <a:pt x="1261" y="532"/>
                  </a:lnTo>
                  <a:lnTo>
                    <a:pt x="1261" y="530"/>
                  </a:lnTo>
                  <a:lnTo>
                    <a:pt x="1264" y="530"/>
                  </a:lnTo>
                  <a:lnTo>
                    <a:pt x="1266" y="532"/>
                  </a:lnTo>
                  <a:lnTo>
                    <a:pt x="1266" y="532"/>
                  </a:lnTo>
                  <a:lnTo>
                    <a:pt x="1268" y="532"/>
                  </a:lnTo>
                  <a:lnTo>
                    <a:pt x="1273" y="535"/>
                  </a:lnTo>
                  <a:lnTo>
                    <a:pt x="1275" y="535"/>
                  </a:lnTo>
                  <a:lnTo>
                    <a:pt x="1275" y="535"/>
                  </a:lnTo>
                  <a:lnTo>
                    <a:pt x="1278" y="535"/>
                  </a:lnTo>
                  <a:lnTo>
                    <a:pt x="1280" y="537"/>
                  </a:lnTo>
                  <a:lnTo>
                    <a:pt x="1282" y="537"/>
                  </a:lnTo>
                  <a:lnTo>
                    <a:pt x="1285" y="537"/>
                  </a:lnTo>
                  <a:lnTo>
                    <a:pt x="1287" y="537"/>
                  </a:lnTo>
                  <a:lnTo>
                    <a:pt x="1292" y="537"/>
                  </a:lnTo>
                  <a:lnTo>
                    <a:pt x="1292" y="539"/>
                  </a:lnTo>
                  <a:lnTo>
                    <a:pt x="1297" y="539"/>
                  </a:lnTo>
                  <a:lnTo>
                    <a:pt x="1299" y="542"/>
                  </a:lnTo>
                  <a:lnTo>
                    <a:pt x="1304" y="542"/>
                  </a:lnTo>
                  <a:lnTo>
                    <a:pt x="1306" y="542"/>
                  </a:lnTo>
                  <a:lnTo>
                    <a:pt x="1306" y="544"/>
                  </a:lnTo>
                  <a:lnTo>
                    <a:pt x="1308" y="544"/>
                  </a:lnTo>
                  <a:lnTo>
                    <a:pt x="1311" y="544"/>
                  </a:lnTo>
                  <a:lnTo>
                    <a:pt x="1311" y="544"/>
                  </a:lnTo>
                  <a:lnTo>
                    <a:pt x="1315" y="544"/>
                  </a:lnTo>
                  <a:lnTo>
                    <a:pt x="1318" y="544"/>
                  </a:lnTo>
                  <a:lnTo>
                    <a:pt x="1320" y="546"/>
                  </a:lnTo>
                  <a:lnTo>
                    <a:pt x="1322" y="546"/>
                  </a:lnTo>
                  <a:lnTo>
                    <a:pt x="1322" y="546"/>
                  </a:lnTo>
                  <a:lnTo>
                    <a:pt x="1322" y="549"/>
                  </a:lnTo>
                  <a:lnTo>
                    <a:pt x="1325" y="551"/>
                  </a:lnTo>
                  <a:lnTo>
                    <a:pt x="1325" y="551"/>
                  </a:lnTo>
                  <a:lnTo>
                    <a:pt x="1327" y="554"/>
                  </a:lnTo>
                  <a:lnTo>
                    <a:pt x="1327" y="556"/>
                  </a:lnTo>
                  <a:lnTo>
                    <a:pt x="1330" y="556"/>
                  </a:lnTo>
                  <a:lnTo>
                    <a:pt x="1330" y="558"/>
                  </a:lnTo>
                  <a:lnTo>
                    <a:pt x="1330" y="558"/>
                  </a:lnTo>
                  <a:lnTo>
                    <a:pt x="1332" y="558"/>
                  </a:lnTo>
                  <a:lnTo>
                    <a:pt x="1332" y="561"/>
                  </a:lnTo>
                  <a:lnTo>
                    <a:pt x="1332" y="561"/>
                  </a:lnTo>
                  <a:lnTo>
                    <a:pt x="1332" y="561"/>
                  </a:lnTo>
                  <a:lnTo>
                    <a:pt x="1334" y="563"/>
                  </a:lnTo>
                  <a:lnTo>
                    <a:pt x="1334" y="563"/>
                  </a:lnTo>
                  <a:lnTo>
                    <a:pt x="1337" y="563"/>
                  </a:lnTo>
                  <a:lnTo>
                    <a:pt x="1337" y="563"/>
                  </a:lnTo>
                  <a:lnTo>
                    <a:pt x="1341" y="565"/>
                  </a:lnTo>
                  <a:lnTo>
                    <a:pt x="1341" y="565"/>
                  </a:lnTo>
                  <a:lnTo>
                    <a:pt x="1344" y="565"/>
                  </a:lnTo>
                  <a:lnTo>
                    <a:pt x="1348" y="568"/>
                  </a:lnTo>
                  <a:lnTo>
                    <a:pt x="1348" y="568"/>
                  </a:lnTo>
                  <a:lnTo>
                    <a:pt x="1351" y="568"/>
                  </a:lnTo>
                  <a:lnTo>
                    <a:pt x="1353" y="570"/>
                  </a:lnTo>
                  <a:lnTo>
                    <a:pt x="1355" y="570"/>
                  </a:lnTo>
                  <a:lnTo>
                    <a:pt x="1355" y="570"/>
                  </a:lnTo>
                  <a:lnTo>
                    <a:pt x="1358" y="570"/>
                  </a:lnTo>
                  <a:lnTo>
                    <a:pt x="1360" y="570"/>
                  </a:lnTo>
                  <a:lnTo>
                    <a:pt x="1360" y="570"/>
                  </a:lnTo>
                  <a:lnTo>
                    <a:pt x="1363" y="570"/>
                  </a:lnTo>
                  <a:lnTo>
                    <a:pt x="1363" y="570"/>
                  </a:lnTo>
                  <a:lnTo>
                    <a:pt x="1365" y="570"/>
                  </a:lnTo>
                  <a:lnTo>
                    <a:pt x="1367" y="570"/>
                  </a:lnTo>
                  <a:lnTo>
                    <a:pt x="1367" y="568"/>
                  </a:lnTo>
                  <a:lnTo>
                    <a:pt x="1370" y="568"/>
                  </a:lnTo>
                  <a:lnTo>
                    <a:pt x="1370" y="568"/>
                  </a:lnTo>
                  <a:lnTo>
                    <a:pt x="1372" y="568"/>
                  </a:lnTo>
                  <a:lnTo>
                    <a:pt x="1374" y="565"/>
                  </a:lnTo>
                  <a:lnTo>
                    <a:pt x="1377" y="565"/>
                  </a:lnTo>
                  <a:lnTo>
                    <a:pt x="1379" y="565"/>
                  </a:lnTo>
                  <a:lnTo>
                    <a:pt x="1381" y="565"/>
                  </a:lnTo>
                  <a:lnTo>
                    <a:pt x="1381" y="563"/>
                  </a:lnTo>
                  <a:lnTo>
                    <a:pt x="1384" y="563"/>
                  </a:lnTo>
                  <a:lnTo>
                    <a:pt x="1386" y="565"/>
                  </a:lnTo>
                  <a:lnTo>
                    <a:pt x="1388" y="565"/>
                  </a:lnTo>
                  <a:lnTo>
                    <a:pt x="1391" y="565"/>
                  </a:lnTo>
                  <a:lnTo>
                    <a:pt x="1393" y="565"/>
                  </a:lnTo>
                  <a:lnTo>
                    <a:pt x="1396" y="565"/>
                  </a:lnTo>
                  <a:lnTo>
                    <a:pt x="1398" y="568"/>
                  </a:lnTo>
                  <a:lnTo>
                    <a:pt x="1400" y="568"/>
                  </a:lnTo>
                  <a:lnTo>
                    <a:pt x="1405" y="565"/>
                  </a:lnTo>
                  <a:lnTo>
                    <a:pt x="1407" y="568"/>
                  </a:lnTo>
                  <a:lnTo>
                    <a:pt x="1410" y="568"/>
                  </a:lnTo>
                  <a:lnTo>
                    <a:pt x="1412" y="570"/>
                  </a:lnTo>
                  <a:lnTo>
                    <a:pt x="1414" y="572"/>
                  </a:lnTo>
                  <a:lnTo>
                    <a:pt x="1417" y="572"/>
                  </a:lnTo>
                  <a:lnTo>
                    <a:pt x="1419" y="572"/>
                  </a:lnTo>
                  <a:lnTo>
                    <a:pt x="1419" y="572"/>
                  </a:lnTo>
                  <a:lnTo>
                    <a:pt x="1424" y="572"/>
                  </a:lnTo>
                  <a:lnTo>
                    <a:pt x="1429" y="575"/>
                  </a:lnTo>
                  <a:lnTo>
                    <a:pt x="1431" y="575"/>
                  </a:lnTo>
                  <a:lnTo>
                    <a:pt x="1431" y="575"/>
                  </a:lnTo>
                  <a:lnTo>
                    <a:pt x="1431" y="577"/>
                  </a:lnTo>
                  <a:lnTo>
                    <a:pt x="1433" y="580"/>
                  </a:lnTo>
                  <a:lnTo>
                    <a:pt x="1433" y="580"/>
                  </a:lnTo>
                  <a:lnTo>
                    <a:pt x="1433" y="580"/>
                  </a:lnTo>
                  <a:lnTo>
                    <a:pt x="1436" y="580"/>
                  </a:lnTo>
                  <a:lnTo>
                    <a:pt x="1436" y="582"/>
                  </a:lnTo>
                  <a:lnTo>
                    <a:pt x="1438" y="582"/>
                  </a:lnTo>
                  <a:lnTo>
                    <a:pt x="1440" y="582"/>
                  </a:lnTo>
                  <a:lnTo>
                    <a:pt x="1443" y="587"/>
                  </a:lnTo>
                  <a:lnTo>
                    <a:pt x="1445" y="587"/>
                  </a:lnTo>
                  <a:lnTo>
                    <a:pt x="1447" y="587"/>
                  </a:lnTo>
                  <a:lnTo>
                    <a:pt x="1450" y="587"/>
                  </a:lnTo>
                  <a:lnTo>
                    <a:pt x="1452" y="587"/>
                  </a:lnTo>
                  <a:lnTo>
                    <a:pt x="1457" y="587"/>
                  </a:lnTo>
                  <a:lnTo>
                    <a:pt x="1462" y="587"/>
                  </a:lnTo>
                  <a:lnTo>
                    <a:pt x="1464" y="589"/>
                  </a:lnTo>
                  <a:lnTo>
                    <a:pt x="1466" y="589"/>
                  </a:lnTo>
                  <a:lnTo>
                    <a:pt x="1471" y="589"/>
                  </a:lnTo>
                  <a:lnTo>
                    <a:pt x="1476" y="591"/>
                  </a:lnTo>
                  <a:lnTo>
                    <a:pt x="1476" y="589"/>
                  </a:lnTo>
                  <a:lnTo>
                    <a:pt x="1478" y="589"/>
                  </a:lnTo>
                  <a:lnTo>
                    <a:pt x="1480" y="589"/>
                  </a:lnTo>
                  <a:lnTo>
                    <a:pt x="1483" y="591"/>
                  </a:lnTo>
                  <a:lnTo>
                    <a:pt x="1483" y="591"/>
                  </a:lnTo>
                  <a:lnTo>
                    <a:pt x="1485" y="591"/>
                  </a:lnTo>
                  <a:lnTo>
                    <a:pt x="1490" y="587"/>
                  </a:lnTo>
                  <a:lnTo>
                    <a:pt x="1492" y="587"/>
                  </a:lnTo>
                  <a:lnTo>
                    <a:pt x="1492" y="587"/>
                  </a:lnTo>
                  <a:lnTo>
                    <a:pt x="1495" y="587"/>
                  </a:lnTo>
                  <a:lnTo>
                    <a:pt x="1495" y="587"/>
                  </a:lnTo>
                  <a:lnTo>
                    <a:pt x="1497" y="587"/>
                  </a:lnTo>
                  <a:lnTo>
                    <a:pt x="1499" y="587"/>
                  </a:lnTo>
                  <a:lnTo>
                    <a:pt x="1502" y="584"/>
                  </a:lnTo>
                  <a:lnTo>
                    <a:pt x="1504" y="584"/>
                  </a:lnTo>
                  <a:lnTo>
                    <a:pt x="1506" y="584"/>
                  </a:lnTo>
                  <a:lnTo>
                    <a:pt x="1509" y="582"/>
                  </a:lnTo>
                  <a:lnTo>
                    <a:pt x="1511" y="584"/>
                  </a:lnTo>
                  <a:lnTo>
                    <a:pt x="1513" y="582"/>
                  </a:lnTo>
                  <a:lnTo>
                    <a:pt x="1516" y="582"/>
                  </a:lnTo>
                  <a:lnTo>
                    <a:pt x="1516" y="582"/>
                  </a:lnTo>
                  <a:lnTo>
                    <a:pt x="1516" y="580"/>
                  </a:lnTo>
                  <a:lnTo>
                    <a:pt x="1516" y="577"/>
                  </a:lnTo>
                  <a:lnTo>
                    <a:pt x="1518" y="575"/>
                  </a:lnTo>
                  <a:lnTo>
                    <a:pt x="1518" y="575"/>
                  </a:lnTo>
                  <a:lnTo>
                    <a:pt x="1520" y="572"/>
                  </a:lnTo>
                  <a:lnTo>
                    <a:pt x="1523" y="572"/>
                  </a:lnTo>
                  <a:lnTo>
                    <a:pt x="1525" y="570"/>
                  </a:lnTo>
                  <a:lnTo>
                    <a:pt x="1525" y="570"/>
                  </a:lnTo>
                  <a:lnTo>
                    <a:pt x="1528" y="568"/>
                  </a:lnTo>
                  <a:lnTo>
                    <a:pt x="1530" y="568"/>
                  </a:lnTo>
                  <a:lnTo>
                    <a:pt x="1530" y="568"/>
                  </a:lnTo>
                  <a:lnTo>
                    <a:pt x="1535" y="568"/>
                  </a:lnTo>
                  <a:lnTo>
                    <a:pt x="1535" y="568"/>
                  </a:lnTo>
                  <a:lnTo>
                    <a:pt x="1537" y="568"/>
                  </a:lnTo>
                  <a:lnTo>
                    <a:pt x="1539" y="570"/>
                  </a:lnTo>
                  <a:lnTo>
                    <a:pt x="1542" y="570"/>
                  </a:lnTo>
                  <a:lnTo>
                    <a:pt x="1544" y="572"/>
                  </a:lnTo>
                  <a:lnTo>
                    <a:pt x="1549" y="575"/>
                  </a:lnTo>
                  <a:lnTo>
                    <a:pt x="1551" y="575"/>
                  </a:lnTo>
                  <a:lnTo>
                    <a:pt x="1551" y="575"/>
                  </a:lnTo>
                  <a:lnTo>
                    <a:pt x="1553" y="575"/>
                  </a:lnTo>
                  <a:lnTo>
                    <a:pt x="1556" y="575"/>
                  </a:lnTo>
                  <a:lnTo>
                    <a:pt x="1558" y="575"/>
                  </a:lnTo>
                  <a:lnTo>
                    <a:pt x="1558" y="575"/>
                  </a:lnTo>
                  <a:lnTo>
                    <a:pt x="1563" y="572"/>
                  </a:lnTo>
                  <a:lnTo>
                    <a:pt x="1563" y="572"/>
                  </a:lnTo>
                  <a:lnTo>
                    <a:pt x="1565" y="575"/>
                  </a:lnTo>
                  <a:lnTo>
                    <a:pt x="1570" y="575"/>
                  </a:lnTo>
                  <a:lnTo>
                    <a:pt x="1572" y="575"/>
                  </a:lnTo>
                  <a:lnTo>
                    <a:pt x="1572" y="577"/>
                  </a:lnTo>
                  <a:lnTo>
                    <a:pt x="1577" y="580"/>
                  </a:lnTo>
                  <a:lnTo>
                    <a:pt x="1579" y="580"/>
                  </a:lnTo>
                  <a:lnTo>
                    <a:pt x="1584" y="582"/>
                  </a:lnTo>
                  <a:lnTo>
                    <a:pt x="1589" y="582"/>
                  </a:lnTo>
                  <a:lnTo>
                    <a:pt x="1594" y="582"/>
                  </a:lnTo>
                  <a:lnTo>
                    <a:pt x="1596" y="584"/>
                  </a:lnTo>
                  <a:lnTo>
                    <a:pt x="1596" y="584"/>
                  </a:lnTo>
                  <a:lnTo>
                    <a:pt x="1598" y="580"/>
                  </a:lnTo>
                  <a:lnTo>
                    <a:pt x="1601" y="577"/>
                  </a:lnTo>
                  <a:lnTo>
                    <a:pt x="1605" y="575"/>
                  </a:lnTo>
                  <a:lnTo>
                    <a:pt x="1608" y="575"/>
                  </a:lnTo>
                  <a:lnTo>
                    <a:pt x="1610" y="572"/>
                  </a:lnTo>
                  <a:lnTo>
                    <a:pt x="1612" y="572"/>
                  </a:lnTo>
                  <a:lnTo>
                    <a:pt x="1612" y="570"/>
                  </a:lnTo>
                  <a:lnTo>
                    <a:pt x="1610" y="568"/>
                  </a:lnTo>
                  <a:lnTo>
                    <a:pt x="1608" y="565"/>
                  </a:lnTo>
                  <a:lnTo>
                    <a:pt x="1605" y="565"/>
                  </a:lnTo>
                  <a:lnTo>
                    <a:pt x="1605" y="565"/>
                  </a:lnTo>
                  <a:lnTo>
                    <a:pt x="1605" y="565"/>
                  </a:lnTo>
                  <a:lnTo>
                    <a:pt x="1605" y="563"/>
                  </a:lnTo>
                  <a:lnTo>
                    <a:pt x="1605" y="561"/>
                  </a:lnTo>
                  <a:lnTo>
                    <a:pt x="1605" y="561"/>
                  </a:lnTo>
                  <a:lnTo>
                    <a:pt x="1608" y="558"/>
                  </a:lnTo>
                  <a:lnTo>
                    <a:pt x="1605" y="558"/>
                  </a:lnTo>
                  <a:lnTo>
                    <a:pt x="1605" y="556"/>
                  </a:lnTo>
                  <a:lnTo>
                    <a:pt x="1605" y="554"/>
                  </a:lnTo>
                  <a:lnTo>
                    <a:pt x="1605" y="551"/>
                  </a:lnTo>
                  <a:lnTo>
                    <a:pt x="1605" y="551"/>
                  </a:lnTo>
                  <a:lnTo>
                    <a:pt x="1605" y="549"/>
                  </a:lnTo>
                  <a:lnTo>
                    <a:pt x="1605" y="546"/>
                  </a:lnTo>
                  <a:lnTo>
                    <a:pt x="1605" y="544"/>
                  </a:lnTo>
                  <a:lnTo>
                    <a:pt x="1605" y="542"/>
                  </a:lnTo>
                  <a:lnTo>
                    <a:pt x="1605" y="537"/>
                  </a:lnTo>
                  <a:lnTo>
                    <a:pt x="1608" y="535"/>
                  </a:lnTo>
                  <a:lnTo>
                    <a:pt x="1610" y="532"/>
                  </a:lnTo>
                  <a:lnTo>
                    <a:pt x="1610" y="530"/>
                  </a:lnTo>
                  <a:lnTo>
                    <a:pt x="1608" y="528"/>
                  </a:lnTo>
                  <a:lnTo>
                    <a:pt x="1605" y="528"/>
                  </a:lnTo>
                  <a:lnTo>
                    <a:pt x="1603" y="525"/>
                  </a:lnTo>
                  <a:lnTo>
                    <a:pt x="1603" y="523"/>
                  </a:lnTo>
                  <a:lnTo>
                    <a:pt x="1601" y="520"/>
                  </a:lnTo>
                  <a:lnTo>
                    <a:pt x="1598" y="520"/>
                  </a:lnTo>
                  <a:lnTo>
                    <a:pt x="1596" y="520"/>
                  </a:lnTo>
                  <a:lnTo>
                    <a:pt x="1594" y="520"/>
                  </a:lnTo>
                  <a:lnTo>
                    <a:pt x="1591" y="520"/>
                  </a:lnTo>
                  <a:lnTo>
                    <a:pt x="1589" y="518"/>
                  </a:lnTo>
                  <a:lnTo>
                    <a:pt x="1589" y="516"/>
                  </a:lnTo>
                  <a:lnTo>
                    <a:pt x="1591" y="516"/>
                  </a:lnTo>
                  <a:lnTo>
                    <a:pt x="1594" y="513"/>
                  </a:lnTo>
                  <a:lnTo>
                    <a:pt x="1594" y="509"/>
                  </a:lnTo>
                  <a:lnTo>
                    <a:pt x="1596" y="506"/>
                  </a:lnTo>
                  <a:lnTo>
                    <a:pt x="1603" y="506"/>
                  </a:lnTo>
                  <a:lnTo>
                    <a:pt x="1608" y="504"/>
                  </a:lnTo>
                  <a:lnTo>
                    <a:pt x="1612" y="504"/>
                  </a:lnTo>
                  <a:lnTo>
                    <a:pt x="1615" y="502"/>
                  </a:lnTo>
                  <a:lnTo>
                    <a:pt x="1617" y="504"/>
                  </a:lnTo>
                  <a:lnTo>
                    <a:pt x="1619" y="504"/>
                  </a:lnTo>
                  <a:lnTo>
                    <a:pt x="1622" y="504"/>
                  </a:lnTo>
                  <a:lnTo>
                    <a:pt x="1624" y="502"/>
                  </a:lnTo>
                  <a:lnTo>
                    <a:pt x="1627" y="502"/>
                  </a:lnTo>
                  <a:lnTo>
                    <a:pt x="1629" y="502"/>
                  </a:lnTo>
                  <a:lnTo>
                    <a:pt x="1631" y="502"/>
                  </a:lnTo>
                  <a:lnTo>
                    <a:pt x="1634" y="502"/>
                  </a:lnTo>
                  <a:lnTo>
                    <a:pt x="1634" y="502"/>
                  </a:lnTo>
                  <a:lnTo>
                    <a:pt x="1634" y="502"/>
                  </a:lnTo>
                  <a:lnTo>
                    <a:pt x="1634" y="502"/>
                  </a:lnTo>
                  <a:lnTo>
                    <a:pt x="1636" y="502"/>
                  </a:lnTo>
                  <a:lnTo>
                    <a:pt x="1643" y="504"/>
                  </a:lnTo>
                  <a:lnTo>
                    <a:pt x="1645" y="506"/>
                  </a:lnTo>
                  <a:lnTo>
                    <a:pt x="1648" y="504"/>
                  </a:lnTo>
                  <a:lnTo>
                    <a:pt x="1648" y="506"/>
                  </a:lnTo>
                  <a:lnTo>
                    <a:pt x="1650" y="506"/>
                  </a:lnTo>
                  <a:lnTo>
                    <a:pt x="1652" y="509"/>
                  </a:lnTo>
                  <a:lnTo>
                    <a:pt x="1655" y="509"/>
                  </a:lnTo>
                  <a:lnTo>
                    <a:pt x="1660" y="509"/>
                  </a:lnTo>
                  <a:lnTo>
                    <a:pt x="1660" y="509"/>
                  </a:lnTo>
                  <a:lnTo>
                    <a:pt x="1660" y="509"/>
                  </a:lnTo>
                  <a:lnTo>
                    <a:pt x="1662" y="509"/>
                  </a:lnTo>
                  <a:lnTo>
                    <a:pt x="1662" y="509"/>
                  </a:lnTo>
                  <a:lnTo>
                    <a:pt x="1664" y="509"/>
                  </a:lnTo>
                  <a:lnTo>
                    <a:pt x="1669" y="511"/>
                  </a:lnTo>
                  <a:lnTo>
                    <a:pt x="1671" y="511"/>
                  </a:lnTo>
                  <a:lnTo>
                    <a:pt x="1674" y="511"/>
                  </a:lnTo>
                  <a:lnTo>
                    <a:pt x="1674" y="511"/>
                  </a:lnTo>
                  <a:lnTo>
                    <a:pt x="1676" y="513"/>
                  </a:lnTo>
                  <a:lnTo>
                    <a:pt x="1676" y="513"/>
                  </a:lnTo>
                  <a:lnTo>
                    <a:pt x="1676" y="513"/>
                  </a:lnTo>
                  <a:lnTo>
                    <a:pt x="1678" y="516"/>
                  </a:lnTo>
                  <a:lnTo>
                    <a:pt x="1678" y="516"/>
                  </a:lnTo>
                  <a:lnTo>
                    <a:pt x="1681" y="516"/>
                  </a:lnTo>
                  <a:lnTo>
                    <a:pt x="1681" y="516"/>
                  </a:lnTo>
                  <a:lnTo>
                    <a:pt x="1683" y="518"/>
                  </a:lnTo>
                  <a:lnTo>
                    <a:pt x="1685" y="518"/>
                  </a:lnTo>
                  <a:lnTo>
                    <a:pt x="1685" y="518"/>
                  </a:lnTo>
                  <a:lnTo>
                    <a:pt x="1685" y="518"/>
                  </a:lnTo>
                  <a:lnTo>
                    <a:pt x="1685" y="518"/>
                  </a:lnTo>
                  <a:lnTo>
                    <a:pt x="1685" y="520"/>
                  </a:lnTo>
                  <a:lnTo>
                    <a:pt x="1685" y="520"/>
                  </a:lnTo>
                  <a:lnTo>
                    <a:pt x="1688" y="520"/>
                  </a:lnTo>
                  <a:lnTo>
                    <a:pt x="1688" y="520"/>
                  </a:lnTo>
                  <a:lnTo>
                    <a:pt x="1690" y="523"/>
                  </a:lnTo>
                  <a:lnTo>
                    <a:pt x="1690" y="523"/>
                  </a:lnTo>
                  <a:lnTo>
                    <a:pt x="1692" y="523"/>
                  </a:lnTo>
                  <a:lnTo>
                    <a:pt x="1692" y="525"/>
                  </a:lnTo>
                  <a:lnTo>
                    <a:pt x="1695" y="525"/>
                  </a:lnTo>
                  <a:lnTo>
                    <a:pt x="1695" y="525"/>
                  </a:lnTo>
                  <a:lnTo>
                    <a:pt x="1695" y="525"/>
                  </a:lnTo>
                  <a:lnTo>
                    <a:pt x="1697" y="528"/>
                  </a:lnTo>
                  <a:lnTo>
                    <a:pt x="1697" y="528"/>
                  </a:lnTo>
                  <a:lnTo>
                    <a:pt x="1697" y="530"/>
                  </a:lnTo>
                  <a:lnTo>
                    <a:pt x="1700" y="530"/>
                  </a:lnTo>
                  <a:lnTo>
                    <a:pt x="1702" y="532"/>
                  </a:lnTo>
                  <a:lnTo>
                    <a:pt x="1704" y="535"/>
                  </a:lnTo>
                  <a:lnTo>
                    <a:pt x="1707" y="537"/>
                  </a:lnTo>
                  <a:lnTo>
                    <a:pt x="1709" y="539"/>
                  </a:lnTo>
                  <a:lnTo>
                    <a:pt x="1711" y="539"/>
                  </a:lnTo>
                  <a:lnTo>
                    <a:pt x="1711" y="542"/>
                  </a:lnTo>
                  <a:lnTo>
                    <a:pt x="1714" y="542"/>
                  </a:lnTo>
                  <a:lnTo>
                    <a:pt x="1714" y="542"/>
                  </a:lnTo>
                  <a:lnTo>
                    <a:pt x="1714" y="544"/>
                  </a:lnTo>
                  <a:lnTo>
                    <a:pt x="1716" y="544"/>
                  </a:lnTo>
                  <a:lnTo>
                    <a:pt x="1716" y="544"/>
                  </a:lnTo>
                  <a:lnTo>
                    <a:pt x="1716" y="546"/>
                  </a:lnTo>
                  <a:lnTo>
                    <a:pt x="1718" y="546"/>
                  </a:lnTo>
                  <a:lnTo>
                    <a:pt x="1718" y="549"/>
                  </a:lnTo>
                  <a:lnTo>
                    <a:pt x="1721" y="549"/>
                  </a:lnTo>
                  <a:lnTo>
                    <a:pt x="1721" y="551"/>
                  </a:lnTo>
                  <a:lnTo>
                    <a:pt x="1723" y="554"/>
                  </a:lnTo>
                  <a:lnTo>
                    <a:pt x="1730" y="556"/>
                  </a:lnTo>
                  <a:lnTo>
                    <a:pt x="1733" y="558"/>
                  </a:lnTo>
                  <a:lnTo>
                    <a:pt x="1735" y="561"/>
                  </a:lnTo>
                  <a:lnTo>
                    <a:pt x="1735" y="563"/>
                  </a:lnTo>
                  <a:lnTo>
                    <a:pt x="1735" y="563"/>
                  </a:lnTo>
                  <a:lnTo>
                    <a:pt x="1735" y="563"/>
                  </a:lnTo>
                  <a:lnTo>
                    <a:pt x="1737" y="565"/>
                  </a:lnTo>
                  <a:lnTo>
                    <a:pt x="1737" y="565"/>
                  </a:lnTo>
                  <a:lnTo>
                    <a:pt x="1737" y="565"/>
                  </a:lnTo>
                  <a:lnTo>
                    <a:pt x="1740" y="568"/>
                  </a:lnTo>
                  <a:lnTo>
                    <a:pt x="1744" y="570"/>
                  </a:lnTo>
                  <a:lnTo>
                    <a:pt x="1744" y="572"/>
                  </a:lnTo>
                  <a:lnTo>
                    <a:pt x="1744" y="575"/>
                  </a:lnTo>
                  <a:lnTo>
                    <a:pt x="1747" y="575"/>
                  </a:lnTo>
                  <a:lnTo>
                    <a:pt x="1749" y="577"/>
                  </a:lnTo>
                  <a:lnTo>
                    <a:pt x="1751" y="577"/>
                  </a:lnTo>
                  <a:lnTo>
                    <a:pt x="1751" y="580"/>
                  </a:lnTo>
                  <a:lnTo>
                    <a:pt x="1754" y="580"/>
                  </a:lnTo>
                  <a:lnTo>
                    <a:pt x="1756" y="582"/>
                  </a:lnTo>
                  <a:lnTo>
                    <a:pt x="1758" y="582"/>
                  </a:lnTo>
                  <a:lnTo>
                    <a:pt x="1763" y="582"/>
                  </a:lnTo>
                  <a:lnTo>
                    <a:pt x="1768" y="582"/>
                  </a:lnTo>
                  <a:lnTo>
                    <a:pt x="1770" y="582"/>
                  </a:lnTo>
                  <a:lnTo>
                    <a:pt x="1770" y="582"/>
                  </a:lnTo>
                  <a:lnTo>
                    <a:pt x="1773" y="582"/>
                  </a:lnTo>
                  <a:lnTo>
                    <a:pt x="1773" y="584"/>
                  </a:lnTo>
                  <a:lnTo>
                    <a:pt x="1773" y="584"/>
                  </a:lnTo>
                  <a:lnTo>
                    <a:pt x="1775" y="584"/>
                  </a:lnTo>
                  <a:lnTo>
                    <a:pt x="1777" y="584"/>
                  </a:lnTo>
                  <a:lnTo>
                    <a:pt x="1780" y="587"/>
                  </a:lnTo>
                  <a:lnTo>
                    <a:pt x="1780" y="587"/>
                  </a:lnTo>
                  <a:lnTo>
                    <a:pt x="1780" y="587"/>
                  </a:lnTo>
                  <a:lnTo>
                    <a:pt x="1782" y="587"/>
                  </a:lnTo>
                  <a:lnTo>
                    <a:pt x="1782" y="587"/>
                  </a:lnTo>
                  <a:lnTo>
                    <a:pt x="1784" y="587"/>
                  </a:lnTo>
                  <a:lnTo>
                    <a:pt x="1784" y="587"/>
                  </a:lnTo>
                  <a:lnTo>
                    <a:pt x="1784" y="587"/>
                  </a:lnTo>
                  <a:lnTo>
                    <a:pt x="1784" y="587"/>
                  </a:lnTo>
                  <a:lnTo>
                    <a:pt x="1787" y="587"/>
                  </a:lnTo>
                  <a:lnTo>
                    <a:pt x="1789" y="589"/>
                  </a:lnTo>
                  <a:lnTo>
                    <a:pt x="1789" y="589"/>
                  </a:lnTo>
                  <a:lnTo>
                    <a:pt x="1794" y="589"/>
                  </a:lnTo>
                  <a:lnTo>
                    <a:pt x="1801" y="594"/>
                  </a:lnTo>
                  <a:lnTo>
                    <a:pt x="1803" y="596"/>
                  </a:lnTo>
                  <a:lnTo>
                    <a:pt x="1806" y="596"/>
                  </a:lnTo>
                  <a:lnTo>
                    <a:pt x="1810" y="596"/>
                  </a:lnTo>
                  <a:lnTo>
                    <a:pt x="1813" y="598"/>
                  </a:lnTo>
                  <a:lnTo>
                    <a:pt x="1813" y="601"/>
                  </a:lnTo>
                  <a:lnTo>
                    <a:pt x="1813" y="601"/>
                  </a:lnTo>
                  <a:lnTo>
                    <a:pt x="1815" y="603"/>
                  </a:lnTo>
                  <a:lnTo>
                    <a:pt x="1815" y="606"/>
                  </a:lnTo>
                  <a:lnTo>
                    <a:pt x="1817" y="606"/>
                  </a:lnTo>
                  <a:lnTo>
                    <a:pt x="1820" y="606"/>
                  </a:lnTo>
                  <a:lnTo>
                    <a:pt x="1820" y="608"/>
                  </a:lnTo>
                  <a:lnTo>
                    <a:pt x="1822" y="610"/>
                  </a:lnTo>
                  <a:lnTo>
                    <a:pt x="1822" y="613"/>
                  </a:lnTo>
                  <a:lnTo>
                    <a:pt x="1824" y="615"/>
                  </a:lnTo>
                  <a:lnTo>
                    <a:pt x="1827" y="615"/>
                  </a:lnTo>
                  <a:lnTo>
                    <a:pt x="1829" y="617"/>
                  </a:lnTo>
                  <a:lnTo>
                    <a:pt x="1829" y="620"/>
                  </a:lnTo>
                  <a:lnTo>
                    <a:pt x="1832" y="620"/>
                  </a:lnTo>
                  <a:lnTo>
                    <a:pt x="1832" y="620"/>
                  </a:lnTo>
                  <a:lnTo>
                    <a:pt x="1834" y="620"/>
                  </a:lnTo>
                  <a:lnTo>
                    <a:pt x="1836" y="620"/>
                  </a:lnTo>
                  <a:lnTo>
                    <a:pt x="1839" y="620"/>
                  </a:lnTo>
                  <a:lnTo>
                    <a:pt x="1841" y="622"/>
                  </a:lnTo>
                  <a:lnTo>
                    <a:pt x="1846" y="622"/>
                  </a:lnTo>
                  <a:lnTo>
                    <a:pt x="1850" y="620"/>
                  </a:lnTo>
                  <a:lnTo>
                    <a:pt x="1855" y="620"/>
                  </a:lnTo>
                  <a:lnTo>
                    <a:pt x="1855" y="620"/>
                  </a:lnTo>
                  <a:lnTo>
                    <a:pt x="1857" y="620"/>
                  </a:lnTo>
                  <a:lnTo>
                    <a:pt x="1855" y="617"/>
                  </a:lnTo>
                  <a:lnTo>
                    <a:pt x="1857" y="615"/>
                  </a:lnTo>
                  <a:lnTo>
                    <a:pt x="1857" y="615"/>
                  </a:lnTo>
                  <a:lnTo>
                    <a:pt x="1860" y="615"/>
                  </a:lnTo>
                  <a:lnTo>
                    <a:pt x="1860" y="613"/>
                  </a:lnTo>
                  <a:lnTo>
                    <a:pt x="1862" y="613"/>
                  </a:lnTo>
                  <a:lnTo>
                    <a:pt x="1865" y="613"/>
                  </a:lnTo>
                  <a:lnTo>
                    <a:pt x="1867" y="613"/>
                  </a:lnTo>
                  <a:lnTo>
                    <a:pt x="1869" y="613"/>
                  </a:lnTo>
                  <a:lnTo>
                    <a:pt x="1869" y="610"/>
                  </a:lnTo>
                  <a:lnTo>
                    <a:pt x="1872" y="608"/>
                  </a:lnTo>
                  <a:lnTo>
                    <a:pt x="1876" y="608"/>
                  </a:lnTo>
                  <a:lnTo>
                    <a:pt x="1876" y="606"/>
                  </a:lnTo>
                  <a:lnTo>
                    <a:pt x="1879" y="608"/>
                  </a:lnTo>
                  <a:lnTo>
                    <a:pt x="1879" y="608"/>
                  </a:lnTo>
                  <a:lnTo>
                    <a:pt x="1881" y="608"/>
                  </a:lnTo>
                  <a:lnTo>
                    <a:pt x="1886" y="610"/>
                  </a:lnTo>
                  <a:lnTo>
                    <a:pt x="1886" y="610"/>
                  </a:lnTo>
                  <a:lnTo>
                    <a:pt x="1886" y="610"/>
                  </a:lnTo>
                  <a:lnTo>
                    <a:pt x="1886" y="613"/>
                  </a:lnTo>
                  <a:lnTo>
                    <a:pt x="1886" y="613"/>
                  </a:lnTo>
                  <a:lnTo>
                    <a:pt x="1886" y="615"/>
                  </a:lnTo>
                  <a:lnTo>
                    <a:pt x="1888" y="615"/>
                  </a:lnTo>
                  <a:lnTo>
                    <a:pt x="1890" y="617"/>
                  </a:lnTo>
                  <a:lnTo>
                    <a:pt x="1890" y="617"/>
                  </a:lnTo>
                  <a:lnTo>
                    <a:pt x="1893" y="620"/>
                  </a:lnTo>
                  <a:lnTo>
                    <a:pt x="1893" y="622"/>
                  </a:lnTo>
                  <a:lnTo>
                    <a:pt x="1893" y="622"/>
                  </a:lnTo>
                  <a:lnTo>
                    <a:pt x="1893" y="625"/>
                  </a:lnTo>
                  <a:lnTo>
                    <a:pt x="1893" y="625"/>
                  </a:lnTo>
                  <a:lnTo>
                    <a:pt x="1893" y="627"/>
                  </a:lnTo>
                  <a:lnTo>
                    <a:pt x="1890" y="627"/>
                  </a:lnTo>
                  <a:lnTo>
                    <a:pt x="1890" y="627"/>
                  </a:lnTo>
                  <a:lnTo>
                    <a:pt x="1890" y="627"/>
                  </a:lnTo>
                  <a:lnTo>
                    <a:pt x="1890" y="627"/>
                  </a:lnTo>
                  <a:lnTo>
                    <a:pt x="1888" y="627"/>
                  </a:lnTo>
                  <a:lnTo>
                    <a:pt x="1888" y="629"/>
                  </a:lnTo>
                  <a:lnTo>
                    <a:pt x="1890" y="629"/>
                  </a:lnTo>
                  <a:lnTo>
                    <a:pt x="1890" y="632"/>
                  </a:lnTo>
                  <a:lnTo>
                    <a:pt x="1890" y="632"/>
                  </a:lnTo>
                  <a:lnTo>
                    <a:pt x="1890" y="634"/>
                  </a:lnTo>
                  <a:lnTo>
                    <a:pt x="1890" y="636"/>
                  </a:lnTo>
                  <a:lnTo>
                    <a:pt x="1893" y="636"/>
                  </a:lnTo>
                  <a:lnTo>
                    <a:pt x="1893" y="639"/>
                  </a:lnTo>
                  <a:lnTo>
                    <a:pt x="1893" y="639"/>
                  </a:lnTo>
                  <a:lnTo>
                    <a:pt x="1893" y="641"/>
                  </a:lnTo>
                  <a:lnTo>
                    <a:pt x="1895" y="643"/>
                  </a:lnTo>
                  <a:lnTo>
                    <a:pt x="1895" y="646"/>
                  </a:lnTo>
                  <a:lnTo>
                    <a:pt x="1895" y="646"/>
                  </a:lnTo>
                  <a:lnTo>
                    <a:pt x="1895" y="648"/>
                  </a:lnTo>
                  <a:lnTo>
                    <a:pt x="1895" y="648"/>
                  </a:lnTo>
                  <a:lnTo>
                    <a:pt x="1898" y="651"/>
                  </a:lnTo>
                  <a:lnTo>
                    <a:pt x="1898" y="651"/>
                  </a:lnTo>
                  <a:lnTo>
                    <a:pt x="1898" y="651"/>
                  </a:lnTo>
                  <a:lnTo>
                    <a:pt x="1895" y="653"/>
                  </a:lnTo>
                  <a:lnTo>
                    <a:pt x="1895" y="653"/>
                  </a:lnTo>
                  <a:lnTo>
                    <a:pt x="1898" y="655"/>
                  </a:lnTo>
                  <a:lnTo>
                    <a:pt x="1898" y="655"/>
                  </a:lnTo>
                  <a:lnTo>
                    <a:pt x="1898" y="658"/>
                  </a:lnTo>
                  <a:lnTo>
                    <a:pt x="1898" y="658"/>
                  </a:lnTo>
                  <a:lnTo>
                    <a:pt x="1895" y="658"/>
                  </a:lnTo>
                  <a:lnTo>
                    <a:pt x="1895" y="658"/>
                  </a:lnTo>
                  <a:lnTo>
                    <a:pt x="1895" y="660"/>
                  </a:lnTo>
                  <a:lnTo>
                    <a:pt x="1898" y="660"/>
                  </a:lnTo>
                  <a:lnTo>
                    <a:pt x="1898" y="662"/>
                  </a:lnTo>
                  <a:lnTo>
                    <a:pt x="1898" y="662"/>
                  </a:lnTo>
                  <a:lnTo>
                    <a:pt x="1898" y="665"/>
                  </a:lnTo>
                  <a:lnTo>
                    <a:pt x="1898" y="665"/>
                  </a:lnTo>
                  <a:lnTo>
                    <a:pt x="1898" y="665"/>
                  </a:lnTo>
                  <a:lnTo>
                    <a:pt x="1895" y="665"/>
                  </a:lnTo>
                  <a:lnTo>
                    <a:pt x="1895" y="667"/>
                  </a:lnTo>
                  <a:lnTo>
                    <a:pt x="1895" y="669"/>
                  </a:lnTo>
                  <a:lnTo>
                    <a:pt x="1898" y="672"/>
                  </a:lnTo>
                  <a:lnTo>
                    <a:pt x="1898" y="674"/>
                  </a:lnTo>
                  <a:lnTo>
                    <a:pt x="1898" y="674"/>
                  </a:lnTo>
                  <a:lnTo>
                    <a:pt x="1898" y="677"/>
                  </a:lnTo>
                  <a:lnTo>
                    <a:pt x="1895" y="677"/>
                  </a:lnTo>
                  <a:lnTo>
                    <a:pt x="1895" y="674"/>
                  </a:lnTo>
                  <a:lnTo>
                    <a:pt x="1893" y="674"/>
                  </a:lnTo>
                  <a:lnTo>
                    <a:pt x="1890" y="674"/>
                  </a:lnTo>
                  <a:lnTo>
                    <a:pt x="1888" y="674"/>
                  </a:lnTo>
                  <a:lnTo>
                    <a:pt x="1886" y="674"/>
                  </a:lnTo>
                  <a:lnTo>
                    <a:pt x="1881" y="672"/>
                  </a:lnTo>
                  <a:lnTo>
                    <a:pt x="1881" y="672"/>
                  </a:lnTo>
                  <a:lnTo>
                    <a:pt x="1879" y="672"/>
                  </a:lnTo>
                  <a:lnTo>
                    <a:pt x="1876" y="672"/>
                  </a:lnTo>
                  <a:lnTo>
                    <a:pt x="1874" y="669"/>
                  </a:lnTo>
                  <a:lnTo>
                    <a:pt x="1874" y="669"/>
                  </a:lnTo>
                  <a:lnTo>
                    <a:pt x="1874" y="672"/>
                  </a:lnTo>
                  <a:lnTo>
                    <a:pt x="1874" y="672"/>
                  </a:lnTo>
                  <a:lnTo>
                    <a:pt x="1874" y="674"/>
                  </a:lnTo>
                  <a:lnTo>
                    <a:pt x="1874" y="674"/>
                  </a:lnTo>
                  <a:lnTo>
                    <a:pt x="1874" y="677"/>
                  </a:lnTo>
                  <a:lnTo>
                    <a:pt x="1872" y="679"/>
                  </a:lnTo>
                  <a:lnTo>
                    <a:pt x="1869" y="679"/>
                  </a:lnTo>
                  <a:lnTo>
                    <a:pt x="1869" y="679"/>
                  </a:lnTo>
                  <a:lnTo>
                    <a:pt x="1867" y="679"/>
                  </a:lnTo>
                  <a:lnTo>
                    <a:pt x="1867" y="681"/>
                  </a:lnTo>
                  <a:lnTo>
                    <a:pt x="1867" y="681"/>
                  </a:lnTo>
                  <a:lnTo>
                    <a:pt x="1867" y="681"/>
                  </a:lnTo>
                  <a:lnTo>
                    <a:pt x="1867" y="684"/>
                  </a:lnTo>
                  <a:lnTo>
                    <a:pt x="1869" y="686"/>
                  </a:lnTo>
                  <a:lnTo>
                    <a:pt x="1872" y="686"/>
                  </a:lnTo>
                  <a:lnTo>
                    <a:pt x="1874" y="688"/>
                  </a:lnTo>
                  <a:lnTo>
                    <a:pt x="1881" y="698"/>
                  </a:lnTo>
                  <a:lnTo>
                    <a:pt x="1881" y="698"/>
                  </a:lnTo>
                  <a:lnTo>
                    <a:pt x="1883" y="705"/>
                  </a:lnTo>
                  <a:lnTo>
                    <a:pt x="1883" y="705"/>
                  </a:lnTo>
                  <a:lnTo>
                    <a:pt x="1886" y="707"/>
                  </a:lnTo>
                  <a:lnTo>
                    <a:pt x="1886" y="710"/>
                  </a:lnTo>
                  <a:lnTo>
                    <a:pt x="1886" y="710"/>
                  </a:lnTo>
                  <a:lnTo>
                    <a:pt x="1888" y="710"/>
                  </a:lnTo>
                  <a:lnTo>
                    <a:pt x="1888" y="710"/>
                  </a:lnTo>
                  <a:lnTo>
                    <a:pt x="1888" y="712"/>
                  </a:lnTo>
                  <a:lnTo>
                    <a:pt x="1888" y="712"/>
                  </a:lnTo>
                  <a:lnTo>
                    <a:pt x="1888" y="714"/>
                  </a:lnTo>
                  <a:lnTo>
                    <a:pt x="1890" y="717"/>
                  </a:lnTo>
                  <a:lnTo>
                    <a:pt x="1890" y="717"/>
                  </a:lnTo>
                  <a:lnTo>
                    <a:pt x="1890" y="717"/>
                  </a:lnTo>
                  <a:lnTo>
                    <a:pt x="1890" y="719"/>
                  </a:lnTo>
                  <a:lnTo>
                    <a:pt x="1890" y="719"/>
                  </a:lnTo>
                  <a:lnTo>
                    <a:pt x="1890" y="721"/>
                  </a:lnTo>
                  <a:lnTo>
                    <a:pt x="1890" y="721"/>
                  </a:lnTo>
                  <a:lnTo>
                    <a:pt x="1888" y="721"/>
                  </a:lnTo>
                  <a:lnTo>
                    <a:pt x="1888" y="721"/>
                  </a:lnTo>
                  <a:lnTo>
                    <a:pt x="1886" y="721"/>
                  </a:lnTo>
                  <a:lnTo>
                    <a:pt x="1886" y="721"/>
                  </a:lnTo>
                  <a:lnTo>
                    <a:pt x="1883" y="724"/>
                  </a:lnTo>
                  <a:lnTo>
                    <a:pt x="1883" y="724"/>
                  </a:lnTo>
                  <a:lnTo>
                    <a:pt x="1881" y="724"/>
                  </a:lnTo>
                  <a:lnTo>
                    <a:pt x="1881" y="724"/>
                  </a:lnTo>
                  <a:lnTo>
                    <a:pt x="1881" y="724"/>
                  </a:lnTo>
                  <a:lnTo>
                    <a:pt x="1883" y="726"/>
                  </a:lnTo>
                  <a:lnTo>
                    <a:pt x="1883" y="726"/>
                  </a:lnTo>
                  <a:lnTo>
                    <a:pt x="1886" y="726"/>
                  </a:lnTo>
                  <a:lnTo>
                    <a:pt x="1886" y="729"/>
                  </a:lnTo>
                  <a:lnTo>
                    <a:pt x="1886" y="729"/>
                  </a:lnTo>
                  <a:lnTo>
                    <a:pt x="1886" y="729"/>
                  </a:lnTo>
                  <a:lnTo>
                    <a:pt x="1888" y="731"/>
                  </a:lnTo>
                  <a:lnTo>
                    <a:pt x="1890" y="731"/>
                  </a:lnTo>
                  <a:lnTo>
                    <a:pt x="1890" y="733"/>
                  </a:lnTo>
                  <a:lnTo>
                    <a:pt x="1890" y="733"/>
                  </a:lnTo>
                  <a:lnTo>
                    <a:pt x="1890" y="733"/>
                  </a:lnTo>
                  <a:lnTo>
                    <a:pt x="1890" y="729"/>
                  </a:lnTo>
                  <a:lnTo>
                    <a:pt x="1888" y="726"/>
                  </a:lnTo>
                  <a:lnTo>
                    <a:pt x="1888" y="726"/>
                  </a:lnTo>
                  <a:lnTo>
                    <a:pt x="1893" y="726"/>
                  </a:lnTo>
                  <a:lnTo>
                    <a:pt x="1893" y="726"/>
                  </a:lnTo>
                  <a:lnTo>
                    <a:pt x="1895" y="726"/>
                  </a:lnTo>
                  <a:lnTo>
                    <a:pt x="1895" y="724"/>
                  </a:lnTo>
                  <a:lnTo>
                    <a:pt x="1895" y="724"/>
                  </a:lnTo>
                  <a:lnTo>
                    <a:pt x="1898" y="721"/>
                  </a:lnTo>
                  <a:lnTo>
                    <a:pt x="1898" y="719"/>
                  </a:lnTo>
                  <a:lnTo>
                    <a:pt x="1898" y="714"/>
                  </a:lnTo>
                  <a:lnTo>
                    <a:pt x="1900" y="714"/>
                  </a:lnTo>
                  <a:lnTo>
                    <a:pt x="1900" y="712"/>
                  </a:lnTo>
                  <a:lnTo>
                    <a:pt x="1902" y="712"/>
                  </a:lnTo>
                  <a:lnTo>
                    <a:pt x="1902" y="712"/>
                  </a:lnTo>
                  <a:lnTo>
                    <a:pt x="1902" y="714"/>
                  </a:lnTo>
                  <a:lnTo>
                    <a:pt x="1902" y="717"/>
                  </a:lnTo>
                  <a:lnTo>
                    <a:pt x="1902" y="717"/>
                  </a:lnTo>
                  <a:lnTo>
                    <a:pt x="1905" y="717"/>
                  </a:lnTo>
                  <a:lnTo>
                    <a:pt x="1907" y="714"/>
                  </a:lnTo>
                  <a:lnTo>
                    <a:pt x="1907" y="712"/>
                  </a:lnTo>
                  <a:lnTo>
                    <a:pt x="1907" y="714"/>
                  </a:lnTo>
                  <a:lnTo>
                    <a:pt x="1912" y="721"/>
                  </a:lnTo>
                  <a:lnTo>
                    <a:pt x="1914" y="721"/>
                  </a:lnTo>
                  <a:lnTo>
                    <a:pt x="1916" y="721"/>
                  </a:lnTo>
                  <a:lnTo>
                    <a:pt x="1919" y="721"/>
                  </a:lnTo>
                  <a:lnTo>
                    <a:pt x="1921" y="724"/>
                  </a:lnTo>
                  <a:lnTo>
                    <a:pt x="1923" y="724"/>
                  </a:lnTo>
                  <a:lnTo>
                    <a:pt x="1923" y="724"/>
                  </a:lnTo>
                  <a:lnTo>
                    <a:pt x="1926" y="724"/>
                  </a:lnTo>
                  <a:lnTo>
                    <a:pt x="1928" y="726"/>
                  </a:lnTo>
                  <a:lnTo>
                    <a:pt x="1931" y="724"/>
                  </a:lnTo>
                  <a:lnTo>
                    <a:pt x="1933" y="721"/>
                  </a:lnTo>
                  <a:lnTo>
                    <a:pt x="1935" y="721"/>
                  </a:lnTo>
                  <a:lnTo>
                    <a:pt x="1940" y="719"/>
                  </a:lnTo>
                  <a:lnTo>
                    <a:pt x="1940" y="719"/>
                  </a:lnTo>
                  <a:lnTo>
                    <a:pt x="1947" y="712"/>
                  </a:lnTo>
                  <a:lnTo>
                    <a:pt x="1949" y="710"/>
                  </a:lnTo>
                  <a:lnTo>
                    <a:pt x="1952" y="707"/>
                  </a:lnTo>
                  <a:lnTo>
                    <a:pt x="1952" y="705"/>
                  </a:lnTo>
                  <a:lnTo>
                    <a:pt x="1954" y="703"/>
                  </a:lnTo>
                  <a:lnTo>
                    <a:pt x="1954" y="700"/>
                  </a:lnTo>
                  <a:lnTo>
                    <a:pt x="1954" y="700"/>
                  </a:lnTo>
                  <a:lnTo>
                    <a:pt x="1954" y="691"/>
                  </a:lnTo>
                  <a:lnTo>
                    <a:pt x="1954" y="688"/>
                  </a:lnTo>
                  <a:lnTo>
                    <a:pt x="1956" y="688"/>
                  </a:lnTo>
                  <a:lnTo>
                    <a:pt x="1956" y="686"/>
                  </a:lnTo>
                  <a:lnTo>
                    <a:pt x="1956" y="686"/>
                  </a:lnTo>
                  <a:lnTo>
                    <a:pt x="1959" y="681"/>
                  </a:lnTo>
                  <a:lnTo>
                    <a:pt x="1959" y="679"/>
                  </a:lnTo>
                  <a:lnTo>
                    <a:pt x="1959" y="674"/>
                  </a:lnTo>
                  <a:lnTo>
                    <a:pt x="1959" y="672"/>
                  </a:lnTo>
                  <a:lnTo>
                    <a:pt x="1961" y="667"/>
                  </a:lnTo>
                  <a:lnTo>
                    <a:pt x="1964" y="662"/>
                  </a:lnTo>
                  <a:lnTo>
                    <a:pt x="1966" y="660"/>
                  </a:lnTo>
                  <a:lnTo>
                    <a:pt x="1966" y="658"/>
                  </a:lnTo>
                  <a:lnTo>
                    <a:pt x="1968" y="651"/>
                  </a:lnTo>
                  <a:lnTo>
                    <a:pt x="1966" y="646"/>
                  </a:lnTo>
                  <a:lnTo>
                    <a:pt x="1968" y="643"/>
                  </a:lnTo>
                  <a:lnTo>
                    <a:pt x="1966" y="641"/>
                  </a:lnTo>
                  <a:lnTo>
                    <a:pt x="1966" y="636"/>
                  </a:lnTo>
                  <a:lnTo>
                    <a:pt x="1966" y="636"/>
                  </a:lnTo>
                  <a:lnTo>
                    <a:pt x="1964" y="634"/>
                  </a:lnTo>
                  <a:lnTo>
                    <a:pt x="1968" y="627"/>
                  </a:lnTo>
                  <a:lnTo>
                    <a:pt x="1966" y="622"/>
                  </a:lnTo>
                  <a:lnTo>
                    <a:pt x="1966" y="617"/>
                  </a:lnTo>
                  <a:lnTo>
                    <a:pt x="1968" y="615"/>
                  </a:lnTo>
                  <a:lnTo>
                    <a:pt x="1968" y="613"/>
                  </a:lnTo>
                  <a:lnTo>
                    <a:pt x="1968" y="610"/>
                  </a:lnTo>
                  <a:lnTo>
                    <a:pt x="1971" y="608"/>
                  </a:lnTo>
                  <a:lnTo>
                    <a:pt x="1971" y="606"/>
                  </a:lnTo>
                  <a:lnTo>
                    <a:pt x="1971" y="603"/>
                  </a:lnTo>
                  <a:lnTo>
                    <a:pt x="1968" y="598"/>
                  </a:lnTo>
                  <a:lnTo>
                    <a:pt x="1968" y="594"/>
                  </a:lnTo>
                  <a:lnTo>
                    <a:pt x="1966" y="594"/>
                  </a:lnTo>
                  <a:lnTo>
                    <a:pt x="1966" y="594"/>
                  </a:lnTo>
                  <a:lnTo>
                    <a:pt x="1966" y="591"/>
                  </a:lnTo>
                  <a:lnTo>
                    <a:pt x="1964" y="591"/>
                  </a:lnTo>
                  <a:lnTo>
                    <a:pt x="1964" y="589"/>
                  </a:lnTo>
                  <a:lnTo>
                    <a:pt x="1964" y="589"/>
                  </a:lnTo>
                  <a:lnTo>
                    <a:pt x="1964" y="587"/>
                  </a:lnTo>
                  <a:lnTo>
                    <a:pt x="1961" y="582"/>
                  </a:lnTo>
                  <a:lnTo>
                    <a:pt x="1959" y="577"/>
                  </a:lnTo>
                  <a:lnTo>
                    <a:pt x="1956" y="577"/>
                  </a:lnTo>
                  <a:lnTo>
                    <a:pt x="1956" y="575"/>
                  </a:lnTo>
                  <a:lnTo>
                    <a:pt x="1956" y="572"/>
                  </a:lnTo>
                  <a:lnTo>
                    <a:pt x="1956" y="572"/>
                  </a:lnTo>
                  <a:lnTo>
                    <a:pt x="1956" y="572"/>
                  </a:lnTo>
                  <a:lnTo>
                    <a:pt x="1954" y="570"/>
                  </a:lnTo>
                  <a:lnTo>
                    <a:pt x="1954" y="570"/>
                  </a:lnTo>
                  <a:lnTo>
                    <a:pt x="1947" y="563"/>
                  </a:lnTo>
                  <a:lnTo>
                    <a:pt x="1942" y="556"/>
                  </a:lnTo>
                  <a:lnTo>
                    <a:pt x="1942" y="554"/>
                  </a:lnTo>
                  <a:lnTo>
                    <a:pt x="1942" y="551"/>
                  </a:lnTo>
                  <a:lnTo>
                    <a:pt x="1940" y="549"/>
                  </a:lnTo>
                  <a:lnTo>
                    <a:pt x="1940" y="544"/>
                  </a:lnTo>
                  <a:lnTo>
                    <a:pt x="1938" y="539"/>
                  </a:lnTo>
                  <a:lnTo>
                    <a:pt x="1940" y="537"/>
                  </a:lnTo>
                  <a:lnTo>
                    <a:pt x="1940" y="535"/>
                  </a:lnTo>
                  <a:lnTo>
                    <a:pt x="1940" y="535"/>
                  </a:lnTo>
                  <a:lnTo>
                    <a:pt x="1938" y="532"/>
                  </a:lnTo>
                  <a:lnTo>
                    <a:pt x="1938" y="530"/>
                  </a:lnTo>
                  <a:lnTo>
                    <a:pt x="1935" y="528"/>
                  </a:lnTo>
                  <a:lnTo>
                    <a:pt x="1933" y="528"/>
                  </a:lnTo>
                  <a:lnTo>
                    <a:pt x="1931" y="525"/>
                  </a:lnTo>
                  <a:lnTo>
                    <a:pt x="1928" y="523"/>
                  </a:lnTo>
                  <a:lnTo>
                    <a:pt x="1928" y="520"/>
                  </a:lnTo>
                  <a:lnTo>
                    <a:pt x="1926" y="520"/>
                  </a:lnTo>
                  <a:lnTo>
                    <a:pt x="1923" y="516"/>
                  </a:lnTo>
                  <a:lnTo>
                    <a:pt x="1919" y="513"/>
                  </a:lnTo>
                  <a:lnTo>
                    <a:pt x="1914" y="511"/>
                  </a:lnTo>
                  <a:lnTo>
                    <a:pt x="1912" y="511"/>
                  </a:lnTo>
                  <a:lnTo>
                    <a:pt x="1914" y="511"/>
                  </a:lnTo>
                  <a:lnTo>
                    <a:pt x="1919" y="511"/>
                  </a:lnTo>
                  <a:lnTo>
                    <a:pt x="1921" y="511"/>
                  </a:lnTo>
                  <a:lnTo>
                    <a:pt x="1921" y="509"/>
                  </a:lnTo>
                  <a:lnTo>
                    <a:pt x="1919" y="506"/>
                  </a:lnTo>
                  <a:lnTo>
                    <a:pt x="1914" y="506"/>
                  </a:lnTo>
                  <a:lnTo>
                    <a:pt x="1909" y="504"/>
                  </a:lnTo>
                  <a:lnTo>
                    <a:pt x="1909" y="502"/>
                  </a:lnTo>
                  <a:lnTo>
                    <a:pt x="1902" y="502"/>
                  </a:lnTo>
                  <a:lnTo>
                    <a:pt x="1893" y="497"/>
                  </a:lnTo>
                  <a:lnTo>
                    <a:pt x="1888" y="492"/>
                  </a:lnTo>
                  <a:lnTo>
                    <a:pt x="1886" y="492"/>
                  </a:lnTo>
                  <a:lnTo>
                    <a:pt x="1879" y="487"/>
                  </a:lnTo>
                  <a:lnTo>
                    <a:pt x="1876" y="487"/>
                  </a:lnTo>
                  <a:lnTo>
                    <a:pt x="1876" y="487"/>
                  </a:lnTo>
                  <a:lnTo>
                    <a:pt x="1872" y="487"/>
                  </a:lnTo>
                  <a:lnTo>
                    <a:pt x="1867" y="487"/>
                  </a:lnTo>
                  <a:lnTo>
                    <a:pt x="1860" y="485"/>
                  </a:lnTo>
                  <a:lnTo>
                    <a:pt x="1860" y="487"/>
                  </a:lnTo>
                  <a:lnTo>
                    <a:pt x="1860" y="487"/>
                  </a:lnTo>
                  <a:lnTo>
                    <a:pt x="1862" y="490"/>
                  </a:lnTo>
                  <a:lnTo>
                    <a:pt x="1865" y="492"/>
                  </a:lnTo>
                  <a:lnTo>
                    <a:pt x="1867" y="494"/>
                  </a:lnTo>
                  <a:lnTo>
                    <a:pt x="1867" y="497"/>
                  </a:lnTo>
                  <a:lnTo>
                    <a:pt x="1869" y="502"/>
                  </a:lnTo>
                  <a:lnTo>
                    <a:pt x="1867" y="502"/>
                  </a:lnTo>
                  <a:lnTo>
                    <a:pt x="1867" y="502"/>
                  </a:lnTo>
                  <a:lnTo>
                    <a:pt x="1865" y="502"/>
                  </a:lnTo>
                  <a:lnTo>
                    <a:pt x="1865" y="502"/>
                  </a:lnTo>
                  <a:lnTo>
                    <a:pt x="1865" y="499"/>
                  </a:lnTo>
                  <a:lnTo>
                    <a:pt x="1865" y="497"/>
                  </a:lnTo>
                  <a:lnTo>
                    <a:pt x="1862" y="494"/>
                  </a:lnTo>
                  <a:lnTo>
                    <a:pt x="1862" y="492"/>
                  </a:lnTo>
                  <a:lnTo>
                    <a:pt x="1862" y="492"/>
                  </a:lnTo>
                  <a:lnTo>
                    <a:pt x="1860" y="494"/>
                  </a:lnTo>
                  <a:lnTo>
                    <a:pt x="1862" y="497"/>
                  </a:lnTo>
                  <a:lnTo>
                    <a:pt x="1860" y="499"/>
                  </a:lnTo>
                  <a:lnTo>
                    <a:pt x="1855" y="502"/>
                  </a:lnTo>
                  <a:lnTo>
                    <a:pt x="1850" y="502"/>
                  </a:lnTo>
                  <a:lnTo>
                    <a:pt x="1848" y="502"/>
                  </a:lnTo>
                  <a:lnTo>
                    <a:pt x="1848" y="502"/>
                  </a:lnTo>
                  <a:lnTo>
                    <a:pt x="1848" y="499"/>
                  </a:lnTo>
                  <a:lnTo>
                    <a:pt x="1850" y="499"/>
                  </a:lnTo>
                  <a:lnTo>
                    <a:pt x="1850" y="494"/>
                  </a:lnTo>
                  <a:lnTo>
                    <a:pt x="1850" y="494"/>
                  </a:lnTo>
                  <a:lnTo>
                    <a:pt x="1850" y="494"/>
                  </a:lnTo>
                  <a:lnTo>
                    <a:pt x="1848" y="492"/>
                  </a:lnTo>
                  <a:lnTo>
                    <a:pt x="1846" y="492"/>
                  </a:lnTo>
                  <a:lnTo>
                    <a:pt x="1841" y="490"/>
                  </a:lnTo>
                  <a:lnTo>
                    <a:pt x="1841" y="490"/>
                  </a:lnTo>
                  <a:lnTo>
                    <a:pt x="1843" y="490"/>
                  </a:lnTo>
                  <a:lnTo>
                    <a:pt x="1843" y="490"/>
                  </a:lnTo>
                  <a:lnTo>
                    <a:pt x="1843" y="487"/>
                  </a:lnTo>
                  <a:lnTo>
                    <a:pt x="1841" y="487"/>
                  </a:lnTo>
                  <a:lnTo>
                    <a:pt x="1839" y="487"/>
                  </a:lnTo>
                  <a:lnTo>
                    <a:pt x="1836" y="490"/>
                  </a:lnTo>
                  <a:lnTo>
                    <a:pt x="1836" y="490"/>
                  </a:lnTo>
                  <a:lnTo>
                    <a:pt x="1839" y="492"/>
                  </a:lnTo>
                  <a:lnTo>
                    <a:pt x="1841" y="492"/>
                  </a:lnTo>
                  <a:lnTo>
                    <a:pt x="1843" y="497"/>
                  </a:lnTo>
                  <a:lnTo>
                    <a:pt x="1841" y="494"/>
                  </a:lnTo>
                  <a:lnTo>
                    <a:pt x="1839" y="494"/>
                  </a:lnTo>
                  <a:lnTo>
                    <a:pt x="1839" y="497"/>
                  </a:lnTo>
                  <a:lnTo>
                    <a:pt x="1836" y="497"/>
                  </a:lnTo>
                  <a:lnTo>
                    <a:pt x="1834" y="494"/>
                  </a:lnTo>
                  <a:lnTo>
                    <a:pt x="1832" y="492"/>
                  </a:lnTo>
                  <a:lnTo>
                    <a:pt x="1829" y="485"/>
                  </a:lnTo>
                  <a:lnTo>
                    <a:pt x="1827" y="483"/>
                  </a:lnTo>
                  <a:lnTo>
                    <a:pt x="1827" y="480"/>
                  </a:lnTo>
                  <a:lnTo>
                    <a:pt x="1824" y="480"/>
                  </a:lnTo>
                  <a:lnTo>
                    <a:pt x="1822" y="480"/>
                  </a:lnTo>
                  <a:lnTo>
                    <a:pt x="1822" y="480"/>
                  </a:lnTo>
                  <a:lnTo>
                    <a:pt x="1815" y="480"/>
                  </a:lnTo>
                  <a:lnTo>
                    <a:pt x="1810" y="480"/>
                  </a:lnTo>
                  <a:lnTo>
                    <a:pt x="1803" y="478"/>
                  </a:lnTo>
                  <a:lnTo>
                    <a:pt x="1801" y="478"/>
                  </a:lnTo>
                  <a:lnTo>
                    <a:pt x="1799" y="478"/>
                  </a:lnTo>
                  <a:lnTo>
                    <a:pt x="1796" y="476"/>
                  </a:lnTo>
                  <a:lnTo>
                    <a:pt x="1796" y="473"/>
                  </a:lnTo>
                  <a:lnTo>
                    <a:pt x="1796" y="473"/>
                  </a:lnTo>
                  <a:lnTo>
                    <a:pt x="1796" y="471"/>
                  </a:lnTo>
                  <a:lnTo>
                    <a:pt x="1799" y="468"/>
                  </a:lnTo>
                  <a:lnTo>
                    <a:pt x="1803" y="466"/>
                  </a:lnTo>
                  <a:lnTo>
                    <a:pt x="1803" y="461"/>
                  </a:lnTo>
                  <a:lnTo>
                    <a:pt x="1803" y="461"/>
                  </a:lnTo>
                  <a:lnTo>
                    <a:pt x="1808" y="459"/>
                  </a:lnTo>
                  <a:lnTo>
                    <a:pt x="1808" y="457"/>
                  </a:lnTo>
                  <a:lnTo>
                    <a:pt x="1810" y="454"/>
                  </a:lnTo>
                  <a:lnTo>
                    <a:pt x="1810" y="452"/>
                  </a:lnTo>
                  <a:lnTo>
                    <a:pt x="1813" y="450"/>
                  </a:lnTo>
                  <a:lnTo>
                    <a:pt x="1813" y="450"/>
                  </a:lnTo>
                  <a:lnTo>
                    <a:pt x="1815" y="445"/>
                  </a:lnTo>
                  <a:lnTo>
                    <a:pt x="1815" y="442"/>
                  </a:lnTo>
                  <a:lnTo>
                    <a:pt x="1813" y="440"/>
                  </a:lnTo>
                  <a:lnTo>
                    <a:pt x="1813" y="440"/>
                  </a:lnTo>
                  <a:lnTo>
                    <a:pt x="1815" y="433"/>
                  </a:lnTo>
                  <a:lnTo>
                    <a:pt x="1817" y="431"/>
                  </a:lnTo>
                  <a:lnTo>
                    <a:pt x="1817" y="428"/>
                  </a:lnTo>
                  <a:lnTo>
                    <a:pt x="1820" y="426"/>
                  </a:lnTo>
                  <a:lnTo>
                    <a:pt x="1820" y="426"/>
                  </a:lnTo>
                  <a:lnTo>
                    <a:pt x="1820" y="424"/>
                  </a:lnTo>
                  <a:lnTo>
                    <a:pt x="1822" y="424"/>
                  </a:lnTo>
                  <a:lnTo>
                    <a:pt x="1822" y="421"/>
                  </a:lnTo>
                  <a:lnTo>
                    <a:pt x="1822" y="419"/>
                  </a:lnTo>
                  <a:lnTo>
                    <a:pt x="1827" y="416"/>
                  </a:lnTo>
                  <a:lnTo>
                    <a:pt x="1827" y="416"/>
                  </a:lnTo>
                  <a:lnTo>
                    <a:pt x="1822" y="409"/>
                  </a:lnTo>
                  <a:lnTo>
                    <a:pt x="1822" y="407"/>
                  </a:lnTo>
                  <a:lnTo>
                    <a:pt x="1824" y="405"/>
                  </a:lnTo>
                  <a:lnTo>
                    <a:pt x="1827" y="402"/>
                  </a:lnTo>
                  <a:lnTo>
                    <a:pt x="1829" y="400"/>
                  </a:lnTo>
                  <a:lnTo>
                    <a:pt x="1829" y="398"/>
                  </a:lnTo>
                  <a:lnTo>
                    <a:pt x="1829" y="393"/>
                  </a:lnTo>
                  <a:lnTo>
                    <a:pt x="1832" y="390"/>
                  </a:lnTo>
                  <a:lnTo>
                    <a:pt x="1834" y="388"/>
                  </a:lnTo>
                  <a:lnTo>
                    <a:pt x="1839" y="386"/>
                  </a:lnTo>
                  <a:lnTo>
                    <a:pt x="1846" y="386"/>
                  </a:lnTo>
                  <a:lnTo>
                    <a:pt x="1848" y="386"/>
                  </a:lnTo>
                  <a:lnTo>
                    <a:pt x="1853" y="386"/>
                  </a:lnTo>
                  <a:lnTo>
                    <a:pt x="1860" y="386"/>
                  </a:lnTo>
                  <a:lnTo>
                    <a:pt x="1874" y="386"/>
                  </a:lnTo>
                  <a:lnTo>
                    <a:pt x="1879" y="386"/>
                  </a:lnTo>
                  <a:lnTo>
                    <a:pt x="1881" y="388"/>
                  </a:lnTo>
                  <a:lnTo>
                    <a:pt x="1883" y="390"/>
                  </a:lnTo>
                  <a:lnTo>
                    <a:pt x="1886" y="390"/>
                  </a:lnTo>
                  <a:lnTo>
                    <a:pt x="1888" y="388"/>
                  </a:lnTo>
                  <a:lnTo>
                    <a:pt x="1888" y="386"/>
                  </a:lnTo>
                  <a:lnTo>
                    <a:pt x="1888" y="386"/>
                  </a:lnTo>
                  <a:lnTo>
                    <a:pt x="1893" y="386"/>
                  </a:lnTo>
                  <a:lnTo>
                    <a:pt x="1898" y="386"/>
                  </a:lnTo>
                  <a:lnTo>
                    <a:pt x="1907" y="388"/>
                  </a:lnTo>
                  <a:lnTo>
                    <a:pt x="1909" y="388"/>
                  </a:lnTo>
                  <a:lnTo>
                    <a:pt x="1909" y="386"/>
                  </a:lnTo>
                  <a:lnTo>
                    <a:pt x="1914" y="386"/>
                  </a:lnTo>
                  <a:lnTo>
                    <a:pt x="1921" y="388"/>
                  </a:lnTo>
                  <a:lnTo>
                    <a:pt x="1923" y="388"/>
                  </a:lnTo>
                  <a:lnTo>
                    <a:pt x="1926" y="388"/>
                  </a:lnTo>
                  <a:lnTo>
                    <a:pt x="1926" y="386"/>
                  </a:lnTo>
                  <a:lnTo>
                    <a:pt x="1923" y="386"/>
                  </a:lnTo>
                  <a:lnTo>
                    <a:pt x="1923" y="386"/>
                  </a:lnTo>
                  <a:lnTo>
                    <a:pt x="1921" y="386"/>
                  </a:lnTo>
                  <a:lnTo>
                    <a:pt x="1921" y="383"/>
                  </a:lnTo>
                  <a:lnTo>
                    <a:pt x="1923" y="383"/>
                  </a:lnTo>
                  <a:lnTo>
                    <a:pt x="1926" y="383"/>
                  </a:lnTo>
                  <a:lnTo>
                    <a:pt x="1928" y="383"/>
                  </a:lnTo>
                  <a:lnTo>
                    <a:pt x="1926" y="383"/>
                  </a:lnTo>
                  <a:lnTo>
                    <a:pt x="1926" y="383"/>
                  </a:lnTo>
                  <a:lnTo>
                    <a:pt x="1923" y="381"/>
                  </a:lnTo>
                  <a:lnTo>
                    <a:pt x="1923" y="379"/>
                  </a:lnTo>
                  <a:lnTo>
                    <a:pt x="1926" y="379"/>
                  </a:lnTo>
                  <a:lnTo>
                    <a:pt x="1928" y="379"/>
                  </a:lnTo>
                  <a:lnTo>
                    <a:pt x="1940" y="381"/>
                  </a:lnTo>
                  <a:lnTo>
                    <a:pt x="1940" y="381"/>
                  </a:lnTo>
                  <a:lnTo>
                    <a:pt x="1945" y="381"/>
                  </a:lnTo>
                  <a:lnTo>
                    <a:pt x="1947" y="383"/>
                  </a:lnTo>
                  <a:lnTo>
                    <a:pt x="1947" y="383"/>
                  </a:lnTo>
                  <a:lnTo>
                    <a:pt x="1947" y="383"/>
                  </a:lnTo>
                  <a:lnTo>
                    <a:pt x="1947" y="383"/>
                  </a:lnTo>
                  <a:lnTo>
                    <a:pt x="1949" y="383"/>
                  </a:lnTo>
                  <a:lnTo>
                    <a:pt x="1952" y="386"/>
                  </a:lnTo>
                  <a:lnTo>
                    <a:pt x="1952" y="383"/>
                  </a:lnTo>
                  <a:lnTo>
                    <a:pt x="1952" y="383"/>
                  </a:lnTo>
                  <a:lnTo>
                    <a:pt x="1952" y="383"/>
                  </a:lnTo>
                  <a:lnTo>
                    <a:pt x="1952" y="381"/>
                  </a:lnTo>
                  <a:lnTo>
                    <a:pt x="1954" y="383"/>
                  </a:lnTo>
                  <a:lnTo>
                    <a:pt x="1959" y="383"/>
                  </a:lnTo>
                  <a:lnTo>
                    <a:pt x="1961" y="383"/>
                  </a:lnTo>
                  <a:lnTo>
                    <a:pt x="1968" y="388"/>
                  </a:lnTo>
                  <a:lnTo>
                    <a:pt x="1973" y="388"/>
                  </a:lnTo>
                  <a:lnTo>
                    <a:pt x="1975" y="388"/>
                  </a:lnTo>
                  <a:lnTo>
                    <a:pt x="1975" y="388"/>
                  </a:lnTo>
                  <a:lnTo>
                    <a:pt x="1978" y="388"/>
                  </a:lnTo>
                  <a:lnTo>
                    <a:pt x="1975" y="390"/>
                  </a:lnTo>
                  <a:lnTo>
                    <a:pt x="1971" y="390"/>
                  </a:lnTo>
                  <a:lnTo>
                    <a:pt x="1968" y="390"/>
                  </a:lnTo>
                  <a:lnTo>
                    <a:pt x="1964" y="393"/>
                  </a:lnTo>
                  <a:lnTo>
                    <a:pt x="1971" y="395"/>
                  </a:lnTo>
                  <a:lnTo>
                    <a:pt x="1978" y="395"/>
                  </a:lnTo>
                  <a:lnTo>
                    <a:pt x="1982" y="395"/>
                  </a:lnTo>
                  <a:lnTo>
                    <a:pt x="1980" y="393"/>
                  </a:lnTo>
                  <a:lnTo>
                    <a:pt x="1982" y="393"/>
                  </a:lnTo>
                  <a:lnTo>
                    <a:pt x="1985" y="393"/>
                  </a:lnTo>
                  <a:lnTo>
                    <a:pt x="1987" y="395"/>
                  </a:lnTo>
                  <a:lnTo>
                    <a:pt x="1992" y="395"/>
                  </a:lnTo>
                  <a:lnTo>
                    <a:pt x="1992" y="395"/>
                  </a:lnTo>
                  <a:lnTo>
                    <a:pt x="1994" y="393"/>
                  </a:lnTo>
                  <a:lnTo>
                    <a:pt x="1994" y="393"/>
                  </a:lnTo>
                  <a:lnTo>
                    <a:pt x="1997" y="393"/>
                  </a:lnTo>
                  <a:lnTo>
                    <a:pt x="1994" y="390"/>
                  </a:lnTo>
                  <a:lnTo>
                    <a:pt x="1999" y="388"/>
                  </a:lnTo>
                  <a:lnTo>
                    <a:pt x="2004" y="390"/>
                  </a:lnTo>
                  <a:lnTo>
                    <a:pt x="2008" y="393"/>
                  </a:lnTo>
                  <a:lnTo>
                    <a:pt x="2011" y="390"/>
                  </a:lnTo>
                  <a:lnTo>
                    <a:pt x="2011" y="390"/>
                  </a:lnTo>
                  <a:lnTo>
                    <a:pt x="2011" y="390"/>
                  </a:lnTo>
                  <a:lnTo>
                    <a:pt x="2015" y="390"/>
                  </a:lnTo>
                  <a:lnTo>
                    <a:pt x="2018" y="390"/>
                  </a:lnTo>
                  <a:lnTo>
                    <a:pt x="2020" y="390"/>
                  </a:lnTo>
                  <a:lnTo>
                    <a:pt x="2022" y="390"/>
                  </a:lnTo>
                  <a:lnTo>
                    <a:pt x="2020" y="388"/>
                  </a:lnTo>
                  <a:lnTo>
                    <a:pt x="2018" y="386"/>
                  </a:lnTo>
                  <a:lnTo>
                    <a:pt x="2013" y="386"/>
                  </a:lnTo>
                  <a:lnTo>
                    <a:pt x="2006" y="383"/>
                  </a:lnTo>
                  <a:lnTo>
                    <a:pt x="2004" y="383"/>
                  </a:lnTo>
                  <a:lnTo>
                    <a:pt x="2004" y="383"/>
                  </a:lnTo>
                  <a:lnTo>
                    <a:pt x="2001" y="383"/>
                  </a:lnTo>
                  <a:lnTo>
                    <a:pt x="2001" y="383"/>
                  </a:lnTo>
                  <a:lnTo>
                    <a:pt x="1999" y="381"/>
                  </a:lnTo>
                  <a:lnTo>
                    <a:pt x="1999" y="381"/>
                  </a:lnTo>
                  <a:lnTo>
                    <a:pt x="1999" y="379"/>
                  </a:lnTo>
                  <a:lnTo>
                    <a:pt x="1997" y="376"/>
                  </a:lnTo>
                  <a:lnTo>
                    <a:pt x="1997" y="376"/>
                  </a:lnTo>
                  <a:lnTo>
                    <a:pt x="1997" y="376"/>
                  </a:lnTo>
                  <a:lnTo>
                    <a:pt x="1994" y="372"/>
                  </a:lnTo>
                  <a:lnTo>
                    <a:pt x="1997" y="367"/>
                  </a:lnTo>
                  <a:lnTo>
                    <a:pt x="1999" y="364"/>
                  </a:lnTo>
                  <a:lnTo>
                    <a:pt x="2001" y="362"/>
                  </a:lnTo>
                  <a:lnTo>
                    <a:pt x="2001" y="360"/>
                  </a:lnTo>
                  <a:lnTo>
                    <a:pt x="1999" y="355"/>
                  </a:lnTo>
                  <a:lnTo>
                    <a:pt x="1999" y="353"/>
                  </a:lnTo>
                  <a:lnTo>
                    <a:pt x="2001" y="350"/>
                  </a:lnTo>
                  <a:lnTo>
                    <a:pt x="2001" y="350"/>
                  </a:lnTo>
                  <a:lnTo>
                    <a:pt x="1999" y="345"/>
                  </a:lnTo>
                  <a:lnTo>
                    <a:pt x="1999" y="345"/>
                  </a:lnTo>
                  <a:lnTo>
                    <a:pt x="1999" y="343"/>
                  </a:lnTo>
                  <a:lnTo>
                    <a:pt x="1999" y="341"/>
                  </a:lnTo>
                  <a:lnTo>
                    <a:pt x="2001" y="341"/>
                  </a:lnTo>
                  <a:lnTo>
                    <a:pt x="2004" y="338"/>
                  </a:lnTo>
                  <a:lnTo>
                    <a:pt x="2008" y="341"/>
                  </a:lnTo>
                  <a:lnTo>
                    <a:pt x="2013" y="341"/>
                  </a:lnTo>
                  <a:lnTo>
                    <a:pt x="2013" y="341"/>
                  </a:lnTo>
                  <a:lnTo>
                    <a:pt x="2015" y="338"/>
                  </a:lnTo>
                  <a:lnTo>
                    <a:pt x="2018" y="338"/>
                  </a:lnTo>
                  <a:lnTo>
                    <a:pt x="2022" y="338"/>
                  </a:lnTo>
                  <a:lnTo>
                    <a:pt x="2022" y="336"/>
                  </a:lnTo>
                  <a:lnTo>
                    <a:pt x="2025" y="336"/>
                  </a:lnTo>
                  <a:lnTo>
                    <a:pt x="2027" y="338"/>
                  </a:lnTo>
                  <a:lnTo>
                    <a:pt x="2032" y="338"/>
                  </a:lnTo>
                  <a:lnTo>
                    <a:pt x="2032" y="341"/>
                  </a:lnTo>
                  <a:lnTo>
                    <a:pt x="2034" y="341"/>
                  </a:lnTo>
                  <a:lnTo>
                    <a:pt x="2037" y="341"/>
                  </a:lnTo>
                  <a:lnTo>
                    <a:pt x="2039" y="338"/>
                  </a:lnTo>
                  <a:lnTo>
                    <a:pt x="2041" y="338"/>
                  </a:lnTo>
                  <a:lnTo>
                    <a:pt x="2041" y="338"/>
                  </a:lnTo>
                  <a:lnTo>
                    <a:pt x="2044" y="338"/>
                  </a:lnTo>
                  <a:lnTo>
                    <a:pt x="2044" y="341"/>
                  </a:lnTo>
                  <a:lnTo>
                    <a:pt x="2046" y="343"/>
                  </a:lnTo>
                  <a:lnTo>
                    <a:pt x="2048" y="345"/>
                  </a:lnTo>
                  <a:lnTo>
                    <a:pt x="2048" y="348"/>
                  </a:lnTo>
                  <a:lnTo>
                    <a:pt x="2048" y="350"/>
                  </a:lnTo>
                  <a:lnTo>
                    <a:pt x="2051" y="350"/>
                  </a:lnTo>
                  <a:lnTo>
                    <a:pt x="2053" y="353"/>
                  </a:lnTo>
                  <a:lnTo>
                    <a:pt x="2053" y="355"/>
                  </a:lnTo>
                  <a:lnTo>
                    <a:pt x="2055" y="355"/>
                  </a:lnTo>
                  <a:lnTo>
                    <a:pt x="2055" y="355"/>
                  </a:lnTo>
                  <a:lnTo>
                    <a:pt x="2055" y="355"/>
                  </a:lnTo>
                  <a:lnTo>
                    <a:pt x="2058" y="355"/>
                  </a:lnTo>
                  <a:lnTo>
                    <a:pt x="2060" y="355"/>
                  </a:lnTo>
                  <a:lnTo>
                    <a:pt x="2063" y="355"/>
                  </a:lnTo>
                  <a:lnTo>
                    <a:pt x="2063" y="357"/>
                  </a:lnTo>
                  <a:lnTo>
                    <a:pt x="2065" y="360"/>
                  </a:lnTo>
                  <a:lnTo>
                    <a:pt x="2065" y="360"/>
                  </a:lnTo>
                  <a:lnTo>
                    <a:pt x="2067" y="362"/>
                  </a:lnTo>
                  <a:lnTo>
                    <a:pt x="2067" y="362"/>
                  </a:lnTo>
                  <a:lnTo>
                    <a:pt x="2067" y="360"/>
                  </a:lnTo>
                  <a:lnTo>
                    <a:pt x="2070" y="360"/>
                  </a:lnTo>
                  <a:lnTo>
                    <a:pt x="2074" y="360"/>
                  </a:lnTo>
                  <a:lnTo>
                    <a:pt x="2072" y="357"/>
                  </a:lnTo>
                  <a:lnTo>
                    <a:pt x="2072" y="355"/>
                  </a:lnTo>
                  <a:lnTo>
                    <a:pt x="2077" y="345"/>
                  </a:lnTo>
                  <a:lnTo>
                    <a:pt x="2077" y="343"/>
                  </a:lnTo>
                  <a:lnTo>
                    <a:pt x="2079" y="343"/>
                  </a:lnTo>
                  <a:lnTo>
                    <a:pt x="2081" y="343"/>
                  </a:lnTo>
                  <a:lnTo>
                    <a:pt x="2081" y="343"/>
                  </a:lnTo>
                  <a:lnTo>
                    <a:pt x="2081" y="341"/>
                  </a:lnTo>
                  <a:lnTo>
                    <a:pt x="2081" y="341"/>
                  </a:lnTo>
                  <a:lnTo>
                    <a:pt x="2084" y="341"/>
                  </a:lnTo>
                  <a:lnTo>
                    <a:pt x="2086" y="343"/>
                  </a:lnTo>
                  <a:lnTo>
                    <a:pt x="2088" y="345"/>
                  </a:lnTo>
                  <a:lnTo>
                    <a:pt x="2088" y="343"/>
                  </a:lnTo>
                  <a:lnTo>
                    <a:pt x="2088" y="343"/>
                  </a:lnTo>
                  <a:lnTo>
                    <a:pt x="2088" y="343"/>
                  </a:lnTo>
                  <a:lnTo>
                    <a:pt x="2091" y="343"/>
                  </a:lnTo>
                  <a:lnTo>
                    <a:pt x="2088" y="341"/>
                  </a:lnTo>
                  <a:lnTo>
                    <a:pt x="2088" y="341"/>
                  </a:lnTo>
                  <a:lnTo>
                    <a:pt x="2084" y="341"/>
                  </a:lnTo>
                  <a:lnTo>
                    <a:pt x="2081" y="338"/>
                  </a:lnTo>
                  <a:lnTo>
                    <a:pt x="2079" y="334"/>
                  </a:lnTo>
                  <a:lnTo>
                    <a:pt x="2077" y="334"/>
                  </a:lnTo>
                  <a:lnTo>
                    <a:pt x="2077" y="331"/>
                  </a:lnTo>
                  <a:lnTo>
                    <a:pt x="2074" y="329"/>
                  </a:lnTo>
                  <a:lnTo>
                    <a:pt x="2074" y="329"/>
                  </a:lnTo>
                  <a:lnTo>
                    <a:pt x="2074" y="329"/>
                  </a:lnTo>
                  <a:lnTo>
                    <a:pt x="2072" y="327"/>
                  </a:lnTo>
                  <a:lnTo>
                    <a:pt x="2072" y="327"/>
                  </a:lnTo>
                  <a:lnTo>
                    <a:pt x="2072" y="324"/>
                  </a:lnTo>
                  <a:lnTo>
                    <a:pt x="2081" y="322"/>
                  </a:lnTo>
                  <a:lnTo>
                    <a:pt x="2084" y="322"/>
                  </a:lnTo>
                  <a:lnTo>
                    <a:pt x="2086" y="322"/>
                  </a:lnTo>
                  <a:lnTo>
                    <a:pt x="2093" y="324"/>
                  </a:lnTo>
                  <a:lnTo>
                    <a:pt x="2098" y="327"/>
                  </a:lnTo>
                  <a:lnTo>
                    <a:pt x="2103" y="327"/>
                  </a:lnTo>
                  <a:lnTo>
                    <a:pt x="2105" y="327"/>
                  </a:lnTo>
                  <a:lnTo>
                    <a:pt x="2103" y="327"/>
                  </a:lnTo>
                  <a:lnTo>
                    <a:pt x="2100" y="327"/>
                  </a:lnTo>
                  <a:lnTo>
                    <a:pt x="2103" y="329"/>
                  </a:lnTo>
                  <a:lnTo>
                    <a:pt x="2103" y="329"/>
                  </a:lnTo>
                  <a:lnTo>
                    <a:pt x="2100" y="329"/>
                  </a:lnTo>
                  <a:lnTo>
                    <a:pt x="2098" y="327"/>
                  </a:lnTo>
                  <a:lnTo>
                    <a:pt x="2093" y="327"/>
                  </a:lnTo>
                  <a:lnTo>
                    <a:pt x="2091" y="327"/>
                  </a:lnTo>
                  <a:lnTo>
                    <a:pt x="2091" y="329"/>
                  </a:lnTo>
                  <a:lnTo>
                    <a:pt x="2091" y="331"/>
                  </a:lnTo>
                  <a:lnTo>
                    <a:pt x="2093" y="336"/>
                  </a:lnTo>
                  <a:lnTo>
                    <a:pt x="2098" y="338"/>
                  </a:lnTo>
                  <a:lnTo>
                    <a:pt x="2100" y="341"/>
                  </a:lnTo>
                  <a:lnTo>
                    <a:pt x="2100" y="343"/>
                  </a:lnTo>
                  <a:lnTo>
                    <a:pt x="2100" y="343"/>
                  </a:lnTo>
                  <a:lnTo>
                    <a:pt x="2103" y="345"/>
                  </a:lnTo>
                  <a:lnTo>
                    <a:pt x="2105" y="348"/>
                  </a:lnTo>
                  <a:lnTo>
                    <a:pt x="2107" y="348"/>
                  </a:lnTo>
                  <a:lnTo>
                    <a:pt x="2107" y="348"/>
                  </a:lnTo>
                  <a:lnTo>
                    <a:pt x="2110" y="350"/>
                  </a:lnTo>
                  <a:lnTo>
                    <a:pt x="2107" y="353"/>
                  </a:lnTo>
                  <a:lnTo>
                    <a:pt x="2107" y="353"/>
                  </a:lnTo>
                  <a:lnTo>
                    <a:pt x="2107" y="355"/>
                  </a:lnTo>
                  <a:lnTo>
                    <a:pt x="2112" y="357"/>
                  </a:lnTo>
                  <a:lnTo>
                    <a:pt x="2112" y="357"/>
                  </a:lnTo>
                  <a:lnTo>
                    <a:pt x="2112" y="357"/>
                  </a:lnTo>
                  <a:lnTo>
                    <a:pt x="2110" y="360"/>
                  </a:lnTo>
                  <a:lnTo>
                    <a:pt x="2105" y="360"/>
                  </a:lnTo>
                  <a:lnTo>
                    <a:pt x="2105" y="362"/>
                  </a:lnTo>
                  <a:lnTo>
                    <a:pt x="2100" y="364"/>
                  </a:lnTo>
                  <a:lnTo>
                    <a:pt x="2098" y="364"/>
                  </a:lnTo>
                  <a:lnTo>
                    <a:pt x="2098" y="367"/>
                  </a:lnTo>
                  <a:lnTo>
                    <a:pt x="2100" y="369"/>
                  </a:lnTo>
                  <a:lnTo>
                    <a:pt x="2100" y="372"/>
                  </a:lnTo>
                  <a:lnTo>
                    <a:pt x="2098" y="374"/>
                  </a:lnTo>
                  <a:lnTo>
                    <a:pt x="2098" y="376"/>
                  </a:lnTo>
                  <a:lnTo>
                    <a:pt x="2098" y="381"/>
                  </a:lnTo>
                  <a:lnTo>
                    <a:pt x="2096" y="381"/>
                  </a:lnTo>
                  <a:lnTo>
                    <a:pt x="2096" y="383"/>
                  </a:lnTo>
                  <a:lnTo>
                    <a:pt x="2096" y="386"/>
                  </a:lnTo>
                  <a:lnTo>
                    <a:pt x="2093" y="390"/>
                  </a:lnTo>
                  <a:lnTo>
                    <a:pt x="2096" y="398"/>
                  </a:lnTo>
                  <a:lnTo>
                    <a:pt x="2096" y="400"/>
                  </a:lnTo>
                  <a:lnTo>
                    <a:pt x="2096" y="402"/>
                  </a:lnTo>
                  <a:lnTo>
                    <a:pt x="2096" y="402"/>
                  </a:lnTo>
                  <a:lnTo>
                    <a:pt x="2096" y="405"/>
                  </a:lnTo>
                  <a:lnTo>
                    <a:pt x="2093" y="407"/>
                  </a:lnTo>
                  <a:lnTo>
                    <a:pt x="2093" y="409"/>
                  </a:lnTo>
                  <a:lnTo>
                    <a:pt x="2091" y="412"/>
                  </a:lnTo>
                  <a:lnTo>
                    <a:pt x="2093" y="412"/>
                  </a:lnTo>
                  <a:lnTo>
                    <a:pt x="2091" y="412"/>
                  </a:lnTo>
                  <a:lnTo>
                    <a:pt x="2088" y="414"/>
                  </a:lnTo>
                  <a:lnTo>
                    <a:pt x="2084" y="412"/>
                  </a:lnTo>
                  <a:lnTo>
                    <a:pt x="2084" y="416"/>
                  </a:lnTo>
                  <a:lnTo>
                    <a:pt x="2081" y="416"/>
                  </a:lnTo>
                  <a:lnTo>
                    <a:pt x="2077" y="416"/>
                  </a:lnTo>
                  <a:lnTo>
                    <a:pt x="2077" y="416"/>
                  </a:lnTo>
                  <a:lnTo>
                    <a:pt x="2074" y="416"/>
                  </a:lnTo>
                  <a:lnTo>
                    <a:pt x="2074" y="419"/>
                  </a:lnTo>
                  <a:lnTo>
                    <a:pt x="2079" y="419"/>
                  </a:lnTo>
                  <a:lnTo>
                    <a:pt x="2081" y="421"/>
                  </a:lnTo>
                  <a:lnTo>
                    <a:pt x="2081" y="421"/>
                  </a:lnTo>
                  <a:lnTo>
                    <a:pt x="2084" y="424"/>
                  </a:lnTo>
                  <a:lnTo>
                    <a:pt x="2086" y="426"/>
                  </a:lnTo>
                  <a:lnTo>
                    <a:pt x="2086" y="431"/>
                  </a:lnTo>
                  <a:lnTo>
                    <a:pt x="2086" y="433"/>
                  </a:lnTo>
                  <a:lnTo>
                    <a:pt x="2084" y="438"/>
                  </a:lnTo>
                  <a:lnTo>
                    <a:pt x="2084" y="438"/>
                  </a:lnTo>
                  <a:lnTo>
                    <a:pt x="2084" y="438"/>
                  </a:lnTo>
                  <a:lnTo>
                    <a:pt x="2091" y="452"/>
                  </a:lnTo>
                  <a:lnTo>
                    <a:pt x="2096" y="457"/>
                  </a:lnTo>
                  <a:lnTo>
                    <a:pt x="2103" y="466"/>
                  </a:lnTo>
                  <a:lnTo>
                    <a:pt x="2105" y="468"/>
                  </a:lnTo>
                  <a:lnTo>
                    <a:pt x="2112" y="476"/>
                  </a:lnTo>
                  <a:lnTo>
                    <a:pt x="2121" y="483"/>
                  </a:lnTo>
                  <a:lnTo>
                    <a:pt x="2136" y="494"/>
                  </a:lnTo>
                  <a:lnTo>
                    <a:pt x="2138" y="497"/>
                  </a:lnTo>
                  <a:lnTo>
                    <a:pt x="2154" y="513"/>
                  </a:lnTo>
                  <a:lnTo>
                    <a:pt x="2157" y="516"/>
                  </a:lnTo>
                  <a:lnTo>
                    <a:pt x="2159" y="518"/>
                  </a:lnTo>
                  <a:lnTo>
                    <a:pt x="2164" y="520"/>
                  </a:lnTo>
                  <a:lnTo>
                    <a:pt x="2169" y="523"/>
                  </a:lnTo>
                  <a:lnTo>
                    <a:pt x="2171" y="525"/>
                  </a:lnTo>
                  <a:lnTo>
                    <a:pt x="2180" y="535"/>
                  </a:lnTo>
                  <a:lnTo>
                    <a:pt x="2187" y="544"/>
                  </a:lnTo>
                  <a:lnTo>
                    <a:pt x="2190" y="544"/>
                  </a:lnTo>
                  <a:lnTo>
                    <a:pt x="2192" y="546"/>
                  </a:lnTo>
                  <a:lnTo>
                    <a:pt x="2194" y="549"/>
                  </a:lnTo>
                  <a:lnTo>
                    <a:pt x="2197" y="551"/>
                  </a:lnTo>
                  <a:lnTo>
                    <a:pt x="2199" y="551"/>
                  </a:lnTo>
                  <a:lnTo>
                    <a:pt x="2202" y="554"/>
                  </a:lnTo>
                  <a:lnTo>
                    <a:pt x="2202" y="554"/>
                  </a:lnTo>
                  <a:lnTo>
                    <a:pt x="2204" y="549"/>
                  </a:lnTo>
                  <a:lnTo>
                    <a:pt x="2206" y="544"/>
                  </a:lnTo>
                  <a:lnTo>
                    <a:pt x="2204" y="544"/>
                  </a:lnTo>
                  <a:lnTo>
                    <a:pt x="2206" y="542"/>
                  </a:lnTo>
                  <a:lnTo>
                    <a:pt x="2206" y="539"/>
                  </a:lnTo>
                  <a:lnTo>
                    <a:pt x="2209" y="537"/>
                  </a:lnTo>
                  <a:lnTo>
                    <a:pt x="2206" y="530"/>
                  </a:lnTo>
                  <a:lnTo>
                    <a:pt x="2204" y="528"/>
                  </a:lnTo>
                  <a:lnTo>
                    <a:pt x="2204" y="525"/>
                  </a:lnTo>
                  <a:lnTo>
                    <a:pt x="2202" y="523"/>
                  </a:lnTo>
                  <a:lnTo>
                    <a:pt x="2199" y="520"/>
                  </a:lnTo>
                  <a:lnTo>
                    <a:pt x="2199" y="518"/>
                  </a:lnTo>
                  <a:lnTo>
                    <a:pt x="2197" y="516"/>
                  </a:lnTo>
                  <a:lnTo>
                    <a:pt x="2194" y="513"/>
                  </a:lnTo>
                  <a:lnTo>
                    <a:pt x="2192" y="513"/>
                  </a:lnTo>
                  <a:lnTo>
                    <a:pt x="2192" y="511"/>
                  </a:lnTo>
                  <a:lnTo>
                    <a:pt x="2192" y="511"/>
                  </a:lnTo>
                  <a:lnTo>
                    <a:pt x="2194" y="511"/>
                  </a:lnTo>
                  <a:lnTo>
                    <a:pt x="2197" y="513"/>
                  </a:lnTo>
                  <a:lnTo>
                    <a:pt x="2199" y="513"/>
                  </a:lnTo>
                  <a:lnTo>
                    <a:pt x="2199" y="511"/>
                  </a:lnTo>
                  <a:lnTo>
                    <a:pt x="2202" y="511"/>
                  </a:lnTo>
                  <a:lnTo>
                    <a:pt x="2206" y="509"/>
                  </a:lnTo>
                  <a:lnTo>
                    <a:pt x="2209" y="509"/>
                  </a:lnTo>
                  <a:lnTo>
                    <a:pt x="2213" y="511"/>
                  </a:lnTo>
                  <a:lnTo>
                    <a:pt x="2213" y="509"/>
                  </a:lnTo>
                  <a:lnTo>
                    <a:pt x="2211" y="506"/>
                  </a:lnTo>
                  <a:lnTo>
                    <a:pt x="2209" y="504"/>
                  </a:lnTo>
                  <a:lnTo>
                    <a:pt x="2206" y="504"/>
                  </a:lnTo>
                  <a:lnTo>
                    <a:pt x="2206" y="502"/>
                  </a:lnTo>
                  <a:lnTo>
                    <a:pt x="2204" y="499"/>
                  </a:lnTo>
                  <a:lnTo>
                    <a:pt x="2202" y="499"/>
                  </a:lnTo>
                  <a:lnTo>
                    <a:pt x="2199" y="497"/>
                  </a:lnTo>
                  <a:lnTo>
                    <a:pt x="2197" y="492"/>
                  </a:lnTo>
                  <a:lnTo>
                    <a:pt x="2194" y="490"/>
                  </a:lnTo>
                  <a:lnTo>
                    <a:pt x="2194" y="487"/>
                  </a:lnTo>
                  <a:lnTo>
                    <a:pt x="2197" y="487"/>
                  </a:lnTo>
                  <a:lnTo>
                    <a:pt x="2197" y="483"/>
                  </a:lnTo>
                  <a:lnTo>
                    <a:pt x="2199" y="483"/>
                  </a:lnTo>
                  <a:lnTo>
                    <a:pt x="2202" y="480"/>
                  </a:lnTo>
                  <a:lnTo>
                    <a:pt x="2204" y="480"/>
                  </a:lnTo>
                  <a:lnTo>
                    <a:pt x="2209" y="483"/>
                  </a:lnTo>
                  <a:lnTo>
                    <a:pt x="2213" y="483"/>
                  </a:lnTo>
                  <a:lnTo>
                    <a:pt x="2213" y="483"/>
                  </a:lnTo>
                  <a:lnTo>
                    <a:pt x="2216" y="478"/>
                  </a:lnTo>
                  <a:lnTo>
                    <a:pt x="2216" y="478"/>
                  </a:lnTo>
                  <a:lnTo>
                    <a:pt x="2213" y="476"/>
                  </a:lnTo>
                  <a:lnTo>
                    <a:pt x="2209" y="473"/>
                  </a:lnTo>
                  <a:lnTo>
                    <a:pt x="2204" y="468"/>
                  </a:lnTo>
                  <a:lnTo>
                    <a:pt x="2202" y="468"/>
                  </a:lnTo>
                  <a:lnTo>
                    <a:pt x="2199" y="466"/>
                  </a:lnTo>
                  <a:lnTo>
                    <a:pt x="2194" y="461"/>
                  </a:lnTo>
                  <a:lnTo>
                    <a:pt x="2192" y="459"/>
                  </a:lnTo>
                  <a:lnTo>
                    <a:pt x="2192" y="457"/>
                  </a:lnTo>
                  <a:lnTo>
                    <a:pt x="2190" y="450"/>
                  </a:lnTo>
                  <a:lnTo>
                    <a:pt x="2190" y="450"/>
                  </a:lnTo>
                  <a:lnTo>
                    <a:pt x="2192" y="450"/>
                  </a:lnTo>
                  <a:lnTo>
                    <a:pt x="2192" y="447"/>
                  </a:lnTo>
                  <a:lnTo>
                    <a:pt x="2192" y="447"/>
                  </a:lnTo>
                  <a:lnTo>
                    <a:pt x="2190" y="445"/>
                  </a:lnTo>
                  <a:lnTo>
                    <a:pt x="2190" y="442"/>
                  </a:lnTo>
                  <a:lnTo>
                    <a:pt x="2190" y="442"/>
                  </a:lnTo>
                  <a:lnTo>
                    <a:pt x="2194" y="442"/>
                  </a:lnTo>
                  <a:lnTo>
                    <a:pt x="2194" y="442"/>
                  </a:lnTo>
                  <a:lnTo>
                    <a:pt x="2194" y="442"/>
                  </a:lnTo>
                  <a:lnTo>
                    <a:pt x="2197" y="442"/>
                  </a:lnTo>
                  <a:lnTo>
                    <a:pt x="2194" y="445"/>
                  </a:lnTo>
                  <a:lnTo>
                    <a:pt x="2194" y="445"/>
                  </a:lnTo>
                  <a:lnTo>
                    <a:pt x="2194" y="447"/>
                  </a:lnTo>
                  <a:lnTo>
                    <a:pt x="2202" y="452"/>
                  </a:lnTo>
                  <a:lnTo>
                    <a:pt x="2204" y="452"/>
                  </a:lnTo>
                  <a:lnTo>
                    <a:pt x="2204" y="452"/>
                  </a:lnTo>
                  <a:lnTo>
                    <a:pt x="2206" y="450"/>
                  </a:lnTo>
                  <a:lnTo>
                    <a:pt x="2206" y="450"/>
                  </a:lnTo>
                  <a:lnTo>
                    <a:pt x="2206" y="447"/>
                  </a:lnTo>
                  <a:lnTo>
                    <a:pt x="2202" y="442"/>
                  </a:lnTo>
                  <a:lnTo>
                    <a:pt x="2197" y="442"/>
                  </a:lnTo>
                  <a:lnTo>
                    <a:pt x="2194" y="438"/>
                  </a:lnTo>
                  <a:lnTo>
                    <a:pt x="2192" y="438"/>
                  </a:lnTo>
                  <a:lnTo>
                    <a:pt x="2190" y="438"/>
                  </a:lnTo>
                  <a:lnTo>
                    <a:pt x="2190" y="438"/>
                  </a:lnTo>
                  <a:lnTo>
                    <a:pt x="2187" y="438"/>
                  </a:lnTo>
                  <a:lnTo>
                    <a:pt x="2185" y="435"/>
                  </a:lnTo>
                  <a:lnTo>
                    <a:pt x="2185" y="435"/>
                  </a:lnTo>
                  <a:lnTo>
                    <a:pt x="2183" y="433"/>
                  </a:lnTo>
                  <a:lnTo>
                    <a:pt x="2180" y="431"/>
                  </a:lnTo>
                  <a:lnTo>
                    <a:pt x="2176" y="428"/>
                  </a:lnTo>
                  <a:lnTo>
                    <a:pt x="2176" y="428"/>
                  </a:lnTo>
                  <a:lnTo>
                    <a:pt x="2173" y="426"/>
                  </a:lnTo>
                  <a:lnTo>
                    <a:pt x="2176" y="424"/>
                  </a:lnTo>
                  <a:lnTo>
                    <a:pt x="2176" y="421"/>
                  </a:lnTo>
                  <a:lnTo>
                    <a:pt x="2176" y="421"/>
                  </a:lnTo>
                  <a:lnTo>
                    <a:pt x="2173" y="419"/>
                  </a:lnTo>
                  <a:lnTo>
                    <a:pt x="2171" y="416"/>
                  </a:lnTo>
                  <a:lnTo>
                    <a:pt x="2171" y="416"/>
                  </a:lnTo>
                  <a:lnTo>
                    <a:pt x="2162" y="414"/>
                  </a:lnTo>
                  <a:lnTo>
                    <a:pt x="2159" y="414"/>
                  </a:lnTo>
                  <a:lnTo>
                    <a:pt x="2159" y="414"/>
                  </a:lnTo>
                  <a:lnTo>
                    <a:pt x="2162" y="419"/>
                  </a:lnTo>
                  <a:lnTo>
                    <a:pt x="2162" y="419"/>
                  </a:lnTo>
                  <a:lnTo>
                    <a:pt x="2162" y="419"/>
                  </a:lnTo>
                  <a:lnTo>
                    <a:pt x="2159" y="416"/>
                  </a:lnTo>
                  <a:lnTo>
                    <a:pt x="2157" y="416"/>
                  </a:lnTo>
                  <a:lnTo>
                    <a:pt x="2154" y="416"/>
                  </a:lnTo>
                  <a:lnTo>
                    <a:pt x="2152" y="414"/>
                  </a:lnTo>
                  <a:lnTo>
                    <a:pt x="2150" y="414"/>
                  </a:lnTo>
                  <a:lnTo>
                    <a:pt x="2147" y="412"/>
                  </a:lnTo>
                  <a:lnTo>
                    <a:pt x="2145" y="407"/>
                  </a:lnTo>
                  <a:lnTo>
                    <a:pt x="2143" y="405"/>
                  </a:lnTo>
                  <a:lnTo>
                    <a:pt x="2140" y="400"/>
                  </a:lnTo>
                  <a:lnTo>
                    <a:pt x="2143" y="398"/>
                  </a:lnTo>
                  <a:lnTo>
                    <a:pt x="2143" y="395"/>
                  </a:lnTo>
                  <a:lnTo>
                    <a:pt x="2143" y="395"/>
                  </a:lnTo>
                  <a:lnTo>
                    <a:pt x="2143" y="393"/>
                  </a:lnTo>
                  <a:lnTo>
                    <a:pt x="2143" y="393"/>
                  </a:lnTo>
                  <a:lnTo>
                    <a:pt x="2140" y="390"/>
                  </a:lnTo>
                  <a:lnTo>
                    <a:pt x="2140" y="390"/>
                  </a:lnTo>
                  <a:lnTo>
                    <a:pt x="2140" y="390"/>
                  </a:lnTo>
                  <a:lnTo>
                    <a:pt x="2143" y="390"/>
                  </a:lnTo>
                  <a:lnTo>
                    <a:pt x="2140" y="388"/>
                  </a:lnTo>
                  <a:lnTo>
                    <a:pt x="2136" y="383"/>
                  </a:lnTo>
                  <a:lnTo>
                    <a:pt x="2133" y="381"/>
                  </a:lnTo>
                  <a:lnTo>
                    <a:pt x="2133" y="379"/>
                  </a:lnTo>
                  <a:lnTo>
                    <a:pt x="2131" y="376"/>
                  </a:lnTo>
                  <a:lnTo>
                    <a:pt x="2131" y="376"/>
                  </a:lnTo>
                  <a:lnTo>
                    <a:pt x="2133" y="376"/>
                  </a:lnTo>
                  <a:lnTo>
                    <a:pt x="2133" y="374"/>
                  </a:lnTo>
                  <a:lnTo>
                    <a:pt x="2133" y="374"/>
                  </a:lnTo>
                  <a:lnTo>
                    <a:pt x="2133" y="374"/>
                  </a:lnTo>
                  <a:lnTo>
                    <a:pt x="2136" y="374"/>
                  </a:lnTo>
                  <a:lnTo>
                    <a:pt x="2138" y="374"/>
                  </a:lnTo>
                  <a:lnTo>
                    <a:pt x="2140" y="374"/>
                  </a:lnTo>
                  <a:lnTo>
                    <a:pt x="2140" y="376"/>
                  </a:lnTo>
                  <a:lnTo>
                    <a:pt x="2140" y="374"/>
                  </a:lnTo>
                  <a:lnTo>
                    <a:pt x="2140" y="374"/>
                  </a:lnTo>
                  <a:lnTo>
                    <a:pt x="2143" y="374"/>
                  </a:lnTo>
                  <a:lnTo>
                    <a:pt x="2143" y="374"/>
                  </a:lnTo>
                  <a:lnTo>
                    <a:pt x="2147" y="374"/>
                  </a:lnTo>
                  <a:lnTo>
                    <a:pt x="2152" y="376"/>
                  </a:lnTo>
                  <a:lnTo>
                    <a:pt x="2152" y="376"/>
                  </a:lnTo>
                  <a:lnTo>
                    <a:pt x="2154" y="376"/>
                  </a:lnTo>
                  <a:lnTo>
                    <a:pt x="2154" y="376"/>
                  </a:lnTo>
                  <a:lnTo>
                    <a:pt x="2154" y="376"/>
                  </a:lnTo>
                  <a:lnTo>
                    <a:pt x="2152" y="372"/>
                  </a:lnTo>
                  <a:lnTo>
                    <a:pt x="2152" y="372"/>
                  </a:lnTo>
                  <a:lnTo>
                    <a:pt x="2152" y="372"/>
                  </a:lnTo>
                  <a:lnTo>
                    <a:pt x="2154" y="369"/>
                  </a:lnTo>
                  <a:lnTo>
                    <a:pt x="2154" y="369"/>
                  </a:lnTo>
                  <a:lnTo>
                    <a:pt x="2159" y="367"/>
                  </a:lnTo>
                  <a:lnTo>
                    <a:pt x="2159" y="364"/>
                  </a:lnTo>
                  <a:lnTo>
                    <a:pt x="2162" y="364"/>
                  </a:lnTo>
                  <a:lnTo>
                    <a:pt x="2162" y="367"/>
                  </a:lnTo>
                  <a:lnTo>
                    <a:pt x="2164" y="367"/>
                  </a:lnTo>
                  <a:lnTo>
                    <a:pt x="2166" y="372"/>
                  </a:lnTo>
                  <a:lnTo>
                    <a:pt x="2166" y="372"/>
                  </a:lnTo>
                  <a:lnTo>
                    <a:pt x="2169" y="374"/>
                  </a:lnTo>
                  <a:lnTo>
                    <a:pt x="2171" y="376"/>
                  </a:lnTo>
                  <a:lnTo>
                    <a:pt x="2173" y="376"/>
                  </a:lnTo>
                  <a:lnTo>
                    <a:pt x="2173" y="376"/>
                  </a:lnTo>
                  <a:lnTo>
                    <a:pt x="2176" y="376"/>
                  </a:lnTo>
                  <a:lnTo>
                    <a:pt x="2176" y="376"/>
                  </a:lnTo>
                  <a:lnTo>
                    <a:pt x="2173" y="369"/>
                  </a:lnTo>
                  <a:lnTo>
                    <a:pt x="2176" y="367"/>
                  </a:lnTo>
                  <a:lnTo>
                    <a:pt x="2180" y="364"/>
                  </a:lnTo>
                  <a:lnTo>
                    <a:pt x="2180" y="364"/>
                  </a:lnTo>
                  <a:lnTo>
                    <a:pt x="2185" y="362"/>
                  </a:lnTo>
                  <a:lnTo>
                    <a:pt x="2190" y="362"/>
                  </a:lnTo>
                  <a:lnTo>
                    <a:pt x="2194" y="364"/>
                  </a:lnTo>
                  <a:lnTo>
                    <a:pt x="2194" y="362"/>
                  </a:lnTo>
                  <a:lnTo>
                    <a:pt x="2202" y="362"/>
                  </a:lnTo>
                  <a:lnTo>
                    <a:pt x="2204" y="364"/>
                  </a:lnTo>
                  <a:lnTo>
                    <a:pt x="2211" y="367"/>
                  </a:lnTo>
                  <a:lnTo>
                    <a:pt x="2218" y="369"/>
                  </a:lnTo>
                  <a:lnTo>
                    <a:pt x="2218" y="369"/>
                  </a:lnTo>
                  <a:lnTo>
                    <a:pt x="2220" y="369"/>
                  </a:lnTo>
                  <a:lnTo>
                    <a:pt x="2220" y="372"/>
                  </a:lnTo>
                  <a:lnTo>
                    <a:pt x="2223" y="372"/>
                  </a:lnTo>
                  <a:lnTo>
                    <a:pt x="2225" y="374"/>
                  </a:lnTo>
                  <a:lnTo>
                    <a:pt x="2230" y="374"/>
                  </a:lnTo>
                  <a:lnTo>
                    <a:pt x="2232" y="374"/>
                  </a:lnTo>
                  <a:lnTo>
                    <a:pt x="2232" y="374"/>
                  </a:lnTo>
                  <a:lnTo>
                    <a:pt x="2232" y="374"/>
                  </a:lnTo>
                  <a:lnTo>
                    <a:pt x="2227" y="369"/>
                  </a:lnTo>
                  <a:lnTo>
                    <a:pt x="2227" y="367"/>
                  </a:lnTo>
                  <a:lnTo>
                    <a:pt x="2225" y="367"/>
                  </a:lnTo>
                  <a:lnTo>
                    <a:pt x="2225" y="367"/>
                  </a:lnTo>
                  <a:lnTo>
                    <a:pt x="2227" y="364"/>
                  </a:lnTo>
                  <a:lnTo>
                    <a:pt x="2227" y="364"/>
                  </a:lnTo>
                  <a:lnTo>
                    <a:pt x="2232" y="360"/>
                  </a:lnTo>
                  <a:lnTo>
                    <a:pt x="2232" y="357"/>
                  </a:lnTo>
                  <a:lnTo>
                    <a:pt x="2235" y="357"/>
                  </a:lnTo>
                  <a:lnTo>
                    <a:pt x="2235" y="357"/>
                  </a:lnTo>
                  <a:lnTo>
                    <a:pt x="2235" y="357"/>
                  </a:lnTo>
                  <a:lnTo>
                    <a:pt x="2237" y="357"/>
                  </a:lnTo>
                  <a:lnTo>
                    <a:pt x="2237" y="355"/>
                  </a:lnTo>
                  <a:lnTo>
                    <a:pt x="2237" y="353"/>
                  </a:lnTo>
                  <a:lnTo>
                    <a:pt x="2237" y="353"/>
                  </a:lnTo>
                  <a:lnTo>
                    <a:pt x="2235" y="353"/>
                  </a:lnTo>
                  <a:lnTo>
                    <a:pt x="2237" y="350"/>
                  </a:lnTo>
                  <a:lnTo>
                    <a:pt x="2237" y="350"/>
                  </a:lnTo>
                  <a:lnTo>
                    <a:pt x="2237" y="350"/>
                  </a:lnTo>
                  <a:lnTo>
                    <a:pt x="2237" y="350"/>
                  </a:lnTo>
                  <a:lnTo>
                    <a:pt x="2237" y="348"/>
                  </a:lnTo>
                  <a:lnTo>
                    <a:pt x="2237" y="348"/>
                  </a:lnTo>
                  <a:lnTo>
                    <a:pt x="2239" y="350"/>
                  </a:lnTo>
                  <a:lnTo>
                    <a:pt x="2239" y="348"/>
                  </a:lnTo>
                  <a:lnTo>
                    <a:pt x="2237" y="348"/>
                  </a:lnTo>
                  <a:lnTo>
                    <a:pt x="2235" y="345"/>
                  </a:lnTo>
                  <a:lnTo>
                    <a:pt x="2235" y="345"/>
                  </a:lnTo>
                  <a:lnTo>
                    <a:pt x="2239" y="348"/>
                  </a:lnTo>
                  <a:lnTo>
                    <a:pt x="2239" y="348"/>
                  </a:lnTo>
                  <a:lnTo>
                    <a:pt x="2242" y="343"/>
                  </a:lnTo>
                  <a:lnTo>
                    <a:pt x="2239" y="341"/>
                  </a:lnTo>
                  <a:lnTo>
                    <a:pt x="2244" y="341"/>
                  </a:lnTo>
                  <a:lnTo>
                    <a:pt x="2246" y="341"/>
                  </a:lnTo>
                  <a:lnTo>
                    <a:pt x="2249" y="338"/>
                  </a:lnTo>
                  <a:lnTo>
                    <a:pt x="2251" y="338"/>
                  </a:lnTo>
                  <a:lnTo>
                    <a:pt x="2251" y="338"/>
                  </a:lnTo>
                  <a:lnTo>
                    <a:pt x="2251" y="336"/>
                  </a:lnTo>
                  <a:lnTo>
                    <a:pt x="2253" y="336"/>
                  </a:lnTo>
                  <a:lnTo>
                    <a:pt x="2256" y="336"/>
                  </a:lnTo>
                  <a:lnTo>
                    <a:pt x="2256" y="334"/>
                  </a:lnTo>
                  <a:lnTo>
                    <a:pt x="2256" y="334"/>
                  </a:lnTo>
                  <a:lnTo>
                    <a:pt x="2258" y="334"/>
                  </a:lnTo>
                  <a:lnTo>
                    <a:pt x="2258" y="331"/>
                  </a:lnTo>
                  <a:lnTo>
                    <a:pt x="2265" y="329"/>
                  </a:lnTo>
                  <a:lnTo>
                    <a:pt x="2265" y="329"/>
                  </a:lnTo>
                  <a:lnTo>
                    <a:pt x="2268" y="327"/>
                  </a:lnTo>
                  <a:lnTo>
                    <a:pt x="2268" y="327"/>
                  </a:lnTo>
                  <a:lnTo>
                    <a:pt x="2272" y="324"/>
                  </a:lnTo>
                  <a:lnTo>
                    <a:pt x="2272" y="324"/>
                  </a:lnTo>
                  <a:lnTo>
                    <a:pt x="2268" y="324"/>
                  </a:lnTo>
                  <a:lnTo>
                    <a:pt x="2268" y="324"/>
                  </a:lnTo>
                  <a:lnTo>
                    <a:pt x="2265" y="322"/>
                  </a:lnTo>
                  <a:lnTo>
                    <a:pt x="2265" y="322"/>
                  </a:lnTo>
                  <a:lnTo>
                    <a:pt x="2265" y="322"/>
                  </a:lnTo>
                  <a:lnTo>
                    <a:pt x="2265" y="322"/>
                  </a:lnTo>
                  <a:lnTo>
                    <a:pt x="2268" y="322"/>
                  </a:lnTo>
                  <a:lnTo>
                    <a:pt x="2268" y="322"/>
                  </a:lnTo>
                  <a:lnTo>
                    <a:pt x="2268" y="322"/>
                  </a:lnTo>
                  <a:lnTo>
                    <a:pt x="2270" y="322"/>
                  </a:lnTo>
                  <a:lnTo>
                    <a:pt x="2270" y="322"/>
                  </a:lnTo>
                  <a:lnTo>
                    <a:pt x="2270" y="322"/>
                  </a:lnTo>
                  <a:lnTo>
                    <a:pt x="2272" y="324"/>
                  </a:lnTo>
                  <a:lnTo>
                    <a:pt x="2272" y="324"/>
                  </a:lnTo>
                  <a:lnTo>
                    <a:pt x="2275" y="324"/>
                  </a:lnTo>
                  <a:lnTo>
                    <a:pt x="2279" y="324"/>
                  </a:lnTo>
                  <a:lnTo>
                    <a:pt x="2284" y="324"/>
                  </a:lnTo>
                  <a:lnTo>
                    <a:pt x="2303" y="329"/>
                  </a:lnTo>
                  <a:lnTo>
                    <a:pt x="2305" y="329"/>
                  </a:lnTo>
                  <a:lnTo>
                    <a:pt x="2305" y="329"/>
                  </a:lnTo>
                  <a:lnTo>
                    <a:pt x="2305" y="329"/>
                  </a:lnTo>
                  <a:lnTo>
                    <a:pt x="2303" y="327"/>
                  </a:lnTo>
                  <a:lnTo>
                    <a:pt x="2303" y="327"/>
                  </a:lnTo>
                  <a:lnTo>
                    <a:pt x="2303" y="324"/>
                  </a:lnTo>
                  <a:lnTo>
                    <a:pt x="2303" y="322"/>
                  </a:lnTo>
                  <a:lnTo>
                    <a:pt x="2301" y="322"/>
                  </a:lnTo>
                  <a:lnTo>
                    <a:pt x="2298" y="319"/>
                  </a:lnTo>
                  <a:lnTo>
                    <a:pt x="2296" y="319"/>
                  </a:lnTo>
                  <a:lnTo>
                    <a:pt x="2293" y="317"/>
                  </a:lnTo>
                  <a:lnTo>
                    <a:pt x="2291" y="317"/>
                  </a:lnTo>
                  <a:lnTo>
                    <a:pt x="2291" y="315"/>
                  </a:lnTo>
                  <a:lnTo>
                    <a:pt x="2291" y="315"/>
                  </a:lnTo>
                  <a:lnTo>
                    <a:pt x="2289" y="315"/>
                  </a:lnTo>
                  <a:lnTo>
                    <a:pt x="2289" y="312"/>
                  </a:lnTo>
                  <a:lnTo>
                    <a:pt x="2282" y="312"/>
                  </a:lnTo>
                  <a:lnTo>
                    <a:pt x="2277" y="310"/>
                  </a:lnTo>
                  <a:lnTo>
                    <a:pt x="2277" y="310"/>
                  </a:lnTo>
                  <a:lnTo>
                    <a:pt x="2272" y="308"/>
                  </a:lnTo>
                  <a:lnTo>
                    <a:pt x="2272" y="308"/>
                  </a:lnTo>
                  <a:lnTo>
                    <a:pt x="2275" y="308"/>
                  </a:lnTo>
                  <a:lnTo>
                    <a:pt x="2275" y="310"/>
                  </a:lnTo>
                  <a:lnTo>
                    <a:pt x="2272" y="310"/>
                  </a:lnTo>
                  <a:lnTo>
                    <a:pt x="2272" y="308"/>
                  </a:lnTo>
                  <a:lnTo>
                    <a:pt x="2270" y="308"/>
                  </a:lnTo>
                  <a:lnTo>
                    <a:pt x="2270" y="305"/>
                  </a:lnTo>
                  <a:lnTo>
                    <a:pt x="2265" y="305"/>
                  </a:lnTo>
                  <a:lnTo>
                    <a:pt x="2265" y="305"/>
                  </a:lnTo>
                  <a:lnTo>
                    <a:pt x="2265" y="305"/>
                  </a:lnTo>
                  <a:lnTo>
                    <a:pt x="2268" y="305"/>
                  </a:lnTo>
                  <a:lnTo>
                    <a:pt x="2268" y="305"/>
                  </a:lnTo>
                  <a:lnTo>
                    <a:pt x="2263" y="301"/>
                  </a:lnTo>
                  <a:lnTo>
                    <a:pt x="2258" y="298"/>
                  </a:lnTo>
                  <a:lnTo>
                    <a:pt x="2258" y="298"/>
                  </a:lnTo>
                  <a:lnTo>
                    <a:pt x="2256" y="298"/>
                  </a:lnTo>
                  <a:lnTo>
                    <a:pt x="2253" y="296"/>
                  </a:lnTo>
                  <a:lnTo>
                    <a:pt x="2253" y="296"/>
                  </a:lnTo>
                  <a:lnTo>
                    <a:pt x="2249" y="293"/>
                  </a:lnTo>
                  <a:lnTo>
                    <a:pt x="2246" y="291"/>
                  </a:lnTo>
                  <a:lnTo>
                    <a:pt x="2244" y="291"/>
                  </a:lnTo>
                  <a:lnTo>
                    <a:pt x="2244" y="291"/>
                  </a:lnTo>
                  <a:lnTo>
                    <a:pt x="2244" y="293"/>
                  </a:lnTo>
                  <a:lnTo>
                    <a:pt x="2244" y="293"/>
                  </a:lnTo>
                  <a:lnTo>
                    <a:pt x="2242" y="293"/>
                  </a:lnTo>
                  <a:lnTo>
                    <a:pt x="2237" y="291"/>
                  </a:lnTo>
                  <a:lnTo>
                    <a:pt x="2230" y="289"/>
                  </a:lnTo>
                  <a:lnTo>
                    <a:pt x="2227" y="286"/>
                  </a:lnTo>
                  <a:lnTo>
                    <a:pt x="2223" y="284"/>
                  </a:lnTo>
                  <a:lnTo>
                    <a:pt x="2223" y="284"/>
                  </a:lnTo>
                  <a:lnTo>
                    <a:pt x="2220" y="284"/>
                  </a:lnTo>
                  <a:lnTo>
                    <a:pt x="2218" y="284"/>
                  </a:lnTo>
                  <a:lnTo>
                    <a:pt x="2216" y="286"/>
                  </a:lnTo>
                  <a:lnTo>
                    <a:pt x="2216" y="286"/>
                  </a:lnTo>
                  <a:lnTo>
                    <a:pt x="2211" y="284"/>
                  </a:lnTo>
                  <a:lnTo>
                    <a:pt x="2209" y="286"/>
                  </a:lnTo>
                  <a:lnTo>
                    <a:pt x="2209" y="286"/>
                  </a:lnTo>
                  <a:lnTo>
                    <a:pt x="2209" y="286"/>
                  </a:lnTo>
                  <a:lnTo>
                    <a:pt x="2209" y="284"/>
                  </a:lnTo>
                  <a:lnTo>
                    <a:pt x="2206" y="284"/>
                  </a:lnTo>
                  <a:lnTo>
                    <a:pt x="2204" y="282"/>
                  </a:lnTo>
                  <a:lnTo>
                    <a:pt x="2202" y="282"/>
                  </a:lnTo>
                  <a:lnTo>
                    <a:pt x="2199" y="282"/>
                  </a:lnTo>
                  <a:lnTo>
                    <a:pt x="2199" y="282"/>
                  </a:lnTo>
                  <a:lnTo>
                    <a:pt x="2199" y="282"/>
                  </a:lnTo>
                  <a:lnTo>
                    <a:pt x="2197" y="284"/>
                  </a:lnTo>
                  <a:lnTo>
                    <a:pt x="2192" y="284"/>
                  </a:lnTo>
                  <a:lnTo>
                    <a:pt x="2190" y="284"/>
                  </a:lnTo>
                  <a:lnTo>
                    <a:pt x="2185" y="284"/>
                  </a:lnTo>
                  <a:lnTo>
                    <a:pt x="2183" y="284"/>
                  </a:lnTo>
                  <a:lnTo>
                    <a:pt x="2187" y="284"/>
                  </a:lnTo>
                  <a:lnTo>
                    <a:pt x="2192" y="284"/>
                  </a:lnTo>
                  <a:lnTo>
                    <a:pt x="2197" y="282"/>
                  </a:lnTo>
                  <a:lnTo>
                    <a:pt x="2197" y="279"/>
                  </a:lnTo>
                  <a:lnTo>
                    <a:pt x="2206" y="282"/>
                  </a:lnTo>
                  <a:lnTo>
                    <a:pt x="2209" y="282"/>
                  </a:lnTo>
                  <a:lnTo>
                    <a:pt x="2211" y="282"/>
                  </a:lnTo>
                  <a:lnTo>
                    <a:pt x="2216" y="284"/>
                  </a:lnTo>
                  <a:lnTo>
                    <a:pt x="2218" y="284"/>
                  </a:lnTo>
                  <a:lnTo>
                    <a:pt x="2216" y="282"/>
                  </a:lnTo>
                  <a:lnTo>
                    <a:pt x="2213" y="279"/>
                  </a:lnTo>
                  <a:lnTo>
                    <a:pt x="2211" y="279"/>
                  </a:lnTo>
                  <a:lnTo>
                    <a:pt x="2209" y="279"/>
                  </a:lnTo>
                  <a:lnTo>
                    <a:pt x="2204" y="279"/>
                  </a:lnTo>
                  <a:lnTo>
                    <a:pt x="2202" y="279"/>
                  </a:lnTo>
                  <a:lnTo>
                    <a:pt x="2199" y="279"/>
                  </a:lnTo>
                  <a:lnTo>
                    <a:pt x="2199" y="277"/>
                  </a:lnTo>
                  <a:lnTo>
                    <a:pt x="2204" y="279"/>
                  </a:lnTo>
                  <a:lnTo>
                    <a:pt x="2206" y="277"/>
                  </a:lnTo>
                  <a:lnTo>
                    <a:pt x="2213" y="279"/>
                  </a:lnTo>
                  <a:lnTo>
                    <a:pt x="2216" y="279"/>
                  </a:lnTo>
                  <a:lnTo>
                    <a:pt x="2216" y="282"/>
                  </a:lnTo>
                  <a:lnTo>
                    <a:pt x="2223" y="284"/>
                  </a:lnTo>
                  <a:lnTo>
                    <a:pt x="2227" y="284"/>
                  </a:lnTo>
                  <a:lnTo>
                    <a:pt x="2237" y="286"/>
                  </a:lnTo>
                  <a:lnTo>
                    <a:pt x="2242" y="286"/>
                  </a:lnTo>
                  <a:lnTo>
                    <a:pt x="2244" y="286"/>
                  </a:lnTo>
                  <a:lnTo>
                    <a:pt x="2246" y="284"/>
                  </a:lnTo>
                  <a:lnTo>
                    <a:pt x="2249" y="282"/>
                  </a:lnTo>
                  <a:lnTo>
                    <a:pt x="2249" y="282"/>
                  </a:lnTo>
                  <a:lnTo>
                    <a:pt x="2249" y="279"/>
                  </a:lnTo>
                  <a:lnTo>
                    <a:pt x="2251" y="279"/>
                  </a:lnTo>
                  <a:lnTo>
                    <a:pt x="2251" y="277"/>
                  </a:lnTo>
                  <a:lnTo>
                    <a:pt x="2251" y="277"/>
                  </a:lnTo>
                  <a:lnTo>
                    <a:pt x="2251" y="277"/>
                  </a:lnTo>
                  <a:lnTo>
                    <a:pt x="2251" y="275"/>
                  </a:lnTo>
                  <a:lnTo>
                    <a:pt x="2249" y="272"/>
                  </a:lnTo>
                  <a:lnTo>
                    <a:pt x="2249" y="272"/>
                  </a:lnTo>
                  <a:lnTo>
                    <a:pt x="2249" y="270"/>
                  </a:lnTo>
                  <a:lnTo>
                    <a:pt x="2246" y="267"/>
                  </a:lnTo>
                  <a:lnTo>
                    <a:pt x="2246" y="267"/>
                  </a:lnTo>
                  <a:lnTo>
                    <a:pt x="2244" y="267"/>
                  </a:lnTo>
                  <a:lnTo>
                    <a:pt x="2239" y="265"/>
                  </a:lnTo>
                  <a:lnTo>
                    <a:pt x="2237" y="265"/>
                  </a:lnTo>
                  <a:lnTo>
                    <a:pt x="2232" y="263"/>
                  </a:lnTo>
                  <a:lnTo>
                    <a:pt x="2230" y="260"/>
                  </a:lnTo>
                  <a:lnTo>
                    <a:pt x="2227" y="258"/>
                  </a:lnTo>
                  <a:lnTo>
                    <a:pt x="2227" y="258"/>
                  </a:lnTo>
                  <a:lnTo>
                    <a:pt x="2230" y="258"/>
                  </a:lnTo>
                  <a:lnTo>
                    <a:pt x="2232" y="258"/>
                  </a:lnTo>
                  <a:lnTo>
                    <a:pt x="2232" y="258"/>
                  </a:lnTo>
                  <a:lnTo>
                    <a:pt x="2232" y="256"/>
                  </a:lnTo>
                  <a:lnTo>
                    <a:pt x="2230" y="256"/>
                  </a:lnTo>
                  <a:lnTo>
                    <a:pt x="2230" y="256"/>
                  </a:lnTo>
                  <a:lnTo>
                    <a:pt x="2230" y="256"/>
                  </a:lnTo>
                  <a:lnTo>
                    <a:pt x="2230" y="253"/>
                  </a:lnTo>
                  <a:lnTo>
                    <a:pt x="2230" y="253"/>
                  </a:lnTo>
                  <a:lnTo>
                    <a:pt x="2230" y="253"/>
                  </a:lnTo>
                  <a:lnTo>
                    <a:pt x="2235" y="256"/>
                  </a:lnTo>
                  <a:lnTo>
                    <a:pt x="2235" y="258"/>
                  </a:lnTo>
                  <a:lnTo>
                    <a:pt x="2237" y="258"/>
                  </a:lnTo>
                  <a:lnTo>
                    <a:pt x="2239" y="258"/>
                  </a:lnTo>
                  <a:lnTo>
                    <a:pt x="2239" y="258"/>
                  </a:lnTo>
                  <a:lnTo>
                    <a:pt x="2239" y="256"/>
                  </a:lnTo>
                  <a:lnTo>
                    <a:pt x="2237" y="253"/>
                  </a:lnTo>
                  <a:lnTo>
                    <a:pt x="2237" y="253"/>
                  </a:lnTo>
                  <a:lnTo>
                    <a:pt x="2239" y="256"/>
                  </a:lnTo>
                  <a:lnTo>
                    <a:pt x="2242" y="258"/>
                  </a:lnTo>
                  <a:lnTo>
                    <a:pt x="2242" y="258"/>
                  </a:lnTo>
                  <a:lnTo>
                    <a:pt x="2242" y="258"/>
                  </a:lnTo>
                  <a:lnTo>
                    <a:pt x="2244" y="260"/>
                  </a:lnTo>
                  <a:lnTo>
                    <a:pt x="2244" y="260"/>
                  </a:lnTo>
                  <a:lnTo>
                    <a:pt x="2242" y="260"/>
                  </a:lnTo>
                  <a:lnTo>
                    <a:pt x="2242" y="260"/>
                  </a:lnTo>
                  <a:lnTo>
                    <a:pt x="2244" y="263"/>
                  </a:lnTo>
                  <a:lnTo>
                    <a:pt x="2249" y="263"/>
                  </a:lnTo>
                  <a:lnTo>
                    <a:pt x="2251" y="265"/>
                  </a:lnTo>
                  <a:lnTo>
                    <a:pt x="2253" y="265"/>
                  </a:lnTo>
                  <a:lnTo>
                    <a:pt x="2253" y="265"/>
                  </a:lnTo>
                  <a:lnTo>
                    <a:pt x="2256" y="265"/>
                  </a:lnTo>
                  <a:lnTo>
                    <a:pt x="2256" y="267"/>
                  </a:lnTo>
                  <a:lnTo>
                    <a:pt x="2258" y="267"/>
                  </a:lnTo>
                  <a:lnTo>
                    <a:pt x="2260" y="270"/>
                  </a:lnTo>
                  <a:lnTo>
                    <a:pt x="2263" y="270"/>
                  </a:lnTo>
                  <a:lnTo>
                    <a:pt x="2263" y="270"/>
                  </a:lnTo>
                  <a:lnTo>
                    <a:pt x="2272" y="270"/>
                  </a:lnTo>
                  <a:lnTo>
                    <a:pt x="2275" y="270"/>
                  </a:lnTo>
                  <a:lnTo>
                    <a:pt x="2277" y="267"/>
                  </a:lnTo>
                  <a:lnTo>
                    <a:pt x="2279" y="267"/>
                  </a:lnTo>
                  <a:lnTo>
                    <a:pt x="2279" y="267"/>
                  </a:lnTo>
                  <a:lnTo>
                    <a:pt x="2286" y="270"/>
                  </a:lnTo>
                  <a:lnTo>
                    <a:pt x="2296" y="270"/>
                  </a:lnTo>
                  <a:lnTo>
                    <a:pt x="2301" y="272"/>
                  </a:lnTo>
                  <a:lnTo>
                    <a:pt x="2305" y="275"/>
                  </a:lnTo>
                  <a:lnTo>
                    <a:pt x="2308" y="277"/>
                  </a:lnTo>
                  <a:lnTo>
                    <a:pt x="2310" y="279"/>
                  </a:lnTo>
                  <a:lnTo>
                    <a:pt x="2310" y="279"/>
                  </a:lnTo>
                  <a:lnTo>
                    <a:pt x="2315" y="279"/>
                  </a:lnTo>
                  <a:lnTo>
                    <a:pt x="2319" y="282"/>
                  </a:lnTo>
                  <a:lnTo>
                    <a:pt x="2319" y="282"/>
                  </a:lnTo>
                  <a:lnTo>
                    <a:pt x="2322" y="282"/>
                  </a:lnTo>
                  <a:lnTo>
                    <a:pt x="2322" y="284"/>
                  </a:lnTo>
                  <a:lnTo>
                    <a:pt x="2324" y="284"/>
                  </a:lnTo>
                  <a:lnTo>
                    <a:pt x="2326" y="282"/>
                  </a:lnTo>
                  <a:lnTo>
                    <a:pt x="2326" y="282"/>
                  </a:lnTo>
                  <a:lnTo>
                    <a:pt x="2331" y="284"/>
                  </a:lnTo>
                  <a:lnTo>
                    <a:pt x="2336" y="284"/>
                  </a:lnTo>
                  <a:lnTo>
                    <a:pt x="2343" y="286"/>
                  </a:lnTo>
                  <a:lnTo>
                    <a:pt x="2345" y="286"/>
                  </a:lnTo>
                  <a:lnTo>
                    <a:pt x="2352" y="289"/>
                  </a:lnTo>
                  <a:lnTo>
                    <a:pt x="2355" y="291"/>
                  </a:lnTo>
                  <a:lnTo>
                    <a:pt x="2357" y="291"/>
                  </a:lnTo>
                  <a:lnTo>
                    <a:pt x="2359" y="291"/>
                  </a:lnTo>
                  <a:lnTo>
                    <a:pt x="2359" y="291"/>
                  </a:lnTo>
                  <a:lnTo>
                    <a:pt x="2359" y="289"/>
                  </a:lnTo>
                  <a:lnTo>
                    <a:pt x="2359" y="289"/>
                  </a:lnTo>
                  <a:lnTo>
                    <a:pt x="2359" y="289"/>
                  </a:lnTo>
                  <a:lnTo>
                    <a:pt x="2359" y="289"/>
                  </a:lnTo>
                  <a:lnTo>
                    <a:pt x="2362" y="289"/>
                  </a:lnTo>
                  <a:lnTo>
                    <a:pt x="2362" y="291"/>
                  </a:lnTo>
                  <a:lnTo>
                    <a:pt x="2362" y="291"/>
                  </a:lnTo>
                  <a:lnTo>
                    <a:pt x="2367" y="293"/>
                  </a:lnTo>
                  <a:lnTo>
                    <a:pt x="2369" y="293"/>
                  </a:lnTo>
                  <a:lnTo>
                    <a:pt x="2369" y="293"/>
                  </a:lnTo>
                  <a:lnTo>
                    <a:pt x="2369" y="291"/>
                  </a:lnTo>
                  <a:lnTo>
                    <a:pt x="2369" y="291"/>
                  </a:lnTo>
                  <a:lnTo>
                    <a:pt x="2364" y="289"/>
                  </a:lnTo>
                  <a:lnTo>
                    <a:pt x="2364" y="289"/>
                  </a:lnTo>
                  <a:lnTo>
                    <a:pt x="2367" y="289"/>
                  </a:lnTo>
                  <a:lnTo>
                    <a:pt x="2369" y="289"/>
                  </a:lnTo>
                  <a:lnTo>
                    <a:pt x="2371" y="291"/>
                  </a:lnTo>
                  <a:lnTo>
                    <a:pt x="2371" y="291"/>
                  </a:lnTo>
                  <a:lnTo>
                    <a:pt x="2376" y="291"/>
                  </a:lnTo>
                  <a:lnTo>
                    <a:pt x="2376" y="289"/>
                  </a:lnTo>
                  <a:close/>
                  <a:moveTo>
                    <a:pt x="392" y="3"/>
                  </a:moveTo>
                  <a:lnTo>
                    <a:pt x="396" y="3"/>
                  </a:lnTo>
                  <a:lnTo>
                    <a:pt x="408" y="0"/>
                  </a:lnTo>
                  <a:lnTo>
                    <a:pt x="408" y="0"/>
                  </a:lnTo>
                  <a:lnTo>
                    <a:pt x="408" y="0"/>
                  </a:lnTo>
                  <a:lnTo>
                    <a:pt x="406" y="0"/>
                  </a:lnTo>
                  <a:lnTo>
                    <a:pt x="394" y="0"/>
                  </a:lnTo>
                  <a:lnTo>
                    <a:pt x="392" y="0"/>
                  </a:lnTo>
                  <a:lnTo>
                    <a:pt x="392" y="0"/>
                  </a:lnTo>
                  <a:lnTo>
                    <a:pt x="392" y="3"/>
                  </a:lnTo>
                  <a:lnTo>
                    <a:pt x="392" y="3"/>
                  </a:lnTo>
                  <a:lnTo>
                    <a:pt x="392" y="3"/>
                  </a:lnTo>
                  <a:close/>
                  <a:moveTo>
                    <a:pt x="408" y="14"/>
                  </a:moveTo>
                  <a:lnTo>
                    <a:pt x="410" y="14"/>
                  </a:lnTo>
                  <a:lnTo>
                    <a:pt x="410" y="14"/>
                  </a:lnTo>
                  <a:lnTo>
                    <a:pt x="410" y="12"/>
                  </a:lnTo>
                  <a:lnTo>
                    <a:pt x="408" y="12"/>
                  </a:lnTo>
                  <a:lnTo>
                    <a:pt x="408" y="12"/>
                  </a:lnTo>
                  <a:lnTo>
                    <a:pt x="406" y="10"/>
                  </a:lnTo>
                  <a:lnTo>
                    <a:pt x="403" y="10"/>
                  </a:lnTo>
                  <a:lnTo>
                    <a:pt x="401" y="10"/>
                  </a:lnTo>
                  <a:lnTo>
                    <a:pt x="399" y="10"/>
                  </a:lnTo>
                  <a:lnTo>
                    <a:pt x="399" y="10"/>
                  </a:lnTo>
                  <a:lnTo>
                    <a:pt x="394" y="12"/>
                  </a:lnTo>
                  <a:lnTo>
                    <a:pt x="392" y="10"/>
                  </a:lnTo>
                  <a:lnTo>
                    <a:pt x="389" y="12"/>
                  </a:lnTo>
                  <a:lnTo>
                    <a:pt x="394" y="12"/>
                  </a:lnTo>
                  <a:lnTo>
                    <a:pt x="396" y="12"/>
                  </a:lnTo>
                  <a:lnTo>
                    <a:pt x="401" y="14"/>
                  </a:lnTo>
                  <a:lnTo>
                    <a:pt x="406" y="14"/>
                  </a:lnTo>
                  <a:lnTo>
                    <a:pt x="408" y="14"/>
                  </a:lnTo>
                  <a:close/>
                  <a:moveTo>
                    <a:pt x="399" y="19"/>
                  </a:moveTo>
                  <a:lnTo>
                    <a:pt x="394" y="19"/>
                  </a:lnTo>
                  <a:lnTo>
                    <a:pt x="392" y="19"/>
                  </a:lnTo>
                  <a:lnTo>
                    <a:pt x="394" y="19"/>
                  </a:lnTo>
                  <a:lnTo>
                    <a:pt x="396" y="19"/>
                  </a:lnTo>
                  <a:lnTo>
                    <a:pt x="396" y="19"/>
                  </a:lnTo>
                  <a:lnTo>
                    <a:pt x="396" y="22"/>
                  </a:lnTo>
                  <a:lnTo>
                    <a:pt x="399" y="22"/>
                  </a:lnTo>
                  <a:lnTo>
                    <a:pt x="399" y="24"/>
                  </a:lnTo>
                  <a:lnTo>
                    <a:pt x="401" y="24"/>
                  </a:lnTo>
                  <a:lnTo>
                    <a:pt x="406" y="24"/>
                  </a:lnTo>
                  <a:lnTo>
                    <a:pt x="406" y="24"/>
                  </a:lnTo>
                  <a:lnTo>
                    <a:pt x="408" y="22"/>
                  </a:lnTo>
                  <a:lnTo>
                    <a:pt x="410" y="22"/>
                  </a:lnTo>
                  <a:lnTo>
                    <a:pt x="410" y="22"/>
                  </a:lnTo>
                  <a:lnTo>
                    <a:pt x="408" y="22"/>
                  </a:lnTo>
                  <a:lnTo>
                    <a:pt x="410" y="22"/>
                  </a:lnTo>
                  <a:lnTo>
                    <a:pt x="420" y="22"/>
                  </a:lnTo>
                  <a:lnTo>
                    <a:pt x="417" y="19"/>
                  </a:lnTo>
                  <a:lnTo>
                    <a:pt x="415" y="19"/>
                  </a:lnTo>
                  <a:lnTo>
                    <a:pt x="410" y="19"/>
                  </a:lnTo>
                  <a:lnTo>
                    <a:pt x="399" y="19"/>
                  </a:lnTo>
                  <a:close/>
                  <a:moveTo>
                    <a:pt x="417" y="19"/>
                  </a:moveTo>
                  <a:lnTo>
                    <a:pt x="420" y="19"/>
                  </a:lnTo>
                  <a:lnTo>
                    <a:pt x="422" y="19"/>
                  </a:lnTo>
                  <a:lnTo>
                    <a:pt x="427" y="19"/>
                  </a:lnTo>
                  <a:lnTo>
                    <a:pt x="429" y="19"/>
                  </a:lnTo>
                  <a:lnTo>
                    <a:pt x="436" y="19"/>
                  </a:lnTo>
                  <a:lnTo>
                    <a:pt x="439" y="19"/>
                  </a:lnTo>
                  <a:lnTo>
                    <a:pt x="441" y="19"/>
                  </a:lnTo>
                  <a:lnTo>
                    <a:pt x="446" y="17"/>
                  </a:lnTo>
                  <a:lnTo>
                    <a:pt x="446" y="17"/>
                  </a:lnTo>
                  <a:lnTo>
                    <a:pt x="446" y="17"/>
                  </a:lnTo>
                  <a:lnTo>
                    <a:pt x="448" y="17"/>
                  </a:lnTo>
                  <a:lnTo>
                    <a:pt x="448" y="17"/>
                  </a:lnTo>
                  <a:lnTo>
                    <a:pt x="450" y="14"/>
                  </a:lnTo>
                  <a:lnTo>
                    <a:pt x="448" y="14"/>
                  </a:lnTo>
                  <a:lnTo>
                    <a:pt x="448" y="14"/>
                  </a:lnTo>
                  <a:lnTo>
                    <a:pt x="448" y="12"/>
                  </a:lnTo>
                  <a:lnTo>
                    <a:pt x="443" y="12"/>
                  </a:lnTo>
                  <a:lnTo>
                    <a:pt x="441" y="12"/>
                  </a:lnTo>
                  <a:lnTo>
                    <a:pt x="439" y="14"/>
                  </a:lnTo>
                  <a:lnTo>
                    <a:pt x="434" y="14"/>
                  </a:lnTo>
                  <a:lnTo>
                    <a:pt x="429" y="14"/>
                  </a:lnTo>
                  <a:lnTo>
                    <a:pt x="427" y="14"/>
                  </a:lnTo>
                  <a:lnTo>
                    <a:pt x="427" y="14"/>
                  </a:lnTo>
                  <a:lnTo>
                    <a:pt x="425" y="14"/>
                  </a:lnTo>
                  <a:lnTo>
                    <a:pt x="420" y="14"/>
                  </a:lnTo>
                  <a:lnTo>
                    <a:pt x="420" y="14"/>
                  </a:lnTo>
                  <a:lnTo>
                    <a:pt x="420" y="14"/>
                  </a:lnTo>
                  <a:lnTo>
                    <a:pt x="417" y="14"/>
                  </a:lnTo>
                  <a:lnTo>
                    <a:pt x="417" y="14"/>
                  </a:lnTo>
                  <a:lnTo>
                    <a:pt x="417" y="17"/>
                  </a:lnTo>
                  <a:lnTo>
                    <a:pt x="417" y="17"/>
                  </a:lnTo>
                  <a:lnTo>
                    <a:pt x="417" y="19"/>
                  </a:lnTo>
                  <a:close/>
                  <a:moveTo>
                    <a:pt x="403" y="7"/>
                  </a:moveTo>
                  <a:lnTo>
                    <a:pt x="403" y="7"/>
                  </a:lnTo>
                  <a:lnTo>
                    <a:pt x="406" y="7"/>
                  </a:lnTo>
                  <a:lnTo>
                    <a:pt x="408" y="7"/>
                  </a:lnTo>
                  <a:lnTo>
                    <a:pt x="410" y="7"/>
                  </a:lnTo>
                  <a:lnTo>
                    <a:pt x="413" y="7"/>
                  </a:lnTo>
                  <a:lnTo>
                    <a:pt x="410" y="7"/>
                  </a:lnTo>
                  <a:lnTo>
                    <a:pt x="408" y="5"/>
                  </a:lnTo>
                  <a:lnTo>
                    <a:pt x="406" y="5"/>
                  </a:lnTo>
                  <a:lnTo>
                    <a:pt x="403" y="7"/>
                  </a:lnTo>
                  <a:close/>
                  <a:moveTo>
                    <a:pt x="432" y="12"/>
                  </a:moveTo>
                  <a:lnTo>
                    <a:pt x="436" y="12"/>
                  </a:lnTo>
                  <a:lnTo>
                    <a:pt x="439" y="12"/>
                  </a:lnTo>
                  <a:lnTo>
                    <a:pt x="439" y="10"/>
                  </a:lnTo>
                  <a:lnTo>
                    <a:pt x="436" y="10"/>
                  </a:lnTo>
                  <a:lnTo>
                    <a:pt x="427" y="10"/>
                  </a:lnTo>
                  <a:lnTo>
                    <a:pt x="425" y="12"/>
                  </a:lnTo>
                  <a:lnTo>
                    <a:pt x="422" y="12"/>
                  </a:lnTo>
                  <a:lnTo>
                    <a:pt x="422" y="12"/>
                  </a:lnTo>
                  <a:lnTo>
                    <a:pt x="427" y="12"/>
                  </a:lnTo>
                  <a:lnTo>
                    <a:pt x="432" y="12"/>
                  </a:lnTo>
                  <a:close/>
                  <a:moveTo>
                    <a:pt x="368" y="201"/>
                  </a:moveTo>
                  <a:lnTo>
                    <a:pt x="368" y="204"/>
                  </a:lnTo>
                  <a:lnTo>
                    <a:pt x="368" y="204"/>
                  </a:lnTo>
                  <a:lnTo>
                    <a:pt x="368" y="206"/>
                  </a:lnTo>
                  <a:lnTo>
                    <a:pt x="370" y="206"/>
                  </a:lnTo>
                  <a:lnTo>
                    <a:pt x="370" y="208"/>
                  </a:lnTo>
                  <a:lnTo>
                    <a:pt x="373" y="211"/>
                  </a:lnTo>
                  <a:lnTo>
                    <a:pt x="375" y="211"/>
                  </a:lnTo>
                  <a:lnTo>
                    <a:pt x="380" y="211"/>
                  </a:lnTo>
                  <a:lnTo>
                    <a:pt x="382" y="211"/>
                  </a:lnTo>
                  <a:lnTo>
                    <a:pt x="389" y="208"/>
                  </a:lnTo>
                  <a:lnTo>
                    <a:pt x="392" y="206"/>
                  </a:lnTo>
                  <a:lnTo>
                    <a:pt x="392" y="206"/>
                  </a:lnTo>
                  <a:lnTo>
                    <a:pt x="394" y="204"/>
                  </a:lnTo>
                  <a:lnTo>
                    <a:pt x="394" y="204"/>
                  </a:lnTo>
                  <a:lnTo>
                    <a:pt x="394" y="206"/>
                  </a:lnTo>
                  <a:lnTo>
                    <a:pt x="396" y="206"/>
                  </a:lnTo>
                  <a:lnTo>
                    <a:pt x="396" y="206"/>
                  </a:lnTo>
                  <a:lnTo>
                    <a:pt x="394" y="204"/>
                  </a:lnTo>
                  <a:lnTo>
                    <a:pt x="394" y="201"/>
                  </a:lnTo>
                  <a:lnTo>
                    <a:pt x="392" y="201"/>
                  </a:lnTo>
                  <a:lnTo>
                    <a:pt x="380" y="197"/>
                  </a:lnTo>
                  <a:lnTo>
                    <a:pt x="375" y="197"/>
                  </a:lnTo>
                  <a:lnTo>
                    <a:pt x="375" y="197"/>
                  </a:lnTo>
                  <a:lnTo>
                    <a:pt x="370" y="199"/>
                  </a:lnTo>
                  <a:lnTo>
                    <a:pt x="368" y="201"/>
                  </a:lnTo>
                  <a:lnTo>
                    <a:pt x="368" y="201"/>
                  </a:lnTo>
                  <a:close/>
                  <a:moveTo>
                    <a:pt x="422" y="26"/>
                  </a:moveTo>
                  <a:lnTo>
                    <a:pt x="422" y="26"/>
                  </a:lnTo>
                  <a:lnTo>
                    <a:pt x="425" y="26"/>
                  </a:lnTo>
                  <a:lnTo>
                    <a:pt x="429" y="26"/>
                  </a:lnTo>
                  <a:lnTo>
                    <a:pt x="429" y="26"/>
                  </a:lnTo>
                  <a:lnTo>
                    <a:pt x="429" y="24"/>
                  </a:lnTo>
                  <a:lnTo>
                    <a:pt x="425" y="24"/>
                  </a:lnTo>
                  <a:lnTo>
                    <a:pt x="420" y="24"/>
                  </a:lnTo>
                  <a:lnTo>
                    <a:pt x="420" y="24"/>
                  </a:lnTo>
                  <a:lnTo>
                    <a:pt x="420" y="26"/>
                  </a:lnTo>
                  <a:lnTo>
                    <a:pt x="422" y="26"/>
                  </a:lnTo>
                  <a:lnTo>
                    <a:pt x="422" y="26"/>
                  </a:lnTo>
                  <a:close/>
                  <a:moveTo>
                    <a:pt x="375" y="22"/>
                  </a:moveTo>
                  <a:lnTo>
                    <a:pt x="377" y="22"/>
                  </a:lnTo>
                  <a:lnTo>
                    <a:pt x="375" y="22"/>
                  </a:lnTo>
                  <a:lnTo>
                    <a:pt x="375" y="22"/>
                  </a:lnTo>
                  <a:lnTo>
                    <a:pt x="373" y="22"/>
                  </a:lnTo>
                  <a:lnTo>
                    <a:pt x="373" y="22"/>
                  </a:lnTo>
                  <a:lnTo>
                    <a:pt x="370" y="22"/>
                  </a:lnTo>
                  <a:lnTo>
                    <a:pt x="373" y="22"/>
                  </a:lnTo>
                  <a:lnTo>
                    <a:pt x="375" y="22"/>
                  </a:lnTo>
                  <a:close/>
                  <a:moveTo>
                    <a:pt x="443" y="3"/>
                  </a:moveTo>
                  <a:lnTo>
                    <a:pt x="446" y="3"/>
                  </a:lnTo>
                  <a:lnTo>
                    <a:pt x="448" y="3"/>
                  </a:lnTo>
                  <a:lnTo>
                    <a:pt x="455" y="3"/>
                  </a:lnTo>
                  <a:lnTo>
                    <a:pt x="458" y="3"/>
                  </a:lnTo>
                  <a:lnTo>
                    <a:pt x="458" y="3"/>
                  </a:lnTo>
                  <a:lnTo>
                    <a:pt x="458" y="3"/>
                  </a:lnTo>
                  <a:lnTo>
                    <a:pt x="458" y="3"/>
                  </a:lnTo>
                  <a:lnTo>
                    <a:pt x="446" y="3"/>
                  </a:lnTo>
                  <a:lnTo>
                    <a:pt x="441" y="3"/>
                  </a:lnTo>
                  <a:lnTo>
                    <a:pt x="439" y="3"/>
                  </a:lnTo>
                  <a:lnTo>
                    <a:pt x="443" y="3"/>
                  </a:lnTo>
                  <a:lnTo>
                    <a:pt x="443" y="3"/>
                  </a:lnTo>
                  <a:close/>
                  <a:moveTo>
                    <a:pt x="382" y="24"/>
                  </a:moveTo>
                  <a:lnTo>
                    <a:pt x="382" y="24"/>
                  </a:lnTo>
                  <a:lnTo>
                    <a:pt x="387" y="24"/>
                  </a:lnTo>
                  <a:lnTo>
                    <a:pt x="396" y="24"/>
                  </a:lnTo>
                  <a:lnTo>
                    <a:pt x="396" y="24"/>
                  </a:lnTo>
                  <a:lnTo>
                    <a:pt x="396" y="24"/>
                  </a:lnTo>
                  <a:lnTo>
                    <a:pt x="396" y="22"/>
                  </a:lnTo>
                  <a:lnTo>
                    <a:pt x="396" y="22"/>
                  </a:lnTo>
                  <a:lnTo>
                    <a:pt x="394" y="22"/>
                  </a:lnTo>
                  <a:lnTo>
                    <a:pt x="394" y="19"/>
                  </a:lnTo>
                  <a:lnTo>
                    <a:pt x="389" y="19"/>
                  </a:lnTo>
                  <a:lnTo>
                    <a:pt x="389" y="22"/>
                  </a:lnTo>
                  <a:lnTo>
                    <a:pt x="382" y="22"/>
                  </a:lnTo>
                  <a:lnTo>
                    <a:pt x="382" y="22"/>
                  </a:lnTo>
                  <a:lnTo>
                    <a:pt x="384" y="22"/>
                  </a:lnTo>
                  <a:lnTo>
                    <a:pt x="382" y="24"/>
                  </a:lnTo>
                  <a:lnTo>
                    <a:pt x="382" y="24"/>
                  </a:lnTo>
                  <a:close/>
                  <a:moveTo>
                    <a:pt x="455" y="12"/>
                  </a:moveTo>
                  <a:lnTo>
                    <a:pt x="453" y="14"/>
                  </a:lnTo>
                  <a:lnTo>
                    <a:pt x="453" y="14"/>
                  </a:lnTo>
                  <a:lnTo>
                    <a:pt x="455" y="14"/>
                  </a:lnTo>
                  <a:lnTo>
                    <a:pt x="460" y="14"/>
                  </a:lnTo>
                  <a:lnTo>
                    <a:pt x="462" y="14"/>
                  </a:lnTo>
                  <a:lnTo>
                    <a:pt x="462" y="14"/>
                  </a:lnTo>
                  <a:lnTo>
                    <a:pt x="476" y="14"/>
                  </a:lnTo>
                  <a:lnTo>
                    <a:pt x="481" y="14"/>
                  </a:lnTo>
                  <a:lnTo>
                    <a:pt x="483" y="12"/>
                  </a:lnTo>
                  <a:lnTo>
                    <a:pt x="483" y="12"/>
                  </a:lnTo>
                  <a:lnTo>
                    <a:pt x="483" y="12"/>
                  </a:lnTo>
                  <a:lnTo>
                    <a:pt x="483" y="10"/>
                  </a:lnTo>
                  <a:lnTo>
                    <a:pt x="481" y="10"/>
                  </a:lnTo>
                  <a:lnTo>
                    <a:pt x="479" y="10"/>
                  </a:lnTo>
                  <a:lnTo>
                    <a:pt x="476" y="10"/>
                  </a:lnTo>
                  <a:lnTo>
                    <a:pt x="474" y="10"/>
                  </a:lnTo>
                  <a:lnTo>
                    <a:pt x="472" y="10"/>
                  </a:lnTo>
                  <a:lnTo>
                    <a:pt x="469" y="10"/>
                  </a:lnTo>
                  <a:lnTo>
                    <a:pt x="469" y="10"/>
                  </a:lnTo>
                  <a:lnTo>
                    <a:pt x="469" y="10"/>
                  </a:lnTo>
                  <a:lnTo>
                    <a:pt x="469" y="12"/>
                  </a:lnTo>
                  <a:lnTo>
                    <a:pt x="469" y="12"/>
                  </a:lnTo>
                  <a:lnTo>
                    <a:pt x="467" y="12"/>
                  </a:lnTo>
                  <a:lnTo>
                    <a:pt x="462" y="12"/>
                  </a:lnTo>
                  <a:lnTo>
                    <a:pt x="458" y="12"/>
                  </a:lnTo>
                  <a:lnTo>
                    <a:pt x="455" y="12"/>
                  </a:lnTo>
                  <a:close/>
                  <a:moveTo>
                    <a:pt x="373" y="10"/>
                  </a:moveTo>
                  <a:lnTo>
                    <a:pt x="377" y="7"/>
                  </a:lnTo>
                  <a:lnTo>
                    <a:pt x="380" y="10"/>
                  </a:lnTo>
                  <a:lnTo>
                    <a:pt x="380" y="10"/>
                  </a:lnTo>
                  <a:lnTo>
                    <a:pt x="382" y="10"/>
                  </a:lnTo>
                  <a:lnTo>
                    <a:pt x="384" y="7"/>
                  </a:lnTo>
                  <a:lnTo>
                    <a:pt x="389" y="10"/>
                  </a:lnTo>
                  <a:lnTo>
                    <a:pt x="392" y="10"/>
                  </a:lnTo>
                  <a:lnTo>
                    <a:pt x="396" y="10"/>
                  </a:lnTo>
                  <a:lnTo>
                    <a:pt x="396" y="10"/>
                  </a:lnTo>
                  <a:lnTo>
                    <a:pt x="396" y="7"/>
                  </a:lnTo>
                  <a:lnTo>
                    <a:pt x="396" y="7"/>
                  </a:lnTo>
                  <a:lnTo>
                    <a:pt x="394" y="7"/>
                  </a:lnTo>
                  <a:lnTo>
                    <a:pt x="401" y="7"/>
                  </a:lnTo>
                  <a:lnTo>
                    <a:pt x="401" y="5"/>
                  </a:lnTo>
                  <a:lnTo>
                    <a:pt x="401" y="5"/>
                  </a:lnTo>
                  <a:lnTo>
                    <a:pt x="396" y="5"/>
                  </a:lnTo>
                  <a:lnTo>
                    <a:pt x="394" y="5"/>
                  </a:lnTo>
                  <a:lnTo>
                    <a:pt x="392" y="5"/>
                  </a:lnTo>
                  <a:lnTo>
                    <a:pt x="392" y="5"/>
                  </a:lnTo>
                  <a:lnTo>
                    <a:pt x="389" y="5"/>
                  </a:lnTo>
                  <a:lnTo>
                    <a:pt x="387" y="5"/>
                  </a:lnTo>
                  <a:lnTo>
                    <a:pt x="384" y="5"/>
                  </a:lnTo>
                  <a:lnTo>
                    <a:pt x="382" y="5"/>
                  </a:lnTo>
                  <a:lnTo>
                    <a:pt x="382" y="5"/>
                  </a:lnTo>
                  <a:lnTo>
                    <a:pt x="377" y="7"/>
                  </a:lnTo>
                  <a:lnTo>
                    <a:pt x="375" y="7"/>
                  </a:lnTo>
                  <a:lnTo>
                    <a:pt x="370" y="7"/>
                  </a:lnTo>
                  <a:lnTo>
                    <a:pt x="368" y="7"/>
                  </a:lnTo>
                  <a:lnTo>
                    <a:pt x="370" y="7"/>
                  </a:lnTo>
                  <a:lnTo>
                    <a:pt x="373" y="10"/>
                  </a:lnTo>
                  <a:close/>
                  <a:moveTo>
                    <a:pt x="344" y="22"/>
                  </a:moveTo>
                  <a:lnTo>
                    <a:pt x="344" y="22"/>
                  </a:lnTo>
                  <a:lnTo>
                    <a:pt x="344" y="24"/>
                  </a:lnTo>
                  <a:lnTo>
                    <a:pt x="347" y="24"/>
                  </a:lnTo>
                  <a:lnTo>
                    <a:pt x="354" y="24"/>
                  </a:lnTo>
                  <a:lnTo>
                    <a:pt x="356" y="22"/>
                  </a:lnTo>
                  <a:lnTo>
                    <a:pt x="359" y="22"/>
                  </a:lnTo>
                  <a:lnTo>
                    <a:pt x="359" y="22"/>
                  </a:lnTo>
                  <a:lnTo>
                    <a:pt x="354" y="22"/>
                  </a:lnTo>
                  <a:lnTo>
                    <a:pt x="351" y="19"/>
                  </a:lnTo>
                  <a:lnTo>
                    <a:pt x="351" y="19"/>
                  </a:lnTo>
                  <a:lnTo>
                    <a:pt x="349" y="19"/>
                  </a:lnTo>
                  <a:lnTo>
                    <a:pt x="344" y="19"/>
                  </a:lnTo>
                  <a:lnTo>
                    <a:pt x="344" y="22"/>
                  </a:lnTo>
                  <a:lnTo>
                    <a:pt x="344" y="22"/>
                  </a:lnTo>
                  <a:lnTo>
                    <a:pt x="342" y="22"/>
                  </a:lnTo>
                  <a:lnTo>
                    <a:pt x="340" y="22"/>
                  </a:lnTo>
                  <a:lnTo>
                    <a:pt x="340" y="22"/>
                  </a:lnTo>
                  <a:lnTo>
                    <a:pt x="342" y="22"/>
                  </a:lnTo>
                  <a:lnTo>
                    <a:pt x="344" y="22"/>
                  </a:lnTo>
                  <a:close/>
                  <a:moveTo>
                    <a:pt x="260" y="17"/>
                  </a:moveTo>
                  <a:lnTo>
                    <a:pt x="262" y="17"/>
                  </a:lnTo>
                  <a:lnTo>
                    <a:pt x="264" y="17"/>
                  </a:lnTo>
                  <a:lnTo>
                    <a:pt x="267" y="17"/>
                  </a:lnTo>
                  <a:lnTo>
                    <a:pt x="267" y="19"/>
                  </a:lnTo>
                  <a:lnTo>
                    <a:pt x="269" y="19"/>
                  </a:lnTo>
                  <a:lnTo>
                    <a:pt x="271" y="19"/>
                  </a:lnTo>
                  <a:lnTo>
                    <a:pt x="271" y="19"/>
                  </a:lnTo>
                  <a:lnTo>
                    <a:pt x="274" y="17"/>
                  </a:lnTo>
                  <a:lnTo>
                    <a:pt x="274" y="17"/>
                  </a:lnTo>
                  <a:lnTo>
                    <a:pt x="278" y="17"/>
                  </a:lnTo>
                  <a:lnTo>
                    <a:pt x="278" y="17"/>
                  </a:lnTo>
                  <a:lnTo>
                    <a:pt x="278" y="17"/>
                  </a:lnTo>
                  <a:lnTo>
                    <a:pt x="281" y="17"/>
                  </a:lnTo>
                  <a:lnTo>
                    <a:pt x="281" y="17"/>
                  </a:lnTo>
                  <a:lnTo>
                    <a:pt x="283" y="17"/>
                  </a:lnTo>
                  <a:lnTo>
                    <a:pt x="283" y="14"/>
                  </a:lnTo>
                  <a:lnTo>
                    <a:pt x="283" y="14"/>
                  </a:lnTo>
                  <a:lnTo>
                    <a:pt x="285" y="14"/>
                  </a:lnTo>
                  <a:lnTo>
                    <a:pt x="288" y="17"/>
                  </a:lnTo>
                  <a:lnTo>
                    <a:pt x="295" y="17"/>
                  </a:lnTo>
                  <a:lnTo>
                    <a:pt x="295" y="17"/>
                  </a:lnTo>
                  <a:lnTo>
                    <a:pt x="295" y="14"/>
                  </a:lnTo>
                  <a:lnTo>
                    <a:pt x="293" y="14"/>
                  </a:lnTo>
                  <a:lnTo>
                    <a:pt x="293" y="14"/>
                  </a:lnTo>
                  <a:lnTo>
                    <a:pt x="290" y="14"/>
                  </a:lnTo>
                  <a:lnTo>
                    <a:pt x="290" y="14"/>
                  </a:lnTo>
                  <a:lnTo>
                    <a:pt x="285" y="14"/>
                  </a:lnTo>
                  <a:lnTo>
                    <a:pt x="281" y="14"/>
                  </a:lnTo>
                  <a:lnTo>
                    <a:pt x="278" y="14"/>
                  </a:lnTo>
                  <a:lnTo>
                    <a:pt x="276" y="14"/>
                  </a:lnTo>
                  <a:lnTo>
                    <a:pt x="274" y="14"/>
                  </a:lnTo>
                  <a:lnTo>
                    <a:pt x="269" y="14"/>
                  </a:lnTo>
                  <a:lnTo>
                    <a:pt x="255" y="17"/>
                  </a:lnTo>
                  <a:lnTo>
                    <a:pt x="252" y="17"/>
                  </a:lnTo>
                  <a:lnTo>
                    <a:pt x="255" y="17"/>
                  </a:lnTo>
                  <a:lnTo>
                    <a:pt x="260" y="17"/>
                  </a:lnTo>
                  <a:close/>
                  <a:moveTo>
                    <a:pt x="2058" y="653"/>
                  </a:moveTo>
                  <a:lnTo>
                    <a:pt x="2058" y="653"/>
                  </a:lnTo>
                  <a:lnTo>
                    <a:pt x="2058" y="651"/>
                  </a:lnTo>
                  <a:lnTo>
                    <a:pt x="2055" y="648"/>
                  </a:lnTo>
                  <a:lnTo>
                    <a:pt x="2055" y="648"/>
                  </a:lnTo>
                  <a:lnTo>
                    <a:pt x="2053" y="643"/>
                  </a:lnTo>
                  <a:lnTo>
                    <a:pt x="2048" y="641"/>
                  </a:lnTo>
                  <a:lnTo>
                    <a:pt x="2048" y="639"/>
                  </a:lnTo>
                  <a:lnTo>
                    <a:pt x="2046" y="639"/>
                  </a:lnTo>
                  <a:lnTo>
                    <a:pt x="2046" y="639"/>
                  </a:lnTo>
                  <a:lnTo>
                    <a:pt x="2044" y="639"/>
                  </a:lnTo>
                  <a:lnTo>
                    <a:pt x="2044" y="639"/>
                  </a:lnTo>
                  <a:lnTo>
                    <a:pt x="2039" y="634"/>
                  </a:lnTo>
                  <a:lnTo>
                    <a:pt x="2034" y="632"/>
                  </a:lnTo>
                  <a:lnTo>
                    <a:pt x="2032" y="629"/>
                  </a:lnTo>
                  <a:lnTo>
                    <a:pt x="2032" y="627"/>
                  </a:lnTo>
                  <a:lnTo>
                    <a:pt x="2030" y="627"/>
                  </a:lnTo>
                  <a:lnTo>
                    <a:pt x="2030" y="627"/>
                  </a:lnTo>
                  <a:lnTo>
                    <a:pt x="2027" y="627"/>
                  </a:lnTo>
                  <a:lnTo>
                    <a:pt x="2025" y="625"/>
                  </a:lnTo>
                  <a:lnTo>
                    <a:pt x="2022" y="622"/>
                  </a:lnTo>
                  <a:lnTo>
                    <a:pt x="2020" y="620"/>
                  </a:lnTo>
                  <a:lnTo>
                    <a:pt x="2018" y="617"/>
                  </a:lnTo>
                  <a:lnTo>
                    <a:pt x="2015" y="613"/>
                  </a:lnTo>
                  <a:lnTo>
                    <a:pt x="2015" y="610"/>
                  </a:lnTo>
                  <a:lnTo>
                    <a:pt x="2011" y="596"/>
                  </a:lnTo>
                  <a:lnTo>
                    <a:pt x="2008" y="591"/>
                  </a:lnTo>
                  <a:lnTo>
                    <a:pt x="2008" y="589"/>
                  </a:lnTo>
                  <a:lnTo>
                    <a:pt x="2011" y="589"/>
                  </a:lnTo>
                  <a:lnTo>
                    <a:pt x="2013" y="589"/>
                  </a:lnTo>
                  <a:lnTo>
                    <a:pt x="2018" y="587"/>
                  </a:lnTo>
                  <a:lnTo>
                    <a:pt x="2018" y="587"/>
                  </a:lnTo>
                  <a:lnTo>
                    <a:pt x="2022" y="589"/>
                  </a:lnTo>
                  <a:lnTo>
                    <a:pt x="2022" y="589"/>
                  </a:lnTo>
                  <a:lnTo>
                    <a:pt x="2025" y="589"/>
                  </a:lnTo>
                  <a:lnTo>
                    <a:pt x="2030" y="591"/>
                  </a:lnTo>
                  <a:lnTo>
                    <a:pt x="2034" y="594"/>
                  </a:lnTo>
                  <a:lnTo>
                    <a:pt x="2037" y="596"/>
                  </a:lnTo>
                  <a:lnTo>
                    <a:pt x="2039" y="598"/>
                  </a:lnTo>
                  <a:lnTo>
                    <a:pt x="2041" y="601"/>
                  </a:lnTo>
                  <a:lnTo>
                    <a:pt x="2044" y="601"/>
                  </a:lnTo>
                  <a:lnTo>
                    <a:pt x="2041" y="598"/>
                  </a:lnTo>
                  <a:lnTo>
                    <a:pt x="2039" y="596"/>
                  </a:lnTo>
                  <a:lnTo>
                    <a:pt x="2037" y="596"/>
                  </a:lnTo>
                  <a:lnTo>
                    <a:pt x="2032" y="594"/>
                  </a:lnTo>
                  <a:lnTo>
                    <a:pt x="2030" y="589"/>
                  </a:lnTo>
                  <a:lnTo>
                    <a:pt x="2027" y="587"/>
                  </a:lnTo>
                  <a:lnTo>
                    <a:pt x="2025" y="584"/>
                  </a:lnTo>
                  <a:lnTo>
                    <a:pt x="2022" y="582"/>
                  </a:lnTo>
                  <a:lnTo>
                    <a:pt x="2018" y="580"/>
                  </a:lnTo>
                  <a:lnTo>
                    <a:pt x="2013" y="575"/>
                  </a:lnTo>
                  <a:lnTo>
                    <a:pt x="2004" y="568"/>
                  </a:lnTo>
                  <a:lnTo>
                    <a:pt x="1999" y="563"/>
                  </a:lnTo>
                  <a:lnTo>
                    <a:pt x="1985" y="549"/>
                  </a:lnTo>
                  <a:lnTo>
                    <a:pt x="1985" y="546"/>
                  </a:lnTo>
                  <a:lnTo>
                    <a:pt x="1982" y="546"/>
                  </a:lnTo>
                  <a:lnTo>
                    <a:pt x="1982" y="544"/>
                  </a:lnTo>
                  <a:lnTo>
                    <a:pt x="1980" y="544"/>
                  </a:lnTo>
                  <a:lnTo>
                    <a:pt x="1978" y="542"/>
                  </a:lnTo>
                  <a:lnTo>
                    <a:pt x="1975" y="542"/>
                  </a:lnTo>
                  <a:lnTo>
                    <a:pt x="1975" y="539"/>
                  </a:lnTo>
                  <a:lnTo>
                    <a:pt x="1973" y="537"/>
                  </a:lnTo>
                  <a:lnTo>
                    <a:pt x="1971" y="535"/>
                  </a:lnTo>
                  <a:lnTo>
                    <a:pt x="1968" y="535"/>
                  </a:lnTo>
                  <a:lnTo>
                    <a:pt x="1966" y="530"/>
                  </a:lnTo>
                  <a:lnTo>
                    <a:pt x="1961" y="525"/>
                  </a:lnTo>
                  <a:lnTo>
                    <a:pt x="1961" y="523"/>
                  </a:lnTo>
                  <a:lnTo>
                    <a:pt x="1961" y="523"/>
                  </a:lnTo>
                  <a:lnTo>
                    <a:pt x="1961" y="523"/>
                  </a:lnTo>
                  <a:lnTo>
                    <a:pt x="1959" y="520"/>
                  </a:lnTo>
                  <a:lnTo>
                    <a:pt x="1959" y="518"/>
                  </a:lnTo>
                  <a:lnTo>
                    <a:pt x="1954" y="513"/>
                  </a:lnTo>
                  <a:lnTo>
                    <a:pt x="1949" y="509"/>
                  </a:lnTo>
                  <a:lnTo>
                    <a:pt x="1949" y="509"/>
                  </a:lnTo>
                  <a:lnTo>
                    <a:pt x="1947" y="506"/>
                  </a:lnTo>
                  <a:lnTo>
                    <a:pt x="1942" y="502"/>
                  </a:lnTo>
                  <a:lnTo>
                    <a:pt x="1933" y="497"/>
                  </a:lnTo>
                  <a:lnTo>
                    <a:pt x="1933" y="497"/>
                  </a:lnTo>
                  <a:lnTo>
                    <a:pt x="1933" y="494"/>
                  </a:lnTo>
                  <a:lnTo>
                    <a:pt x="1931" y="492"/>
                  </a:lnTo>
                  <a:lnTo>
                    <a:pt x="1931" y="492"/>
                  </a:lnTo>
                  <a:lnTo>
                    <a:pt x="1931" y="490"/>
                  </a:lnTo>
                  <a:lnTo>
                    <a:pt x="1928" y="490"/>
                  </a:lnTo>
                  <a:lnTo>
                    <a:pt x="1921" y="485"/>
                  </a:lnTo>
                  <a:lnTo>
                    <a:pt x="1919" y="485"/>
                  </a:lnTo>
                  <a:lnTo>
                    <a:pt x="1921" y="485"/>
                  </a:lnTo>
                  <a:lnTo>
                    <a:pt x="1921" y="487"/>
                  </a:lnTo>
                  <a:lnTo>
                    <a:pt x="1919" y="487"/>
                  </a:lnTo>
                  <a:lnTo>
                    <a:pt x="1916" y="487"/>
                  </a:lnTo>
                  <a:lnTo>
                    <a:pt x="1921" y="490"/>
                  </a:lnTo>
                  <a:lnTo>
                    <a:pt x="1926" y="492"/>
                  </a:lnTo>
                  <a:lnTo>
                    <a:pt x="1928" y="494"/>
                  </a:lnTo>
                  <a:lnTo>
                    <a:pt x="1931" y="497"/>
                  </a:lnTo>
                  <a:lnTo>
                    <a:pt x="1931" y="497"/>
                  </a:lnTo>
                  <a:lnTo>
                    <a:pt x="1931" y="497"/>
                  </a:lnTo>
                  <a:lnTo>
                    <a:pt x="1933" y="499"/>
                  </a:lnTo>
                  <a:lnTo>
                    <a:pt x="1931" y="499"/>
                  </a:lnTo>
                  <a:lnTo>
                    <a:pt x="1931" y="502"/>
                  </a:lnTo>
                  <a:lnTo>
                    <a:pt x="1933" y="502"/>
                  </a:lnTo>
                  <a:lnTo>
                    <a:pt x="1933" y="504"/>
                  </a:lnTo>
                  <a:lnTo>
                    <a:pt x="1933" y="504"/>
                  </a:lnTo>
                  <a:lnTo>
                    <a:pt x="1931" y="504"/>
                  </a:lnTo>
                  <a:lnTo>
                    <a:pt x="1931" y="504"/>
                  </a:lnTo>
                  <a:lnTo>
                    <a:pt x="1928" y="502"/>
                  </a:lnTo>
                  <a:lnTo>
                    <a:pt x="1926" y="502"/>
                  </a:lnTo>
                  <a:lnTo>
                    <a:pt x="1923" y="504"/>
                  </a:lnTo>
                  <a:lnTo>
                    <a:pt x="1923" y="504"/>
                  </a:lnTo>
                  <a:lnTo>
                    <a:pt x="1923" y="506"/>
                  </a:lnTo>
                  <a:lnTo>
                    <a:pt x="1928" y="509"/>
                  </a:lnTo>
                  <a:lnTo>
                    <a:pt x="1931" y="511"/>
                  </a:lnTo>
                  <a:lnTo>
                    <a:pt x="1933" y="516"/>
                  </a:lnTo>
                  <a:lnTo>
                    <a:pt x="1938" y="520"/>
                  </a:lnTo>
                  <a:lnTo>
                    <a:pt x="1938" y="523"/>
                  </a:lnTo>
                  <a:lnTo>
                    <a:pt x="1938" y="525"/>
                  </a:lnTo>
                  <a:lnTo>
                    <a:pt x="1938" y="528"/>
                  </a:lnTo>
                  <a:lnTo>
                    <a:pt x="1945" y="535"/>
                  </a:lnTo>
                  <a:lnTo>
                    <a:pt x="1947" y="535"/>
                  </a:lnTo>
                  <a:lnTo>
                    <a:pt x="1949" y="537"/>
                  </a:lnTo>
                  <a:lnTo>
                    <a:pt x="1949" y="537"/>
                  </a:lnTo>
                  <a:lnTo>
                    <a:pt x="1949" y="537"/>
                  </a:lnTo>
                  <a:lnTo>
                    <a:pt x="1949" y="539"/>
                  </a:lnTo>
                  <a:lnTo>
                    <a:pt x="1952" y="539"/>
                  </a:lnTo>
                  <a:lnTo>
                    <a:pt x="1956" y="542"/>
                  </a:lnTo>
                  <a:lnTo>
                    <a:pt x="1959" y="544"/>
                  </a:lnTo>
                  <a:lnTo>
                    <a:pt x="1964" y="549"/>
                  </a:lnTo>
                  <a:lnTo>
                    <a:pt x="1968" y="554"/>
                  </a:lnTo>
                  <a:lnTo>
                    <a:pt x="1968" y="556"/>
                  </a:lnTo>
                  <a:lnTo>
                    <a:pt x="1968" y="558"/>
                  </a:lnTo>
                  <a:lnTo>
                    <a:pt x="1971" y="561"/>
                  </a:lnTo>
                  <a:lnTo>
                    <a:pt x="1973" y="563"/>
                  </a:lnTo>
                  <a:lnTo>
                    <a:pt x="1978" y="568"/>
                  </a:lnTo>
                  <a:lnTo>
                    <a:pt x="1978" y="568"/>
                  </a:lnTo>
                  <a:lnTo>
                    <a:pt x="1987" y="582"/>
                  </a:lnTo>
                  <a:lnTo>
                    <a:pt x="1989" y="584"/>
                  </a:lnTo>
                  <a:lnTo>
                    <a:pt x="1989" y="587"/>
                  </a:lnTo>
                  <a:lnTo>
                    <a:pt x="1992" y="591"/>
                  </a:lnTo>
                  <a:lnTo>
                    <a:pt x="1994" y="594"/>
                  </a:lnTo>
                  <a:lnTo>
                    <a:pt x="1994" y="598"/>
                  </a:lnTo>
                  <a:lnTo>
                    <a:pt x="1997" y="601"/>
                  </a:lnTo>
                  <a:lnTo>
                    <a:pt x="1997" y="601"/>
                  </a:lnTo>
                  <a:lnTo>
                    <a:pt x="2001" y="606"/>
                  </a:lnTo>
                  <a:lnTo>
                    <a:pt x="2006" y="608"/>
                  </a:lnTo>
                  <a:lnTo>
                    <a:pt x="2011" y="615"/>
                  </a:lnTo>
                  <a:lnTo>
                    <a:pt x="2011" y="617"/>
                  </a:lnTo>
                  <a:lnTo>
                    <a:pt x="2011" y="617"/>
                  </a:lnTo>
                  <a:lnTo>
                    <a:pt x="2013" y="620"/>
                  </a:lnTo>
                  <a:lnTo>
                    <a:pt x="2013" y="622"/>
                  </a:lnTo>
                  <a:lnTo>
                    <a:pt x="2013" y="625"/>
                  </a:lnTo>
                  <a:lnTo>
                    <a:pt x="2018" y="627"/>
                  </a:lnTo>
                  <a:lnTo>
                    <a:pt x="2018" y="629"/>
                  </a:lnTo>
                  <a:lnTo>
                    <a:pt x="2020" y="632"/>
                  </a:lnTo>
                  <a:lnTo>
                    <a:pt x="2022" y="634"/>
                  </a:lnTo>
                  <a:lnTo>
                    <a:pt x="2022" y="641"/>
                  </a:lnTo>
                  <a:lnTo>
                    <a:pt x="2027" y="646"/>
                  </a:lnTo>
                  <a:lnTo>
                    <a:pt x="2032" y="653"/>
                  </a:lnTo>
                  <a:lnTo>
                    <a:pt x="2032" y="653"/>
                  </a:lnTo>
                  <a:lnTo>
                    <a:pt x="2034" y="655"/>
                  </a:lnTo>
                  <a:lnTo>
                    <a:pt x="2037" y="658"/>
                  </a:lnTo>
                  <a:lnTo>
                    <a:pt x="2037" y="658"/>
                  </a:lnTo>
                  <a:lnTo>
                    <a:pt x="2037" y="655"/>
                  </a:lnTo>
                  <a:lnTo>
                    <a:pt x="2037" y="653"/>
                  </a:lnTo>
                  <a:lnTo>
                    <a:pt x="2034" y="648"/>
                  </a:lnTo>
                  <a:lnTo>
                    <a:pt x="2034" y="646"/>
                  </a:lnTo>
                  <a:lnTo>
                    <a:pt x="2034" y="643"/>
                  </a:lnTo>
                  <a:lnTo>
                    <a:pt x="2034" y="643"/>
                  </a:lnTo>
                  <a:lnTo>
                    <a:pt x="2034" y="641"/>
                  </a:lnTo>
                  <a:lnTo>
                    <a:pt x="2037" y="641"/>
                  </a:lnTo>
                  <a:lnTo>
                    <a:pt x="2037" y="641"/>
                  </a:lnTo>
                  <a:lnTo>
                    <a:pt x="2039" y="641"/>
                  </a:lnTo>
                  <a:lnTo>
                    <a:pt x="2039" y="643"/>
                  </a:lnTo>
                  <a:lnTo>
                    <a:pt x="2041" y="643"/>
                  </a:lnTo>
                  <a:lnTo>
                    <a:pt x="2044" y="643"/>
                  </a:lnTo>
                  <a:lnTo>
                    <a:pt x="2048" y="643"/>
                  </a:lnTo>
                  <a:lnTo>
                    <a:pt x="2051" y="646"/>
                  </a:lnTo>
                  <a:lnTo>
                    <a:pt x="2053" y="648"/>
                  </a:lnTo>
                  <a:lnTo>
                    <a:pt x="2055" y="651"/>
                  </a:lnTo>
                  <a:lnTo>
                    <a:pt x="2058" y="655"/>
                  </a:lnTo>
                  <a:lnTo>
                    <a:pt x="2058" y="655"/>
                  </a:lnTo>
                  <a:lnTo>
                    <a:pt x="2058" y="653"/>
                  </a:lnTo>
                  <a:close/>
                  <a:moveTo>
                    <a:pt x="297" y="19"/>
                  </a:moveTo>
                  <a:lnTo>
                    <a:pt x="295" y="17"/>
                  </a:lnTo>
                  <a:lnTo>
                    <a:pt x="293" y="17"/>
                  </a:lnTo>
                  <a:lnTo>
                    <a:pt x="293" y="17"/>
                  </a:lnTo>
                  <a:lnTo>
                    <a:pt x="290" y="17"/>
                  </a:lnTo>
                  <a:lnTo>
                    <a:pt x="288" y="17"/>
                  </a:lnTo>
                  <a:lnTo>
                    <a:pt x="285" y="19"/>
                  </a:lnTo>
                  <a:lnTo>
                    <a:pt x="283" y="19"/>
                  </a:lnTo>
                  <a:lnTo>
                    <a:pt x="276" y="22"/>
                  </a:lnTo>
                  <a:lnTo>
                    <a:pt x="276" y="22"/>
                  </a:lnTo>
                  <a:lnTo>
                    <a:pt x="278" y="22"/>
                  </a:lnTo>
                  <a:lnTo>
                    <a:pt x="281" y="24"/>
                  </a:lnTo>
                  <a:lnTo>
                    <a:pt x="283" y="24"/>
                  </a:lnTo>
                  <a:lnTo>
                    <a:pt x="283" y="24"/>
                  </a:lnTo>
                  <a:lnTo>
                    <a:pt x="285" y="22"/>
                  </a:lnTo>
                  <a:lnTo>
                    <a:pt x="288" y="22"/>
                  </a:lnTo>
                  <a:lnTo>
                    <a:pt x="290" y="22"/>
                  </a:lnTo>
                  <a:lnTo>
                    <a:pt x="290" y="22"/>
                  </a:lnTo>
                  <a:lnTo>
                    <a:pt x="288" y="24"/>
                  </a:lnTo>
                  <a:lnTo>
                    <a:pt x="288" y="24"/>
                  </a:lnTo>
                  <a:lnTo>
                    <a:pt x="290" y="24"/>
                  </a:lnTo>
                  <a:lnTo>
                    <a:pt x="293" y="24"/>
                  </a:lnTo>
                  <a:lnTo>
                    <a:pt x="293" y="24"/>
                  </a:lnTo>
                  <a:lnTo>
                    <a:pt x="293" y="24"/>
                  </a:lnTo>
                  <a:lnTo>
                    <a:pt x="293" y="24"/>
                  </a:lnTo>
                  <a:lnTo>
                    <a:pt x="297" y="24"/>
                  </a:lnTo>
                  <a:lnTo>
                    <a:pt x="297" y="24"/>
                  </a:lnTo>
                  <a:lnTo>
                    <a:pt x="297" y="24"/>
                  </a:lnTo>
                  <a:lnTo>
                    <a:pt x="297" y="24"/>
                  </a:lnTo>
                  <a:lnTo>
                    <a:pt x="297" y="22"/>
                  </a:lnTo>
                  <a:lnTo>
                    <a:pt x="300" y="24"/>
                  </a:lnTo>
                  <a:lnTo>
                    <a:pt x="302" y="24"/>
                  </a:lnTo>
                  <a:lnTo>
                    <a:pt x="302" y="24"/>
                  </a:lnTo>
                  <a:lnTo>
                    <a:pt x="302" y="22"/>
                  </a:lnTo>
                  <a:lnTo>
                    <a:pt x="302" y="22"/>
                  </a:lnTo>
                  <a:lnTo>
                    <a:pt x="302" y="22"/>
                  </a:lnTo>
                  <a:lnTo>
                    <a:pt x="302" y="22"/>
                  </a:lnTo>
                  <a:lnTo>
                    <a:pt x="300" y="22"/>
                  </a:lnTo>
                  <a:lnTo>
                    <a:pt x="297" y="22"/>
                  </a:lnTo>
                  <a:lnTo>
                    <a:pt x="300" y="22"/>
                  </a:lnTo>
                  <a:lnTo>
                    <a:pt x="300" y="19"/>
                  </a:lnTo>
                  <a:lnTo>
                    <a:pt x="309" y="19"/>
                  </a:lnTo>
                  <a:lnTo>
                    <a:pt x="311" y="19"/>
                  </a:lnTo>
                  <a:lnTo>
                    <a:pt x="309" y="19"/>
                  </a:lnTo>
                  <a:lnTo>
                    <a:pt x="311" y="19"/>
                  </a:lnTo>
                  <a:lnTo>
                    <a:pt x="316" y="17"/>
                  </a:lnTo>
                  <a:lnTo>
                    <a:pt x="323" y="17"/>
                  </a:lnTo>
                  <a:lnTo>
                    <a:pt x="326" y="17"/>
                  </a:lnTo>
                  <a:lnTo>
                    <a:pt x="330" y="17"/>
                  </a:lnTo>
                  <a:lnTo>
                    <a:pt x="328" y="14"/>
                  </a:lnTo>
                  <a:lnTo>
                    <a:pt x="328" y="14"/>
                  </a:lnTo>
                  <a:lnTo>
                    <a:pt x="318" y="12"/>
                  </a:lnTo>
                  <a:lnTo>
                    <a:pt x="318" y="12"/>
                  </a:lnTo>
                  <a:lnTo>
                    <a:pt x="314" y="12"/>
                  </a:lnTo>
                  <a:lnTo>
                    <a:pt x="311" y="12"/>
                  </a:lnTo>
                  <a:lnTo>
                    <a:pt x="311" y="12"/>
                  </a:lnTo>
                  <a:lnTo>
                    <a:pt x="304" y="14"/>
                  </a:lnTo>
                  <a:lnTo>
                    <a:pt x="302" y="14"/>
                  </a:lnTo>
                  <a:lnTo>
                    <a:pt x="300" y="14"/>
                  </a:lnTo>
                  <a:lnTo>
                    <a:pt x="302" y="17"/>
                  </a:lnTo>
                  <a:lnTo>
                    <a:pt x="302" y="17"/>
                  </a:lnTo>
                  <a:lnTo>
                    <a:pt x="302" y="19"/>
                  </a:lnTo>
                  <a:lnTo>
                    <a:pt x="297" y="19"/>
                  </a:lnTo>
                  <a:close/>
                  <a:moveTo>
                    <a:pt x="50" y="476"/>
                  </a:moveTo>
                  <a:lnTo>
                    <a:pt x="50" y="476"/>
                  </a:lnTo>
                  <a:lnTo>
                    <a:pt x="47" y="473"/>
                  </a:lnTo>
                  <a:lnTo>
                    <a:pt x="45" y="473"/>
                  </a:lnTo>
                  <a:lnTo>
                    <a:pt x="45" y="471"/>
                  </a:lnTo>
                  <a:lnTo>
                    <a:pt x="40" y="471"/>
                  </a:lnTo>
                  <a:lnTo>
                    <a:pt x="38" y="471"/>
                  </a:lnTo>
                  <a:lnTo>
                    <a:pt x="38" y="471"/>
                  </a:lnTo>
                  <a:lnTo>
                    <a:pt x="33" y="471"/>
                  </a:lnTo>
                  <a:lnTo>
                    <a:pt x="31" y="468"/>
                  </a:lnTo>
                  <a:lnTo>
                    <a:pt x="29" y="468"/>
                  </a:lnTo>
                  <a:lnTo>
                    <a:pt x="26" y="468"/>
                  </a:lnTo>
                  <a:lnTo>
                    <a:pt x="26" y="466"/>
                  </a:lnTo>
                  <a:lnTo>
                    <a:pt x="24" y="466"/>
                  </a:lnTo>
                  <a:lnTo>
                    <a:pt x="24" y="466"/>
                  </a:lnTo>
                  <a:lnTo>
                    <a:pt x="24" y="471"/>
                  </a:lnTo>
                  <a:lnTo>
                    <a:pt x="24" y="473"/>
                  </a:lnTo>
                  <a:lnTo>
                    <a:pt x="22" y="473"/>
                  </a:lnTo>
                  <a:lnTo>
                    <a:pt x="19" y="473"/>
                  </a:lnTo>
                  <a:lnTo>
                    <a:pt x="17" y="473"/>
                  </a:lnTo>
                  <a:lnTo>
                    <a:pt x="14" y="473"/>
                  </a:lnTo>
                  <a:lnTo>
                    <a:pt x="14" y="473"/>
                  </a:lnTo>
                  <a:lnTo>
                    <a:pt x="19" y="468"/>
                  </a:lnTo>
                  <a:lnTo>
                    <a:pt x="19" y="466"/>
                  </a:lnTo>
                  <a:lnTo>
                    <a:pt x="19" y="466"/>
                  </a:lnTo>
                  <a:lnTo>
                    <a:pt x="17" y="468"/>
                  </a:lnTo>
                  <a:lnTo>
                    <a:pt x="14" y="471"/>
                  </a:lnTo>
                  <a:lnTo>
                    <a:pt x="12" y="473"/>
                  </a:lnTo>
                  <a:lnTo>
                    <a:pt x="12" y="473"/>
                  </a:lnTo>
                  <a:lnTo>
                    <a:pt x="7" y="473"/>
                  </a:lnTo>
                  <a:lnTo>
                    <a:pt x="5" y="473"/>
                  </a:lnTo>
                  <a:lnTo>
                    <a:pt x="5" y="476"/>
                  </a:lnTo>
                  <a:lnTo>
                    <a:pt x="5" y="478"/>
                  </a:lnTo>
                  <a:lnTo>
                    <a:pt x="3" y="480"/>
                  </a:lnTo>
                  <a:lnTo>
                    <a:pt x="3" y="480"/>
                  </a:lnTo>
                  <a:lnTo>
                    <a:pt x="0" y="483"/>
                  </a:lnTo>
                  <a:lnTo>
                    <a:pt x="0" y="483"/>
                  </a:lnTo>
                  <a:lnTo>
                    <a:pt x="5" y="483"/>
                  </a:lnTo>
                  <a:lnTo>
                    <a:pt x="10" y="485"/>
                  </a:lnTo>
                  <a:lnTo>
                    <a:pt x="17" y="485"/>
                  </a:lnTo>
                  <a:lnTo>
                    <a:pt x="24" y="485"/>
                  </a:lnTo>
                  <a:lnTo>
                    <a:pt x="31" y="485"/>
                  </a:lnTo>
                  <a:lnTo>
                    <a:pt x="40" y="485"/>
                  </a:lnTo>
                  <a:lnTo>
                    <a:pt x="47" y="485"/>
                  </a:lnTo>
                  <a:lnTo>
                    <a:pt x="50" y="485"/>
                  </a:lnTo>
                  <a:lnTo>
                    <a:pt x="47" y="485"/>
                  </a:lnTo>
                  <a:lnTo>
                    <a:pt x="47" y="483"/>
                  </a:lnTo>
                  <a:lnTo>
                    <a:pt x="47" y="480"/>
                  </a:lnTo>
                  <a:lnTo>
                    <a:pt x="47" y="480"/>
                  </a:lnTo>
                  <a:lnTo>
                    <a:pt x="50" y="476"/>
                  </a:lnTo>
                  <a:close/>
                  <a:moveTo>
                    <a:pt x="356" y="19"/>
                  </a:moveTo>
                  <a:lnTo>
                    <a:pt x="361" y="19"/>
                  </a:lnTo>
                  <a:lnTo>
                    <a:pt x="363" y="19"/>
                  </a:lnTo>
                  <a:lnTo>
                    <a:pt x="363" y="19"/>
                  </a:lnTo>
                  <a:lnTo>
                    <a:pt x="363" y="17"/>
                  </a:lnTo>
                  <a:lnTo>
                    <a:pt x="361" y="17"/>
                  </a:lnTo>
                  <a:lnTo>
                    <a:pt x="359" y="17"/>
                  </a:lnTo>
                  <a:lnTo>
                    <a:pt x="356" y="17"/>
                  </a:lnTo>
                  <a:lnTo>
                    <a:pt x="356" y="17"/>
                  </a:lnTo>
                  <a:lnTo>
                    <a:pt x="356" y="17"/>
                  </a:lnTo>
                  <a:lnTo>
                    <a:pt x="356" y="19"/>
                  </a:lnTo>
                  <a:lnTo>
                    <a:pt x="356" y="19"/>
                  </a:lnTo>
                  <a:lnTo>
                    <a:pt x="356" y="19"/>
                  </a:lnTo>
                  <a:close/>
                  <a:moveTo>
                    <a:pt x="361" y="14"/>
                  </a:moveTo>
                  <a:lnTo>
                    <a:pt x="361" y="14"/>
                  </a:lnTo>
                  <a:lnTo>
                    <a:pt x="363" y="14"/>
                  </a:lnTo>
                  <a:lnTo>
                    <a:pt x="363" y="14"/>
                  </a:lnTo>
                  <a:lnTo>
                    <a:pt x="368" y="14"/>
                  </a:lnTo>
                  <a:lnTo>
                    <a:pt x="373" y="14"/>
                  </a:lnTo>
                  <a:lnTo>
                    <a:pt x="377" y="17"/>
                  </a:lnTo>
                  <a:lnTo>
                    <a:pt x="377" y="17"/>
                  </a:lnTo>
                  <a:lnTo>
                    <a:pt x="382" y="17"/>
                  </a:lnTo>
                  <a:lnTo>
                    <a:pt x="389" y="17"/>
                  </a:lnTo>
                  <a:lnTo>
                    <a:pt x="396" y="14"/>
                  </a:lnTo>
                  <a:lnTo>
                    <a:pt x="399" y="14"/>
                  </a:lnTo>
                  <a:lnTo>
                    <a:pt x="396" y="14"/>
                  </a:lnTo>
                  <a:lnTo>
                    <a:pt x="387" y="12"/>
                  </a:lnTo>
                  <a:lnTo>
                    <a:pt x="382" y="12"/>
                  </a:lnTo>
                  <a:lnTo>
                    <a:pt x="377" y="12"/>
                  </a:lnTo>
                  <a:lnTo>
                    <a:pt x="370" y="12"/>
                  </a:lnTo>
                  <a:lnTo>
                    <a:pt x="361" y="10"/>
                  </a:lnTo>
                  <a:lnTo>
                    <a:pt x="361" y="10"/>
                  </a:lnTo>
                  <a:lnTo>
                    <a:pt x="359" y="12"/>
                  </a:lnTo>
                  <a:lnTo>
                    <a:pt x="359" y="12"/>
                  </a:lnTo>
                  <a:lnTo>
                    <a:pt x="356" y="12"/>
                  </a:lnTo>
                  <a:lnTo>
                    <a:pt x="356" y="12"/>
                  </a:lnTo>
                  <a:lnTo>
                    <a:pt x="356" y="14"/>
                  </a:lnTo>
                  <a:lnTo>
                    <a:pt x="361" y="14"/>
                  </a:lnTo>
                  <a:close/>
                  <a:moveTo>
                    <a:pt x="311" y="10"/>
                  </a:moveTo>
                  <a:lnTo>
                    <a:pt x="314" y="10"/>
                  </a:lnTo>
                  <a:lnTo>
                    <a:pt x="316" y="10"/>
                  </a:lnTo>
                  <a:lnTo>
                    <a:pt x="316" y="10"/>
                  </a:lnTo>
                  <a:lnTo>
                    <a:pt x="316" y="10"/>
                  </a:lnTo>
                  <a:lnTo>
                    <a:pt x="318" y="10"/>
                  </a:lnTo>
                  <a:lnTo>
                    <a:pt x="316" y="10"/>
                  </a:lnTo>
                  <a:lnTo>
                    <a:pt x="316" y="10"/>
                  </a:lnTo>
                  <a:lnTo>
                    <a:pt x="314" y="10"/>
                  </a:lnTo>
                  <a:lnTo>
                    <a:pt x="314" y="10"/>
                  </a:lnTo>
                  <a:lnTo>
                    <a:pt x="314" y="10"/>
                  </a:lnTo>
                  <a:lnTo>
                    <a:pt x="314" y="10"/>
                  </a:lnTo>
                  <a:lnTo>
                    <a:pt x="311" y="10"/>
                  </a:lnTo>
                  <a:lnTo>
                    <a:pt x="311" y="10"/>
                  </a:lnTo>
                  <a:lnTo>
                    <a:pt x="311" y="10"/>
                  </a:lnTo>
                  <a:close/>
                  <a:moveTo>
                    <a:pt x="1954" y="393"/>
                  </a:moveTo>
                  <a:lnTo>
                    <a:pt x="1956" y="393"/>
                  </a:lnTo>
                  <a:lnTo>
                    <a:pt x="1956" y="393"/>
                  </a:lnTo>
                  <a:lnTo>
                    <a:pt x="1959" y="393"/>
                  </a:lnTo>
                  <a:lnTo>
                    <a:pt x="1956" y="390"/>
                  </a:lnTo>
                  <a:lnTo>
                    <a:pt x="1956" y="390"/>
                  </a:lnTo>
                  <a:lnTo>
                    <a:pt x="1956" y="393"/>
                  </a:lnTo>
                  <a:lnTo>
                    <a:pt x="1954" y="393"/>
                  </a:lnTo>
                  <a:lnTo>
                    <a:pt x="1954" y="393"/>
                  </a:lnTo>
                  <a:close/>
                  <a:moveTo>
                    <a:pt x="330" y="24"/>
                  </a:moveTo>
                  <a:lnTo>
                    <a:pt x="326" y="24"/>
                  </a:lnTo>
                  <a:lnTo>
                    <a:pt x="323" y="24"/>
                  </a:lnTo>
                  <a:lnTo>
                    <a:pt x="321" y="24"/>
                  </a:lnTo>
                  <a:lnTo>
                    <a:pt x="316" y="26"/>
                  </a:lnTo>
                  <a:lnTo>
                    <a:pt x="321" y="26"/>
                  </a:lnTo>
                  <a:lnTo>
                    <a:pt x="328" y="26"/>
                  </a:lnTo>
                  <a:lnTo>
                    <a:pt x="333" y="26"/>
                  </a:lnTo>
                  <a:lnTo>
                    <a:pt x="333" y="26"/>
                  </a:lnTo>
                  <a:lnTo>
                    <a:pt x="333" y="26"/>
                  </a:lnTo>
                  <a:lnTo>
                    <a:pt x="330" y="26"/>
                  </a:lnTo>
                  <a:lnTo>
                    <a:pt x="330" y="26"/>
                  </a:lnTo>
                  <a:lnTo>
                    <a:pt x="330" y="26"/>
                  </a:lnTo>
                  <a:lnTo>
                    <a:pt x="330" y="24"/>
                  </a:lnTo>
                  <a:close/>
                  <a:moveTo>
                    <a:pt x="318" y="24"/>
                  </a:moveTo>
                  <a:lnTo>
                    <a:pt x="316" y="22"/>
                  </a:lnTo>
                  <a:lnTo>
                    <a:pt x="314" y="22"/>
                  </a:lnTo>
                  <a:lnTo>
                    <a:pt x="309" y="24"/>
                  </a:lnTo>
                  <a:lnTo>
                    <a:pt x="309" y="24"/>
                  </a:lnTo>
                  <a:lnTo>
                    <a:pt x="316" y="24"/>
                  </a:lnTo>
                  <a:lnTo>
                    <a:pt x="316" y="24"/>
                  </a:lnTo>
                  <a:lnTo>
                    <a:pt x="316" y="24"/>
                  </a:lnTo>
                  <a:lnTo>
                    <a:pt x="318" y="24"/>
                  </a:lnTo>
                  <a:lnTo>
                    <a:pt x="318" y="2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6" name="Freeform 252"/>
            <p:cNvSpPr>
              <a:spLocks/>
            </p:cNvSpPr>
            <p:nvPr userDrawn="1"/>
          </p:nvSpPr>
          <p:spPr bwMode="auto">
            <a:xfrm>
              <a:off x="4011" y="1791"/>
              <a:ext cx="158" cy="97"/>
            </a:xfrm>
            <a:custGeom>
              <a:avLst/>
              <a:gdLst>
                <a:gd name="T0" fmla="*/ 146 w 158"/>
                <a:gd name="T1" fmla="*/ 61 h 97"/>
                <a:gd name="T2" fmla="*/ 142 w 158"/>
                <a:gd name="T3" fmla="*/ 64 h 97"/>
                <a:gd name="T4" fmla="*/ 134 w 158"/>
                <a:gd name="T5" fmla="*/ 61 h 97"/>
                <a:gd name="T6" fmla="*/ 130 w 158"/>
                <a:gd name="T7" fmla="*/ 57 h 97"/>
                <a:gd name="T8" fmla="*/ 130 w 158"/>
                <a:gd name="T9" fmla="*/ 52 h 97"/>
                <a:gd name="T10" fmla="*/ 132 w 158"/>
                <a:gd name="T11" fmla="*/ 38 h 97"/>
                <a:gd name="T12" fmla="*/ 127 w 158"/>
                <a:gd name="T13" fmla="*/ 28 h 97"/>
                <a:gd name="T14" fmla="*/ 120 w 158"/>
                <a:gd name="T15" fmla="*/ 21 h 97"/>
                <a:gd name="T16" fmla="*/ 113 w 158"/>
                <a:gd name="T17" fmla="*/ 14 h 97"/>
                <a:gd name="T18" fmla="*/ 109 w 158"/>
                <a:gd name="T19" fmla="*/ 5 h 97"/>
                <a:gd name="T20" fmla="*/ 104 w 158"/>
                <a:gd name="T21" fmla="*/ 0 h 97"/>
                <a:gd name="T22" fmla="*/ 97 w 158"/>
                <a:gd name="T23" fmla="*/ 5 h 97"/>
                <a:gd name="T24" fmla="*/ 83 w 158"/>
                <a:gd name="T25" fmla="*/ 9 h 97"/>
                <a:gd name="T26" fmla="*/ 73 w 158"/>
                <a:gd name="T27" fmla="*/ 12 h 97"/>
                <a:gd name="T28" fmla="*/ 64 w 158"/>
                <a:gd name="T29" fmla="*/ 9 h 97"/>
                <a:gd name="T30" fmla="*/ 54 w 158"/>
                <a:gd name="T31" fmla="*/ 7 h 97"/>
                <a:gd name="T32" fmla="*/ 45 w 158"/>
                <a:gd name="T33" fmla="*/ 5 h 97"/>
                <a:gd name="T34" fmla="*/ 40 w 158"/>
                <a:gd name="T35" fmla="*/ 7 h 97"/>
                <a:gd name="T36" fmla="*/ 36 w 158"/>
                <a:gd name="T37" fmla="*/ 12 h 97"/>
                <a:gd name="T38" fmla="*/ 31 w 158"/>
                <a:gd name="T39" fmla="*/ 14 h 97"/>
                <a:gd name="T40" fmla="*/ 26 w 158"/>
                <a:gd name="T41" fmla="*/ 19 h 97"/>
                <a:gd name="T42" fmla="*/ 21 w 158"/>
                <a:gd name="T43" fmla="*/ 26 h 97"/>
                <a:gd name="T44" fmla="*/ 19 w 158"/>
                <a:gd name="T45" fmla="*/ 33 h 97"/>
                <a:gd name="T46" fmla="*/ 17 w 158"/>
                <a:gd name="T47" fmla="*/ 35 h 97"/>
                <a:gd name="T48" fmla="*/ 14 w 158"/>
                <a:gd name="T49" fmla="*/ 40 h 97"/>
                <a:gd name="T50" fmla="*/ 7 w 158"/>
                <a:gd name="T51" fmla="*/ 43 h 97"/>
                <a:gd name="T52" fmla="*/ 5 w 158"/>
                <a:gd name="T53" fmla="*/ 45 h 97"/>
                <a:gd name="T54" fmla="*/ 0 w 158"/>
                <a:gd name="T55" fmla="*/ 47 h 97"/>
                <a:gd name="T56" fmla="*/ 7 w 158"/>
                <a:gd name="T57" fmla="*/ 54 h 97"/>
                <a:gd name="T58" fmla="*/ 10 w 158"/>
                <a:gd name="T59" fmla="*/ 54 h 97"/>
                <a:gd name="T60" fmla="*/ 10 w 158"/>
                <a:gd name="T61" fmla="*/ 59 h 97"/>
                <a:gd name="T62" fmla="*/ 12 w 158"/>
                <a:gd name="T63" fmla="*/ 61 h 97"/>
                <a:gd name="T64" fmla="*/ 19 w 158"/>
                <a:gd name="T65" fmla="*/ 64 h 97"/>
                <a:gd name="T66" fmla="*/ 19 w 158"/>
                <a:gd name="T67" fmla="*/ 66 h 97"/>
                <a:gd name="T68" fmla="*/ 19 w 158"/>
                <a:gd name="T69" fmla="*/ 71 h 97"/>
                <a:gd name="T70" fmla="*/ 21 w 158"/>
                <a:gd name="T71" fmla="*/ 71 h 97"/>
                <a:gd name="T72" fmla="*/ 19 w 158"/>
                <a:gd name="T73" fmla="*/ 73 h 97"/>
                <a:gd name="T74" fmla="*/ 28 w 158"/>
                <a:gd name="T75" fmla="*/ 78 h 97"/>
                <a:gd name="T76" fmla="*/ 38 w 158"/>
                <a:gd name="T77" fmla="*/ 76 h 97"/>
                <a:gd name="T78" fmla="*/ 40 w 158"/>
                <a:gd name="T79" fmla="*/ 78 h 97"/>
                <a:gd name="T80" fmla="*/ 40 w 158"/>
                <a:gd name="T81" fmla="*/ 83 h 97"/>
                <a:gd name="T82" fmla="*/ 43 w 158"/>
                <a:gd name="T83" fmla="*/ 87 h 97"/>
                <a:gd name="T84" fmla="*/ 45 w 158"/>
                <a:gd name="T85" fmla="*/ 90 h 97"/>
                <a:gd name="T86" fmla="*/ 52 w 158"/>
                <a:gd name="T87" fmla="*/ 92 h 97"/>
                <a:gd name="T88" fmla="*/ 78 w 158"/>
                <a:gd name="T89" fmla="*/ 97 h 97"/>
                <a:gd name="T90" fmla="*/ 97 w 158"/>
                <a:gd name="T91" fmla="*/ 92 h 97"/>
                <a:gd name="T92" fmla="*/ 116 w 158"/>
                <a:gd name="T93" fmla="*/ 87 h 97"/>
                <a:gd name="T94" fmla="*/ 127 w 158"/>
                <a:gd name="T95" fmla="*/ 92 h 97"/>
                <a:gd name="T96" fmla="*/ 137 w 158"/>
                <a:gd name="T97" fmla="*/ 95 h 97"/>
                <a:gd name="T98" fmla="*/ 142 w 158"/>
                <a:gd name="T99" fmla="*/ 85 h 97"/>
                <a:gd name="T100" fmla="*/ 144 w 158"/>
                <a:gd name="T101" fmla="*/ 78 h 97"/>
                <a:gd name="T102" fmla="*/ 144 w 158"/>
                <a:gd name="T103" fmla="*/ 71 h 97"/>
                <a:gd name="T104" fmla="*/ 149 w 158"/>
                <a:gd name="T105" fmla="*/ 73 h 97"/>
                <a:gd name="T106" fmla="*/ 156 w 158"/>
                <a:gd name="T107" fmla="*/ 7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97">
                  <a:moveTo>
                    <a:pt x="156" y="61"/>
                  </a:moveTo>
                  <a:lnTo>
                    <a:pt x="156" y="61"/>
                  </a:lnTo>
                  <a:lnTo>
                    <a:pt x="153" y="59"/>
                  </a:lnTo>
                  <a:lnTo>
                    <a:pt x="149" y="59"/>
                  </a:lnTo>
                  <a:lnTo>
                    <a:pt x="146" y="61"/>
                  </a:lnTo>
                  <a:lnTo>
                    <a:pt x="144" y="61"/>
                  </a:lnTo>
                  <a:lnTo>
                    <a:pt x="144" y="61"/>
                  </a:lnTo>
                  <a:lnTo>
                    <a:pt x="142" y="61"/>
                  </a:lnTo>
                  <a:lnTo>
                    <a:pt x="142" y="61"/>
                  </a:lnTo>
                  <a:lnTo>
                    <a:pt x="142" y="64"/>
                  </a:lnTo>
                  <a:lnTo>
                    <a:pt x="142" y="64"/>
                  </a:lnTo>
                  <a:lnTo>
                    <a:pt x="142" y="64"/>
                  </a:lnTo>
                  <a:lnTo>
                    <a:pt x="142" y="64"/>
                  </a:lnTo>
                  <a:lnTo>
                    <a:pt x="137" y="61"/>
                  </a:lnTo>
                  <a:lnTo>
                    <a:pt x="134" y="61"/>
                  </a:lnTo>
                  <a:lnTo>
                    <a:pt x="132" y="59"/>
                  </a:lnTo>
                  <a:lnTo>
                    <a:pt x="132" y="57"/>
                  </a:lnTo>
                  <a:lnTo>
                    <a:pt x="130" y="57"/>
                  </a:lnTo>
                  <a:lnTo>
                    <a:pt x="130" y="57"/>
                  </a:lnTo>
                  <a:lnTo>
                    <a:pt x="130" y="57"/>
                  </a:lnTo>
                  <a:lnTo>
                    <a:pt x="130" y="54"/>
                  </a:lnTo>
                  <a:lnTo>
                    <a:pt x="132" y="54"/>
                  </a:lnTo>
                  <a:lnTo>
                    <a:pt x="130" y="54"/>
                  </a:lnTo>
                  <a:lnTo>
                    <a:pt x="130" y="52"/>
                  </a:lnTo>
                  <a:lnTo>
                    <a:pt x="130" y="52"/>
                  </a:lnTo>
                  <a:lnTo>
                    <a:pt x="130" y="50"/>
                  </a:lnTo>
                  <a:lnTo>
                    <a:pt x="130" y="47"/>
                  </a:lnTo>
                  <a:lnTo>
                    <a:pt x="130" y="45"/>
                  </a:lnTo>
                  <a:lnTo>
                    <a:pt x="130" y="40"/>
                  </a:lnTo>
                  <a:lnTo>
                    <a:pt x="132" y="38"/>
                  </a:lnTo>
                  <a:lnTo>
                    <a:pt x="130" y="38"/>
                  </a:lnTo>
                  <a:lnTo>
                    <a:pt x="130" y="35"/>
                  </a:lnTo>
                  <a:lnTo>
                    <a:pt x="130" y="33"/>
                  </a:lnTo>
                  <a:lnTo>
                    <a:pt x="130" y="31"/>
                  </a:lnTo>
                  <a:lnTo>
                    <a:pt x="127" y="28"/>
                  </a:lnTo>
                  <a:lnTo>
                    <a:pt x="125" y="26"/>
                  </a:lnTo>
                  <a:lnTo>
                    <a:pt x="123" y="24"/>
                  </a:lnTo>
                  <a:lnTo>
                    <a:pt x="123" y="24"/>
                  </a:lnTo>
                  <a:lnTo>
                    <a:pt x="123" y="24"/>
                  </a:lnTo>
                  <a:lnTo>
                    <a:pt x="120" y="21"/>
                  </a:lnTo>
                  <a:lnTo>
                    <a:pt x="120" y="21"/>
                  </a:lnTo>
                  <a:lnTo>
                    <a:pt x="118" y="17"/>
                  </a:lnTo>
                  <a:lnTo>
                    <a:pt x="116" y="17"/>
                  </a:lnTo>
                  <a:lnTo>
                    <a:pt x="116" y="17"/>
                  </a:lnTo>
                  <a:lnTo>
                    <a:pt x="113" y="14"/>
                  </a:lnTo>
                  <a:lnTo>
                    <a:pt x="113" y="12"/>
                  </a:lnTo>
                  <a:lnTo>
                    <a:pt x="113" y="12"/>
                  </a:lnTo>
                  <a:lnTo>
                    <a:pt x="111" y="9"/>
                  </a:lnTo>
                  <a:lnTo>
                    <a:pt x="111" y="7"/>
                  </a:lnTo>
                  <a:lnTo>
                    <a:pt x="109" y="5"/>
                  </a:lnTo>
                  <a:lnTo>
                    <a:pt x="109" y="5"/>
                  </a:lnTo>
                  <a:lnTo>
                    <a:pt x="109" y="2"/>
                  </a:lnTo>
                  <a:lnTo>
                    <a:pt x="106" y="2"/>
                  </a:lnTo>
                  <a:lnTo>
                    <a:pt x="104" y="2"/>
                  </a:lnTo>
                  <a:lnTo>
                    <a:pt x="104" y="0"/>
                  </a:lnTo>
                  <a:lnTo>
                    <a:pt x="102" y="0"/>
                  </a:lnTo>
                  <a:lnTo>
                    <a:pt x="102" y="2"/>
                  </a:lnTo>
                  <a:lnTo>
                    <a:pt x="99" y="2"/>
                  </a:lnTo>
                  <a:lnTo>
                    <a:pt x="97" y="2"/>
                  </a:lnTo>
                  <a:lnTo>
                    <a:pt x="97" y="5"/>
                  </a:lnTo>
                  <a:lnTo>
                    <a:pt x="94" y="5"/>
                  </a:lnTo>
                  <a:lnTo>
                    <a:pt x="94" y="7"/>
                  </a:lnTo>
                  <a:lnTo>
                    <a:pt x="90" y="7"/>
                  </a:lnTo>
                  <a:lnTo>
                    <a:pt x="87" y="7"/>
                  </a:lnTo>
                  <a:lnTo>
                    <a:pt x="83" y="9"/>
                  </a:lnTo>
                  <a:lnTo>
                    <a:pt x="78" y="9"/>
                  </a:lnTo>
                  <a:lnTo>
                    <a:pt x="78" y="12"/>
                  </a:lnTo>
                  <a:lnTo>
                    <a:pt x="76" y="12"/>
                  </a:lnTo>
                  <a:lnTo>
                    <a:pt x="73" y="12"/>
                  </a:lnTo>
                  <a:lnTo>
                    <a:pt x="73" y="12"/>
                  </a:lnTo>
                  <a:lnTo>
                    <a:pt x="71" y="9"/>
                  </a:lnTo>
                  <a:lnTo>
                    <a:pt x="69" y="7"/>
                  </a:lnTo>
                  <a:lnTo>
                    <a:pt x="66" y="7"/>
                  </a:lnTo>
                  <a:lnTo>
                    <a:pt x="66" y="7"/>
                  </a:lnTo>
                  <a:lnTo>
                    <a:pt x="64" y="9"/>
                  </a:lnTo>
                  <a:lnTo>
                    <a:pt x="61" y="9"/>
                  </a:lnTo>
                  <a:lnTo>
                    <a:pt x="59" y="7"/>
                  </a:lnTo>
                  <a:lnTo>
                    <a:pt x="59" y="7"/>
                  </a:lnTo>
                  <a:lnTo>
                    <a:pt x="59" y="7"/>
                  </a:lnTo>
                  <a:lnTo>
                    <a:pt x="54" y="7"/>
                  </a:lnTo>
                  <a:lnTo>
                    <a:pt x="54" y="7"/>
                  </a:lnTo>
                  <a:lnTo>
                    <a:pt x="54" y="7"/>
                  </a:lnTo>
                  <a:lnTo>
                    <a:pt x="52" y="7"/>
                  </a:lnTo>
                  <a:lnTo>
                    <a:pt x="50" y="7"/>
                  </a:lnTo>
                  <a:lnTo>
                    <a:pt x="45" y="5"/>
                  </a:lnTo>
                  <a:lnTo>
                    <a:pt x="45" y="5"/>
                  </a:lnTo>
                  <a:lnTo>
                    <a:pt x="45" y="5"/>
                  </a:lnTo>
                  <a:lnTo>
                    <a:pt x="43" y="7"/>
                  </a:lnTo>
                  <a:lnTo>
                    <a:pt x="40" y="7"/>
                  </a:lnTo>
                  <a:lnTo>
                    <a:pt x="40" y="7"/>
                  </a:lnTo>
                  <a:lnTo>
                    <a:pt x="40" y="7"/>
                  </a:lnTo>
                  <a:lnTo>
                    <a:pt x="38" y="12"/>
                  </a:lnTo>
                  <a:lnTo>
                    <a:pt x="36" y="12"/>
                  </a:lnTo>
                  <a:lnTo>
                    <a:pt x="36" y="12"/>
                  </a:lnTo>
                  <a:lnTo>
                    <a:pt x="36" y="12"/>
                  </a:lnTo>
                  <a:lnTo>
                    <a:pt x="33" y="12"/>
                  </a:lnTo>
                  <a:lnTo>
                    <a:pt x="33" y="12"/>
                  </a:lnTo>
                  <a:lnTo>
                    <a:pt x="31" y="12"/>
                  </a:lnTo>
                  <a:lnTo>
                    <a:pt x="31" y="12"/>
                  </a:lnTo>
                  <a:lnTo>
                    <a:pt x="31" y="14"/>
                  </a:lnTo>
                  <a:lnTo>
                    <a:pt x="28" y="14"/>
                  </a:lnTo>
                  <a:lnTo>
                    <a:pt x="28" y="17"/>
                  </a:lnTo>
                  <a:lnTo>
                    <a:pt x="26" y="17"/>
                  </a:lnTo>
                  <a:lnTo>
                    <a:pt x="26" y="19"/>
                  </a:lnTo>
                  <a:lnTo>
                    <a:pt x="26" y="19"/>
                  </a:lnTo>
                  <a:lnTo>
                    <a:pt x="26" y="21"/>
                  </a:lnTo>
                  <a:lnTo>
                    <a:pt x="24" y="21"/>
                  </a:lnTo>
                  <a:lnTo>
                    <a:pt x="24" y="24"/>
                  </a:lnTo>
                  <a:lnTo>
                    <a:pt x="24" y="26"/>
                  </a:lnTo>
                  <a:lnTo>
                    <a:pt x="21" y="26"/>
                  </a:lnTo>
                  <a:lnTo>
                    <a:pt x="21" y="26"/>
                  </a:lnTo>
                  <a:lnTo>
                    <a:pt x="21" y="28"/>
                  </a:lnTo>
                  <a:lnTo>
                    <a:pt x="21" y="31"/>
                  </a:lnTo>
                  <a:lnTo>
                    <a:pt x="19" y="31"/>
                  </a:lnTo>
                  <a:lnTo>
                    <a:pt x="19" y="33"/>
                  </a:lnTo>
                  <a:lnTo>
                    <a:pt x="19" y="33"/>
                  </a:lnTo>
                  <a:lnTo>
                    <a:pt x="19" y="35"/>
                  </a:lnTo>
                  <a:lnTo>
                    <a:pt x="17" y="35"/>
                  </a:lnTo>
                  <a:lnTo>
                    <a:pt x="17" y="35"/>
                  </a:lnTo>
                  <a:lnTo>
                    <a:pt x="17" y="35"/>
                  </a:lnTo>
                  <a:lnTo>
                    <a:pt x="17" y="38"/>
                  </a:lnTo>
                  <a:lnTo>
                    <a:pt x="17" y="38"/>
                  </a:lnTo>
                  <a:lnTo>
                    <a:pt x="17" y="40"/>
                  </a:lnTo>
                  <a:lnTo>
                    <a:pt x="14" y="40"/>
                  </a:lnTo>
                  <a:lnTo>
                    <a:pt x="14" y="40"/>
                  </a:lnTo>
                  <a:lnTo>
                    <a:pt x="14" y="43"/>
                  </a:lnTo>
                  <a:lnTo>
                    <a:pt x="14" y="43"/>
                  </a:lnTo>
                  <a:lnTo>
                    <a:pt x="12" y="43"/>
                  </a:lnTo>
                  <a:lnTo>
                    <a:pt x="10" y="43"/>
                  </a:lnTo>
                  <a:lnTo>
                    <a:pt x="7" y="43"/>
                  </a:lnTo>
                  <a:lnTo>
                    <a:pt x="7" y="43"/>
                  </a:lnTo>
                  <a:lnTo>
                    <a:pt x="7" y="45"/>
                  </a:lnTo>
                  <a:lnTo>
                    <a:pt x="7" y="45"/>
                  </a:lnTo>
                  <a:lnTo>
                    <a:pt x="7" y="45"/>
                  </a:lnTo>
                  <a:lnTo>
                    <a:pt x="5" y="45"/>
                  </a:lnTo>
                  <a:lnTo>
                    <a:pt x="3" y="45"/>
                  </a:lnTo>
                  <a:lnTo>
                    <a:pt x="0" y="45"/>
                  </a:lnTo>
                  <a:lnTo>
                    <a:pt x="0" y="45"/>
                  </a:lnTo>
                  <a:lnTo>
                    <a:pt x="0" y="47"/>
                  </a:lnTo>
                  <a:lnTo>
                    <a:pt x="0" y="47"/>
                  </a:lnTo>
                  <a:lnTo>
                    <a:pt x="3" y="50"/>
                  </a:lnTo>
                  <a:lnTo>
                    <a:pt x="5" y="50"/>
                  </a:lnTo>
                  <a:lnTo>
                    <a:pt x="5" y="50"/>
                  </a:lnTo>
                  <a:lnTo>
                    <a:pt x="7" y="52"/>
                  </a:lnTo>
                  <a:lnTo>
                    <a:pt x="7" y="54"/>
                  </a:lnTo>
                  <a:lnTo>
                    <a:pt x="7" y="54"/>
                  </a:lnTo>
                  <a:lnTo>
                    <a:pt x="7" y="52"/>
                  </a:lnTo>
                  <a:lnTo>
                    <a:pt x="7" y="52"/>
                  </a:lnTo>
                  <a:lnTo>
                    <a:pt x="10" y="52"/>
                  </a:lnTo>
                  <a:lnTo>
                    <a:pt x="10" y="54"/>
                  </a:lnTo>
                  <a:lnTo>
                    <a:pt x="10" y="54"/>
                  </a:lnTo>
                  <a:lnTo>
                    <a:pt x="10" y="57"/>
                  </a:lnTo>
                  <a:lnTo>
                    <a:pt x="10" y="57"/>
                  </a:lnTo>
                  <a:lnTo>
                    <a:pt x="10" y="57"/>
                  </a:lnTo>
                  <a:lnTo>
                    <a:pt x="10" y="59"/>
                  </a:lnTo>
                  <a:lnTo>
                    <a:pt x="10" y="59"/>
                  </a:lnTo>
                  <a:lnTo>
                    <a:pt x="10" y="59"/>
                  </a:lnTo>
                  <a:lnTo>
                    <a:pt x="10" y="59"/>
                  </a:lnTo>
                  <a:lnTo>
                    <a:pt x="12" y="61"/>
                  </a:lnTo>
                  <a:lnTo>
                    <a:pt x="12" y="61"/>
                  </a:lnTo>
                  <a:lnTo>
                    <a:pt x="14" y="61"/>
                  </a:lnTo>
                  <a:lnTo>
                    <a:pt x="14" y="61"/>
                  </a:lnTo>
                  <a:lnTo>
                    <a:pt x="17" y="64"/>
                  </a:lnTo>
                  <a:lnTo>
                    <a:pt x="19" y="64"/>
                  </a:lnTo>
                  <a:lnTo>
                    <a:pt x="19" y="64"/>
                  </a:lnTo>
                  <a:lnTo>
                    <a:pt x="21" y="64"/>
                  </a:lnTo>
                  <a:lnTo>
                    <a:pt x="21" y="66"/>
                  </a:lnTo>
                  <a:lnTo>
                    <a:pt x="21" y="66"/>
                  </a:lnTo>
                  <a:lnTo>
                    <a:pt x="21" y="66"/>
                  </a:lnTo>
                  <a:lnTo>
                    <a:pt x="19" y="66"/>
                  </a:lnTo>
                  <a:lnTo>
                    <a:pt x="19" y="69"/>
                  </a:lnTo>
                  <a:lnTo>
                    <a:pt x="19" y="69"/>
                  </a:lnTo>
                  <a:lnTo>
                    <a:pt x="19" y="69"/>
                  </a:lnTo>
                  <a:lnTo>
                    <a:pt x="19" y="69"/>
                  </a:lnTo>
                  <a:lnTo>
                    <a:pt x="19" y="71"/>
                  </a:lnTo>
                  <a:lnTo>
                    <a:pt x="19" y="71"/>
                  </a:lnTo>
                  <a:lnTo>
                    <a:pt x="19" y="71"/>
                  </a:lnTo>
                  <a:lnTo>
                    <a:pt x="21" y="71"/>
                  </a:lnTo>
                  <a:lnTo>
                    <a:pt x="21" y="71"/>
                  </a:lnTo>
                  <a:lnTo>
                    <a:pt x="21" y="71"/>
                  </a:lnTo>
                  <a:lnTo>
                    <a:pt x="21" y="73"/>
                  </a:lnTo>
                  <a:lnTo>
                    <a:pt x="21" y="73"/>
                  </a:lnTo>
                  <a:lnTo>
                    <a:pt x="19" y="73"/>
                  </a:lnTo>
                  <a:lnTo>
                    <a:pt x="19" y="73"/>
                  </a:lnTo>
                  <a:lnTo>
                    <a:pt x="19" y="73"/>
                  </a:lnTo>
                  <a:lnTo>
                    <a:pt x="21" y="73"/>
                  </a:lnTo>
                  <a:lnTo>
                    <a:pt x="24" y="76"/>
                  </a:lnTo>
                  <a:lnTo>
                    <a:pt x="24" y="76"/>
                  </a:lnTo>
                  <a:lnTo>
                    <a:pt x="26" y="76"/>
                  </a:lnTo>
                  <a:lnTo>
                    <a:pt x="28" y="78"/>
                  </a:lnTo>
                  <a:lnTo>
                    <a:pt x="31" y="78"/>
                  </a:lnTo>
                  <a:lnTo>
                    <a:pt x="31" y="80"/>
                  </a:lnTo>
                  <a:lnTo>
                    <a:pt x="33" y="78"/>
                  </a:lnTo>
                  <a:lnTo>
                    <a:pt x="36" y="76"/>
                  </a:lnTo>
                  <a:lnTo>
                    <a:pt x="38" y="76"/>
                  </a:lnTo>
                  <a:lnTo>
                    <a:pt x="40" y="78"/>
                  </a:lnTo>
                  <a:lnTo>
                    <a:pt x="43" y="78"/>
                  </a:lnTo>
                  <a:lnTo>
                    <a:pt x="43" y="78"/>
                  </a:lnTo>
                  <a:lnTo>
                    <a:pt x="43" y="78"/>
                  </a:lnTo>
                  <a:lnTo>
                    <a:pt x="40" y="78"/>
                  </a:lnTo>
                  <a:lnTo>
                    <a:pt x="40" y="80"/>
                  </a:lnTo>
                  <a:lnTo>
                    <a:pt x="38" y="80"/>
                  </a:lnTo>
                  <a:lnTo>
                    <a:pt x="38" y="83"/>
                  </a:lnTo>
                  <a:lnTo>
                    <a:pt x="40" y="83"/>
                  </a:lnTo>
                  <a:lnTo>
                    <a:pt x="40" y="83"/>
                  </a:lnTo>
                  <a:lnTo>
                    <a:pt x="40" y="85"/>
                  </a:lnTo>
                  <a:lnTo>
                    <a:pt x="43" y="85"/>
                  </a:lnTo>
                  <a:lnTo>
                    <a:pt x="43" y="85"/>
                  </a:lnTo>
                  <a:lnTo>
                    <a:pt x="43" y="85"/>
                  </a:lnTo>
                  <a:lnTo>
                    <a:pt x="43" y="87"/>
                  </a:lnTo>
                  <a:lnTo>
                    <a:pt x="47" y="87"/>
                  </a:lnTo>
                  <a:lnTo>
                    <a:pt x="47" y="90"/>
                  </a:lnTo>
                  <a:lnTo>
                    <a:pt x="47" y="90"/>
                  </a:lnTo>
                  <a:lnTo>
                    <a:pt x="47" y="90"/>
                  </a:lnTo>
                  <a:lnTo>
                    <a:pt x="45" y="90"/>
                  </a:lnTo>
                  <a:lnTo>
                    <a:pt x="45" y="92"/>
                  </a:lnTo>
                  <a:lnTo>
                    <a:pt x="45" y="92"/>
                  </a:lnTo>
                  <a:lnTo>
                    <a:pt x="45" y="92"/>
                  </a:lnTo>
                  <a:lnTo>
                    <a:pt x="47" y="95"/>
                  </a:lnTo>
                  <a:lnTo>
                    <a:pt x="52" y="92"/>
                  </a:lnTo>
                  <a:lnTo>
                    <a:pt x="57" y="95"/>
                  </a:lnTo>
                  <a:lnTo>
                    <a:pt x="64" y="95"/>
                  </a:lnTo>
                  <a:lnTo>
                    <a:pt x="69" y="95"/>
                  </a:lnTo>
                  <a:lnTo>
                    <a:pt x="71" y="95"/>
                  </a:lnTo>
                  <a:lnTo>
                    <a:pt x="78" y="97"/>
                  </a:lnTo>
                  <a:lnTo>
                    <a:pt x="85" y="97"/>
                  </a:lnTo>
                  <a:lnTo>
                    <a:pt x="90" y="97"/>
                  </a:lnTo>
                  <a:lnTo>
                    <a:pt x="92" y="97"/>
                  </a:lnTo>
                  <a:lnTo>
                    <a:pt x="94" y="95"/>
                  </a:lnTo>
                  <a:lnTo>
                    <a:pt x="97" y="92"/>
                  </a:lnTo>
                  <a:lnTo>
                    <a:pt x="102" y="90"/>
                  </a:lnTo>
                  <a:lnTo>
                    <a:pt x="106" y="90"/>
                  </a:lnTo>
                  <a:lnTo>
                    <a:pt x="111" y="87"/>
                  </a:lnTo>
                  <a:lnTo>
                    <a:pt x="116" y="87"/>
                  </a:lnTo>
                  <a:lnTo>
                    <a:pt x="116" y="87"/>
                  </a:lnTo>
                  <a:lnTo>
                    <a:pt x="123" y="90"/>
                  </a:lnTo>
                  <a:lnTo>
                    <a:pt x="123" y="90"/>
                  </a:lnTo>
                  <a:lnTo>
                    <a:pt x="125" y="90"/>
                  </a:lnTo>
                  <a:lnTo>
                    <a:pt x="127" y="92"/>
                  </a:lnTo>
                  <a:lnTo>
                    <a:pt x="127" y="92"/>
                  </a:lnTo>
                  <a:lnTo>
                    <a:pt x="130" y="90"/>
                  </a:lnTo>
                  <a:lnTo>
                    <a:pt x="130" y="92"/>
                  </a:lnTo>
                  <a:lnTo>
                    <a:pt x="132" y="95"/>
                  </a:lnTo>
                  <a:lnTo>
                    <a:pt x="134" y="95"/>
                  </a:lnTo>
                  <a:lnTo>
                    <a:pt x="137" y="95"/>
                  </a:lnTo>
                  <a:lnTo>
                    <a:pt x="139" y="97"/>
                  </a:lnTo>
                  <a:lnTo>
                    <a:pt x="142" y="95"/>
                  </a:lnTo>
                  <a:lnTo>
                    <a:pt x="142" y="95"/>
                  </a:lnTo>
                  <a:lnTo>
                    <a:pt x="142" y="90"/>
                  </a:lnTo>
                  <a:lnTo>
                    <a:pt x="142" y="85"/>
                  </a:lnTo>
                  <a:lnTo>
                    <a:pt x="142" y="83"/>
                  </a:lnTo>
                  <a:lnTo>
                    <a:pt x="144" y="80"/>
                  </a:lnTo>
                  <a:lnTo>
                    <a:pt x="146" y="78"/>
                  </a:lnTo>
                  <a:lnTo>
                    <a:pt x="144" y="78"/>
                  </a:lnTo>
                  <a:lnTo>
                    <a:pt x="144" y="78"/>
                  </a:lnTo>
                  <a:lnTo>
                    <a:pt x="144" y="78"/>
                  </a:lnTo>
                  <a:lnTo>
                    <a:pt x="144" y="76"/>
                  </a:lnTo>
                  <a:lnTo>
                    <a:pt x="144" y="76"/>
                  </a:lnTo>
                  <a:lnTo>
                    <a:pt x="146" y="73"/>
                  </a:lnTo>
                  <a:lnTo>
                    <a:pt x="144" y="71"/>
                  </a:lnTo>
                  <a:lnTo>
                    <a:pt x="146" y="71"/>
                  </a:lnTo>
                  <a:lnTo>
                    <a:pt x="146" y="71"/>
                  </a:lnTo>
                  <a:lnTo>
                    <a:pt x="149" y="71"/>
                  </a:lnTo>
                  <a:lnTo>
                    <a:pt x="146" y="71"/>
                  </a:lnTo>
                  <a:lnTo>
                    <a:pt x="149" y="73"/>
                  </a:lnTo>
                  <a:lnTo>
                    <a:pt x="149" y="73"/>
                  </a:lnTo>
                  <a:lnTo>
                    <a:pt x="149" y="76"/>
                  </a:lnTo>
                  <a:lnTo>
                    <a:pt x="156" y="73"/>
                  </a:lnTo>
                  <a:lnTo>
                    <a:pt x="156" y="71"/>
                  </a:lnTo>
                  <a:lnTo>
                    <a:pt x="156" y="71"/>
                  </a:lnTo>
                  <a:lnTo>
                    <a:pt x="158" y="66"/>
                  </a:lnTo>
                  <a:lnTo>
                    <a:pt x="158" y="64"/>
                  </a:lnTo>
                  <a:lnTo>
                    <a:pt x="158" y="64"/>
                  </a:lnTo>
                  <a:lnTo>
                    <a:pt x="156" y="6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7" name="Freeform 253"/>
            <p:cNvSpPr>
              <a:spLocks/>
            </p:cNvSpPr>
            <p:nvPr userDrawn="1"/>
          </p:nvSpPr>
          <p:spPr bwMode="auto">
            <a:xfrm>
              <a:off x="4577" y="2257"/>
              <a:ext cx="14" cy="33"/>
            </a:xfrm>
            <a:custGeom>
              <a:avLst/>
              <a:gdLst>
                <a:gd name="T0" fmla="*/ 14 w 14"/>
                <a:gd name="T1" fmla="*/ 21 h 33"/>
                <a:gd name="T2" fmla="*/ 14 w 14"/>
                <a:gd name="T3" fmla="*/ 16 h 33"/>
                <a:gd name="T4" fmla="*/ 12 w 14"/>
                <a:gd name="T5" fmla="*/ 14 h 33"/>
                <a:gd name="T6" fmla="*/ 12 w 14"/>
                <a:gd name="T7" fmla="*/ 14 h 33"/>
                <a:gd name="T8" fmla="*/ 12 w 14"/>
                <a:gd name="T9" fmla="*/ 12 h 33"/>
                <a:gd name="T10" fmla="*/ 12 w 14"/>
                <a:gd name="T11" fmla="*/ 9 h 33"/>
                <a:gd name="T12" fmla="*/ 14 w 14"/>
                <a:gd name="T13" fmla="*/ 7 h 33"/>
                <a:gd name="T14" fmla="*/ 12 w 14"/>
                <a:gd name="T15" fmla="*/ 4 h 33"/>
                <a:gd name="T16" fmla="*/ 9 w 14"/>
                <a:gd name="T17" fmla="*/ 2 h 33"/>
                <a:gd name="T18" fmla="*/ 7 w 14"/>
                <a:gd name="T19" fmla="*/ 0 h 33"/>
                <a:gd name="T20" fmla="*/ 5 w 14"/>
                <a:gd name="T21" fmla="*/ 0 h 33"/>
                <a:gd name="T22" fmla="*/ 2 w 14"/>
                <a:gd name="T23" fmla="*/ 2 h 33"/>
                <a:gd name="T24" fmla="*/ 2 w 14"/>
                <a:gd name="T25" fmla="*/ 7 h 33"/>
                <a:gd name="T26" fmla="*/ 0 w 14"/>
                <a:gd name="T27" fmla="*/ 9 h 33"/>
                <a:gd name="T28" fmla="*/ 0 w 14"/>
                <a:gd name="T29" fmla="*/ 12 h 33"/>
                <a:gd name="T30" fmla="*/ 0 w 14"/>
                <a:gd name="T31" fmla="*/ 14 h 33"/>
                <a:gd name="T32" fmla="*/ 0 w 14"/>
                <a:gd name="T33" fmla="*/ 14 h 33"/>
                <a:gd name="T34" fmla="*/ 0 w 14"/>
                <a:gd name="T35" fmla="*/ 19 h 33"/>
                <a:gd name="T36" fmla="*/ 2 w 14"/>
                <a:gd name="T37" fmla="*/ 26 h 33"/>
                <a:gd name="T38" fmla="*/ 2 w 14"/>
                <a:gd name="T39" fmla="*/ 26 h 33"/>
                <a:gd name="T40" fmla="*/ 0 w 14"/>
                <a:gd name="T41" fmla="*/ 28 h 33"/>
                <a:gd name="T42" fmla="*/ 2 w 14"/>
                <a:gd name="T43" fmla="*/ 30 h 33"/>
                <a:gd name="T44" fmla="*/ 2 w 14"/>
                <a:gd name="T45" fmla="*/ 30 h 33"/>
                <a:gd name="T46" fmla="*/ 5 w 14"/>
                <a:gd name="T47" fmla="*/ 33 h 33"/>
                <a:gd name="T48" fmla="*/ 5 w 14"/>
                <a:gd name="T49" fmla="*/ 33 h 33"/>
                <a:gd name="T50" fmla="*/ 7 w 14"/>
                <a:gd name="T51" fmla="*/ 33 h 33"/>
                <a:gd name="T52" fmla="*/ 7 w 14"/>
                <a:gd name="T53" fmla="*/ 33 h 33"/>
                <a:gd name="T54" fmla="*/ 9 w 14"/>
                <a:gd name="T55" fmla="*/ 30 h 33"/>
                <a:gd name="T56" fmla="*/ 12 w 14"/>
                <a:gd name="T57" fmla="*/ 30 h 33"/>
                <a:gd name="T58" fmla="*/ 12 w 14"/>
                <a:gd name="T59" fmla="*/ 30 h 33"/>
                <a:gd name="T60" fmla="*/ 14 w 14"/>
                <a:gd name="T61" fmla="*/ 26 h 33"/>
                <a:gd name="T62" fmla="*/ 14 w 14"/>
                <a:gd name="T63" fmla="*/ 23 h 33"/>
                <a:gd name="T64" fmla="*/ 14 w 14"/>
                <a:gd name="T65" fmla="*/ 21 h 33"/>
                <a:gd name="T66" fmla="*/ 14 w 14"/>
                <a:gd name="T6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33">
                  <a:moveTo>
                    <a:pt x="14" y="21"/>
                  </a:moveTo>
                  <a:lnTo>
                    <a:pt x="14" y="16"/>
                  </a:lnTo>
                  <a:lnTo>
                    <a:pt x="12" y="14"/>
                  </a:lnTo>
                  <a:lnTo>
                    <a:pt x="12" y="14"/>
                  </a:lnTo>
                  <a:lnTo>
                    <a:pt x="12" y="12"/>
                  </a:lnTo>
                  <a:lnTo>
                    <a:pt x="12" y="9"/>
                  </a:lnTo>
                  <a:lnTo>
                    <a:pt x="14" y="7"/>
                  </a:lnTo>
                  <a:lnTo>
                    <a:pt x="12" y="4"/>
                  </a:lnTo>
                  <a:lnTo>
                    <a:pt x="9" y="2"/>
                  </a:lnTo>
                  <a:lnTo>
                    <a:pt x="7" y="0"/>
                  </a:lnTo>
                  <a:lnTo>
                    <a:pt x="5" y="0"/>
                  </a:lnTo>
                  <a:lnTo>
                    <a:pt x="2" y="2"/>
                  </a:lnTo>
                  <a:lnTo>
                    <a:pt x="2" y="7"/>
                  </a:lnTo>
                  <a:lnTo>
                    <a:pt x="0" y="9"/>
                  </a:lnTo>
                  <a:lnTo>
                    <a:pt x="0" y="12"/>
                  </a:lnTo>
                  <a:lnTo>
                    <a:pt x="0" y="14"/>
                  </a:lnTo>
                  <a:lnTo>
                    <a:pt x="0" y="14"/>
                  </a:lnTo>
                  <a:lnTo>
                    <a:pt x="0" y="19"/>
                  </a:lnTo>
                  <a:lnTo>
                    <a:pt x="2" y="26"/>
                  </a:lnTo>
                  <a:lnTo>
                    <a:pt x="2" y="26"/>
                  </a:lnTo>
                  <a:lnTo>
                    <a:pt x="0" y="28"/>
                  </a:lnTo>
                  <a:lnTo>
                    <a:pt x="2" y="30"/>
                  </a:lnTo>
                  <a:lnTo>
                    <a:pt x="2" y="30"/>
                  </a:lnTo>
                  <a:lnTo>
                    <a:pt x="5" y="33"/>
                  </a:lnTo>
                  <a:lnTo>
                    <a:pt x="5" y="33"/>
                  </a:lnTo>
                  <a:lnTo>
                    <a:pt x="7" y="33"/>
                  </a:lnTo>
                  <a:lnTo>
                    <a:pt x="7" y="33"/>
                  </a:lnTo>
                  <a:lnTo>
                    <a:pt x="9" y="30"/>
                  </a:lnTo>
                  <a:lnTo>
                    <a:pt x="12" y="30"/>
                  </a:lnTo>
                  <a:lnTo>
                    <a:pt x="12" y="30"/>
                  </a:lnTo>
                  <a:lnTo>
                    <a:pt x="14" y="26"/>
                  </a:lnTo>
                  <a:lnTo>
                    <a:pt x="14" y="23"/>
                  </a:lnTo>
                  <a:lnTo>
                    <a:pt x="14" y="21"/>
                  </a:lnTo>
                  <a:lnTo>
                    <a:pt x="14"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8" name="Freeform 254"/>
            <p:cNvSpPr>
              <a:spLocks/>
            </p:cNvSpPr>
            <p:nvPr userDrawn="1"/>
          </p:nvSpPr>
          <p:spPr bwMode="auto">
            <a:xfrm>
              <a:off x="2425" y="2418"/>
              <a:ext cx="28" cy="11"/>
            </a:xfrm>
            <a:custGeom>
              <a:avLst/>
              <a:gdLst>
                <a:gd name="T0" fmla="*/ 24 w 28"/>
                <a:gd name="T1" fmla="*/ 0 h 11"/>
                <a:gd name="T2" fmla="*/ 21 w 28"/>
                <a:gd name="T3" fmla="*/ 0 h 11"/>
                <a:gd name="T4" fmla="*/ 21 w 28"/>
                <a:gd name="T5" fmla="*/ 0 h 11"/>
                <a:gd name="T6" fmla="*/ 21 w 28"/>
                <a:gd name="T7" fmla="*/ 0 h 11"/>
                <a:gd name="T8" fmla="*/ 21 w 28"/>
                <a:gd name="T9" fmla="*/ 2 h 11"/>
                <a:gd name="T10" fmla="*/ 21 w 28"/>
                <a:gd name="T11" fmla="*/ 0 h 11"/>
                <a:gd name="T12" fmla="*/ 19 w 28"/>
                <a:gd name="T13" fmla="*/ 0 h 11"/>
                <a:gd name="T14" fmla="*/ 19 w 28"/>
                <a:gd name="T15" fmla="*/ 0 h 11"/>
                <a:gd name="T16" fmla="*/ 7 w 28"/>
                <a:gd name="T17" fmla="*/ 0 h 11"/>
                <a:gd name="T18" fmla="*/ 2 w 28"/>
                <a:gd name="T19" fmla="*/ 0 h 11"/>
                <a:gd name="T20" fmla="*/ 2 w 28"/>
                <a:gd name="T21" fmla="*/ 0 h 11"/>
                <a:gd name="T22" fmla="*/ 2 w 28"/>
                <a:gd name="T23" fmla="*/ 0 h 11"/>
                <a:gd name="T24" fmla="*/ 0 w 28"/>
                <a:gd name="T25" fmla="*/ 0 h 11"/>
                <a:gd name="T26" fmla="*/ 0 w 28"/>
                <a:gd name="T27" fmla="*/ 2 h 11"/>
                <a:gd name="T28" fmla="*/ 0 w 28"/>
                <a:gd name="T29" fmla="*/ 2 h 11"/>
                <a:gd name="T30" fmla="*/ 0 w 28"/>
                <a:gd name="T31" fmla="*/ 2 h 11"/>
                <a:gd name="T32" fmla="*/ 0 w 28"/>
                <a:gd name="T33" fmla="*/ 4 h 11"/>
                <a:gd name="T34" fmla="*/ 0 w 28"/>
                <a:gd name="T35" fmla="*/ 4 h 11"/>
                <a:gd name="T36" fmla="*/ 0 w 28"/>
                <a:gd name="T37" fmla="*/ 7 h 11"/>
                <a:gd name="T38" fmla="*/ 0 w 28"/>
                <a:gd name="T39" fmla="*/ 9 h 11"/>
                <a:gd name="T40" fmla="*/ 0 w 28"/>
                <a:gd name="T41" fmla="*/ 11 h 11"/>
                <a:gd name="T42" fmla="*/ 2 w 28"/>
                <a:gd name="T43" fmla="*/ 11 h 11"/>
                <a:gd name="T44" fmla="*/ 5 w 28"/>
                <a:gd name="T45" fmla="*/ 11 h 11"/>
                <a:gd name="T46" fmla="*/ 5 w 28"/>
                <a:gd name="T47" fmla="*/ 11 h 11"/>
                <a:gd name="T48" fmla="*/ 7 w 28"/>
                <a:gd name="T49" fmla="*/ 11 h 11"/>
                <a:gd name="T50" fmla="*/ 7 w 28"/>
                <a:gd name="T51" fmla="*/ 9 h 11"/>
                <a:gd name="T52" fmla="*/ 9 w 28"/>
                <a:gd name="T53" fmla="*/ 11 h 11"/>
                <a:gd name="T54" fmla="*/ 12 w 28"/>
                <a:gd name="T55" fmla="*/ 9 h 11"/>
                <a:gd name="T56" fmla="*/ 14 w 28"/>
                <a:gd name="T57" fmla="*/ 11 h 11"/>
                <a:gd name="T58" fmla="*/ 17 w 28"/>
                <a:gd name="T59" fmla="*/ 11 h 11"/>
                <a:gd name="T60" fmla="*/ 17 w 28"/>
                <a:gd name="T61" fmla="*/ 11 h 11"/>
                <a:gd name="T62" fmla="*/ 17 w 28"/>
                <a:gd name="T63" fmla="*/ 11 h 11"/>
                <a:gd name="T64" fmla="*/ 19 w 28"/>
                <a:gd name="T65" fmla="*/ 11 h 11"/>
                <a:gd name="T66" fmla="*/ 21 w 28"/>
                <a:gd name="T67" fmla="*/ 11 h 11"/>
                <a:gd name="T68" fmla="*/ 24 w 28"/>
                <a:gd name="T69" fmla="*/ 9 h 11"/>
                <a:gd name="T70" fmla="*/ 26 w 28"/>
                <a:gd name="T71" fmla="*/ 7 h 11"/>
                <a:gd name="T72" fmla="*/ 26 w 28"/>
                <a:gd name="T73" fmla="*/ 7 h 11"/>
                <a:gd name="T74" fmla="*/ 28 w 28"/>
                <a:gd name="T75" fmla="*/ 4 h 11"/>
                <a:gd name="T76" fmla="*/ 28 w 28"/>
                <a:gd name="T77" fmla="*/ 2 h 11"/>
                <a:gd name="T78" fmla="*/ 26 w 28"/>
                <a:gd name="T79" fmla="*/ 2 h 11"/>
                <a:gd name="T80" fmla="*/ 24 w 28"/>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11">
                  <a:moveTo>
                    <a:pt x="24" y="0"/>
                  </a:moveTo>
                  <a:lnTo>
                    <a:pt x="21" y="0"/>
                  </a:lnTo>
                  <a:lnTo>
                    <a:pt x="21" y="0"/>
                  </a:lnTo>
                  <a:lnTo>
                    <a:pt x="21" y="0"/>
                  </a:lnTo>
                  <a:lnTo>
                    <a:pt x="21" y="2"/>
                  </a:lnTo>
                  <a:lnTo>
                    <a:pt x="21" y="0"/>
                  </a:lnTo>
                  <a:lnTo>
                    <a:pt x="19" y="0"/>
                  </a:lnTo>
                  <a:lnTo>
                    <a:pt x="19" y="0"/>
                  </a:lnTo>
                  <a:lnTo>
                    <a:pt x="7" y="0"/>
                  </a:lnTo>
                  <a:lnTo>
                    <a:pt x="2" y="0"/>
                  </a:lnTo>
                  <a:lnTo>
                    <a:pt x="2" y="0"/>
                  </a:lnTo>
                  <a:lnTo>
                    <a:pt x="2" y="0"/>
                  </a:lnTo>
                  <a:lnTo>
                    <a:pt x="0" y="0"/>
                  </a:lnTo>
                  <a:lnTo>
                    <a:pt x="0" y="2"/>
                  </a:lnTo>
                  <a:lnTo>
                    <a:pt x="0" y="2"/>
                  </a:lnTo>
                  <a:lnTo>
                    <a:pt x="0" y="2"/>
                  </a:lnTo>
                  <a:lnTo>
                    <a:pt x="0" y="4"/>
                  </a:lnTo>
                  <a:lnTo>
                    <a:pt x="0" y="4"/>
                  </a:lnTo>
                  <a:lnTo>
                    <a:pt x="0" y="7"/>
                  </a:lnTo>
                  <a:lnTo>
                    <a:pt x="0" y="9"/>
                  </a:lnTo>
                  <a:lnTo>
                    <a:pt x="0" y="11"/>
                  </a:lnTo>
                  <a:lnTo>
                    <a:pt x="2" y="11"/>
                  </a:lnTo>
                  <a:lnTo>
                    <a:pt x="5" y="11"/>
                  </a:lnTo>
                  <a:lnTo>
                    <a:pt x="5" y="11"/>
                  </a:lnTo>
                  <a:lnTo>
                    <a:pt x="7" y="11"/>
                  </a:lnTo>
                  <a:lnTo>
                    <a:pt x="7" y="9"/>
                  </a:lnTo>
                  <a:lnTo>
                    <a:pt x="9" y="11"/>
                  </a:lnTo>
                  <a:lnTo>
                    <a:pt x="12" y="9"/>
                  </a:lnTo>
                  <a:lnTo>
                    <a:pt x="14" y="11"/>
                  </a:lnTo>
                  <a:lnTo>
                    <a:pt x="17" y="11"/>
                  </a:lnTo>
                  <a:lnTo>
                    <a:pt x="17" y="11"/>
                  </a:lnTo>
                  <a:lnTo>
                    <a:pt x="17" y="11"/>
                  </a:lnTo>
                  <a:lnTo>
                    <a:pt x="19" y="11"/>
                  </a:lnTo>
                  <a:lnTo>
                    <a:pt x="21" y="11"/>
                  </a:lnTo>
                  <a:lnTo>
                    <a:pt x="24" y="9"/>
                  </a:lnTo>
                  <a:lnTo>
                    <a:pt x="26" y="7"/>
                  </a:lnTo>
                  <a:lnTo>
                    <a:pt x="26" y="7"/>
                  </a:lnTo>
                  <a:lnTo>
                    <a:pt x="28" y="4"/>
                  </a:lnTo>
                  <a:lnTo>
                    <a:pt x="28" y="2"/>
                  </a:lnTo>
                  <a:lnTo>
                    <a:pt x="26" y="2"/>
                  </a:lnTo>
                  <a:lnTo>
                    <a:pt x="24"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9" name="Freeform 255"/>
            <p:cNvSpPr>
              <a:spLocks/>
            </p:cNvSpPr>
            <p:nvPr userDrawn="1"/>
          </p:nvSpPr>
          <p:spPr bwMode="auto">
            <a:xfrm>
              <a:off x="3504" y="1919"/>
              <a:ext cx="62" cy="106"/>
            </a:xfrm>
            <a:custGeom>
              <a:avLst/>
              <a:gdLst>
                <a:gd name="T0" fmla="*/ 59 w 62"/>
                <a:gd name="T1" fmla="*/ 11 h 106"/>
                <a:gd name="T2" fmla="*/ 55 w 62"/>
                <a:gd name="T3" fmla="*/ 9 h 106"/>
                <a:gd name="T4" fmla="*/ 55 w 62"/>
                <a:gd name="T5" fmla="*/ 7 h 106"/>
                <a:gd name="T6" fmla="*/ 52 w 62"/>
                <a:gd name="T7" fmla="*/ 4 h 106"/>
                <a:gd name="T8" fmla="*/ 50 w 62"/>
                <a:gd name="T9" fmla="*/ 4 h 106"/>
                <a:gd name="T10" fmla="*/ 45 w 62"/>
                <a:gd name="T11" fmla="*/ 4 h 106"/>
                <a:gd name="T12" fmla="*/ 45 w 62"/>
                <a:gd name="T13" fmla="*/ 4 h 106"/>
                <a:gd name="T14" fmla="*/ 41 w 62"/>
                <a:gd name="T15" fmla="*/ 7 h 106"/>
                <a:gd name="T16" fmla="*/ 38 w 62"/>
                <a:gd name="T17" fmla="*/ 7 h 106"/>
                <a:gd name="T18" fmla="*/ 33 w 62"/>
                <a:gd name="T19" fmla="*/ 7 h 106"/>
                <a:gd name="T20" fmla="*/ 29 w 62"/>
                <a:gd name="T21" fmla="*/ 7 h 106"/>
                <a:gd name="T22" fmla="*/ 26 w 62"/>
                <a:gd name="T23" fmla="*/ 4 h 106"/>
                <a:gd name="T24" fmla="*/ 29 w 62"/>
                <a:gd name="T25" fmla="*/ 2 h 106"/>
                <a:gd name="T26" fmla="*/ 29 w 62"/>
                <a:gd name="T27" fmla="*/ 0 h 106"/>
                <a:gd name="T28" fmla="*/ 22 w 62"/>
                <a:gd name="T29" fmla="*/ 2 h 106"/>
                <a:gd name="T30" fmla="*/ 17 w 62"/>
                <a:gd name="T31" fmla="*/ 4 h 106"/>
                <a:gd name="T32" fmla="*/ 17 w 62"/>
                <a:gd name="T33" fmla="*/ 9 h 106"/>
                <a:gd name="T34" fmla="*/ 17 w 62"/>
                <a:gd name="T35" fmla="*/ 11 h 106"/>
                <a:gd name="T36" fmla="*/ 19 w 62"/>
                <a:gd name="T37" fmla="*/ 21 h 106"/>
                <a:gd name="T38" fmla="*/ 17 w 62"/>
                <a:gd name="T39" fmla="*/ 28 h 106"/>
                <a:gd name="T40" fmla="*/ 12 w 62"/>
                <a:gd name="T41" fmla="*/ 40 h 106"/>
                <a:gd name="T42" fmla="*/ 15 w 62"/>
                <a:gd name="T43" fmla="*/ 42 h 106"/>
                <a:gd name="T44" fmla="*/ 5 w 62"/>
                <a:gd name="T45" fmla="*/ 54 h 106"/>
                <a:gd name="T46" fmla="*/ 3 w 62"/>
                <a:gd name="T47" fmla="*/ 59 h 106"/>
                <a:gd name="T48" fmla="*/ 0 w 62"/>
                <a:gd name="T49" fmla="*/ 66 h 106"/>
                <a:gd name="T50" fmla="*/ 0 w 62"/>
                <a:gd name="T51" fmla="*/ 71 h 106"/>
                <a:gd name="T52" fmla="*/ 5 w 62"/>
                <a:gd name="T53" fmla="*/ 71 h 106"/>
                <a:gd name="T54" fmla="*/ 10 w 62"/>
                <a:gd name="T55" fmla="*/ 63 h 106"/>
                <a:gd name="T56" fmla="*/ 10 w 62"/>
                <a:gd name="T57" fmla="*/ 63 h 106"/>
                <a:gd name="T58" fmla="*/ 8 w 62"/>
                <a:gd name="T59" fmla="*/ 71 h 106"/>
                <a:gd name="T60" fmla="*/ 5 w 62"/>
                <a:gd name="T61" fmla="*/ 71 h 106"/>
                <a:gd name="T62" fmla="*/ 5 w 62"/>
                <a:gd name="T63" fmla="*/ 75 h 106"/>
                <a:gd name="T64" fmla="*/ 10 w 62"/>
                <a:gd name="T65" fmla="*/ 75 h 106"/>
                <a:gd name="T66" fmla="*/ 15 w 62"/>
                <a:gd name="T67" fmla="*/ 75 h 106"/>
                <a:gd name="T68" fmla="*/ 10 w 62"/>
                <a:gd name="T69" fmla="*/ 82 h 106"/>
                <a:gd name="T70" fmla="*/ 10 w 62"/>
                <a:gd name="T71" fmla="*/ 92 h 106"/>
                <a:gd name="T72" fmla="*/ 8 w 62"/>
                <a:gd name="T73" fmla="*/ 104 h 106"/>
                <a:gd name="T74" fmla="*/ 8 w 62"/>
                <a:gd name="T75" fmla="*/ 106 h 106"/>
                <a:gd name="T76" fmla="*/ 15 w 62"/>
                <a:gd name="T77" fmla="*/ 104 h 106"/>
                <a:gd name="T78" fmla="*/ 26 w 62"/>
                <a:gd name="T79" fmla="*/ 106 h 106"/>
                <a:gd name="T80" fmla="*/ 33 w 62"/>
                <a:gd name="T81" fmla="*/ 97 h 106"/>
                <a:gd name="T82" fmla="*/ 33 w 62"/>
                <a:gd name="T83" fmla="*/ 92 h 106"/>
                <a:gd name="T84" fmla="*/ 38 w 62"/>
                <a:gd name="T85" fmla="*/ 85 h 106"/>
                <a:gd name="T86" fmla="*/ 43 w 62"/>
                <a:gd name="T87" fmla="*/ 82 h 106"/>
                <a:gd name="T88" fmla="*/ 41 w 62"/>
                <a:gd name="T89" fmla="*/ 82 h 106"/>
                <a:gd name="T90" fmla="*/ 38 w 62"/>
                <a:gd name="T91" fmla="*/ 73 h 106"/>
                <a:gd name="T92" fmla="*/ 38 w 62"/>
                <a:gd name="T93" fmla="*/ 68 h 106"/>
                <a:gd name="T94" fmla="*/ 43 w 62"/>
                <a:gd name="T95" fmla="*/ 63 h 106"/>
                <a:gd name="T96" fmla="*/ 41 w 62"/>
                <a:gd name="T97" fmla="*/ 61 h 106"/>
                <a:gd name="T98" fmla="*/ 38 w 62"/>
                <a:gd name="T99" fmla="*/ 54 h 106"/>
                <a:gd name="T100" fmla="*/ 36 w 62"/>
                <a:gd name="T101" fmla="*/ 49 h 106"/>
                <a:gd name="T102" fmla="*/ 43 w 62"/>
                <a:gd name="T103" fmla="*/ 49 h 106"/>
                <a:gd name="T104" fmla="*/ 45 w 62"/>
                <a:gd name="T105" fmla="*/ 45 h 106"/>
                <a:gd name="T106" fmla="*/ 45 w 62"/>
                <a:gd name="T107" fmla="*/ 42 h 106"/>
                <a:gd name="T108" fmla="*/ 45 w 62"/>
                <a:gd name="T109" fmla="*/ 40 h 106"/>
                <a:gd name="T110" fmla="*/ 48 w 62"/>
                <a:gd name="T111" fmla="*/ 37 h 106"/>
                <a:gd name="T112" fmla="*/ 48 w 62"/>
                <a:gd name="T113" fmla="*/ 35 h 106"/>
                <a:gd name="T114" fmla="*/ 50 w 62"/>
                <a:gd name="T115" fmla="*/ 28 h 106"/>
                <a:gd name="T116" fmla="*/ 48 w 62"/>
                <a:gd name="T117" fmla="*/ 23 h 106"/>
                <a:gd name="T118" fmla="*/ 52 w 62"/>
                <a:gd name="T119" fmla="*/ 19 h 106"/>
                <a:gd name="T120" fmla="*/ 59 w 62"/>
                <a:gd name="T121" fmla="*/ 14 h 106"/>
                <a:gd name="T122" fmla="*/ 62 w 62"/>
                <a:gd name="T123" fmla="*/ 1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 h="106">
                  <a:moveTo>
                    <a:pt x="62" y="11"/>
                  </a:moveTo>
                  <a:lnTo>
                    <a:pt x="59" y="11"/>
                  </a:lnTo>
                  <a:lnTo>
                    <a:pt x="59" y="11"/>
                  </a:lnTo>
                  <a:lnTo>
                    <a:pt x="57" y="9"/>
                  </a:lnTo>
                  <a:lnTo>
                    <a:pt x="57" y="9"/>
                  </a:lnTo>
                  <a:lnTo>
                    <a:pt x="55" y="9"/>
                  </a:lnTo>
                  <a:lnTo>
                    <a:pt x="55" y="9"/>
                  </a:lnTo>
                  <a:lnTo>
                    <a:pt x="55" y="7"/>
                  </a:lnTo>
                  <a:lnTo>
                    <a:pt x="55" y="7"/>
                  </a:lnTo>
                  <a:lnTo>
                    <a:pt x="55" y="4"/>
                  </a:lnTo>
                  <a:lnTo>
                    <a:pt x="55" y="4"/>
                  </a:lnTo>
                  <a:lnTo>
                    <a:pt x="52" y="4"/>
                  </a:lnTo>
                  <a:lnTo>
                    <a:pt x="52" y="4"/>
                  </a:lnTo>
                  <a:lnTo>
                    <a:pt x="50" y="4"/>
                  </a:lnTo>
                  <a:lnTo>
                    <a:pt x="50" y="4"/>
                  </a:lnTo>
                  <a:lnTo>
                    <a:pt x="48" y="4"/>
                  </a:lnTo>
                  <a:lnTo>
                    <a:pt x="45" y="4"/>
                  </a:lnTo>
                  <a:lnTo>
                    <a:pt x="45" y="4"/>
                  </a:lnTo>
                  <a:lnTo>
                    <a:pt x="45" y="4"/>
                  </a:lnTo>
                  <a:lnTo>
                    <a:pt x="45" y="4"/>
                  </a:lnTo>
                  <a:lnTo>
                    <a:pt x="45" y="4"/>
                  </a:lnTo>
                  <a:lnTo>
                    <a:pt x="45" y="4"/>
                  </a:lnTo>
                  <a:lnTo>
                    <a:pt x="43" y="7"/>
                  </a:lnTo>
                  <a:lnTo>
                    <a:pt x="41" y="7"/>
                  </a:lnTo>
                  <a:lnTo>
                    <a:pt x="38" y="7"/>
                  </a:lnTo>
                  <a:lnTo>
                    <a:pt x="38" y="7"/>
                  </a:lnTo>
                  <a:lnTo>
                    <a:pt x="38" y="7"/>
                  </a:lnTo>
                  <a:lnTo>
                    <a:pt x="36" y="4"/>
                  </a:lnTo>
                  <a:lnTo>
                    <a:pt x="33" y="7"/>
                  </a:lnTo>
                  <a:lnTo>
                    <a:pt x="33" y="7"/>
                  </a:lnTo>
                  <a:lnTo>
                    <a:pt x="31" y="7"/>
                  </a:lnTo>
                  <a:lnTo>
                    <a:pt x="29" y="7"/>
                  </a:lnTo>
                  <a:lnTo>
                    <a:pt x="29" y="7"/>
                  </a:lnTo>
                  <a:lnTo>
                    <a:pt x="29" y="7"/>
                  </a:lnTo>
                  <a:lnTo>
                    <a:pt x="29" y="7"/>
                  </a:lnTo>
                  <a:lnTo>
                    <a:pt x="26" y="4"/>
                  </a:lnTo>
                  <a:lnTo>
                    <a:pt x="26" y="4"/>
                  </a:lnTo>
                  <a:lnTo>
                    <a:pt x="29" y="2"/>
                  </a:lnTo>
                  <a:lnTo>
                    <a:pt x="29" y="2"/>
                  </a:lnTo>
                  <a:lnTo>
                    <a:pt x="29" y="2"/>
                  </a:lnTo>
                  <a:lnTo>
                    <a:pt x="29" y="2"/>
                  </a:lnTo>
                  <a:lnTo>
                    <a:pt x="29" y="0"/>
                  </a:lnTo>
                  <a:lnTo>
                    <a:pt x="26" y="0"/>
                  </a:lnTo>
                  <a:lnTo>
                    <a:pt x="26" y="2"/>
                  </a:lnTo>
                  <a:lnTo>
                    <a:pt x="22" y="2"/>
                  </a:lnTo>
                  <a:lnTo>
                    <a:pt x="22" y="2"/>
                  </a:lnTo>
                  <a:lnTo>
                    <a:pt x="19" y="2"/>
                  </a:lnTo>
                  <a:lnTo>
                    <a:pt x="17" y="4"/>
                  </a:lnTo>
                  <a:lnTo>
                    <a:pt x="17" y="7"/>
                  </a:lnTo>
                  <a:lnTo>
                    <a:pt x="15" y="9"/>
                  </a:lnTo>
                  <a:lnTo>
                    <a:pt x="17" y="9"/>
                  </a:lnTo>
                  <a:lnTo>
                    <a:pt x="17" y="9"/>
                  </a:lnTo>
                  <a:lnTo>
                    <a:pt x="17" y="11"/>
                  </a:lnTo>
                  <a:lnTo>
                    <a:pt x="17" y="11"/>
                  </a:lnTo>
                  <a:lnTo>
                    <a:pt x="17" y="19"/>
                  </a:lnTo>
                  <a:lnTo>
                    <a:pt x="19" y="21"/>
                  </a:lnTo>
                  <a:lnTo>
                    <a:pt x="19" y="21"/>
                  </a:lnTo>
                  <a:lnTo>
                    <a:pt x="19" y="23"/>
                  </a:lnTo>
                  <a:lnTo>
                    <a:pt x="17" y="26"/>
                  </a:lnTo>
                  <a:lnTo>
                    <a:pt x="17" y="28"/>
                  </a:lnTo>
                  <a:lnTo>
                    <a:pt x="17" y="30"/>
                  </a:lnTo>
                  <a:lnTo>
                    <a:pt x="15" y="33"/>
                  </a:lnTo>
                  <a:lnTo>
                    <a:pt x="12" y="40"/>
                  </a:lnTo>
                  <a:lnTo>
                    <a:pt x="12" y="40"/>
                  </a:lnTo>
                  <a:lnTo>
                    <a:pt x="15" y="42"/>
                  </a:lnTo>
                  <a:lnTo>
                    <a:pt x="15" y="42"/>
                  </a:lnTo>
                  <a:lnTo>
                    <a:pt x="10" y="47"/>
                  </a:lnTo>
                  <a:lnTo>
                    <a:pt x="8" y="52"/>
                  </a:lnTo>
                  <a:lnTo>
                    <a:pt x="5" y="54"/>
                  </a:lnTo>
                  <a:lnTo>
                    <a:pt x="5" y="56"/>
                  </a:lnTo>
                  <a:lnTo>
                    <a:pt x="3" y="56"/>
                  </a:lnTo>
                  <a:lnTo>
                    <a:pt x="3" y="59"/>
                  </a:lnTo>
                  <a:lnTo>
                    <a:pt x="3" y="59"/>
                  </a:lnTo>
                  <a:lnTo>
                    <a:pt x="3" y="61"/>
                  </a:lnTo>
                  <a:lnTo>
                    <a:pt x="0" y="66"/>
                  </a:lnTo>
                  <a:lnTo>
                    <a:pt x="0" y="68"/>
                  </a:lnTo>
                  <a:lnTo>
                    <a:pt x="0" y="68"/>
                  </a:lnTo>
                  <a:lnTo>
                    <a:pt x="0" y="71"/>
                  </a:lnTo>
                  <a:lnTo>
                    <a:pt x="0" y="71"/>
                  </a:lnTo>
                  <a:lnTo>
                    <a:pt x="3" y="71"/>
                  </a:lnTo>
                  <a:lnTo>
                    <a:pt x="5" y="71"/>
                  </a:lnTo>
                  <a:lnTo>
                    <a:pt x="5" y="71"/>
                  </a:lnTo>
                  <a:lnTo>
                    <a:pt x="8" y="68"/>
                  </a:lnTo>
                  <a:lnTo>
                    <a:pt x="10" y="63"/>
                  </a:lnTo>
                  <a:lnTo>
                    <a:pt x="12" y="63"/>
                  </a:lnTo>
                  <a:lnTo>
                    <a:pt x="12" y="63"/>
                  </a:lnTo>
                  <a:lnTo>
                    <a:pt x="10" y="63"/>
                  </a:lnTo>
                  <a:lnTo>
                    <a:pt x="10" y="66"/>
                  </a:lnTo>
                  <a:lnTo>
                    <a:pt x="10" y="68"/>
                  </a:lnTo>
                  <a:lnTo>
                    <a:pt x="8" y="71"/>
                  </a:lnTo>
                  <a:lnTo>
                    <a:pt x="8" y="71"/>
                  </a:lnTo>
                  <a:lnTo>
                    <a:pt x="5" y="71"/>
                  </a:lnTo>
                  <a:lnTo>
                    <a:pt x="5" y="71"/>
                  </a:lnTo>
                  <a:lnTo>
                    <a:pt x="5" y="73"/>
                  </a:lnTo>
                  <a:lnTo>
                    <a:pt x="5" y="75"/>
                  </a:lnTo>
                  <a:lnTo>
                    <a:pt x="5" y="75"/>
                  </a:lnTo>
                  <a:lnTo>
                    <a:pt x="8" y="75"/>
                  </a:lnTo>
                  <a:lnTo>
                    <a:pt x="10" y="75"/>
                  </a:lnTo>
                  <a:lnTo>
                    <a:pt x="10" y="75"/>
                  </a:lnTo>
                  <a:lnTo>
                    <a:pt x="12" y="75"/>
                  </a:lnTo>
                  <a:lnTo>
                    <a:pt x="12" y="75"/>
                  </a:lnTo>
                  <a:lnTo>
                    <a:pt x="15" y="75"/>
                  </a:lnTo>
                  <a:lnTo>
                    <a:pt x="10" y="75"/>
                  </a:lnTo>
                  <a:lnTo>
                    <a:pt x="10" y="80"/>
                  </a:lnTo>
                  <a:lnTo>
                    <a:pt x="10" y="82"/>
                  </a:lnTo>
                  <a:lnTo>
                    <a:pt x="10" y="87"/>
                  </a:lnTo>
                  <a:lnTo>
                    <a:pt x="10" y="87"/>
                  </a:lnTo>
                  <a:lnTo>
                    <a:pt x="10" y="92"/>
                  </a:lnTo>
                  <a:lnTo>
                    <a:pt x="10" y="94"/>
                  </a:lnTo>
                  <a:lnTo>
                    <a:pt x="10" y="97"/>
                  </a:lnTo>
                  <a:lnTo>
                    <a:pt x="8" y="104"/>
                  </a:lnTo>
                  <a:lnTo>
                    <a:pt x="5" y="106"/>
                  </a:lnTo>
                  <a:lnTo>
                    <a:pt x="8" y="106"/>
                  </a:lnTo>
                  <a:lnTo>
                    <a:pt x="8" y="106"/>
                  </a:lnTo>
                  <a:lnTo>
                    <a:pt x="10" y="106"/>
                  </a:lnTo>
                  <a:lnTo>
                    <a:pt x="12" y="104"/>
                  </a:lnTo>
                  <a:lnTo>
                    <a:pt x="15" y="104"/>
                  </a:lnTo>
                  <a:lnTo>
                    <a:pt x="22" y="106"/>
                  </a:lnTo>
                  <a:lnTo>
                    <a:pt x="24" y="106"/>
                  </a:lnTo>
                  <a:lnTo>
                    <a:pt x="26" y="106"/>
                  </a:lnTo>
                  <a:lnTo>
                    <a:pt x="31" y="104"/>
                  </a:lnTo>
                  <a:lnTo>
                    <a:pt x="33" y="104"/>
                  </a:lnTo>
                  <a:lnTo>
                    <a:pt x="33" y="97"/>
                  </a:lnTo>
                  <a:lnTo>
                    <a:pt x="33" y="97"/>
                  </a:lnTo>
                  <a:lnTo>
                    <a:pt x="33" y="94"/>
                  </a:lnTo>
                  <a:lnTo>
                    <a:pt x="33" y="92"/>
                  </a:lnTo>
                  <a:lnTo>
                    <a:pt x="36" y="89"/>
                  </a:lnTo>
                  <a:lnTo>
                    <a:pt x="36" y="87"/>
                  </a:lnTo>
                  <a:lnTo>
                    <a:pt x="38" y="85"/>
                  </a:lnTo>
                  <a:lnTo>
                    <a:pt x="41" y="85"/>
                  </a:lnTo>
                  <a:lnTo>
                    <a:pt x="41" y="85"/>
                  </a:lnTo>
                  <a:lnTo>
                    <a:pt x="43" y="82"/>
                  </a:lnTo>
                  <a:lnTo>
                    <a:pt x="43" y="82"/>
                  </a:lnTo>
                  <a:lnTo>
                    <a:pt x="43" y="82"/>
                  </a:lnTo>
                  <a:lnTo>
                    <a:pt x="41" y="82"/>
                  </a:lnTo>
                  <a:lnTo>
                    <a:pt x="36" y="75"/>
                  </a:lnTo>
                  <a:lnTo>
                    <a:pt x="36" y="75"/>
                  </a:lnTo>
                  <a:lnTo>
                    <a:pt x="38" y="73"/>
                  </a:lnTo>
                  <a:lnTo>
                    <a:pt x="38" y="71"/>
                  </a:lnTo>
                  <a:lnTo>
                    <a:pt x="38" y="71"/>
                  </a:lnTo>
                  <a:lnTo>
                    <a:pt x="38" y="68"/>
                  </a:lnTo>
                  <a:lnTo>
                    <a:pt x="41" y="68"/>
                  </a:lnTo>
                  <a:lnTo>
                    <a:pt x="43" y="66"/>
                  </a:lnTo>
                  <a:lnTo>
                    <a:pt x="43" y="63"/>
                  </a:lnTo>
                  <a:lnTo>
                    <a:pt x="43" y="63"/>
                  </a:lnTo>
                  <a:lnTo>
                    <a:pt x="43" y="61"/>
                  </a:lnTo>
                  <a:lnTo>
                    <a:pt x="41" y="61"/>
                  </a:lnTo>
                  <a:lnTo>
                    <a:pt x="38" y="56"/>
                  </a:lnTo>
                  <a:lnTo>
                    <a:pt x="38" y="54"/>
                  </a:lnTo>
                  <a:lnTo>
                    <a:pt x="38" y="54"/>
                  </a:lnTo>
                  <a:lnTo>
                    <a:pt x="36" y="52"/>
                  </a:lnTo>
                  <a:lnTo>
                    <a:pt x="36" y="49"/>
                  </a:lnTo>
                  <a:lnTo>
                    <a:pt x="36" y="49"/>
                  </a:lnTo>
                  <a:lnTo>
                    <a:pt x="36" y="49"/>
                  </a:lnTo>
                  <a:lnTo>
                    <a:pt x="43" y="49"/>
                  </a:lnTo>
                  <a:lnTo>
                    <a:pt x="43" y="49"/>
                  </a:lnTo>
                  <a:lnTo>
                    <a:pt x="43" y="49"/>
                  </a:lnTo>
                  <a:lnTo>
                    <a:pt x="45" y="47"/>
                  </a:lnTo>
                  <a:lnTo>
                    <a:pt x="45" y="45"/>
                  </a:lnTo>
                  <a:lnTo>
                    <a:pt x="48" y="45"/>
                  </a:lnTo>
                  <a:lnTo>
                    <a:pt x="45" y="45"/>
                  </a:lnTo>
                  <a:lnTo>
                    <a:pt x="45" y="42"/>
                  </a:lnTo>
                  <a:lnTo>
                    <a:pt x="45" y="42"/>
                  </a:lnTo>
                  <a:lnTo>
                    <a:pt x="45" y="40"/>
                  </a:lnTo>
                  <a:lnTo>
                    <a:pt x="45" y="40"/>
                  </a:lnTo>
                  <a:lnTo>
                    <a:pt x="48" y="37"/>
                  </a:lnTo>
                  <a:lnTo>
                    <a:pt x="48" y="37"/>
                  </a:lnTo>
                  <a:lnTo>
                    <a:pt x="48" y="37"/>
                  </a:lnTo>
                  <a:lnTo>
                    <a:pt x="48" y="35"/>
                  </a:lnTo>
                  <a:lnTo>
                    <a:pt x="48" y="35"/>
                  </a:lnTo>
                  <a:lnTo>
                    <a:pt x="48" y="35"/>
                  </a:lnTo>
                  <a:lnTo>
                    <a:pt x="48" y="33"/>
                  </a:lnTo>
                  <a:lnTo>
                    <a:pt x="50" y="30"/>
                  </a:lnTo>
                  <a:lnTo>
                    <a:pt x="50" y="28"/>
                  </a:lnTo>
                  <a:lnTo>
                    <a:pt x="48" y="26"/>
                  </a:lnTo>
                  <a:lnTo>
                    <a:pt x="48" y="23"/>
                  </a:lnTo>
                  <a:lnTo>
                    <a:pt x="48" y="23"/>
                  </a:lnTo>
                  <a:lnTo>
                    <a:pt x="48" y="23"/>
                  </a:lnTo>
                  <a:lnTo>
                    <a:pt x="50" y="21"/>
                  </a:lnTo>
                  <a:lnTo>
                    <a:pt x="52" y="19"/>
                  </a:lnTo>
                  <a:lnTo>
                    <a:pt x="55" y="19"/>
                  </a:lnTo>
                  <a:lnTo>
                    <a:pt x="57" y="16"/>
                  </a:lnTo>
                  <a:lnTo>
                    <a:pt x="59" y="14"/>
                  </a:lnTo>
                  <a:lnTo>
                    <a:pt x="59" y="14"/>
                  </a:lnTo>
                  <a:lnTo>
                    <a:pt x="62" y="14"/>
                  </a:lnTo>
                  <a:lnTo>
                    <a:pt x="62" y="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0" name="Freeform 256"/>
            <p:cNvSpPr>
              <a:spLocks/>
            </p:cNvSpPr>
            <p:nvPr userDrawn="1"/>
          </p:nvSpPr>
          <p:spPr bwMode="auto">
            <a:xfrm>
              <a:off x="3907" y="1659"/>
              <a:ext cx="161" cy="118"/>
            </a:xfrm>
            <a:custGeom>
              <a:avLst/>
              <a:gdLst>
                <a:gd name="T0" fmla="*/ 158 w 161"/>
                <a:gd name="T1" fmla="*/ 80 h 118"/>
                <a:gd name="T2" fmla="*/ 158 w 161"/>
                <a:gd name="T3" fmla="*/ 78 h 118"/>
                <a:gd name="T4" fmla="*/ 154 w 161"/>
                <a:gd name="T5" fmla="*/ 70 h 118"/>
                <a:gd name="T6" fmla="*/ 151 w 161"/>
                <a:gd name="T7" fmla="*/ 63 h 118"/>
                <a:gd name="T8" fmla="*/ 151 w 161"/>
                <a:gd name="T9" fmla="*/ 56 h 118"/>
                <a:gd name="T10" fmla="*/ 147 w 161"/>
                <a:gd name="T11" fmla="*/ 52 h 118"/>
                <a:gd name="T12" fmla="*/ 144 w 161"/>
                <a:gd name="T13" fmla="*/ 47 h 118"/>
                <a:gd name="T14" fmla="*/ 154 w 161"/>
                <a:gd name="T15" fmla="*/ 42 h 118"/>
                <a:gd name="T16" fmla="*/ 151 w 161"/>
                <a:gd name="T17" fmla="*/ 30 h 118"/>
                <a:gd name="T18" fmla="*/ 147 w 161"/>
                <a:gd name="T19" fmla="*/ 14 h 118"/>
                <a:gd name="T20" fmla="*/ 140 w 161"/>
                <a:gd name="T21" fmla="*/ 11 h 118"/>
                <a:gd name="T22" fmla="*/ 135 w 161"/>
                <a:gd name="T23" fmla="*/ 9 h 118"/>
                <a:gd name="T24" fmla="*/ 116 w 161"/>
                <a:gd name="T25" fmla="*/ 9 h 118"/>
                <a:gd name="T26" fmla="*/ 85 w 161"/>
                <a:gd name="T27" fmla="*/ 7 h 118"/>
                <a:gd name="T28" fmla="*/ 74 w 161"/>
                <a:gd name="T29" fmla="*/ 9 h 118"/>
                <a:gd name="T30" fmla="*/ 69 w 161"/>
                <a:gd name="T31" fmla="*/ 2 h 118"/>
                <a:gd name="T32" fmla="*/ 59 w 161"/>
                <a:gd name="T33" fmla="*/ 0 h 118"/>
                <a:gd name="T34" fmla="*/ 36 w 161"/>
                <a:gd name="T35" fmla="*/ 4 h 118"/>
                <a:gd name="T36" fmla="*/ 29 w 161"/>
                <a:gd name="T37" fmla="*/ 11 h 118"/>
                <a:gd name="T38" fmla="*/ 0 w 161"/>
                <a:gd name="T39" fmla="*/ 18 h 118"/>
                <a:gd name="T40" fmla="*/ 5 w 161"/>
                <a:gd name="T41" fmla="*/ 21 h 118"/>
                <a:gd name="T42" fmla="*/ 5 w 161"/>
                <a:gd name="T43" fmla="*/ 23 h 118"/>
                <a:gd name="T44" fmla="*/ 5 w 161"/>
                <a:gd name="T45" fmla="*/ 30 h 118"/>
                <a:gd name="T46" fmla="*/ 0 w 161"/>
                <a:gd name="T47" fmla="*/ 37 h 118"/>
                <a:gd name="T48" fmla="*/ 8 w 161"/>
                <a:gd name="T49" fmla="*/ 47 h 118"/>
                <a:gd name="T50" fmla="*/ 8 w 161"/>
                <a:gd name="T51" fmla="*/ 52 h 118"/>
                <a:gd name="T52" fmla="*/ 10 w 161"/>
                <a:gd name="T53" fmla="*/ 56 h 118"/>
                <a:gd name="T54" fmla="*/ 8 w 161"/>
                <a:gd name="T55" fmla="*/ 61 h 118"/>
                <a:gd name="T56" fmla="*/ 10 w 161"/>
                <a:gd name="T57" fmla="*/ 66 h 118"/>
                <a:gd name="T58" fmla="*/ 15 w 161"/>
                <a:gd name="T59" fmla="*/ 75 h 118"/>
                <a:gd name="T60" fmla="*/ 15 w 161"/>
                <a:gd name="T61" fmla="*/ 80 h 118"/>
                <a:gd name="T62" fmla="*/ 19 w 161"/>
                <a:gd name="T63" fmla="*/ 78 h 118"/>
                <a:gd name="T64" fmla="*/ 22 w 161"/>
                <a:gd name="T65" fmla="*/ 80 h 118"/>
                <a:gd name="T66" fmla="*/ 29 w 161"/>
                <a:gd name="T67" fmla="*/ 85 h 118"/>
                <a:gd name="T68" fmla="*/ 36 w 161"/>
                <a:gd name="T69" fmla="*/ 85 h 118"/>
                <a:gd name="T70" fmla="*/ 36 w 161"/>
                <a:gd name="T71" fmla="*/ 87 h 118"/>
                <a:gd name="T72" fmla="*/ 36 w 161"/>
                <a:gd name="T73" fmla="*/ 89 h 118"/>
                <a:gd name="T74" fmla="*/ 41 w 161"/>
                <a:gd name="T75" fmla="*/ 94 h 118"/>
                <a:gd name="T76" fmla="*/ 45 w 161"/>
                <a:gd name="T77" fmla="*/ 94 h 118"/>
                <a:gd name="T78" fmla="*/ 45 w 161"/>
                <a:gd name="T79" fmla="*/ 89 h 118"/>
                <a:gd name="T80" fmla="*/ 57 w 161"/>
                <a:gd name="T81" fmla="*/ 92 h 118"/>
                <a:gd name="T82" fmla="*/ 59 w 161"/>
                <a:gd name="T83" fmla="*/ 94 h 118"/>
                <a:gd name="T84" fmla="*/ 59 w 161"/>
                <a:gd name="T85" fmla="*/ 96 h 118"/>
                <a:gd name="T86" fmla="*/ 64 w 161"/>
                <a:gd name="T87" fmla="*/ 96 h 118"/>
                <a:gd name="T88" fmla="*/ 66 w 161"/>
                <a:gd name="T89" fmla="*/ 99 h 118"/>
                <a:gd name="T90" fmla="*/ 74 w 161"/>
                <a:gd name="T91" fmla="*/ 99 h 118"/>
                <a:gd name="T92" fmla="*/ 76 w 161"/>
                <a:gd name="T93" fmla="*/ 106 h 118"/>
                <a:gd name="T94" fmla="*/ 83 w 161"/>
                <a:gd name="T95" fmla="*/ 111 h 118"/>
                <a:gd name="T96" fmla="*/ 88 w 161"/>
                <a:gd name="T97" fmla="*/ 106 h 118"/>
                <a:gd name="T98" fmla="*/ 90 w 161"/>
                <a:gd name="T99" fmla="*/ 111 h 118"/>
                <a:gd name="T100" fmla="*/ 92 w 161"/>
                <a:gd name="T101" fmla="*/ 113 h 118"/>
                <a:gd name="T102" fmla="*/ 97 w 161"/>
                <a:gd name="T103" fmla="*/ 113 h 118"/>
                <a:gd name="T104" fmla="*/ 102 w 161"/>
                <a:gd name="T105" fmla="*/ 111 h 118"/>
                <a:gd name="T106" fmla="*/ 107 w 161"/>
                <a:gd name="T107" fmla="*/ 111 h 118"/>
                <a:gd name="T108" fmla="*/ 114 w 161"/>
                <a:gd name="T109" fmla="*/ 111 h 118"/>
                <a:gd name="T110" fmla="*/ 123 w 161"/>
                <a:gd name="T111" fmla="*/ 108 h 118"/>
                <a:gd name="T112" fmla="*/ 130 w 161"/>
                <a:gd name="T113" fmla="*/ 113 h 118"/>
                <a:gd name="T114" fmla="*/ 140 w 161"/>
                <a:gd name="T115" fmla="*/ 118 h 118"/>
                <a:gd name="T116" fmla="*/ 142 w 161"/>
                <a:gd name="T117" fmla="*/ 115 h 118"/>
                <a:gd name="T118" fmla="*/ 140 w 161"/>
                <a:gd name="T119" fmla="*/ 111 h 118"/>
                <a:gd name="T120" fmla="*/ 144 w 161"/>
                <a:gd name="T121" fmla="*/ 101 h 118"/>
                <a:gd name="T122" fmla="*/ 154 w 161"/>
                <a:gd name="T123" fmla="*/ 92 h 118"/>
                <a:gd name="T124" fmla="*/ 161 w 161"/>
                <a:gd name="T125" fmla="*/ 8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1" h="118">
                  <a:moveTo>
                    <a:pt x="161" y="85"/>
                  </a:moveTo>
                  <a:lnTo>
                    <a:pt x="161" y="82"/>
                  </a:lnTo>
                  <a:lnTo>
                    <a:pt x="158" y="82"/>
                  </a:lnTo>
                  <a:lnTo>
                    <a:pt x="158" y="82"/>
                  </a:lnTo>
                  <a:lnTo>
                    <a:pt x="158" y="80"/>
                  </a:lnTo>
                  <a:lnTo>
                    <a:pt x="158" y="80"/>
                  </a:lnTo>
                  <a:lnTo>
                    <a:pt x="161" y="80"/>
                  </a:lnTo>
                  <a:lnTo>
                    <a:pt x="161" y="80"/>
                  </a:lnTo>
                  <a:lnTo>
                    <a:pt x="161" y="80"/>
                  </a:lnTo>
                  <a:lnTo>
                    <a:pt x="158" y="78"/>
                  </a:lnTo>
                  <a:lnTo>
                    <a:pt x="158" y="78"/>
                  </a:lnTo>
                  <a:lnTo>
                    <a:pt x="156" y="75"/>
                  </a:lnTo>
                  <a:lnTo>
                    <a:pt x="154" y="70"/>
                  </a:lnTo>
                  <a:lnTo>
                    <a:pt x="154" y="70"/>
                  </a:lnTo>
                  <a:lnTo>
                    <a:pt x="154" y="70"/>
                  </a:lnTo>
                  <a:lnTo>
                    <a:pt x="154" y="68"/>
                  </a:lnTo>
                  <a:lnTo>
                    <a:pt x="151" y="68"/>
                  </a:lnTo>
                  <a:lnTo>
                    <a:pt x="151" y="66"/>
                  </a:lnTo>
                  <a:lnTo>
                    <a:pt x="151" y="63"/>
                  </a:lnTo>
                  <a:lnTo>
                    <a:pt x="151" y="63"/>
                  </a:lnTo>
                  <a:lnTo>
                    <a:pt x="151" y="61"/>
                  </a:lnTo>
                  <a:lnTo>
                    <a:pt x="151" y="61"/>
                  </a:lnTo>
                  <a:lnTo>
                    <a:pt x="151" y="59"/>
                  </a:lnTo>
                  <a:lnTo>
                    <a:pt x="151" y="56"/>
                  </a:lnTo>
                  <a:lnTo>
                    <a:pt x="151" y="56"/>
                  </a:lnTo>
                  <a:lnTo>
                    <a:pt x="151" y="56"/>
                  </a:lnTo>
                  <a:lnTo>
                    <a:pt x="151" y="54"/>
                  </a:lnTo>
                  <a:lnTo>
                    <a:pt x="149" y="54"/>
                  </a:lnTo>
                  <a:lnTo>
                    <a:pt x="149" y="54"/>
                  </a:lnTo>
                  <a:lnTo>
                    <a:pt x="147" y="52"/>
                  </a:lnTo>
                  <a:lnTo>
                    <a:pt x="144" y="52"/>
                  </a:lnTo>
                  <a:lnTo>
                    <a:pt x="144" y="52"/>
                  </a:lnTo>
                  <a:lnTo>
                    <a:pt x="144" y="49"/>
                  </a:lnTo>
                  <a:lnTo>
                    <a:pt x="144" y="49"/>
                  </a:lnTo>
                  <a:lnTo>
                    <a:pt x="144" y="47"/>
                  </a:lnTo>
                  <a:lnTo>
                    <a:pt x="147" y="47"/>
                  </a:lnTo>
                  <a:lnTo>
                    <a:pt x="149" y="44"/>
                  </a:lnTo>
                  <a:lnTo>
                    <a:pt x="154" y="42"/>
                  </a:lnTo>
                  <a:lnTo>
                    <a:pt x="154" y="42"/>
                  </a:lnTo>
                  <a:lnTo>
                    <a:pt x="154" y="42"/>
                  </a:lnTo>
                  <a:lnTo>
                    <a:pt x="154" y="40"/>
                  </a:lnTo>
                  <a:lnTo>
                    <a:pt x="154" y="37"/>
                  </a:lnTo>
                  <a:lnTo>
                    <a:pt x="154" y="35"/>
                  </a:lnTo>
                  <a:lnTo>
                    <a:pt x="154" y="35"/>
                  </a:lnTo>
                  <a:lnTo>
                    <a:pt x="151" y="30"/>
                  </a:lnTo>
                  <a:lnTo>
                    <a:pt x="149" y="23"/>
                  </a:lnTo>
                  <a:lnTo>
                    <a:pt x="147" y="18"/>
                  </a:lnTo>
                  <a:lnTo>
                    <a:pt x="147" y="16"/>
                  </a:lnTo>
                  <a:lnTo>
                    <a:pt x="147" y="16"/>
                  </a:lnTo>
                  <a:lnTo>
                    <a:pt x="147" y="14"/>
                  </a:lnTo>
                  <a:lnTo>
                    <a:pt x="144" y="14"/>
                  </a:lnTo>
                  <a:lnTo>
                    <a:pt x="144" y="11"/>
                  </a:lnTo>
                  <a:lnTo>
                    <a:pt x="142" y="11"/>
                  </a:lnTo>
                  <a:lnTo>
                    <a:pt x="140" y="11"/>
                  </a:lnTo>
                  <a:lnTo>
                    <a:pt x="140" y="11"/>
                  </a:lnTo>
                  <a:lnTo>
                    <a:pt x="140" y="11"/>
                  </a:lnTo>
                  <a:lnTo>
                    <a:pt x="137" y="9"/>
                  </a:lnTo>
                  <a:lnTo>
                    <a:pt x="137" y="9"/>
                  </a:lnTo>
                  <a:lnTo>
                    <a:pt x="137" y="9"/>
                  </a:lnTo>
                  <a:lnTo>
                    <a:pt x="135" y="9"/>
                  </a:lnTo>
                  <a:lnTo>
                    <a:pt x="135" y="9"/>
                  </a:lnTo>
                  <a:lnTo>
                    <a:pt x="135" y="9"/>
                  </a:lnTo>
                  <a:lnTo>
                    <a:pt x="132" y="9"/>
                  </a:lnTo>
                  <a:lnTo>
                    <a:pt x="125" y="9"/>
                  </a:lnTo>
                  <a:lnTo>
                    <a:pt x="116" y="9"/>
                  </a:lnTo>
                  <a:lnTo>
                    <a:pt x="109" y="9"/>
                  </a:lnTo>
                  <a:lnTo>
                    <a:pt x="102" y="9"/>
                  </a:lnTo>
                  <a:lnTo>
                    <a:pt x="95" y="9"/>
                  </a:lnTo>
                  <a:lnTo>
                    <a:pt x="90" y="7"/>
                  </a:lnTo>
                  <a:lnTo>
                    <a:pt x="85" y="7"/>
                  </a:lnTo>
                  <a:lnTo>
                    <a:pt x="85" y="7"/>
                  </a:lnTo>
                  <a:lnTo>
                    <a:pt x="83" y="7"/>
                  </a:lnTo>
                  <a:lnTo>
                    <a:pt x="81" y="9"/>
                  </a:lnTo>
                  <a:lnTo>
                    <a:pt x="76" y="9"/>
                  </a:lnTo>
                  <a:lnTo>
                    <a:pt x="74" y="9"/>
                  </a:lnTo>
                  <a:lnTo>
                    <a:pt x="69" y="7"/>
                  </a:lnTo>
                  <a:lnTo>
                    <a:pt x="69" y="7"/>
                  </a:lnTo>
                  <a:lnTo>
                    <a:pt x="66" y="2"/>
                  </a:lnTo>
                  <a:lnTo>
                    <a:pt x="66" y="2"/>
                  </a:lnTo>
                  <a:lnTo>
                    <a:pt x="69" y="2"/>
                  </a:lnTo>
                  <a:lnTo>
                    <a:pt x="71" y="4"/>
                  </a:lnTo>
                  <a:lnTo>
                    <a:pt x="71" y="2"/>
                  </a:lnTo>
                  <a:lnTo>
                    <a:pt x="66" y="2"/>
                  </a:lnTo>
                  <a:lnTo>
                    <a:pt x="64" y="0"/>
                  </a:lnTo>
                  <a:lnTo>
                    <a:pt x="59" y="0"/>
                  </a:lnTo>
                  <a:lnTo>
                    <a:pt x="57" y="0"/>
                  </a:lnTo>
                  <a:lnTo>
                    <a:pt x="48" y="2"/>
                  </a:lnTo>
                  <a:lnTo>
                    <a:pt x="43" y="4"/>
                  </a:lnTo>
                  <a:lnTo>
                    <a:pt x="43" y="4"/>
                  </a:lnTo>
                  <a:lnTo>
                    <a:pt x="36" y="4"/>
                  </a:lnTo>
                  <a:lnTo>
                    <a:pt x="33" y="7"/>
                  </a:lnTo>
                  <a:lnTo>
                    <a:pt x="33" y="9"/>
                  </a:lnTo>
                  <a:lnTo>
                    <a:pt x="31" y="9"/>
                  </a:lnTo>
                  <a:lnTo>
                    <a:pt x="31" y="11"/>
                  </a:lnTo>
                  <a:lnTo>
                    <a:pt x="29" y="11"/>
                  </a:lnTo>
                  <a:lnTo>
                    <a:pt x="26" y="11"/>
                  </a:lnTo>
                  <a:lnTo>
                    <a:pt x="17" y="14"/>
                  </a:lnTo>
                  <a:lnTo>
                    <a:pt x="8" y="16"/>
                  </a:lnTo>
                  <a:lnTo>
                    <a:pt x="3" y="18"/>
                  </a:lnTo>
                  <a:lnTo>
                    <a:pt x="0" y="18"/>
                  </a:lnTo>
                  <a:lnTo>
                    <a:pt x="0" y="18"/>
                  </a:lnTo>
                  <a:lnTo>
                    <a:pt x="0" y="18"/>
                  </a:lnTo>
                  <a:lnTo>
                    <a:pt x="0" y="18"/>
                  </a:lnTo>
                  <a:lnTo>
                    <a:pt x="3" y="18"/>
                  </a:lnTo>
                  <a:lnTo>
                    <a:pt x="5" y="21"/>
                  </a:lnTo>
                  <a:lnTo>
                    <a:pt x="5" y="21"/>
                  </a:lnTo>
                  <a:lnTo>
                    <a:pt x="5" y="23"/>
                  </a:lnTo>
                  <a:lnTo>
                    <a:pt x="8" y="23"/>
                  </a:lnTo>
                  <a:lnTo>
                    <a:pt x="8" y="23"/>
                  </a:lnTo>
                  <a:lnTo>
                    <a:pt x="5" y="23"/>
                  </a:lnTo>
                  <a:lnTo>
                    <a:pt x="0" y="21"/>
                  </a:lnTo>
                  <a:lnTo>
                    <a:pt x="0" y="23"/>
                  </a:lnTo>
                  <a:lnTo>
                    <a:pt x="3" y="23"/>
                  </a:lnTo>
                  <a:lnTo>
                    <a:pt x="3" y="26"/>
                  </a:lnTo>
                  <a:lnTo>
                    <a:pt x="5" y="30"/>
                  </a:lnTo>
                  <a:lnTo>
                    <a:pt x="5" y="33"/>
                  </a:lnTo>
                  <a:lnTo>
                    <a:pt x="5" y="33"/>
                  </a:lnTo>
                  <a:lnTo>
                    <a:pt x="3" y="35"/>
                  </a:lnTo>
                  <a:lnTo>
                    <a:pt x="3" y="35"/>
                  </a:lnTo>
                  <a:lnTo>
                    <a:pt x="0" y="37"/>
                  </a:lnTo>
                  <a:lnTo>
                    <a:pt x="0" y="37"/>
                  </a:lnTo>
                  <a:lnTo>
                    <a:pt x="0" y="40"/>
                  </a:lnTo>
                  <a:lnTo>
                    <a:pt x="3" y="40"/>
                  </a:lnTo>
                  <a:lnTo>
                    <a:pt x="5" y="44"/>
                  </a:lnTo>
                  <a:lnTo>
                    <a:pt x="8" y="47"/>
                  </a:lnTo>
                  <a:lnTo>
                    <a:pt x="8" y="47"/>
                  </a:lnTo>
                  <a:lnTo>
                    <a:pt x="8" y="49"/>
                  </a:lnTo>
                  <a:lnTo>
                    <a:pt x="8" y="49"/>
                  </a:lnTo>
                  <a:lnTo>
                    <a:pt x="8" y="52"/>
                  </a:lnTo>
                  <a:lnTo>
                    <a:pt x="8" y="52"/>
                  </a:lnTo>
                  <a:lnTo>
                    <a:pt x="10" y="52"/>
                  </a:lnTo>
                  <a:lnTo>
                    <a:pt x="10" y="54"/>
                  </a:lnTo>
                  <a:lnTo>
                    <a:pt x="10" y="54"/>
                  </a:lnTo>
                  <a:lnTo>
                    <a:pt x="10" y="54"/>
                  </a:lnTo>
                  <a:lnTo>
                    <a:pt x="10" y="56"/>
                  </a:lnTo>
                  <a:lnTo>
                    <a:pt x="10" y="56"/>
                  </a:lnTo>
                  <a:lnTo>
                    <a:pt x="10" y="56"/>
                  </a:lnTo>
                  <a:lnTo>
                    <a:pt x="10" y="59"/>
                  </a:lnTo>
                  <a:lnTo>
                    <a:pt x="8" y="61"/>
                  </a:lnTo>
                  <a:lnTo>
                    <a:pt x="8" y="61"/>
                  </a:lnTo>
                  <a:lnTo>
                    <a:pt x="10" y="63"/>
                  </a:lnTo>
                  <a:lnTo>
                    <a:pt x="10" y="63"/>
                  </a:lnTo>
                  <a:lnTo>
                    <a:pt x="10" y="63"/>
                  </a:lnTo>
                  <a:lnTo>
                    <a:pt x="10" y="66"/>
                  </a:lnTo>
                  <a:lnTo>
                    <a:pt x="10" y="66"/>
                  </a:lnTo>
                  <a:lnTo>
                    <a:pt x="12" y="68"/>
                  </a:lnTo>
                  <a:lnTo>
                    <a:pt x="12" y="68"/>
                  </a:lnTo>
                  <a:lnTo>
                    <a:pt x="15" y="68"/>
                  </a:lnTo>
                  <a:lnTo>
                    <a:pt x="15" y="73"/>
                  </a:lnTo>
                  <a:lnTo>
                    <a:pt x="15" y="75"/>
                  </a:lnTo>
                  <a:lnTo>
                    <a:pt x="12" y="78"/>
                  </a:lnTo>
                  <a:lnTo>
                    <a:pt x="12" y="80"/>
                  </a:lnTo>
                  <a:lnTo>
                    <a:pt x="12" y="80"/>
                  </a:lnTo>
                  <a:lnTo>
                    <a:pt x="12" y="80"/>
                  </a:lnTo>
                  <a:lnTo>
                    <a:pt x="15" y="80"/>
                  </a:lnTo>
                  <a:lnTo>
                    <a:pt x="15" y="78"/>
                  </a:lnTo>
                  <a:lnTo>
                    <a:pt x="15" y="78"/>
                  </a:lnTo>
                  <a:lnTo>
                    <a:pt x="15" y="78"/>
                  </a:lnTo>
                  <a:lnTo>
                    <a:pt x="17" y="78"/>
                  </a:lnTo>
                  <a:lnTo>
                    <a:pt x="19" y="78"/>
                  </a:lnTo>
                  <a:lnTo>
                    <a:pt x="19" y="80"/>
                  </a:lnTo>
                  <a:lnTo>
                    <a:pt x="19" y="80"/>
                  </a:lnTo>
                  <a:lnTo>
                    <a:pt x="19" y="80"/>
                  </a:lnTo>
                  <a:lnTo>
                    <a:pt x="22" y="80"/>
                  </a:lnTo>
                  <a:lnTo>
                    <a:pt x="22" y="80"/>
                  </a:lnTo>
                  <a:lnTo>
                    <a:pt x="24" y="82"/>
                  </a:lnTo>
                  <a:lnTo>
                    <a:pt x="26" y="82"/>
                  </a:lnTo>
                  <a:lnTo>
                    <a:pt x="29" y="82"/>
                  </a:lnTo>
                  <a:lnTo>
                    <a:pt x="29" y="82"/>
                  </a:lnTo>
                  <a:lnTo>
                    <a:pt x="29" y="85"/>
                  </a:lnTo>
                  <a:lnTo>
                    <a:pt x="31" y="85"/>
                  </a:lnTo>
                  <a:lnTo>
                    <a:pt x="31" y="85"/>
                  </a:lnTo>
                  <a:lnTo>
                    <a:pt x="31" y="85"/>
                  </a:lnTo>
                  <a:lnTo>
                    <a:pt x="36" y="85"/>
                  </a:lnTo>
                  <a:lnTo>
                    <a:pt x="36" y="85"/>
                  </a:lnTo>
                  <a:lnTo>
                    <a:pt x="38" y="85"/>
                  </a:lnTo>
                  <a:lnTo>
                    <a:pt x="38" y="85"/>
                  </a:lnTo>
                  <a:lnTo>
                    <a:pt x="36" y="87"/>
                  </a:lnTo>
                  <a:lnTo>
                    <a:pt x="36" y="87"/>
                  </a:lnTo>
                  <a:lnTo>
                    <a:pt x="36" y="87"/>
                  </a:lnTo>
                  <a:lnTo>
                    <a:pt x="36" y="87"/>
                  </a:lnTo>
                  <a:lnTo>
                    <a:pt x="33" y="87"/>
                  </a:lnTo>
                  <a:lnTo>
                    <a:pt x="33" y="89"/>
                  </a:lnTo>
                  <a:lnTo>
                    <a:pt x="33" y="89"/>
                  </a:lnTo>
                  <a:lnTo>
                    <a:pt x="36" y="89"/>
                  </a:lnTo>
                  <a:lnTo>
                    <a:pt x="36" y="89"/>
                  </a:lnTo>
                  <a:lnTo>
                    <a:pt x="36" y="89"/>
                  </a:lnTo>
                  <a:lnTo>
                    <a:pt x="38" y="92"/>
                  </a:lnTo>
                  <a:lnTo>
                    <a:pt x="41" y="94"/>
                  </a:lnTo>
                  <a:lnTo>
                    <a:pt x="41" y="94"/>
                  </a:lnTo>
                  <a:lnTo>
                    <a:pt x="43" y="94"/>
                  </a:lnTo>
                  <a:lnTo>
                    <a:pt x="43" y="94"/>
                  </a:lnTo>
                  <a:lnTo>
                    <a:pt x="43" y="94"/>
                  </a:lnTo>
                  <a:lnTo>
                    <a:pt x="45" y="94"/>
                  </a:lnTo>
                  <a:lnTo>
                    <a:pt x="45" y="94"/>
                  </a:lnTo>
                  <a:lnTo>
                    <a:pt x="48" y="92"/>
                  </a:lnTo>
                  <a:lnTo>
                    <a:pt x="48" y="92"/>
                  </a:lnTo>
                  <a:lnTo>
                    <a:pt x="45" y="89"/>
                  </a:lnTo>
                  <a:lnTo>
                    <a:pt x="45" y="89"/>
                  </a:lnTo>
                  <a:lnTo>
                    <a:pt x="45" y="89"/>
                  </a:lnTo>
                  <a:lnTo>
                    <a:pt x="48" y="89"/>
                  </a:lnTo>
                  <a:lnTo>
                    <a:pt x="50" y="89"/>
                  </a:lnTo>
                  <a:lnTo>
                    <a:pt x="55" y="92"/>
                  </a:lnTo>
                  <a:lnTo>
                    <a:pt x="55" y="92"/>
                  </a:lnTo>
                  <a:lnTo>
                    <a:pt x="57" y="92"/>
                  </a:lnTo>
                  <a:lnTo>
                    <a:pt x="57" y="92"/>
                  </a:lnTo>
                  <a:lnTo>
                    <a:pt x="59" y="92"/>
                  </a:lnTo>
                  <a:lnTo>
                    <a:pt x="59" y="92"/>
                  </a:lnTo>
                  <a:lnTo>
                    <a:pt x="59" y="92"/>
                  </a:lnTo>
                  <a:lnTo>
                    <a:pt x="59" y="94"/>
                  </a:lnTo>
                  <a:lnTo>
                    <a:pt x="57" y="94"/>
                  </a:lnTo>
                  <a:lnTo>
                    <a:pt x="57" y="94"/>
                  </a:lnTo>
                  <a:lnTo>
                    <a:pt x="57" y="94"/>
                  </a:lnTo>
                  <a:lnTo>
                    <a:pt x="57" y="94"/>
                  </a:lnTo>
                  <a:lnTo>
                    <a:pt x="59" y="96"/>
                  </a:lnTo>
                  <a:lnTo>
                    <a:pt x="59" y="96"/>
                  </a:lnTo>
                  <a:lnTo>
                    <a:pt x="59" y="96"/>
                  </a:lnTo>
                  <a:lnTo>
                    <a:pt x="62" y="99"/>
                  </a:lnTo>
                  <a:lnTo>
                    <a:pt x="64" y="96"/>
                  </a:lnTo>
                  <a:lnTo>
                    <a:pt x="64" y="96"/>
                  </a:lnTo>
                  <a:lnTo>
                    <a:pt x="64" y="96"/>
                  </a:lnTo>
                  <a:lnTo>
                    <a:pt x="64" y="96"/>
                  </a:lnTo>
                  <a:lnTo>
                    <a:pt x="64" y="96"/>
                  </a:lnTo>
                  <a:lnTo>
                    <a:pt x="64" y="96"/>
                  </a:lnTo>
                  <a:lnTo>
                    <a:pt x="66" y="99"/>
                  </a:lnTo>
                  <a:lnTo>
                    <a:pt x="66" y="99"/>
                  </a:lnTo>
                  <a:lnTo>
                    <a:pt x="69" y="99"/>
                  </a:lnTo>
                  <a:lnTo>
                    <a:pt x="69" y="99"/>
                  </a:lnTo>
                  <a:lnTo>
                    <a:pt x="71" y="99"/>
                  </a:lnTo>
                  <a:lnTo>
                    <a:pt x="74" y="99"/>
                  </a:lnTo>
                  <a:lnTo>
                    <a:pt x="74" y="101"/>
                  </a:lnTo>
                  <a:lnTo>
                    <a:pt x="74" y="101"/>
                  </a:lnTo>
                  <a:lnTo>
                    <a:pt x="74" y="101"/>
                  </a:lnTo>
                  <a:lnTo>
                    <a:pt x="76" y="106"/>
                  </a:lnTo>
                  <a:lnTo>
                    <a:pt x="76" y="106"/>
                  </a:lnTo>
                  <a:lnTo>
                    <a:pt x="78" y="108"/>
                  </a:lnTo>
                  <a:lnTo>
                    <a:pt x="78" y="108"/>
                  </a:lnTo>
                  <a:lnTo>
                    <a:pt x="78" y="108"/>
                  </a:lnTo>
                  <a:lnTo>
                    <a:pt x="81" y="111"/>
                  </a:lnTo>
                  <a:lnTo>
                    <a:pt x="83" y="111"/>
                  </a:lnTo>
                  <a:lnTo>
                    <a:pt x="83" y="108"/>
                  </a:lnTo>
                  <a:lnTo>
                    <a:pt x="85" y="106"/>
                  </a:lnTo>
                  <a:lnTo>
                    <a:pt x="85" y="106"/>
                  </a:lnTo>
                  <a:lnTo>
                    <a:pt x="88" y="106"/>
                  </a:lnTo>
                  <a:lnTo>
                    <a:pt x="88" y="106"/>
                  </a:lnTo>
                  <a:lnTo>
                    <a:pt x="88" y="108"/>
                  </a:lnTo>
                  <a:lnTo>
                    <a:pt x="90" y="108"/>
                  </a:lnTo>
                  <a:lnTo>
                    <a:pt x="90" y="108"/>
                  </a:lnTo>
                  <a:lnTo>
                    <a:pt x="90" y="108"/>
                  </a:lnTo>
                  <a:lnTo>
                    <a:pt x="90" y="111"/>
                  </a:lnTo>
                  <a:lnTo>
                    <a:pt x="92" y="111"/>
                  </a:lnTo>
                  <a:lnTo>
                    <a:pt x="92" y="111"/>
                  </a:lnTo>
                  <a:lnTo>
                    <a:pt x="92" y="111"/>
                  </a:lnTo>
                  <a:lnTo>
                    <a:pt x="92" y="113"/>
                  </a:lnTo>
                  <a:lnTo>
                    <a:pt x="92" y="113"/>
                  </a:lnTo>
                  <a:lnTo>
                    <a:pt x="92" y="113"/>
                  </a:lnTo>
                  <a:lnTo>
                    <a:pt x="92" y="113"/>
                  </a:lnTo>
                  <a:lnTo>
                    <a:pt x="95" y="113"/>
                  </a:lnTo>
                  <a:lnTo>
                    <a:pt x="95" y="113"/>
                  </a:lnTo>
                  <a:lnTo>
                    <a:pt x="97" y="113"/>
                  </a:lnTo>
                  <a:lnTo>
                    <a:pt x="97" y="113"/>
                  </a:lnTo>
                  <a:lnTo>
                    <a:pt x="99" y="111"/>
                  </a:lnTo>
                  <a:lnTo>
                    <a:pt x="99" y="111"/>
                  </a:lnTo>
                  <a:lnTo>
                    <a:pt x="102" y="111"/>
                  </a:lnTo>
                  <a:lnTo>
                    <a:pt x="102" y="111"/>
                  </a:lnTo>
                  <a:lnTo>
                    <a:pt x="102" y="111"/>
                  </a:lnTo>
                  <a:lnTo>
                    <a:pt x="104" y="111"/>
                  </a:lnTo>
                  <a:lnTo>
                    <a:pt x="104" y="111"/>
                  </a:lnTo>
                  <a:lnTo>
                    <a:pt x="104" y="111"/>
                  </a:lnTo>
                  <a:lnTo>
                    <a:pt x="107" y="111"/>
                  </a:lnTo>
                  <a:lnTo>
                    <a:pt x="109" y="111"/>
                  </a:lnTo>
                  <a:lnTo>
                    <a:pt x="109" y="111"/>
                  </a:lnTo>
                  <a:lnTo>
                    <a:pt x="111" y="111"/>
                  </a:lnTo>
                  <a:lnTo>
                    <a:pt x="111" y="111"/>
                  </a:lnTo>
                  <a:lnTo>
                    <a:pt x="114" y="111"/>
                  </a:lnTo>
                  <a:lnTo>
                    <a:pt x="114" y="108"/>
                  </a:lnTo>
                  <a:lnTo>
                    <a:pt x="114" y="108"/>
                  </a:lnTo>
                  <a:lnTo>
                    <a:pt x="116" y="108"/>
                  </a:lnTo>
                  <a:lnTo>
                    <a:pt x="118" y="108"/>
                  </a:lnTo>
                  <a:lnTo>
                    <a:pt x="123" y="108"/>
                  </a:lnTo>
                  <a:lnTo>
                    <a:pt x="123" y="111"/>
                  </a:lnTo>
                  <a:lnTo>
                    <a:pt x="128" y="111"/>
                  </a:lnTo>
                  <a:lnTo>
                    <a:pt x="128" y="111"/>
                  </a:lnTo>
                  <a:lnTo>
                    <a:pt x="128" y="113"/>
                  </a:lnTo>
                  <a:lnTo>
                    <a:pt x="130" y="113"/>
                  </a:lnTo>
                  <a:lnTo>
                    <a:pt x="132" y="115"/>
                  </a:lnTo>
                  <a:lnTo>
                    <a:pt x="137" y="115"/>
                  </a:lnTo>
                  <a:lnTo>
                    <a:pt x="137" y="115"/>
                  </a:lnTo>
                  <a:lnTo>
                    <a:pt x="140" y="115"/>
                  </a:lnTo>
                  <a:lnTo>
                    <a:pt x="140" y="118"/>
                  </a:lnTo>
                  <a:lnTo>
                    <a:pt x="142" y="118"/>
                  </a:lnTo>
                  <a:lnTo>
                    <a:pt x="142" y="118"/>
                  </a:lnTo>
                  <a:lnTo>
                    <a:pt x="142" y="115"/>
                  </a:lnTo>
                  <a:lnTo>
                    <a:pt x="142" y="115"/>
                  </a:lnTo>
                  <a:lnTo>
                    <a:pt x="142" y="115"/>
                  </a:lnTo>
                  <a:lnTo>
                    <a:pt x="140" y="115"/>
                  </a:lnTo>
                  <a:lnTo>
                    <a:pt x="140" y="113"/>
                  </a:lnTo>
                  <a:lnTo>
                    <a:pt x="140" y="113"/>
                  </a:lnTo>
                  <a:lnTo>
                    <a:pt x="140" y="111"/>
                  </a:lnTo>
                  <a:lnTo>
                    <a:pt x="140" y="111"/>
                  </a:lnTo>
                  <a:lnTo>
                    <a:pt x="140" y="108"/>
                  </a:lnTo>
                  <a:lnTo>
                    <a:pt x="140" y="106"/>
                  </a:lnTo>
                  <a:lnTo>
                    <a:pt x="140" y="106"/>
                  </a:lnTo>
                  <a:lnTo>
                    <a:pt x="142" y="101"/>
                  </a:lnTo>
                  <a:lnTo>
                    <a:pt x="144" y="101"/>
                  </a:lnTo>
                  <a:lnTo>
                    <a:pt x="144" y="99"/>
                  </a:lnTo>
                  <a:lnTo>
                    <a:pt x="149" y="96"/>
                  </a:lnTo>
                  <a:lnTo>
                    <a:pt x="151" y="94"/>
                  </a:lnTo>
                  <a:lnTo>
                    <a:pt x="151" y="92"/>
                  </a:lnTo>
                  <a:lnTo>
                    <a:pt x="154" y="92"/>
                  </a:lnTo>
                  <a:lnTo>
                    <a:pt x="156" y="89"/>
                  </a:lnTo>
                  <a:lnTo>
                    <a:pt x="158" y="89"/>
                  </a:lnTo>
                  <a:lnTo>
                    <a:pt x="158" y="87"/>
                  </a:lnTo>
                  <a:lnTo>
                    <a:pt x="161" y="87"/>
                  </a:lnTo>
                  <a:lnTo>
                    <a:pt x="161" y="87"/>
                  </a:lnTo>
                  <a:lnTo>
                    <a:pt x="161" y="8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1" name="Freeform 257"/>
            <p:cNvSpPr>
              <a:spLocks noEditPoints="1"/>
            </p:cNvSpPr>
            <p:nvPr userDrawn="1"/>
          </p:nvSpPr>
          <p:spPr bwMode="auto">
            <a:xfrm>
              <a:off x="5826" y="2415"/>
              <a:ext cx="174" cy="274"/>
            </a:xfrm>
            <a:custGeom>
              <a:avLst/>
              <a:gdLst>
                <a:gd name="T0" fmla="*/ 172 w 174"/>
                <a:gd name="T1" fmla="*/ 227 h 274"/>
                <a:gd name="T2" fmla="*/ 165 w 174"/>
                <a:gd name="T3" fmla="*/ 196 h 274"/>
                <a:gd name="T4" fmla="*/ 146 w 174"/>
                <a:gd name="T5" fmla="*/ 206 h 274"/>
                <a:gd name="T6" fmla="*/ 130 w 174"/>
                <a:gd name="T7" fmla="*/ 220 h 274"/>
                <a:gd name="T8" fmla="*/ 113 w 174"/>
                <a:gd name="T9" fmla="*/ 213 h 274"/>
                <a:gd name="T10" fmla="*/ 92 w 174"/>
                <a:gd name="T11" fmla="*/ 230 h 274"/>
                <a:gd name="T12" fmla="*/ 101 w 174"/>
                <a:gd name="T13" fmla="*/ 230 h 274"/>
                <a:gd name="T14" fmla="*/ 115 w 174"/>
                <a:gd name="T15" fmla="*/ 230 h 274"/>
                <a:gd name="T16" fmla="*/ 127 w 174"/>
                <a:gd name="T17" fmla="*/ 244 h 274"/>
                <a:gd name="T18" fmla="*/ 151 w 174"/>
                <a:gd name="T19" fmla="*/ 265 h 274"/>
                <a:gd name="T20" fmla="*/ 153 w 174"/>
                <a:gd name="T21" fmla="*/ 248 h 274"/>
                <a:gd name="T22" fmla="*/ 170 w 174"/>
                <a:gd name="T23" fmla="*/ 260 h 274"/>
                <a:gd name="T24" fmla="*/ 163 w 174"/>
                <a:gd name="T25" fmla="*/ 185 h 274"/>
                <a:gd name="T26" fmla="*/ 130 w 174"/>
                <a:gd name="T27" fmla="*/ 189 h 274"/>
                <a:gd name="T28" fmla="*/ 153 w 174"/>
                <a:gd name="T29" fmla="*/ 173 h 274"/>
                <a:gd name="T30" fmla="*/ 153 w 174"/>
                <a:gd name="T31" fmla="*/ 173 h 274"/>
                <a:gd name="T32" fmla="*/ 94 w 174"/>
                <a:gd name="T33" fmla="*/ 187 h 274"/>
                <a:gd name="T34" fmla="*/ 108 w 174"/>
                <a:gd name="T35" fmla="*/ 189 h 274"/>
                <a:gd name="T36" fmla="*/ 104 w 174"/>
                <a:gd name="T37" fmla="*/ 163 h 274"/>
                <a:gd name="T38" fmla="*/ 94 w 174"/>
                <a:gd name="T39" fmla="*/ 185 h 274"/>
                <a:gd name="T40" fmla="*/ 115 w 174"/>
                <a:gd name="T41" fmla="*/ 175 h 274"/>
                <a:gd name="T42" fmla="*/ 122 w 174"/>
                <a:gd name="T43" fmla="*/ 170 h 274"/>
                <a:gd name="T44" fmla="*/ 35 w 174"/>
                <a:gd name="T45" fmla="*/ 168 h 274"/>
                <a:gd name="T46" fmla="*/ 12 w 174"/>
                <a:gd name="T47" fmla="*/ 199 h 274"/>
                <a:gd name="T48" fmla="*/ 9 w 174"/>
                <a:gd name="T49" fmla="*/ 208 h 274"/>
                <a:gd name="T50" fmla="*/ 33 w 174"/>
                <a:gd name="T51" fmla="*/ 180 h 274"/>
                <a:gd name="T52" fmla="*/ 146 w 174"/>
                <a:gd name="T53" fmla="*/ 175 h 274"/>
                <a:gd name="T54" fmla="*/ 132 w 174"/>
                <a:gd name="T55" fmla="*/ 154 h 274"/>
                <a:gd name="T56" fmla="*/ 137 w 174"/>
                <a:gd name="T57" fmla="*/ 166 h 274"/>
                <a:gd name="T58" fmla="*/ 132 w 174"/>
                <a:gd name="T59" fmla="*/ 149 h 274"/>
                <a:gd name="T60" fmla="*/ 104 w 174"/>
                <a:gd name="T61" fmla="*/ 156 h 274"/>
                <a:gd name="T62" fmla="*/ 82 w 174"/>
                <a:gd name="T63" fmla="*/ 142 h 274"/>
                <a:gd name="T64" fmla="*/ 85 w 174"/>
                <a:gd name="T65" fmla="*/ 173 h 274"/>
                <a:gd name="T66" fmla="*/ 47 w 174"/>
                <a:gd name="T67" fmla="*/ 147 h 274"/>
                <a:gd name="T68" fmla="*/ 42 w 174"/>
                <a:gd name="T69" fmla="*/ 135 h 274"/>
                <a:gd name="T70" fmla="*/ 132 w 174"/>
                <a:gd name="T71" fmla="*/ 140 h 274"/>
                <a:gd name="T72" fmla="*/ 146 w 174"/>
                <a:gd name="T73" fmla="*/ 159 h 274"/>
                <a:gd name="T74" fmla="*/ 146 w 174"/>
                <a:gd name="T75" fmla="*/ 140 h 274"/>
                <a:gd name="T76" fmla="*/ 125 w 174"/>
                <a:gd name="T77" fmla="*/ 135 h 274"/>
                <a:gd name="T78" fmla="*/ 120 w 174"/>
                <a:gd name="T79" fmla="*/ 144 h 274"/>
                <a:gd name="T80" fmla="*/ 82 w 174"/>
                <a:gd name="T81" fmla="*/ 128 h 274"/>
                <a:gd name="T82" fmla="*/ 71 w 174"/>
                <a:gd name="T83" fmla="*/ 121 h 274"/>
                <a:gd name="T84" fmla="*/ 54 w 174"/>
                <a:gd name="T85" fmla="*/ 109 h 274"/>
                <a:gd name="T86" fmla="*/ 59 w 174"/>
                <a:gd name="T87" fmla="*/ 123 h 274"/>
                <a:gd name="T88" fmla="*/ 71 w 174"/>
                <a:gd name="T89" fmla="*/ 133 h 274"/>
                <a:gd name="T90" fmla="*/ 78 w 174"/>
                <a:gd name="T91" fmla="*/ 107 h 274"/>
                <a:gd name="T92" fmla="*/ 118 w 174"/>
                <a:gd name="T93" fmla="*/ 102 h 274"/>
                <a:gd name="T94" fmla="*/ 35 w 174"/>
                <a:gd name="T95" fmla="*/ 69 h 274"/>
                <a:gd name="T96" fmla="*/ 49 w 174"/>
                <a:gd name="T97" fmla="*/ 81 h 274"/>
                <a:gd name="T98" fmla="*/ 59 w 174"/>
                <a:gd name="T99" fmla="*/ 102 h 274"/>
                <a:gd name="T100" fmla="*/ 87 w 174"/>
                <a:gd name="T101" fmla="*/ 111 h 274"/>
                <a:gd name="T102" fmla="*/ 92 w 174"/>
                <a:gd name="T103" fmla="*/ 102 h 274"/>
                <a:gd name="T104" fmla="*/ 115 w 174"/>
                <a:gd name="T105" fmla="*/ 123 h 274"/>
                <a:gd name="T106" fmla="*/ 106 w 174"/>
                <a:gd name="T107" fmla="*/ 104 h 274"/>
                <a:gd name="T108" fmla="*/ 99 w 174"/>
                <a:gd name="T109" fmla="*/ 102 h 274"/>
                <a:gd name="T110" fmla="*/ 82 w 174"/>
                <a:gd name="T111" fmla="*/ 97 h 274"/>
                <a:gd name="T112" fmla="*/ 68 w 174"/>
                <a:gd name="T113" fmla="*/ 81 h 274"/>
                <a:gd name="T114" fmla="*/ 71 w 174"/>
                <a:gd name="T115" fmla="*/ 52 h 274"/>
                <a:gd name="T116" fmla="*/ 68 w 174"/>
                <a:gd name="T117" fmla="*/ 19 h 274"/>
                <a:gd name="T118" fmla="*/ 49 w 174"/>
                <a:gd name="T119" fmla="*/ 0 h 274"/>
                <a:gd name="T120" fmla="*/ 40 w 174"/>
                <a:gd name="T121" fmla="*/ 31 h 274"/>
                <a:gd name="T122" fmla="*/ 33 w 174"/>
                <a:gd name="T123"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274">
                  <a:moveTo>
                    <a:pt x="92" y="258"/>
                  </a:moveTo>
                  <a:lnTo>
                    <a:pt x="94" y="256"/>
                  </a:lnTo>
                  <a:lnTo>
                    <a:pt x="94" y="253"/>
                  </a:lnTo>
                  <a:lnTo>
                    <a:pt x="97" y="253"/>
                  </a:lnTo>
                  <a:lnTo>
                    <a:pt x="97" y="253"/>
                  </a:lnTo>
                  <a:lnTo>
                    <a:pt x="92" y="251"/>
                  </a:lnTo>
                  <a:lnTo>
                    <a:pt x="89" y="251"/>
                  </a:lnTo>
                  <a:lnTo>
                    <a:pt x="87" y="253"/>
                  </a:lnTo>
                  <a:lnTo>
                    <a:pt x="87" y="253"/>
                  </a:lnTo>
                  <a:lnTo>
                    <a:pt x="87" y="253"/>
                  </a:lnTo>
                  <a:lnTo>
                    <a:pt x="92" y="258"/>
                  </a:lnTo>
                  <a:close/>
                  <a:moveTo>
                    <a:pt x="174" y="234"/>
                  </a:moveTo>
                  <a:lnTo>
                    <a:pt x="174" y="230"/>
                  </a:lnTo>
                  <a:lnTo>
                    <a:pt x="174" y="230"/>
                  </a:lnTo>
                  <a:lnTo>
                    <a:pt x="172" y="230"/>
                  </a:lnTo>
                  <a:lnTo>
                    <a:pt x="172" y="227"/>
                  </a:lnTo>
                  <a:lnTo>
                    <a:pt x="172" y="225"/>
                  </a:lnTo>
                  <a:lnTo>
                    <a:pt x="172" y="220"/>
                  </a:lnTo>
                  <a:lnTo>
                    <a:pt x="172" y="220"/>
                  </a:lnTo>
                  <a:lnTo>
                    <a:pt x="170" y="218"/>
                  </a:lnTo>
                  <a:lnTo>
                    <a:pt x="170" y="213"/>
                  </a:lnTo>
                  <a:lnTo>
                    <a:pt x="167" y="213"/>
                  </a:lnTo>
                  <a:lnTo>
                    <a:pt x="165" y="213"/>
                  </a:lnTo>
                  <a:lnTo>
                    <a:pt x="165" y="211"/>
                  </a:lnTo>
                  <a:lnTo>
                    <a:pt x="165" y="211"/>
                  </a:lnTo>
                  <a:lnTo>
                    <a:pt x="165" y="208"/>
                  </a:lnTo>
                  <a:lnTo>
                    <a:pt x="167" y="208"/>
                  </a:lnTo>
                  <a:lnTo>
                    <a:pt x="167" y="206"/>
                  </a:lnTo>
                  <a:lnTo>
                    <a:pt x="167" y="204"/>
                  </a:lnTo>
                  <a:lnTo>
                    <a:pt x="165" y="201"/>
                  </a:lnTo>
                  <a:lnTo>
                    <a:pt x="165" y="201"/>
                  </a:lnTo>
                  <a:lnTo>
                    <a:pt x="165" y="196"/>
                  </a:lnTo>
                  <a:lnTo>
                    <a:pt x="163" y="196"/>
                  </a:lnTo>
                  <a:lnTo>
                    <a:pt x="160" y="196"/>
                  </a:lnTo>
                  <a:lnTo>
                    <a:pt x="160" y="194"/>
                  </a:lnTo>
                  <a:lnTo>
                    <a:pt x="158" y="192"/>
                  </a:lnTo>
                  <a:lnTo>
                    <a:pt x="153" y="189"/>
                  </a:lnTo>
                  <a:lnTo>
                    <a:pt x="151" y="187"/>
                  </a:lnTo>
                  <a:lnTo>
                    <a:pt x="151" y="187"/>
                  </a:lnTo>
                  <a:lnTo>
                    <a:pt x="148" y="189"/>
                  </a:lnTo>
                  <a:lnTo>
                    <a:pt x="151" y="196"/>
                  </a:lnTo>
                  <a:lnTo>
                    <a:pt x="153" y="199"/>
                  </a:lnTo>
                  <a:lnTo>
                    <a:pt x="153" y="204"/>
                  </a:lnTo>
                  <a:lnTo>
                    <a:pt x="151" y="204"/>
                  </a:lnTo>
                  <a:lnTo>
                    <a:pt x="148" y="201"/>
                  </a:lnTo>
                  <a:lnTo>
                    <a:pt x="146" y="201"/>
                  </a:lnTo>
                  <a:lnTo>
                    <a:pt x="146" y="204"/>
                  </a:lnTo>
                  <a:lnTo>
                    <a:pt x="146" y="206"/>
                  </a:lnTo>
                  <a:lnTo>
                    <a:pt x="144" y="206"/>
                  </a:lnTo>
                  <a:lnTo>
                    <a:pt x="141" y="204"/>
                  </a:lnTo>
                  <a:lnTo>
                    <a:pt x="141" y="204"/>
                  </a:lnTo>
                  <a:lnTo>
                    <a:pt x="139" y="204"/>
                  </a:lnTo>
                  <a:lnTo>
                    <a:pt x="139" y="206"/>
                  </a:lnTo>
                  <a:lnTo>
                    <a:pt x="139" y="208"/>
                  </a:lnTo>
                  <a:lnTo>
                    <a:pt x="139" y="213"/>
                  </a:lnTo>
                  <a:lnTo>
                    <a:pt x="137" y="213"/>
                  </a:lnTo>
                  <a:lnTo>
                    <a:pt x="134" y="211"/>
                  </a:lnTo>
                  <a:lnTo>
                    <a:pt x="132" y="211"/>
                  </a:lnTo>
                  <a:lnTo>
                    <a:pt x="132" y="213"/>
                  </a:lnTo>
                  <a:lnTo>
                    <a:pt x="132" y="213"/>
                  </a:lnTo>
                  <a:lnTo>
                    <a:pt x="130" y="215"/>
                  </a:lnTo>
                  <a:lnTo>
                    <a:pt x="130" y="218"/>
                  </a:lnTo>
                  <a:lnTo>
                    <a:pt x="130" y="220"/>
                  </a:lnTo>
                  <a:lnTo>
                    <a:pt x="130" y="220"/>
                  </a:lnTo>
                  <a:lnTo>
                    <a:pt x="125" y="220"/>
                  </a:lnTo>
                  <a:lnTo>
                    <a:pt x="125" y="220"/>
                  </a:lnTo>
                  <a:lnTo>
                    <a:pt x="122" y="222"/>
                  </a:lnTo>
                  <a:lnTo>
                    <a:pt x="120" y="222"/>
                  </a:lnTo>
                  <a:lnTo>
                    <a:pt x="122" y="220"/>
                  </a:lnTo>
                  <a:lnTo>
                    <a:pt x="122" y="220"/>
                  </a:lnTo>
                  <a:lnTo>
                    <a:pt x="122" y="215"/>
                  </a:lnTo>
                  <a:lnTo>
                    <a:pt x="122" y="215"/>
                  </a:lnTo>
                  <a:lnTo>
                    <a:pt x="120" y="213"/>
                  </a:lnTo>
                  <a:lnTo>
                    <a:pt x="120" y="211"/>
                  </a:lnTo>
                  <a:lnTo>
                    <a:pt x="118" y="211"/>
                  </a:lnTo>
                  <a:lnTo>
                    <a:pt x="115" y="211"/>
                  </a:lnTo>
                  <a:lnTo>
                    <a:pt x="115" y="208"/>
                  </a:lnTo>
                  <a:lnTo>
                    <a:pt x="113" y="211"/>
                  </a:lnTo>
                  <a:lnTo>
                    <a:pt x="113" y="213"/>
                  </a:lnTo>
                  <a:lnTo>
                    <a:pt x="113" y="213"/>
                  </a:lnTo>
                  <a:lnTo>
                    <a:pt x="108" y="213"/>
                  </a:lnTo>
                  <a:lnTo>
                    <a:pt x="108" y="213"/>
                  </a:lnTo>
                  <a:lnTo>
                    <a:pt x="108" y="215"/>
                  </a:lnTo>
                  <a:lnTo>
                    <a:pt x="106" y="215"/>
                  </a:lnTo>
                  <a:lnTo>
                    <a:pt x="106" y="215"/>
                  </a:lnTo>
                  <a:lnTo>
                    <a:pt x="106" y="218"/>
                  </a:lnTo>
                  <a:lnTo>
                    <a:pt x="106" y="220"/>
                  </a:lnTo>
                  <a:lnTo>
                    <a:pt x="106" y="220"/>
                  </a:lnTo>
                  <a:lnTo>
                    <a:pt x="104" y="220"/>
                  </a:lnTo>
                  <a:lnTo>
                    <a:pt x="101" y="220"/>
                  </a:lnTo>
                  <a:lnTo>
                    <a:pt x="99" y="222"/>
                  </a:lnTo>
                  <a:lnTo>
                    <a:pt x="97" y="222"/>
                  </a:lnTo>
                  <a:lnTo>
                    <a:pt x="94" y="222"/>
                  </a:lnTo>
                  <a:lnTo>
                    <a:pt x="94" y="225"/>
                  </a:lnTo>
                  <a:lnTo>
                    <a:pt x="92" y="227"/>
                  </a:lnTo>
                  <a:lnTo>
                    <a:pt x="92" y="230"/>
                  </a:lnTo>
                  <a:lnTo>
                    <a:pt x="92" y="232"/>
                  </a:lnTo>
                  <a:lnTo>
                    <a:pt x="89" y="237"/>
                  </a:lnTo>
                  <a:lnTo>
                    <a:pt x="89" y="239"/>
                  </a:lnTo>
                  <a:lnTo>
                    <a:pt x="89" y="241"/>
                  </a:lnTo>
                  <a:lnTo>
                    <a:pt x="87" y="244"/>
                  </a:lnTo>
                  <a:lnTo>
                    <a:pt x="89" y="246"/>
                  </a:lnTo>
                  <a:lnTo>
                    <a:pt x="89" y="246"/>
                  </a:lnTo>
                  <a:lnTo>
                    <a:pt x="92" y="246"/>
                  </a:lnTo>
                  <a:lnTo>
                    <a:pt x="92" y="246"/>
                  </a:lnTo>
                  <a:lnTo>
                    <a:pt x="94" y="244"/>
                  </a:lnTo>
                  <a:lnTo>
                    <a:pt x="94" y="241"/>
                  </a:lnTo>
                  <a:lnTo>
                    <a:pt x="97" y="237"/>
                  </a:lnTo>
                  <a:lnTo>
                    <a:pt x="97" y="234"/>
                  </a:lnTo>
                  <a:lnTo>
                    <a:pt x="99" y="232"/>
                  </a:lnTo>
                  <a:lnTo>
                    <a:pt x="99" y="232"/>
                  </a:lnTo>
                  <a:lnTo>
                    <a:pt x="101" y="230"/>
                  </a:lnTo>
                  <a:lnTo>
                    <a:pt x="101" y="230"/>
                  </a:lnTo>
                  <a:lnTo>
                    <a:pt x="104" y="230"/>
                  </a:lnTo>
                  <a:lnTo>
                    <a:pt x="104" y="234"/>
                  </a:lnTo>
                  <a:lnTo>
                    <a:pt x="106" y="234"/>
                  </a:lnTo>
                  <a:lnTo>
                    <a:pt x="106" y="234"/>
                  </a:lnTo>
                  <a:lnTo>
                    <a:pt x="108" y="234"/>
                  </a:lnTo>
                  <a:lnTo>
                    <a:pt x="108" y="232"/>
                  </a:lnTo>
                  <a:lnTo>
                    <a:pt x="108" y="230"/>
                  </a:lnTo>
                  <a:lnTo>
                    <a:pt x="111" y="232"/>
                  </a:lnTo>
                  <a:lnTo>
                    <a:pt x="111" y="232"/>
                  </a:lnTo>
                  <a:lnTo>
                    <a:pt x="111" y="232"/>
                  </a:lnTo>
                  <a:lnTo>
                    <a:pt x="111" y="234"/>
                  </a:lnTo>
                  <a:lnTo>
                    <a:pt x="113" y="234"/>
                  </a:lnTo>
                  <a:lnTo>
                    <a:pt x="115" y="237"/>
                  </a:lnTo>
                  <a:lnTo>
                    <a:pt x="115" y="232"/>
                  </a:lnTo>
                  <a:lnTo>
                    <a:pt x="115" y="230"/>
                  </a:lnTo>
                  <a:lnTo>
                    <a:pt x="115" y="230"/>
                  </a:lnTo>
                  <a:lnTo>
                    <a:pt x="118" y="227"/>
                  </a:lnTo>
                  <a:lnTo>
                    <a:pt x="118" y="227"/>
                  </a:lnTo>
                  <a:lnTo>
                    <a:pt x="118" y="227"/>
                  </a:lnTo>
                  <a:lnTo>
                    <a:pt x="120" y="227"/>
                  </a:lnTo>
                  <a:lnTo>
                    <a:pt x="120" y="230"/>
                  </a:lnTo>
                  <a:lnTo>
                    <a:pt x="122" y="230"/>
                  </a:lnTo>
                  <a:lnTo>
                    <a:pt x="125" y="232"/>
                  </a:lnTo>
                  <a:lnTo>
                    <a:pt x="127" y="232"/>
                  </a:lnTo>
                  <a:lnTo>
                    <a:pt x="130" y="237"/>
                  </a:lnTo>
                  <a:lnTo>
                    <a:pt x="130" y="237"/>
                  </a:lnTo>
                  <a:lnTo>
                    <a:pt x="130" y="239"/>
                  </a:lnTo>
                  <a:lnTo>
                    <a:pt x="130" y="239"/>
                  </a:lnTo>
                  <a:lnTo>
                    <a:pt x="130" y="241"/>
                  </a:lnTo>
                  <a:lnTo>
                    <a:pt x="130" y="241"/>
                  </a:lnTo>
                  <a:lnTo>
                    <a:pt x="127" y="244"/>
                  </a:lnTo>
                  <a:lnTo>
                    <a:pt x="127" y="246"/>
                  </a:lnTo>
                  <a:lnTo>
                    <a:pt x="127" y="246"/>
                  </a:lnTo>
                  <a:lnTo>
                    <a:pt x="127" y="248"/>
                  </a:lnTo>
                  <a:lnTo>
                    <a:pt x="130" y="253"/>
                  </a:lnTo>
                  <a:lnTo>
                    <a:pt x="130" y="256"/>
                  </a:lnTo>
                  <a:lnTo>
                    <a:pt x="130" y="258"/>
                  </a:lnTo>
                  <a:lnTo>
                    <a:pt x="132" y="260"/>
                  </a:lnTo>
                  <a:lnTo>
                    <a:pt x="137" y="263"/>
                  </a:lnTo>
                  <a:lnTo>
                    <a:pt x="139" y="265"/>
                  </a:lnTo>
                  <a:lnTo>
                    <a:pt x="146" y="270"/>
                  </a:lnTo>
                  <a:lnTo>
                    <a:pt x="146" y="270"/>
                  </a:lnTo>
                  <a:lnTo>
                    <a:pt x="148" y="270"/>
                  </a:lnTo>
                  <a:lnTo>
                    <a:pt x="148" y="267"/>
                  </a:lnTo>
                  <a:lnTo>
                    <a:pt x="151" y="265"/>
                  </a:lnTo>
                  <a:lnTo>
                    <a:pt x="151" y="265"/>
                  </a:lnTo>
                  <a:lnTo>
                    <a:pt x="151" y="265"/>
                  </a:lnTo>
                  <a:lnTo>
                    <a:pt x="151" y="265"/>
                  </a:lnTo>
                  <a:lnTo>
                    <a:pt x="151" y="267"/>
                  </a:lnTo>
                  <a:lnTo>
                    <a:pt x="151" y="270"/>
                  </a:lnTo>
                  <a:lnTo>
                    <a:pt x="151" y="272"/>
                  </a:lnTo>
                  <a:lnTo>
                    <a:pt x="153" y="274"/>
                  </a:lnTo>
                  <a:lnTo>
                    <a:pt x="153" y="274"/>
                  </a:lnTo>
                  <a:lnTo>
                    <a:pt x="155" y="272"/>
                  </a:lnTo>
                  <a:lnTo>
                    <a:pt x="158" y="270"/>
                  </a:lnTo>
                  <a:lnTo>
                    <a:pt x="160" y="267"/>
                  </a:lnTo>
                  <a:lnTo>
                    <a:pt x="160" y="260"/>
                  </a:lnTo>
                  <a:lnTo>
                    <a:pt x="158" y="256"/>
                  </a:lnTo>
                  <a:lnTo>
                    <a:pt x="158" y="256"/>
                  </a:lnTo>
                  <a:lnTo>
                    <a:pt x="155" y="253"/>
                  </a:lnTo>
                  <a:lnTo>
                    <a:pt x="153" y="253"/>
                  </a:lnTo>
                  <a:lnTo>
                    <a:pt x="153" y="251"/>
                  </a:lnTo>
                  <a:lnTo>
                    <a:pt x="153" y="248"/>
                  </a:lnTo>
                  <a:lnTo>
                    <a:pt x="155" y="246"/>
                  </a:lnTo>
                  <a:lnTo>
                    <a:pt x="155" y="244"/>
                  </a:lnTo>
                  <a:lnTo>
                    <a:pt x="158" y="244"/>
                  </a:lnTo>
                  <a:lnTo>
                    <a:pt x="158" y="241"/>
                  </a:lnTo>
                  <a:lnTo>
                    <a:pt x="158" y="241"/>
                  </a:lnTo>
                  <a:lnTo>
                    <a:pt x="158" y="239"/>
                  </a:lnTo>
                  <a:lnTo>
                    <a:pt x="160" y="239"/>
                  </a:lnTo>
                  <a:lnTo>
                    <a:pt x="160" y="239"/>
                  </a:lnTo>
                  <a:lnTo>
                    <a:pt x="163" y="241"/>
                  </a:lnTo>
                  <a:lnTo>
                    <a:pt x="163" y="244"/>
                  </a:lnTo>
                  <a:lnTo>
                    <a:pt x="165" y="246"/>
                  </a:lnTo>
                  <a:lnTo>
                    <a:pt x="165" y="248"/>
                  </a:lnTo>
                  <a:lnTo>
                    <a:pt x="165" y="251"/>
                  </a:lnTo>
                  <a:lnTo>
                    <a:pt x="167" y="256"/>
                  </a:lnTo>
                  <a:lnTo>
                    <a:pt x="167" y="258"/>
                  </a:lnTo>
                  <a:lnTo>
                    <a:pt x="170" y="260"/>
                  </a:lnTo>
                  <a:lnTo>
                    <a:pt x="170" y="256"/>
                  </a:lnTo>
                  <a:lnTo>
                    <a:pt x="170" y="251"/>
                  </a:lnTo>
                  <a:lnTo>
                    <a:pt x="167" y="248"/>
                  </a:lnTo>
                  <a:lnTo>
                    <a:pt x="167" y="248"/>
                  </a:lnTo>
                  <a:lnTo>
                    <a:pt x="170" y="248"/>
                  </a:lnTo>
                  <a:lnTo>
                    <a:pt x="172" y="244"/>
                  </a:lnTo>
                  <a:lnTo>
                    <a:pt x="174" y="241"/>
                  </a:lnTo>
                  <a:lnTo>
                    <a:pt x="174" y="239"/>
                  </a:lnTo>
                  <a:lnTo>
                    <a:pt x="174" y="239"/>
                  </a:lnTo>
                  <a:lnTo>
                    <a:pt x="174" y="234"/>
                  </a:lnTo>
                  <a:close/>
                  <a:moveTo>
                    <a:pt x="160" y="187"/>
                  </a:moveTo>
                  <a:lnTo>
                    <a:pt x="160" y="187"/>
                  </a:lnTo>
                  <a:lnTo>
                    <a:pt x="163" y="187"/>
                  </a:lnTo>
                  <a:lnTo>
                    <a:pt x="163" y="187"/>
                  </a:lnTo>
                  <a:lnTo>
                    <a:pt x="163" y="185"/>
                  </a:lnTo>
                  <a:lnTo>
                    <a:pt x="163" y="185"/>
                  </a:lnTo>
                  <a:lnTo>
                    <a:pt x="163" y="182"/>
                  </a:lnTo>
                  <a:lnTo>
                    <a:pt x="160" y="180"/>
                  </a:lnTo>
                  <a:lnTo>
                    <a:pt x="160" y="182"/>
                  </a:lnTo>
                  <a:lnTo>
                    <a:pt x="160" y="185"/>
                  </a:lnTo>
                  <a:lnTo>
                    <a:pt x="160" y="187"/>
                  </a:lnTo>
                  <a:close/>
                  <a:moveTo>
                    <a:pt x="125" y="180"/>
                  </a:moveTo>
                  <a:lnTo>
                    <a:pt x="125" y="182"/>
                  </a:lnTo>
                  <a:lnTo>
                    <a:pt x="120" y="182"/>
                  </a:lnTo>
                  <a:lnTo>
                    <a:pt x="120" y="185"/>
                  </a:lnTo>
                  <a:lnTo>
                    <a:pt x="120" y="185"/>
                  </a:lnTo>
                  <a:lnTo>
                    <a:pt x="120" y="187"/>
                  </a:lnTo>
                  <a:lnTo>
                    <a:pt x="120" y="189"/>
                  </a:lnTo>
                  <a:lnTo>
                    <a:pt x="122" y="189"/>
                  </a:lnTo>
                  <a:lnTo>
                    <a:pt x="125" y="189"/>
                  </a:lnTo>
                  <a:lnTo>
                    <a:pt x="130" y="189"/>
                  </a:lnTo>
                  <a:lnTo>
                    <a:pt x="130" y="189"/>
                  </a:lnTo>
                  <a:lnTo>
                    <a:pt x="132" y="187"/>
                  </a:lnTo>
                  <a:lnTo>
                    <a:pt x="132" y="187"/>
                  </a:lnTo>
                  <a:lnTo>
                    <a:pt x="134" y="187"/>
                  </a:lnTo>
                  <a:lnTo>
                    <a:pt x="134" y="187"/>
                  </a:lnTo>
                  <a:lnTo>
                    <a:pt x="134" y="185"/>
                  </a:lnTo>
                  <a:lnTo>
                    <a:pt x="134" y="185"/>
                  </a:lnTo>
                  <a:lnTo>
                    <a:pt x="134" y="182"/>
                  </a:lnTo>
                  <a:lnTo>
                    <a:pt x="132" y="180"/>
                  </a:lnTo>
                  <a:lnTo>
                    <a:pt x="130" y="180"/>
                  </a:lnTo>
                  <a:lnTo>
                    <a:pt x="130" y="180"/>
                  </a:lnTo>
                  <a:lnTo>
                    <a:pt x="130" y="178"/>
                  </a:lnTo>
                  <a:lnTo>
                    <a:pt x="130" y="178"/>
                  </a:lnTo>
                  <a:lnTo>
                    <a:pt x="125" y="180"/>
                  </a:lnTo>
                  <a:lnTo>
                    <a:pt x="125" y="180"/>
                  </a:lnTo>
                  <a:close/>
                  <a:moveTo>
                    <a:pt x="153" y="173"/>
                  </a:moveTo>
                  <a:lnTo>
                    <a:pt x="153" y="173"/>
                  </a:lnTo>
                  <a:lnTo>
                    <a:pt x="151" y="173"/>
                  </a:lnTo>
                  <a:lnTo>
                    <a:pt x="151" y="175"/>
                  </a:lnTo>
                  <a:lnTo>
                    <a:pt x="151" y="175"/>
                  </a:lnTo>
                  <a:lnTo>
                    <a:pt x="151" y="178"/>
                  </a:lnTo>
                  <a:lnTo>
                    <a:pt x="151" y="180"/>
                  </a:lnTo>
                  <a:lnTo>
                    <a:pt x="151" y="180"/>
                  </a:lnTo>
                  <a:lnTo>
                    <a:pt x="153" y="182"/>
                  </a:lnTo>
                  <a:lnTo>
                    <a:pt x="153" y="182"/>
                  </a:lnTo>
                  <a:lnTo>
                    <a:pt x="153" y="185"/>
                  </a:lnTo>
                  <a:lnTo>
                    <a:pt x="153" y="185"/>
                  </a:lnTo>
                  <a:lnTo>
                    <a:pt x="153" y="182"/>
                  </a:lnTo>
                  <a:lnTo>
                    <a:pt x="153" y="182"/>
                  </a:lnTo>
                  <a:lnTo>
                    <a:pt x="153" y="180"/>
                  </a:lnTo>
                  <a:lnTo>
                    <a:pt x="153" y="178"/>
                  </a:lnTo>
                  <a:lnTo>
                    <a:pt x="153" y="173"/>
                  </a:lnTo>
                  <a:lnTo>
                    <a:pt x="153" y="173"/>
                  </a:lnTo>
                  <a:close/>
                  <a:moveTo>
                    <a:pt x="97" y="173"/>
                  </a:moveTo>
                  <a:lnTo>
                    <a:pt x="97" y="173"/>
                  </a:lnTo>
                  <a:lnTo>
                    <a:pt x="97" y="173"/>
                  </a:lnTo>
                  <a:lnTo>
                    <a:pt x="97" y="170"/>
                  </a:lnTo>
                  <a:lnTo>
                    <a:pt x="99" y="168"/>
                  </a:lnTo>
                  <a:lnTo>
                    <a:pt x="99" y="166"/>
                  </a:lnTo>
                  <a:lnTo>
                    <a:pt x="97" y="166"/>
                  </a:lnTo>
                  <a:lnTo>
                    <a:pt x="97" y="166"/>
                  </a:lnTo>
                  <a:lnTo>
                    <a:pt x="97" y="166"/>
                  </a:lnTo>
                  <a:lnTo>
                    <a:pt x="97" y="168"/>
                  </a:lnTo>
                  <a:lnTo>
                    <a:pt x="94" y="168"/>
                  </a:lnTo>
                  <a:lnTo>
                    <a:pt x="94" y="170"/>
                  </a:lnTo>
                  <a:lnTo>
                    <a:pt x="94" y="173"/>
                  </a:lnTo>
                  <a:lnTo>
                    <a:pt x="97" y="173"/>
                  </a:lnTo>
                  <a:close/>
                  <a:moveTo>
                    <a:pt x="94" y="185"/>
                  </a:moveTo>
                  <a:lnTo>
                    <a:pt x="94" y="187"/>
                  </a:lnTo>
                  <a:lnTo>
                    <a:pt x="97" y="192"/>
                  </a:lnTo>
                  <a:lnTo>
                    <a:pt x="99" y="194"/>
                  </a:lnTo>
                  <a:lnTo>
                    <a:pt x="99" y="194"/>
                  </a:lnTo>
                  <a:lnTo>
                    <a:pt x="101" y="194"/>
                  </a:lnTo>
                  <a:lnTo>
                    <a:pt x="104" y="196"/>
                  </a:lnTo>
                  <a:lnTo>
                    <a:pt x="104" y="201"/>
                  </a:lnTo>
                  <a:lnTo>
                    <a:pt x="106" y="201"/>
                  </a:lnTo>
                  <a:lnTo>
                    <a:pt x="106" y="201"/>
                  </a:lnTo>
                  <a:lnTo>
                    <a:pt x="108" y="201"/>
                  </a:lnTo>
                  <a:lnTo>
                    <a:pt x="108" y="201"/>
                  </a:lnTo>
                  <a:lnTo>
                    <a:pt x="111" y="201"/>
                  </a:lnTo>
                  <a:lnTo>
                    <a:pt x="111" y="199"/>
                  </a:lnTo>
                  <a:lnTo>
                    <a:pt x="111" y="196"/>
                  </a:lnTo>
                  <a:lnTo>
                    <a:pt x="111" y="196"/>
                  </a:lnTo>
                  <a:lnTo>
                    <a:pt x="111" y="194"/>
                  </a:lnTo>
                  <a:lnTo>
                    <a:pt x="108" y="189"/>
                  </a:lnTo>
                  <a:lnTo>
                    <a:pt x="108" y="189"/>
                  </a:lnTo>
                  <a:lnTo>
                    <a:pt x="108" y="187"/>
                  </a:lnTo>
                  <a:lnTo>
                    <a:pt x="108" y="185"/>
                  </a:lnTo>
                  <a:lnTo>
                    <a:pt x="108" y="182"/>
                  </a:lnTo>
                  <a:lnTo>
                    <a:pt x="108" y="180"/>
                  </a:lnTo>
                  <a:lnTo>
                    <a:pt x="108" y="180"/>
                  </a:lnTo>
                  <a:lnTo>
                    <a:pt x="111" y="175"/>
                  </a:lnTo>
                  <a:lnTo>
                    <a:pt x="111" y="173"/>
                  </a:lnTo>
                  <a:lnTo>
                    <a:pt x="113" y="170"/>
                  </a:lnTo>
                  <a:lnTo>
                    <a:pt x="113" y="168"/>
                  </a:lnTo>
                  <a:lnTo>
                    <a:pt x="113" y="166"/>
                  </a:lnTo>
                  <a:lnTo>
                    <a:pt x="113" y="163"/>
                  </a:lnTo>
                  <a:lnTo>
                    <a:pt x="113" y="163"/>
                  </a:lnTo>
                  <a:lnTo>
                    <a:pt x="106" y="161"/>
                  </a:lnTo>
                  <a:lnTo>
                    <a:pt x="106" y="161"/>
                  </a:lnTo>
                  <a:lnTo>
                    <a:pt x="104" y="163"/>
                  </a:lnTo>
                  <a:lnTo>
                    <a:pt x="101" y="163"/>
                  </a:lnTo>
                  <a:lnTo>
                    <a:pt x="101" y="163"/>
                  </a:lnTo>
                  <a:lnTo>
                    <a:pt x="101" y="166"/>
                  </a:lnTo>
                  <a:lnTo>
                    <a:pt x="101" y="168"/>
                  </a:lnTo>
                  <a:lnTo>
                    <a:pt x="101" y="168"/>
                  </a:lnTo>
                  <a:lnTo>
                    <a:pt x="101" y="170"/>
                  </a:lnTo>
                  <a:lnTo>
                    <a:pt x="99" y="170"/>
                  </a:lnTo>
                  <a:lnTo>
                    <a:pt x="101" y="173"/>
                  </a:lnTo>
                  <a:lnTo>
                    <a:pt x="101" y="175"/>
                  </a:lnTo>
                  <a:lnTo>
                    <a:pt x="101" y="180"/>
                  </a:lnTo>
                  <a:lnTo>
                    <a:pt x="101" y="180"/>
                  </a:lnTo>
                  <a:lnTo>
                    <a:pt x="99" y="182"/>
                  </a:lnTo>
                  <a:lnTo>
                    <a:pt x="97" y="182"/>
                  </a:lnTo>
                  <a:lnTo>
                    <a:pt x="94" y="182"/>
                  </a:lnTo>
                  <a:lnTo>
                    <a:pt x="94" y="182"/>
                  </a:lnTo>
                  <a:lnTo>
                    <a:pt x="94" y="185"/>
                  </a:lnTo>
                  <a:lnTo>
                    <a:pt x="94" y="185"/>
                  </a:lnTo>
                  <a:close/>
                  <a:moveTo>
                    <a:pt x="122" y="161"/>
                  </a:moveTo>
                  <a:lnTo>
                    <a:pt x="122" y="161"/>
                  </a:lnTo>
                  <a:lnTo>
                    <a:pt x="122" y="159"/>
                  </a:lnTo>
                  <a:lnTo>
                    <a:pt x="120" y="159"/>
                  </a:lnTo>
                  <a:lnTo>
                    <a:pt x="122" y="156"/>
                  </a:lnTo>
                  <a:lnTo>
                    <a:pt x="120" y="154"/>
                  </a:lnTo>
                  <a:lnTo>
                    <a:pt x="120" y="156"/>
                  </a:lnTo>
                  <a:lnTo>
                    <a:pt x="120" y="159"/>
                  </a:lnTo>
                  <a:lnTo>
                    <a:pt x="120" y="159"/>
                  </a:lnTo>
                  <a:lnTo>
                    <a:pt x="120" y="159"/>
                  </a:lnTo>
                  <a:lnTo>
                    <a:pt x="120" y="161"/>
                  </a:lnTo>
                  <a:lnTo>
                    <a:pt x="118" y="166"/>
                  </a:lnTo>
                  <a:lnTo>
                    <a:pt x="115" y="170"/>
                  </a:lnTo>
                  <a:lnTo>
                    <a:pt x="115" y="173"/>
                  </a:lnTo>
                  <a:lnTo>
                    <a:pt x="115" y="175"/>
                  </a:lnTo>
                  <a:lnTo>
                    <a:pt x="113" y="178"/>
                  </a:lnTo>
                  <a:lnTo>
                    <a:pt x="111" y="182"/>
                  </a:lnTo>
                  <a:lnTo>
                    <a:pt x="111" y="185"/>
                  </a:lnTo>
                  <a:lnTo>
                    <a:pt x="111" y="192"/>
                  </a:lnTo>
                  <a:lnTo>
                    <a:pt x="111" y="192"/>
                  </a:lnTo>
                  <a:lnTo>
                    <a:pt x="111" y="194"/>
                  </a:lnTo>
                  <a:lnTo>
                    <a:pt x="113" y="194"/>
                  </a:lnTo>
                  <a:lnTo>
                    <a:pt x="113" y="189"/>
                  </a:lnTo>
                  <a:lnTo>
                    <a:pt x="115" y="182"/>
                  </a:lnTo>
                  <a:lnTo>
                    <a:pt x="115" y="182"/>
                  </a:lnTo>
                  <a:lnTo>
                    <a:pt x="118" y="180"/>
                  </a:lnTo>
                  <a:lnTo>
                    <a:pt x="118" y="178"/>
                  </a:lnTo>
                  <a:lnTo>
                    <a:pt x="120" y="175"/>
                  </a:lnTo>
                  <a:lnTo>
                    <a:pt x="120" y="175"/>
                  </a:lnTo>
                  <a:lnTo>
                    <a:pt x="122" y="173"/>
                  </a:lnTo>
                  <a:lnTo>
                    <a:pt x="122" y="170"/>
                  </a:lnTo>
                  <a:lnTo>
                    <a:pt x="122" y="166"/>
                  </a:lnTo>
                  <a:lnTo>
                    <a:pt x="122" y="161"/>
                  </a:lnTo>
                  <a:close/>
                  <a:moveTo>
                    <a:pt x="40" y="166"/>
                  </a:moveTo>
                  <a:lnTo>
                    <a:pt x="38" y="161"/>
                  </a:lnTo>
                  <a:lnTo>
                    <a:pt x="38" y="159"/>
                  </a:lnTo>
                  <a:lnTo>
                    <a:pt x="38" y="159"/>
                  </a:lnTo>
                  <a:lnTo>
                    <a:pt x="38" y="156"/>
                  </a:lnTo>
                  <a:lnTo>
                    <a:pt x="38" y="154"/>
                  </a:lnTo>
                  <a:lnTo>
                    <a:pt x="38" y="154"/>
                  </a:lnTo>
                  <a:lnTo>
                    <a:pt x="38" y="154"/>
                  </a:lnTo>
                  <a:lnTo>
                    <a:pt x="35" y="154"/>
                  </a:lnTo>
                  <a:lnTo>
                    <a:pt x="35" y="161"/>
                  </a:lnTo>
                  <a:lnTo>
                    <a:pt x="33" y="161"/>
                  </a:lnTo>
                  <a:lnTo>
                    <a:pt x="33" y="163"/>
                  </a:lnTo>
                  <a:lnTo>
                    <a:pt x="35" y="166"/>
                  </a:lnTo>
                  <a:lnTo>
                    <a:pt x="35" y="168"/>
                  </a:lnTo>
                  <a:lnTo>
                    <a:pt x="35" y="170"/>
                  </a:lnTo>
                  <a:lnTo>
                    <a:pt x="33" y="170"/>
                  </a:lnTo>
                  <a:lnTo>
                    <a:pt x="33" y="173"/>
                  </a:lnTo>
                  <a:lnTo>
                    <a:pt x="33" y="173"/>
                  </a:lnTo>
                  <a:lnTo>
                    <a:pt x="31" y="173"/>
                  </a:lnTo>
                  <a:lnTo>
                    <a:pt x="31" y="175"/>
                  </a:lnTo>
                  <a:lnTo>
                    <a:pt x="26" y="180"/>
                  </a:lnTo>
                  <a:lnTo>
                    <a:pt x="26" y="180"/>
                  </a:lnTo>
                  <a:lnTo>
                    <a:pt x="26" y="180"/>
                  </a:lnTo>
                  <a:lnTo>
                    <a:pt x="21" y="187"/>
                  </a:lnTo>
                  <a:lnTo>
                    <a:pt x="19" y="189"/>
                  </a:lnTo>
                  <a:lnTo>
                    <a:pt x="14" y="196"/>
                  </a:lnTo>
                  <a:lnTo>
                    <a:pt x="14" y="196"/>
                  </a:lnTo>
                  <a:lnTo>
                    <a:pt x="12" y="196"/>
                  </a:lnTo>
                  <a:lnTo>
                    <a:pt x="12" y="196"/>
                  </a:lnTo>
                  <a:lnTo>
                    <a:pt x="12" y="199"/>
                  </a:lnTo>
                  <a:lnTo>
                    <a:pt x="9" y="201"/>
                  </a:lnTo>
                  <a:lnTo>
                    <a:pt x="5" y="204"/>
                  </a:lnTo>
                  <a:lnTo>
                    <a:pt x="5" y="206"/>
                  </a:lnTo>
                  <a:lnTo>
                    <a:pt x="2" y="208"/>
                  </a:lnTo>
                  <a:lnTo>
                    <a:pt x="2" y="208"/>
                  </a:lnTo>
                  <a:lnTo>
                    <a:pt x="0" y="213"/>
                  </a:lnTo>
                  <a:lnTo>
                    <a:pt x="0" y="215"/>
                  </a:lnTo>
                  <a:lnTo>
                    <a:pt x="0" y="215"/>
                  </a:lnTo>
                  <a:lnTo>
                    <a:pt x="2" y="215"/>
                  </a:lnTo>
                  <a:lnTo>
                    <a:pt x="2" y="213"/>
                  </a:lnTo>
                  <a:lnTo>
                    <a:pt x="5" y="213"/>
                  </a:lnTo>
                  <a:lnTo>
                    <a:pt x="5" y="213"/>
                  </a:lnTo>
                  <a:lnTo>
                    <a:pt x="5" y="211"/>
                  </a:lnTo>
                  <a:lnTo>
                    <a:pt x="5" y="211"/>
                  </a:lnTo>
                  <a:lnTo>
                    <a:pt x="7" y="211"/>
                  </a:lnTo>
                  <a:lnTo>
                    <a:pt x="9" y="208"/>
                  </a:lnTo>
                  <a:lnTo>
                    <a:pt x="12" y="206"/>
                  </a:lnTo>
                  <a:lnTo>
                    <a:pt x="14" y="206"/>
                  </a:lnTo>
                  <a:lnTo>
                    <a:pt x="14" y="204"/>
                  </a:lnTo>
                  <a:lnTo>
                    <a:pt x="16" y="201"/>
                  </a:lnTo>
                  <a:lnTo>
                    <a:pt x="16" y="199"/>
                  </a:lnTo>
                  <a:lnTo>
                    <a:pt x="19" y="199"/>
                  </a:lnTo>
                  <a:lnTo>
                    <a:pt x="21" y="196"/>
                  </a:lnTo>
                  <a:lnTo>
                    <a:pt x="21" y="196"/>
                  </a:lnTo>
                  <a:lnTo>
                    <a:pt x="23" y="194"/>
                  </a:lnTo>
                  <a:lnTo>
                    <a:pt x="26" y="187"/>
                  </a:lnTo>
                  <a:lnTo>
                    <a:pt x="26" y="185"/>
                  </a:lnTo>
                  <a:lnTo>
                    <a:pt x="26" y="182"/>
                  </a:lnTo>
                  <a:lnTo>
                    <a:pt x="28" y="182"/>
                  </a:lnTo>
                  <a:lnTo>
                    <a:pt x="28" y="182"/>
                  </a:lnTo>
                  <a:lnTo>
                    <a:pt x="33" y="180"/>
                  </a:lnTo>
                  <a:lnTo>
                    <a:pt x="33" y="180"/>
                  </a:lnTo>
                  <a:lnTo>
                    <a:pt x="35" y="178"/>
                  </a:lnTo>
                  <a:lnTo>
                    <a:pt x="35" y="175"/>
                  </a:lnTo>
                  <a:lnTo>
                    <a:pt x="35" y="175"/>
                  </a:lnTo>
                  <a:lnTo>
                    <a:pt x="38" y="175"/>
                  </a:lnTo>
                  <a:lnTo>
                    <a:pt x="40" y="173"/>
                  </a:lnTo>
                  <a:lnTo>
                    <a:pt x="40" y="173"/>
                  </a:lnTo>
                  <a:lnTo>
                    <a:pt x="42" y="170"/>
                  </a:lnTo>
                  <a:lnTo>
                    <a:pt x="42" y="170"/>
                  </a:lnTo>
                  <a:lnTo>
                    <a:pt x="40" y="166"/>
                  </a:lnTo>
                  <a:close/>
                  <a:moveTo>
                    <a:pt x="144" y="178"/>
                  </a:moveTo>
                  <a:lnTo>
                    <a:pt x="144" y="178"/>
                  </a:lnTo>
                  <a:lnTo>
                    <a:pt x="144" y="178"/>
                  </a:lnTo>
                  <a:lnTo>
                    <a:pt x="144" y="175"/>
                  </a:lnTo>
                  <a:lnTo>
                    <a:pt x="146" y="175"/>
                  </a:lnTo>
                  <a:lnTo>
                    <a:pt x="146" y="175"/>
                  </a:lnTo>
                  <a:lnTo>
                    <a:pt x="146" y="175"/>
                  </a:lnTo>
                  <a:lnTo>
                    <a:pt x="144" y="173"/>
                  </a:lnTo>
                  <a:lnTo>
                    <a:pt x="144" y="170"/>
                  </a:lnTo>
                  <a:lnTo>
                    <a:pt x="144" y="168"/>
                  </a:lnTo>
                  <a:lnTo>
                    <a:pt x="141" y="168"/>
                  </a:lnTo>
                  <a:lnTo>
                    <a:pt x="141" y="166"/>
                  </a:lnTo>
                  <a:lnTo>
                    <a:pt x="141" y="166"/>
                  </a:lnTo>
                  <a:lnTo>
                    <a:pt x="139" y="166"/>
                  </a:lnTo>
                  <a:lnTo>
                    <a:pt x="139" y="161"/>
                  </a:lnTo>
                  <a:lnTo>
                    <a:pt x="139" y="159"/>
                  </a:lnTo>
                  <a:lnTo>
                    <a:pt x="139" y="156"/>
                  </a:lnTo>
                  <a:lnTo>
                    <a:pt x="139" y="156"/>
                  </a:lnTo>
                  <a:lnTo>
                    <a:pt x="137" y="151"/>
                  </a:lnTo>
                  <a:lnTo>
                    <a:pt x="134" y="151"/>
                  </a:lnTo>
                  <a:lnTo>
                    <a:pt x="134" y="154"/>
                  </a:lnTo>
                  <a:lnTo>
                    <a:pt x="132" y="154"/>
                  </a:lnTo>
                  <a:lnTo>
                    <a:pt x="132" y="154"/>
                  </a:lnTo>
                  <a:lnTo>
                    <a:pt x="130" y="151"/>
                  </a:lnTo>
                  <a:lnTo>
                    <a:pt x="130" y="151"/>
                  </a:lnTo>
                  <a:lnTo>
                    <a:pt x="127" y="151"/>
                  </a:lnTo>
                  <a:lnTo>
                    <a:pt x="127" y="149"/>
                  </a:lnTo>
                  <a:lnTo>
                    <a:pt x="125" y="149"/>
                  </a:lnTo>
                  <a:lnTo>
                    <a:pt x="125" y="149"/>
                  </a:lnTo>
                  <a:lnTo>
                    <a:pt x="127" y="151"/>
                  </a:lnTo>
                  <a:lnTo>
                    <a:pt x="127" y="154"/>
                  </a:lnTo>
                  <a:lnTo>
                    <a:pt x="127" y="156"/>
                  </a:lnTo>
                  <a:lnTo>
                    <a:pt x="130" y="163"/>
                  </a:lnTo>
                  <a:lnTo>
                    <a:pt x="130" y="163"/>
                  </a:lnTo>
                  <a:lnTo>
                    <a:pt x="132" y="161"/>
                  </a:lnTo>
                  <a:lnTo>
                    <a:pt x="134" y="161"/>
                  </a:lnTo>
                  <a:lnTo>
                    <a:pt x="134" y="163"/>
                  </a:lnTo>
                  <a:lnTo>
                    <a:pt x="137" y="166"/>
                  </a:lnTo>
                  <a:lnTo>
                    <a:pt x="137" y="166"/>
                  </a:lnTo>
                  <a:lnTo>
                    <a:pt x="137" y="168"/>
                  </a:lnTo>
                  <a:lnTo>
                    <a:pt x="137" y="173"/>
                  </a:lnTo>
                  <a:lnTo>
                    <a:pt x="137" y="175"/>
                  </a:lnTo>
                  <a:lnTo>
                    <a:pt x="137" y="175"/>
                  </a:lnTo>
                  <a:lnTo>
                    <a:pt x="137" y="178"/>
                  </a:lnTo>
                  <a:lnTo>
                    <a:pt x="137" y="180"/>
                  </a:lnTo>
                  <a:lnTo>
                    <a:pt x="139" y="180"/>
                  </a:lnTo>
                  <a:lnTo>
                    <a:pt x="141" y="180"/>
                  </a:lnTo>
                  <a:lnTo>
                    <a:pt x="141" y="180"/>
                  </a:lnTo>
                  <a:lnTo>
                    <a:pt x="141" y="178"/>
                  </a:lnTo>
                  <a:lnTo>
                    <a:pt x="141" y="173"/>
                  </a:lnTo>
                  <a:lnTo>
                    <a:pt x="141" y="175"/>
                  </a:lnTo>
                  <a:lnTo>
                    <a:pt x="144" y="178"/>
                  </a:lnTo>
                  <a:close/>
                  <a:moveTo>
                    <a:pt x="130" y="149"/>
                  </a:moveTo>
                  <a:lnTo>
                    <a:pt x="132" y="149"/>
                  </a:lnTo>
                  <a:lnTo>
                    <a:pt x="132" y="149"/>
                  </a:lnTo>
                  <a:lnTo>
                    <a:pt x="130" y="147"/>
                  </a:lnTo>
                  <a:lnTo>
                    <a:pt x="130" y="147"/>
                  </a:lnTo>
                  <a:lnTo>
                    <a:pt x="127" y="147"/>
                  </a:lnTo>
                  <a:lnTo>
                    <a:pt x="127" y="147"/>
                  </a:lnTo>
                  <a:lnTo>
                    <a:pt x="127" y="149"/>
                  </a:lnTo>
                  <a:lnTo>
                    <a:pt x="130" y="149"/>
                  </a:lnTo>
                  <a:close/>
                  <a:moveTo>
                    <a:pt x="94" y="168"/>
                  </a:moveTo>
                  <a:lnTo>
                    <a:pt x="97" y="166"/>
                  </a:lnTo>
                  <a:lnTo>
                    <a:pt x="99" y="163"/>
                  </a:lnTo>
                  <a:lnTo>
                    <a:pt x="99" y="163"/>
                  </a:lnTo>
                  <a:lnTo>
                    <a:pt x="99" y="161"/>
                  </a:lnTo>
                  <a:lnTo>
                    <a:pt x="99" y="161"/>
                  </a:lnTo>
                  <a:lnTo>
                    <a:pt x="99" y="161"/>
                  </a:lnTo>
                  <a:lnTo>
                    <a:pt x="101" y="159"/>
                  </a:lnTo>
                  <a:lnTo>
                    <a:pt x="101" y="159"/>
                  </a:lnTo>
                  <a:lnTo>
                    <a:pt x="104" y="156"/>
                  </a:lnTo>
                  <a:lnTo>
                    <a:pt x="104" y="154"/>
                  </a:lnTo>
                  <a:lnTo>
                    <a:pt x="104" y="154"/>
                  </a:lnTo>
                  <a:lnTo>
                    <a:pt x="104" y="151"/>
                  </a:lnTo>
                  <a:lnTo>
                    <a:pt x="104" y="149"/>
                  </a:lnTo>
                  <a:lnTo>
                    <a:pt x="104" y="149"/>
                  </a:lnTo>
                  <a:lnTo>
                    <a:pt x="99" y="151"/>
                  </a:lnTo>
                  <a:lnTo>
                    <a:pt x="99" y="149"/>
                  </a:lnTo>
                  <a:lnTo>
                    <a:pt x="99" y="149"/>
                  </a:lnTo>
                  <a:lnTo>
                    <a:pt x="99" y="149"/>
                  </a:lnTo>
                  <a:lnTo>
                    <a:pt x="97" y="147"/>
                  </a:lnTo>
                  <a:lnTo>
                    <a:pt x="94" y="149"/>
                  </a:lnTo>
                  <a:lnTo>
                    <a:pt x="92" y="147"/>
                  </a:lnTo>
                  <a:lnTo>
                    <a:pt x="89" y="147"/>
                  </a:lnTo>
                  <a:lnTo>
                    <a:pt x="87" y="144"/>
                  </a:lnTo>
                  <a:lnTo>
                    <a:pt x="85" y="142"/>
                  </a:lnTo>
                  <a:lnTo>
                    <a:pt x="82" y="142"/>
                  </a:lnTo>
                  <a:lnTo>
                    <a:pt x="82" y="142"/>
                  </a:lnTo>
                  <a:lnTo>
                    <a:pt x="80" y="142"/>
                  </a:lnTo>
                  <a:lnTo>
                    <a:pt x="80" y="144"/>
                  </a:lnTo>
                  <a:lnTo>
                    <a:pt x="80" y="144"/>
                  </a:lnTo>
                  <a:lnTo>
                    <a:pt x="85" y="144"/>
                  </a:lnTo>
                  <a:lnTo>
                    <a:pt x="85" y="147"/>
                  </a:lnTo>
                  <a:lnTo>
                    <a:pt x="85" y="147"/>
                  </a:lnTo>
                  <a:lnTo>
                    <a:pt x="85" y="154"/>
                  </a:lnTo>
                  <a:lnTo>
                    <a:pt x="85" y="159"/>
                  </a:lnTo>
                  <a:lnTo>
                    <a:pt x="85" y="161"/>
                  </a:lnTo>
                  <a:lnTo>
                    <a:pt x="82" y="163"/>
                  </a:lnTo>
                  <a:lnTo>
                    <a:pt x="82" y="166"/>
                  </a:lnTo>
                  <a:lnTo>
                    <a:pt x="85" y="168"/>
                  </a:lnTo>
                  <a:lnTo>
                    <a:pt x="85" y="168"/>
                  </a:lnTo>
                  <a:lnTo>
                    <a:pt x="82" y="170"/>
                  </a:lnTo>
                  <a:lnTo>
                    <a:pt x="85" y="173"/>
                  </a:lnTo>
                  <a:lnTo>
                    <a:pt x="85" y="173"/>
                  </a:lnTo>
                  <a:lnTo>
                    <a:pt x="85" y="173"/>
                  </a:lnTo>
                  <a:lnTo>
                    <a:pt x="85" y="170"/>
                  </a:lnTo>
                  <a:lnTo>
                    <a:pt x="87" y="170"/>
                  </a:lnTo>
                  <a:lnTo>
                    <a:pt x="87" y="168"/>
                  </a:lnTo>
                  <a:lnTo>
                    <a:pt x="94" y="168"/>
                  </a:lnTo>
                  <a:close/>
                  <a:moveTo>
                    <a:pt x="45" y="142"/>
                  </a:moveTo>
                  <a:lnTo>
                    <a:pt x="45" y="140"/>
                  </a:lnTo>
                  <a:lnTo>
                    <a:pt x="45" y="140"/>
                  </a:lnTo>
                  <a:lnTo>
                    <a:pt x="42" y="140"/>
                  </a:lnTo>
                  <a:lnTo>
                    <a:pt x="42" y="140"/>
                  </a:lnTo>
                  <a:lnTo>
                    <a:pt x="45" y="144"/>
                  </a:lnTo>
                  <a:lnTo>
                    <a:pt x="45" y="144"/>
                  </a:lnTo>
                  <a:lnTo>
                    <a:pt x="45" y="147"/>
                  </a:lnTo>
                  <a:lnTo>
                    <a:pt x="45" y="147"/>
                  </a:lnTo>
                  <a:lnTo>
                    <a:pt x="47" y="147"/>
                  </a:lnTo>
                  <a:lnTo>
                    <a:pt x="47" y="144"/>
                  </a:lnTo>
                  <a:lnTo>
                    <a:pt x="47" y="142"/>
                  </a:lnTo>
                  <a:lnTo>
                    <a:pt x="47" y="142"/>
                  </a:lnTo>
                  <a:lnTo>
                    <a:pt x="45" y="142"/>
                  </a:lnTo>
                  <a:close/>
                  <a:moveTo>
                    <a:pt x="49" y="135"/>
                  </a:moveTo>
                  <a:lnTo>
                    <a:pt x="47" y="135"/>
                  </a:lnTo>
                  <a:lnTo>
                    <a:pt x="47" y="137"/>
                  </a:lnTo>
                  <a:lnTo>
                    <a:pt x="47" y="135"/>
                  </a:lnTo>
                  <a:lnTo>
                    <a:pt x="47" y="135"/>
                  </a:lnTo>
                  <a:lnTo>
                    <a:pt x="45" y="133"/>
                  </a:lnTo>
                  <a:lnTo>
                    <a:pt x="42" y="133"/>
                  </a:lnTo>
                  <a:lnTo>
                    <a:pt x="42" y="133"/>
                  </a:lnTo>
                  <a:lnTo>
                    <a:pt x="42" y="133"/>
                  </a:lnTo>
                  <a:lnTo>
                    <a:pt x="42" y="133"/>
                  </a:lnTo>
                  <a:lnTo>
                    <a:pt x="42" y="133"/>
                  </a:lnTo>
                  <a:lnTo>
                    <a:pt x="42" y="135"/>
                  </a:lnTo>
                  <a:lnTo>
                    <a:pt x="42" y="135"/>
                  </a:lnTo>
                  <a:lnTo>
                    <a:pt x="42" y="135"/>
                  </a:lnTo>
                  <a:lnTo>
                    <a:pt x="45" y="137"/>
                  </a:lnTo>
                  <a:lnTo>
                    <a:pt x="45" y="140"/>
                  </a:lnTo>
                  <a:lnTo>
                    <a:pt x="47" y="140"/>
                  </a:lnTo>
                  <a:lnTo>
                    <a:pt x="47" y="140"/>
                  </a:lnTo>
                  <a:lnTo>
                    <a:pt x="49" y="140"/>
                  </a:lnTo>
                  <a:lnTo>
                    <a:pt x="52" y="140"/>
                  </a:lnTo>
                  <a:lnTo>
                    <a:pt x="52" y="137"/>
                  </a:lnTo>
                  <a:lnTo>
                    <a:pt x="49" y="137"/>
                  </a:lnTo>
                  <a:lnTo>
                    <a:pt x="49" y="135"/>
                  </a:lnTo>
                  <a:close/>
                  <a:moveTo>
                    <a:pt x="125" y="135"/>
                  </a:moveTo>
                  <a:lnTo>
                    <a:pt x="127" y="137"/>
                  </a:lnTo>
                  <a:lnTo>
                    <a:pt x="127" y="137"/>
                  </a:lnTo>
                  <a:lnTo>
                    <a:pt x="130" y="137"/>
                  </a:lnTo>
                  <a:lnTo>
                    <a:pt x="132" y="140"/>
                  </a:lnTo>
                  <a:lnTo>
                    <a:pt x="132" y="140"/>
                  </a:lnTo>
                  <a:lnTo>
                    <a:pt x="134" y="142"/>
                  </a:lnTo>
                  <a:lnTo>
                    <a:pt x="134" y="142"/>
                  </a:lnTo>
                  <a:lnTo>
                    <a:pt x="137" y="144"/>
                  </a:lnTo>
                  <a:lnTo>
                    <a:pt x="137" y="144"/>
                  </a:lnTo>
                  <a:lnTo>
                    <a:pt x="137" y="144"/>
                  </a:lnTo>
                  <a:lnTo>
                    <a:pt x="139" y="147"/>
                  </a:lnTo>
                  <a:lnTo>
                    <a:pt x="137" y="147"/>
                  </a:lnTo>
                  <a:lnTo>
                    <a:pt x="137" y="149"/>
                  </a:lnTo>
                  <a:lnTo>
                    <a:pt x="137" y="151"/>
                  </a:lnTo>
                  <a:lnTo>
                    <a:pt x="139" y="154"/>
                  </a:lnTo>
                  <a:lnTo>
                    <a:pt x="141" y="154"/>
                  </a:lnTo>
                  <a:lnTo>
                    <a:pt x="141" y="154"/>
                  </a:lnTo>
                  <a:lnTo>
                    <a:pt x="144" y="159"/>
                  </a:lnTo>
                  <a:lnTo>
                    <a:pt x="144" y="159"/>
                  </a:lnTo>
                  <a:lnTo>
                    <a:pt x="146" y="159"/>
                  </a:lnTo>
                  <a:lnTo>
                    <a:pt x="151" y="159"/>
                  </a:lnTo>
                  <a:lnTo>
                    <a:pt x="151" y="159"/>
                  </a:lnTo>
                  <a:lnTo>
                    <a:pt x="153" y="159"/>
                  </a:lnTo>
                  <a:lnTo>
                    <a:pt x="153" y="159"/>
                  </a:lnTo>
                  <a:lnTo>
                    <a:pt x="153" y="156"/>
                  </a:lnTo>
                  <a:lnTo>
                    <a:pt x="151" y="156"/>
                  </a:lnTo>
                  <a:lnTo>
                    <a:pt x="148" y="156"/>
                  </a:lnTo>
                  <a:lnTo>
                    <a:pt x="148" y="154"/>
                  </a:lnTo>
                  <a:lnTo>
                    <a:pt x="151" y="154"/>
                  </a:lnTo>
                  <a:lnTo>
                    <a:pt x="148" y="151"/>
                  </a:lnTo>
                  <a:lnTo>
                    <a:pt x="148" y="149"/>
                  </a:lnTo>
                  <a:lnTo>
                    <a:pt x="146" y="149"/>
                  </a:lnTo>
                  <a:lnTo>
                    <a:pt x="146" y="147"/>
                  </a:lnTo>
                  <a:lnTo>
                    <a:pt x="146" y="144"/>
                  </a:lnTo>
                  <a:lnTo>
                    <a:pt x="146" y="144"/>
                  </a:lnTo>
                  <a:lnTo>
                    <a:pt x="146" y="140"/>
                  </a:lnTo>
                  <a:lnTo>
                    <a:pt x="146" y="137"/>
                  </a:lnTo>
                  <a:lnTo>
                    <a:pt x="146" y="137"/>
                  </a:lnTo>
                  <a:lnTo>
                    <a:pt x="146" y="135"/>
                  </a:lnTo>
                  <a:lnTo>
                    <a:pt x="146" y="135"/>
                  </a:lnTo>
                  <a:lnTo>
                    <a:pt x="144" y="133"/>
                  </a:lnTo>
                  <a:lnTo>
                    <a:pt x="144" y="133"/>
                  </a:lnTo>
                  <a:lnTo>
                    <a:pt x="141" y="133"/>
                  </a:lnTo>
                  <a:lnTo>
                    <a:pt x="141" y="130"/>
                  </a:lnTo>
                  <a:lnTo>
                    <a:pt x="141" y="130"/>
                  </a:lnTo>
                  <a:lnTo>
                    <a:pt x="141" y="128"/>
                  </a:lnTo>
                  <a:lnTo>
                    <a:pt x="139" y="128"/>
                  </a:lnTo>
                  <a:lnTo>
                    <a:pt x="134" y="128"/>
                  </a:lnTo>
                  <a:lnTo>
                    <a:pt x="127" y="128"/>
                  </a:lnTo>
                  <a:lnTo>
                    <a:pt x="122" y="128"/>
                  </a:lnTo>
                  <a:lnTo>
                    <a:pt x="125" y="130"/>
                  </a:lnTo>
                  <a:lnTo>
                    <a:pt x="125" y="135"/>
                  </a:lnTo>
                  <a:close/>
                  <a:moveTo>
                    <a:pt x="104" y="137"/>
                  </a:moveTo>
                  <a:lnTo>
                    <a:pt x="104" y="140"/>
                  </a:lnTo>
                  <a:lnTo>
                    <a:pt x="104" y="142"/>
                  </a:lnTo>
                  <a:lnTo>
                    <a:pt x="106" y="140"/>
                  </a:lnTo>
                  <a:lnTo>
                    <a:pt x="108" y="135"/>
                  </a:lnTo>
                  <a:lnTo>
                    <a:pt x="108" y="135"/>
                  </a:lnTo>
                  <a:lnTo>
                    <a:pt x="111" y="135"/>
                  </a:lnTo>
                  <a:lnTo>
                    <a:pt x="111" y="137"/>
                  </a:lnTo>
                  <a:lnTo>
                    <a:pt x="113" y="137"/>
                  </a:lnTo>
                  <a:lnTo>
                    <a:pt x="113" y="137"/>
                  </a:lnTo>
                  <a:lnTo>
                    <a:pt x="113" y="140"/>
                  </a:lnTo>
                  <a:lnTo>
                    <a:pt x="113" y="140"/>
                  </a:lnTo>
                  <a:lnTo>
                    <a:pt x="115" y="140"/>
                  </a:lnTo>
                  <a:lnTo>
                    <a:pt x="115" y="142"/>
                  </a:lnTo>
                  <a:lnTo>
                    <a:pt x="118" y="144"/>
                  </a:lnTo>
                  <a:lnTo>
                    <a:pt x="120" y="144"/>
                  </a:lnTo>
                  <a:lnTo>
                    <a:pt x="120" y="144"/>
                  </a:lnTo>
                  <a:lnTo>
                    <a:pt x="120" y="140"/>
                  </a:lnTo>
                  <a:lnTo>
                    <a:pt x="118" y="135"/>
                  </a:lnTo>
                  <a:lnTo>
                    <a:pt x="113" y="133"/>
                  </a:lnTo>
                  <a:lnTo>
                    <a:pt x="111" y="130"/>
                  </a:lnTo>
                  <a:lnTo>
                    <a:pt x="111" y="130"/>
                  </a:lnTo>
                  <a:lnTo>
                    <a:pt x="108" y="128"/>
                  </a:lnTo>
                  <a:lnTo>
                    <a:pt x="106" y="128"/>
                  </a:lnTo>
                  <a:lnTo>
                    <a:pt x="104" y="128"/>
                  </a:lnTo>
                  <a:lnTo>
                    <a:pt x="104" y="128"/>
                  </a:lnTo>
                  <a:lnTo>
                    <a:pt x="104" y="130"/>
                  </a:lnTo>
                  <a:lnTo>
                    <a:pt x="104" y="133"/>
                  </a:lnTo>
                  <a:lnTo>
                    <a:pt x="104" y="137"/>
                  </a:lnTo>
                  <a:close/>
                  <a:moveTo>
                    <a:pt x="82" y="137"/>
                  </a:moveTo>
                  <a:lnTo>
                    <a:pt x="82" y="133"/>
                  </a:lnTo>
                  <a:lnTo>
                    <a:pt x="82" y="128"/>
                  </a:lnTo>
                  <a:lnTo>
                    <a:pt x="82" y="125"/>
                  </a:lnTo>
                  <a:lnTo>
                    <a:pt x="82" y="125"/>
                  </a:lnTo>
                  <a:lnTo>
                    <a:pt x="82" y="125"/>
                  </a:lnTo>
                  <a:lnTo>
                    <a:pt x="80" y="128"/>
                  </a:lnTo>
                  <a:lnTo>
                    <a:pt x="80" y="130"/>
                  </a:lnTo>
                  <a:lnTo>
                    <a:pt x="80" y="130"/>
                  </a:lnTo>
                  <a:lnTo>
                    <a:pt x="80" y="133"/>
                  </a:lnTo>
                  <a:lnTo>
                    <a:pt x="80" y="133"/>
                  </a:lnTo>
                  <a:lnTo>
                    <a:pt x="80" y="135"/>
                  </a:lnTo>
                  <a:lnTo>
                    <a:pt x="80" y="135"/>
                  </a:lnTo>
                  <a:lnTo>
                    <a:pt x="82" y="137"/>
                  </a:lnTo>
                  <a:close/>
                  <a:moveTo>
                    <a:pt x="71" y="130"/>
                  </a:moveTo>
                  <a:lnTo>
                    <a:pt x="71" y="128"/>
                  </a:lnTo>
                  <a:lnTo>
                    <a:pt x="71" y="128"/>
                  </a:lnTo>
                  <a:lnTo>
                    <a:pt x="73" y="125"/>
                  </a:lnTo>
                  <a:lnTo>
                    <a:pt x="71" y="121"/>
                  </a:lnTo>
                  <a:lnTo>
                    <a:pt x="71" y="121"/>
                  </a:lnTo>
                  <a:lnTo>
                    <a:pt x="71" y="118"/>
                  </a:lnTo>
                  <a:lnTo>
                    <a:pt x="71" y="116"/>
                  </a:lnTo>
                  <a:lnTo>
                    <a:pt x="71" y="116"/>
                  </a:lnTo>
                  <a:lnTo>
                    <a:pt x="68" y="114"/>
                  </a:lnTo>
                  <a:lnTo>
                    <a:pt x="68" y="114"/>
                  </a:lnTo>
                  <a:lnTo>
                    <a:pt x="66" y="111"/>
                  </a:lnTo>
                  <a:lnTo>
                    <a:pt x="64" y="109"/>
                  </a:lnTo>
                  <a:lnTo>
                    <a:pt x="64" y="111"/>
                  </a:lnTo>
                  <a:lnTo>
                    <a:pt x="61" y="109"/>
                  </a:lnTo>
                  <a:lnTo>
                    <a:pt x="61" y="109"/>
                  </a:lnTo>
                  <a:lnTo>
                    <a:pt x="59" y="109"/>
                  </a:lnTo>
                  <a:lnTo>
                    <a:pt x="59" y="107"/>
                  </a:lnTo>
                  <a:lnTo>
                    <a:pt x="56" y="109"/>
                  </a:lnTo>
                  <a:lnTo>
                    <a:pt x="54" y="109"/>
                  </a:lnTo>
                  <a:lnTo>
                    <a:pt x="54" y="109"/>
                  </a:lnTo>
                  <a:lnTo>
                    <a:pt x="49" y="107"/>
                  </a:lnTo>
                  <a:lnTo>
                    <a:pt x="49" y="107"/>
                  </a:lnTo>
                  <a:lnTo>
                    <a:pt x="47" y="109"/>
                  </a:lnTo>
                  <a:lnTo>
                    <a:pt x="47" y="109"/>
                  </a:lnTo>
                  <a:lnTo>
                    <a:pt x="49" y="109"/>
                  </a:lnTo>
                  <a:lnTo>
                    <a:pt x="49" y="109"/>
                  </a:lnTo>
                  <a:lnTo>
                    <a:pt x="49" y="109"/>
                  </a:lnTo>
                  <a:lnTo>
                    <a:pt x="52" y="111"/>
                  </a:lnTo>
                  <a:lnTo>
                    <a:pt x="52" y="114"/>
                  </a:lnTo>
                  <a:lnTo>
                    <a:pt x="52" y="114"/>
                  </a:lnTo>
                  <a:lnTo>
                    <a:pt x="54" y="114"/>
                  </a:lnTo>
                  <a:lnTo>
                    <a:pt x="54" y="116"/>
                  </a:lnTo>
                  <a:lnTo>
                    <a:pt x="56" y="118"/>
                  </a:lnTo>
                  <a:lnTo>
                    <a:pt x="56" y="121"/>
                  </a:lnTo>
                  <a:lnTo>
                    <a:pt x="56" y="123"/>
                  </a:lnTo>
                  <a:lnTo>
                    <a:pt x="59" y="123"/>
                  </a:lnTo>
                  <a:lnTo>
                    <a:pt x="59" y="125"/>
                  </a:lnTo>
                  <a:lnTo>
                    <a:pt x="61" y="125"/>
                  </a:lnTo>
                  <a:lnTo>
                    <a:pt x="61" y="128"/>
                  </a:lnTo>
                  <a:lnTo>
                    <a:pt x="61" y="128"/>
                  </a:lnTo>
                  <a:lnTo>
                    <a:pt x="61" y="130"/>
                  </a:lnTo>
                  <a:lnTo>
                    <a:pt x="64" y="133"/>
                  </a:lnTo>
                  <a:lnTo>
                    <a:pt x="64" y="133"/>
                  </a:lnTo>
                  <a:lnTo>
                    <a:pt x="64" y="133"/>
                  </a:lnTo>
                  <a:lnTo>
                    <a:pt x="66" y="135"/>
                  </a:lnTo>
                  <a:lnTo>
                    <a:pt x="66" y="135"/>
                  </a:lnTo>
                  <a:lnTo>
                    <a:pt x="68" y="135"/>
                  </a:lnTo>
                  <a:lnTo>
                    <a:pt x="68" y="133"/>
                  </a:lnTo>
                  <a:lnTo>
                    <a:pt x="68" y="133"/>
                  </a:lnTo>
                  <a:lnTo>
                    <a:pt x="68" y="133"/>
                  </a:lnTo>
                  <a:lnTo>
                    <a:pt x="71" y="133"/>
                  </a:lnTo>
                  <a:lnTo>
                    <a:pt x="71" y="133"/>
                  </a:lnTo>
                  <a:lnTo>
                    <a:pt x="71" y="130"/>
                  </a:lnTo>
                  <a:lnTo>
                    <a:pt x="71" y="130"/>
                  </a:lnTo>
                  <a:close/>
                  <a:moveTo>
                    <a:pt x="78" y="107"/>
                  </a:moveTo>
                  <a:lnTo>
                    <a:pt x="78" y="107"/>
                  </a:lnTo>
                  <a:lnTo>
                    <a:pt x="78" y="107"/>
                  </a:lnTo>
                  <a:lnTo>
                    <a:pt x="75" y="107"/>
                  </a:lnTo>
                  <a:lnTo>
                    <a:pt x="75" y="109"/>
                  </a:lnTo>
                  <a:lnTo>
                    <a:pt x="75" y="111"/>
                  </a:lnTo>
                  <a:lnTo>
                    <a:pt x="78" y="111"/>
                  </a:lnTo>
                  <a:lnTo>
                    <a:pt x="80" y="114"/>
                  </a:lnTo>
                  <a:lnTo>
                    <a:pt x="80" y="114"/>
                  </a:lnTo>
                  <a:lnTo>
                    <a:pt x="80" y="114"/>
                  </a:lnTo>
                  <a:lnTo>
                    <a:pt x="80" y="111"/>
                  </a:lnTo>
                  <a:lnTo>
                    <a:pt x="80" y="109"/>
                  </a:lnTo>
                  <a:lnTo>
                    <a:pt x="80" y="109"/>
                  </a:lnTo>
                  <a:lnTo>
                    <a:pt x="78" y="107"/>
                  </a:lnTo>
                  <a:close/>
                  <a:moveTo>
                    <a:pt x="115" y="107"/>
                  </a:moveTo>
                  <a:lnTo>
                    <a:pt x="118" y="107"/>
                  </a:lnTo>
                  <a:lnTo>
                    <a:pt x="120" y="107"/>
                  </a:lnTo>
                  <a:lnTo>
                    <a:pt x="120" y="107"/>
                  </a:lnTo>
                  <a:lnTo>
                    <a:pt x="120" y="107"/>
                  </a:lnTo>
                  <a:lnTo>
                    <a:pt x="122" y="104"/>
                  </a:lnTo>
                  <a:lnTo>
                    <a:pt x="122" y="104"/>
                  </a:lnTo>
                  <a:lnTo>
                    <a:pt x="122" y="102"/>
                  </a:lnTo>
                  <a:lnTo>
                    <a:pt x="122" y="99"/>
                  </a:lnTo>
                  <a:lnTo>
                    <a:pt x="120" y="99"/>
                  </a:lnTo>
                  <a:lnTo>
                    <a:pt x="120" y="99"/>
                  </a:lnTo>
                  <a:lnTo>
                    <a:pt x="118" y="95"/>
                  </a:lnTo>
                  <a:lnTo>
                    <a:pt x="118" y="97"/>
                  </a:lnTo>
                  <a:lnTo>
                    <a:pt x="118" y="97"/>
                  </a:lnTo>
                  <a:lnTo>
                    <a:pt x="115" y="97"/>
                  </a:lnTo>
                  <a:lnTo>
                    <a:pt x="118" y="102"/>
                  </a:lnTo>
                  <a:lnTo>
                    <a:pt x="115" y="104"/>
                  </a:lnTo>
                  <a:lnTo>
                    <a:pt x="115" y="107"/>
                  </a:lnTo>
                  <a:close/>
                  <a:moveTo>
                    <a:pt x="75" y="92"/>
                  </a:moveTo>
                  <a:lnTo>
                    <a:pt x="75" y="92"/>
                  </a:lnTo>
                  <a:lnTo>
                    <a:pt x="75" y="95"/>
                  </a:lnTo>
                  <a:lnTo>
                    <a:pt x="80" y="97"/>
                  </a:lnTo>
                  <a:lnTo>
                    <a:pt x="80" y="97"/>
                  </a:lnTo>
                  <a:lnTo>
                    <a:pt x="75" y="92"/>
                  </a:lnTo>
                  <a:lnTo>
                    <a:pt x="75" y="92"/>
                  </a:lnTo>
                  <a:close/>
                  <a:moveTo>
                    <a:pt x="31" y="55"/>
                  </a:moveTo>
                  <a:lnTo>
                    <a:pt x="31" y="57"/>
                  </a:lnTo>
                  <a:lnTo>
                    <a:pt x="33" y="57"/>
                  </a:lnTo>
                  <a:lnTo>
                    <a:pt x="33" y="57"/>
                  </a:lnTo>
                  <a:lnTo>
                    <a:pt x="33" y="59"/>
                  </a:lnTo>
                  <a:lnTo>
                    <a:pt x="35" y="66"/>
                  </a:lnTo>
                  <a:lnTo>
                    <a:pt x="35" y="69"/>
                  </a:lnTo>
                  <a:lnTo>
                    <a:pt x="38" y="71"/>
                  </a:lnTo>
                  <a:lnTo>
                    <a:pt x="38" y="73"/>
                  </a:lnTo>
                  <a:lnTo>
                    <a:pt x="38" y="76"/>
                  </a:lnTo>
                  <a:lnTo>
                    <a:pt x="40" y="78"/>
                  </a:lnTo>
                  <a:lnTo>
                    <a:pt x="40" y="81"/>
                  </a:lnTo>
                  <a:lnTo>
                    <a:pt x="42" y="81"/>
                  </a:lnTo>
                  <a:lnTo>
                    <a:pt x="42" y="81"/>
                  </a:lnTo>
                  <a:lnTo>
                    <a:pt x="45" y="83"/>
                  </a:lnTo>
                  <a:lnTo>
                    <a:pt x="45" y="85"/>
                  </a:lnTo>
                  <a:lnTo>
                    <a:pt x="47" y="88"/>
                  </a:lnTo>
                  <a:lnTo>
                    <a:pt x="47" y="88"/>
                  </a:lnTo>
                  <a:lnTo>
                    <a:pt x="49" y="88"/>
                  </a:lnTo>
                  <a:lnTo>
                    <a:pt x="49" y="88"/>
                  </a:lnTo>
                  <a:lnTo>
                    <a:pt x="49" y="88"/>
                  </a:lnTo>
                  <a:lnTo>
                    <a:pt x="49" y="85"/>
                  </a:lnTo>
                  <a:lnTo>
                    <a:pt x="49" y="81"/>
                  </a:lnTo>
                  <a:lnTo>
                    <a:pt x="49" y="78"/>
                  </a:lnTo>
                  <a:lnTo>
                    <a:pt x="49" y="81"/>
                  </a:lnTo>
                  <a:lnTo>
                    <a:pt x="52" y="81"/>
                  </a:lnTo>
                  <a:lnTo>
                    <a:pt x="54" y="81"/>
                  </a:lnTo>
                  <a:lnTo>
                    <a:pt x="54" y="83"/>
                  </a:lnTo>
                  <a:lnTo>
                    <a:pt x="56" y="83"/>
                  </a:lnTo>
                  <a:lnTo>
                    <a:pt x="56" y="85"/>
                  </a:lnTo>
                  <a:lnTo>
                    <a:pt x="56" y="88"/>
                  </a:lnTo>
                  <a:lnTo>
                    <a:pt x="52" y="90"/>
                  </a:lnTo>
                  <a:lnTo>
                    <a:pt x="52" y="92"/>
                  </a:lnTo>
                  <a:lnTo>
                    <a:pt x="52" y="92"/>
                  </a:lnTo>
                  <a:lnTo>
                    <a:pt x="52" y="97"/>
                  </a:lnTo>
                  <a:lnTo>
                    <a:pt x="52" y="102"/>
                  </a:lnTo>
                  <a:lnTo>
                    <a:pt x="54" y="99"/>
                  </a:lnTo>
                  <a:lnTo>
                    <a:pt x="56" y="99"/>
                  </a:lnTo>
                  <a:lnTo>
                    <a:pt x="59" y="102"/>
                  </a:lnTo>
                  <a:lnTo>
                    <a:pt x="59" y="102"/>
                  </a:lnTo>
                  <a:lnTo>
                    <a:pt x="61" y="104"/>
                  </a:lnTo>
                  <a:lnTo>
                    <a:pt x="64" y="104"/>
                  </a:lnTo>
                  <a:lnTo>
                    <a:pt x="66" y="104"/>
                  </a:lnTo>
                  <a:lnTo>
                    <a:pt x="68" y="104"/>
                  </a:lnTo>
                  <a:lnTo>
                    <a:pt x="68" y="102"/>
                  </a:lnTo>
                  <a:lnTo>
                    <a:pt x="68" y="99"/>
                  </a:lnTo>
                  <a:lnTo>
                    <a:pt x="71" y="99"/>
                  </a:lnTo>
                  <a:lnTo>
                    <a:pt x="71" y="99"/>
                  </a:lnTo>
                  <a:lnTo>
                    <a:pt x="73" y="99"/>
                  </a:lnTo>
                  <a:lnTo>
                    <a:pt x="73" y="99"/>
                  </a:lnTo>
                  <a:lnTo>
                    <a:pt x="80" y="102"/>
                  </a:lnTo>
                  <a:lnTo>
                    <a:pt x="82" y="104"/>
                  </a:lnTo>
                  <a:lnTo>
                    <a:pt x="85" y="107"/>
                  </a:lnTo>
                  <a:lnTo>
                    <a:pt x="85" y="109"/>
                  </a:lnTo>
                  <a:lnTo>
                    <a:pt x="87" y="111"/>
                  </a:lnTo>
                  <a:lnTo>
                    <a:pt x="89" y="111"/>
                  </a:lnTo>
                  <a:lnTo>
                    <a:pt x="89" y="114"/>
                  </a:lnTo>
                  <a:lnTo>
                    <a:pt x="89" y="114"/>
                  </a:lnTo>
                  <a:lnTo>
                    <a:pt x="92" y="114"/>
                  </a:lnTo>
                  <a:lnTo>
                    <a:pt x="92" y="109"/>
                  </a:lnTo>
                  <a:lnTo>
                    <a:pt x="89" y="107"/>
                  </a:lnTo>
                  <a:lnTo>
                    <a:pt x="89" y="107"/>
                  </a:lnTo>
                  <a:lnTo>
                    <a:pt x="87" y="104"/>
                  </a:lnTo>
                  <a:lnTo>
                    <a:pt x="87" y="104"/>
                  </a:lnTo>
                  <a:lnTo>
                    <a:pt x="87" y="102"/>
                  </a:lnTo>
                  <a:lnTo>
                    <a:pt x="87" y="102"/>
                  </a:lnTo>
                  <a:lnTo>
                    <a:pt x="87" y="99"/>
                  </a:lnTo>
                  <a:lnTo>
                    <a:pt x="87" y="99"/>
                  </a:lnTo>
                  <a:lnTo>
                    <a:pt x="87" y="99"/>
                  </a:lnTo>
                  <a:lnTo>
                    <a:pt x="89" y="99"/>
                  </a:lnTo>
                  <a:lnTo>
                    <a:pt x="92" y="102"/>
                  </a:lnTo>
                  <a:lnTo>
                    <a:pt x="94" y="104"/>
                  </a:lnTo>
                  <a:lnTo>
                    <a:pt x="94" y="107"/>
                  </a:lnTo>
                  <a:lnTo>
                    <a:pt x="99" y="109"/>
                  </a:lnTo>
                  <a:lnTo>
                    <a:pt x="101" y="109"/>
                  </a:lnTo>
                  <a:lnTo>
                    <a:pt x="101" y="111"/>
                  </a:lnTo>
                  <a:lnTo>
                    <a:pt x="104" y="114"/>
                  </a:lnTo>
                  <a:lnTo>
                    <a:pt x="104" y="116"/>
                  </a:lnTo>
                  <a:lnTo>
                    <a:pt x="104" y="118"/>
                  </a:lnTo>
                  <a:lnTo>
                    <a:pt x="106" y="118"/>
                  </a:lnTo>
                  <a:lnTo>
                    <a:pt x="111" y="121"/>
                  </a:lnTo>
                  <a:lnTo>
                    <a:pt x="111" y="121"/>
                  </a:lnTo>
                  <a:lnTo>
                    <a:pt x="113" y="121"/>
                  </a:lnTo>
                  <a:lnTo>
                    <a:pt x="113" y="121"/>
                  </a:lnTo>
                  <a:lnTo>
                    <a:pt x="115" y="118"/>
                  </a:lnTo>
                  <a:lnTo>
                    <a:pt x="115" y="121"/>
                  </a:lnTo>
                  <a:lnTo>
                    <a:pt x="115" y="123"/>
                  </a:lnTo>
                  <a:lnTo>
                    <a:pt x="115" y="125"/>
                  </a:lnTo>
                  <a:lnTo>
                    <a:pt x="118" y="128"/>
                  </a:lnTo>
                  <a:lnTo>
                    <a:pt x="118" y="128"/>
                  </a:lnTo>
                  <a:lnTo>
                    <a:pt x="120" y="123"/>
                  </a:lnTo>
                  <a:lnTo>
                    <a:pt x="120" y="118"/>
                  </a:lnTo>
                  <a:lnTo>
                    <a:pt x="118" y="118"/>
                  </a:lnTo>
                  <a:lnTo>
                    <a:pt x="118" y="118"/>
                  </a:lnTo>
                  <a:lnTo>
                    <a:pt x="115" y="116"/>
                  </a:lnTo>
                  <a:lnTo>
                    <a:pt x="113" y="116"/>
                  </a:lnTo>
                  <a:lnTo>
                    <a:pt x="113" y="116"/>
                  </a:lnTo>
                  <a:lnTo>
                    <a:pt x="113" y="114"/>
                  </a:lnTo>
                  <a:lnTo>
                    <a:pt x="113" y="114"/>
                  </a:lnTo>
                  <a:lnTo>
                    <a:pt x="111" y="111"/>
                  </a:lnTo>
                  <a:lnTo>
                    <a:pt x="111" y="109"/>
                  </a:lnTo>
                  <a:lnTo>
                    <a:pt x="108" y="107"/>
                  </a:lnTo>
                  <a:lnTo>
                    <a:pt x="106" y="104"/>
                  </a:lnTo>
                  <a:lnTo>
                    <a:pt x="108" y="104"/>
                  </a:lnTo>
                  <a:lnTo>
                    <a:pt x="111" y="104"/>
                  </a:lnTo>
                  <a:lnTo>
                    <a:pt x="113" y="102"/>
                  </a:lnTo>
                  <a:lnTo>
                    <a:pt x="111" y="99"/>
                  </a:lnTo>
                  <a:lnTo>
                    <a:pt x="108" y="99"/>
                  </a:lnTo>
                  <a:lnTo>
                    <a:pt x="108" y="99"/>
                  </a:lnTo>
                  <a:lnTo>
                    <a:pt x="108" y="99"/>
                  </a:lnTo>
                  <a:lnTo>
                    <a:pt x="104" y="97"/>
                  </a:lnTo>
                  <a:lnTo>
                    <a:pt x="104" y="97"/>
                  </a:lnTo>
                  <a:lnTo>
                    <a:pt x="101" y="95"/>
                  </a:lnTo>
                  <a:lnTo>
                    <a:pt x="101" y="97"/>
                  </a:lnTo>
                  <a:lnTo>
                    <a:pt x="101" y="97"/>
                  </a:lnTo>
                  <a:lnTo>
                    <a:pt x="101" y="99"/>
                  </a:lnTo>
                  <a:lnTo>
                    <a:pt x="101" y="99"/>
                  </a:lnTo>
                  <a:lnTo>
                    <a:pt x="101" y="102"/>
                  </a:lnTo>
                  <a:lnTo>
                    <a:pt x="99" y="102"/>
                  </a:lnTo>
                  <a:lnTo>
                    <a:pt x="97" y="102"/>
                  </a:lnTo>
                  <a:lnTo>
                    <a:pt x="97" y="99"/>
                  </a:lnTo>
                  <a:lnTo>
                    <a:pt x="97" y="99"/>
                  </a:lnTo>
                  <a:lnTo>
                    <a:pt x="97" y="97"/>
                  </a:lnTo>
                  <a:lnTo>
                    <a:pt x="97" y="95"/>
                  </a:lnTo>
                  <a:lnTo>
                    <a:pt x="94" y="92"/>
                  </a:lnTo>
                  <a:lnTo>
                    <a:pt x="92" y="92"/>
                  </a:lnTo>
                  <a:lnTo>
                    <a:pt x="89" y="90"/>
                  </a:lnTo>
                  <a:lnTo>
                    <a:pt x="87" y="90"/>
                  </a:lnTo>
                  <a:lnTo>
                    <a:pt x="85" y="90"/>
                  </a:lnTo>
                  <a:lnTo>
                    <a:pt x="82" y="92"/>
                  </a:lnTo>
                  <a:lnTo>
                    <a:pt x="82" y="92"/>
                  </a:lnTo>
                  <a:lnTo>
                    <a:pt x="80" y="92"/>
                  </a:lnTo>
                  <a:lnTo>
                    <a:pt x="80" y="95"/>
                  </a:lnTo>
                  <a:lnTo>
                    <a:pt x="80" y="95"/>
                  </a:lnTo>
                  <a:lnTo>
                    <a:pt x="82" y="97"/>
                  </a:lnTo>
                  <a:lnTo>
                    <a:pt x="82" y="97"/>
                  </a:lnTo>
                  <a:lnTo>
                    <a:pt x="82" y="97"/>
                  </a:lnTo>
                  <a:lnTo>
                    <a:pt x="82" y="99"/>
                  </a:lnTo>
                  <a:lnTo>
                    <a:pt x="80" y="99"/>
                  </a:lnTo>
                  <a:lnTo>
                    <a:pt x="78" y="99"/>
                  </a:lnTo>
                  <a:lnTo>
                    <a:pt x="75" y="97"/>
                  </a:lnTo>
                  <a:lnTo>
                    <a:pt x="75" y="95"/>
                  </a:lnTo>
                  <a:lnTo>
                    <a:pt x="73" y="95"/>
                  </a:lnTo>
                  <a:lnTo>
                    <a:pt x="73" y="95"/>
                  </a:lnTo>
                  <a:lnTo>
                    <a:pt x="73" y="92"/>
                  </a:lnTo>
                  <a:lnTo>
                    <a:pt x="68" y="88"/>
                  </a:lnTo>
                  <a:lnTo>
                    <a:pt x="68" y="85"/>
                  </a:lnTo>
                  <a:lnTo>
                    <a:pt x="68" y="83"/>
                  </a:lnTo>
                  <a:lnTo>
                    <a:pt x="71" y="81"/>
                  </a:lnTo>
                  <a:lnTo>
                    <a:pt x="68" y="81"/>
                  </a:lnTo>
                  <a:lnTo>
                    <a:pt x="68" y="81"/>
                  </a:lnTo>
                  <a:lnTo>
                    <a:pt x="66" y="76"/>
                  </a:lnTo>
                  <a:lnTo>
                    <a:pt x="64" y="71"/>
                  </a:lnTo>
                  <a:lnTo>
                    <a:pt x="64" y="71"/>
                  </a:lnTo>
                  <a:lnTo>
                    <a:pt x="64" y="69"/>
                  </a:lnTo>
                  <a:lnTo>
                    <a:pt x="64" y="69"/>
                  </a:lnTo>
                  <a:lnTo>
                    <a:pt x="64" y="66"/>
                  </a:lnTo>
                  <a:lnTo>
                    <a:pt x="64" y="66"/>
                  </a:lnTo>
                  <a:lnTo>
                    <a:pt x="66" y="64"/>
                  </a:lnTo>
                  <a:lnTo>
                    <a:pt x="66" y="62"/>
                  </a:lnTo>
                  <a:lnTo>
                    <a:pt x="66" y="62"/>
                  </a:lnTo>
                  <a:lnTo>
                    <a:pt x="64" y="59"/>
                  </a:lnTo>
                  <a:lnTo>
                    <a:pt x="64" y="59"/>
                  </a:lnTo>
                  <a:lnTo>
                    <a:pt x="64" y="57"/>
                  </a:lnTo>
                  <a:lnTo>
                    <a:pt x="66" y="55"/>
                  </a:lnTo>
                  <a:lnTo>
                    <a:pt x="68" y="52"/>
                  </a:lnTo>
                  <a:lnTo>
                    <a:pt x="71" y="52"/>
                  </a:lnTo>
                  <a:lnTo>
                    <a:pt x="73" y="52"/>
                  </a:lnTo>
                  <a:lnTo>
                    <a:pt x="75" y="47"/>
                  </a:lnTo>
                  <a:lnTo>
                    <a:pt x="75" y="45"/>
                  </a:lnTo>
                  <a:lnTo>
                    <a:pt x="78" y="38"/>
                  </a:lnTo>
                  <a:lnTo>
                    <a:pt x="78" y="33"/>
                  </a:lnTo>
                  <a:lnTo>
                    <a:pt x="78" y="33"/>
                  </a:lnTo>
                  <a:lnTo>
                    <a:pt x="78" y="31"/>
                  </a:lnTo>
                  <a:lnTo>
                    <a:pt x="78" y="31"/>
                  </a:lnTo>
                  <a:lnTo>
                    <a:pt x="75" y="31"/>
                  </a:lnTo>
                  <a:lnTo>
                    <a:pt x="75" y="29"/>
                  </a:lnTo>
                  <a:lnTo>
                    <a:pt x="75" y="29"/>
                  </a:lnTo>
                  <a:lnTo>
                    <a:pt x="73" y="26"/>
                  </a:lnTo>
                  <a:lnTo>
                    <a:pt x="73" y="26"/>
                  </a:lnTo>
                  <a:lnTo>
                    <a:pt x="71" y="24"/>
                  </a:lnTo>
                  <a:lnTo>
                    <a:pt x="71" y="21"/>
                  </a:lnTo>
                  <a:lnTo>
                    <a:pt x="68" y="19"/>
                  </a:lnTo>
                  <a:lnTo>
                    <a:pt x="68" y="17"/>
                  </a:lnTo>
                  <a:lnTo>
                    <a:pt x="68" y="12"/>
                  </a:lnTo>
                  <a:lnTo>
                    <a:pt x="68" y="10"/>
                  </a:lnTo>
                  <a:lnTo>
                    <a:pt x="71" y="7"/>
                  </a:lnTo>
                  <a:lnTo>
                    <a:pt x="71" y="5"/>
                  </a:lnTo>
                  <a:lnTo>
                    <a:pt x="68" y="5"/>
                  </a:lnTo>
                  <a:lnTo>
                    <a:pt x="68" y="3"/>
                  </a:lnTo>
                  <a:lnTo>
                    <a:pt x="68" y="3"/>
                  </a:lnTo>
                  <a:lnTo>
                    <a:pt x="66" y="3"/>
                  </a:lnTo>
                  <a:lnTo>
                    <a:pt x="66" y="5"/>
                  </a:lnTo>
                  <a:lnTo>
                    <a:pt x="66" y="5"/>
                  </a:lnTo>
                  <a:lnTo>
                    <a:pt x="64" y="7"/>
                  </a:lnTo>
                  <a:lnTo>
                    <a:pt x="61" y="7"/>
                  </a:lnTo>
                  <a:lnTo>
                    <a:pt x="59" y="5"/>
                  </a:lnTo>
                  <a:lnTo>
                    <a:pt x="56" y="5"/>
                  </a:lnTo>
                  <a:lnTo>
                    <a:pt x="49" y="0"/>
                  </a:lnTo>
                  <a:lnTo>
                    <a:pt x="47" y="0"/>
                  </a:lnTo>
                  <a:lnTo>
                    <a:pt x="45" y="0"/>
                  </a:lnTo>
                  <a:lnTo>
                    <a:pt x="45" y="0"/>
                  </a:lnTo>
                  <a:lnTo>
                    <a:pt x="42" y="0"/>
                  </a:lnTo>
                  <a:lnTo>
                    <a:pt x="42" y="0"/>
                  </a:lnTo>
                  <a:lnTo>
                    <a:pt x="40" y="0"/>
                  </a:lnTo>
                  <a:lnTo>
                    <a:pt x="38" y="3"/>
                  </a:lnTo>
                  <a:lnTo>
                    <a:pt x="38" y="5"/>
                  </a:lnTo>
                  <a:lnTo>
                    <a:pt x="38" y="7"/>
                  </a:lnTo>
                  <a:lnTo>
                    <a:pt x="38" y="10"/>
                  </a:lnTo>
                  <a:lnTo>
                    <a:pt x="35" y="21"/>
                  </a:lnTo>
                  <a:lnTo>
                    <a:pt x="38" y="21"/>
                  </a:lnTo>
                  <a:lnTo>
                    <a:pt x="38" y="24"/>
                  </a:lnTo>
                  <a:lnTo>
                    <a:pt x="38" y="26"/>
                  </a:lnTo>
                  <a:lnTo>
                    <a:pt x="38" y="29"/>
                  </a:lnTo>
                  <a:lnTo>
                    <a:pt x="40" y="31"/>
                  </a:lnTo>
                  <a:lnTo>
                    <a:pt x="40" y="36"/>
                  </a:lnTo>
                  <a:lnTo>
                    <a:pt x="38" y="38"/>
                  </a:lnTo>
                  <a:lnTo>
                    <a:pt x="38" y="40"/>
                  </a:lnTo>
                  <a:lnTo>
                    <a:pt x="40" y="43"/>
                  </a:lnTo>
                  <a:lnTo>
                    <a:pt x="40" y="47"/>
                  </a:lnTo>
                  <a:lnTo>
                    <a:pt x="42" y="50"/>
                  </a:lnTo>
                  <a:lnTo>
                    <a:pt x="42" y="52"/>
                  </a:lnTo>
                  <a:lnTo>
                    <a:pt x="42" y="52"/>
                  </a:lnTo>
                  <a:lnTo>
                    <a:pt x="40" y="55"/>
                  </a:lnTo>
                  <a:lnTo>
                    <a:pt x="40" y="55"/>
                  </a:lnTo>
                  <a:lnTo>
                    <a:pt x="38" y="55"/>
                  </a:lnTo>
                  <a:lnTo>
                    <a:pt x="38" y="55"/>
                  </a:lnTo>
                  <a:lnTo>
                    <a:pt x="35" y="52"/>
                  </a:lnTo>
                  <a:lnTo>
                    <a:pt x="33" y="50"/>
                  </a:lnTo>
                  <a:lnTo>
                    <a:pt x="33" y="50"/>
                  </a:lnTo>
                  <a:lnTo>
                    <a:pt x="33" y="50"/>
                  </a:lnTo>
                  <a:lnTo>
                    <a:pt x="31" y="47"/>
                  </a:lnTo>
                  <a:lnTo>
                    <a:pt x="31" y="47"/>
                  </a:lnTo>
                  <a:lnTo>
                    <a:pt x="31" y="50"/>
                  </a:lnTo>
                  <a:lnTo>
                    <a:pt x="31" y="55"/>
                  </a:lnTo>
                  <a:lnTo>
                    <a:pt x="31"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2" name="Freeform 258"/>
            <p:cNvSpPr>
              <a:spLocks noEditPoints="1"/>
            </p:cNvSpPr>
            <p:nvPr userDrawn="1"/>
          </p:nvSpPr>
          <p:spPr bwMode="auto">
            <a:xfrm>
              <a:off x="5826" y="2415"/>
              <a:ext cx="174" cy="274"/>
            </a:xfrm>
            <a:custGeom>
              <a:avLst/>
              <a:gdLst>
                <a:gd name="T0" fmla="*/ 172 w 174"/>
                <a:gd name="T1" fmla="*/ 225 h 274"/>
                <a:gd name="T2" fmla="*/ 163 w 174"/>
                <a:gd name="T3" fmla="*/ 196 h 274"/>
                <a:gd name="T4" fmla="*/ 144 w 174"/>
                <a:gd name="T5" fmla="*/ 206 h 274"/>
                <a:gd name="T6" fmla="*/ 125 w 174"/>
                <a:gd name="T7" fmla="*/ 220 h 274"/>
                <a:gd name="T8" fmla="*/ 108 w 174"/>
                <a:gd name="T9" fmla="*/ 213 h 274"/>
                <a:gd name="T10" fmla="*/ 92 w 174"/>
                <a:gd name="T11" fmla="*/ 232 h 274"/>
                <a:gd name="T12" fmla="*/ 101 w 174"/>
                <a:gd name="T13" fmla="*/ 230 h 274"/>
                <a:gd name="T14" fmla="*/ 115 w 174"/>
                <a:gd name="T15" fmla="*/ 230 h 274"/>
                <a:gd name="T16" fmla="*/ 127 w 174"/>
                <a:gd name="T17" fmla="*/ 246 h 274"/>
                <a:gd name="T18" fmla="*/ 151 w 174"/>
                <a:gd name="T19" fmla="*/ 265 h 274"/>
                <a:gd name="T20" fmla="*/ 155 w 174"/>
                <a:gd name="T21" fmla="*/ 246 h 274"/>
                <a:gd name="T22" fmla="*/ 170 w 174"/>
                <a:gd name="T23" fmla="*/ 256 h 274"/>
                <a:gd name="T24" fmla="*/ 163 w 174"/>
                <a:gd name="T25" fmla="*/ 182 h 274"/>
                <a:gd name="T26" fmla="*/ 132 w 174"/>
                <a:gd name="T27" fmla="*/ 187 h 274"/>
                <a:gd name="T28" fmla="*/ 151 w 174"/>
                <a:gd name="T29" fmla="*/ 173 h 274"/>
                <a:gd name="T30" fmla="*/ 97 w 174"/>
                <a:gd name="T31" fmla="*/ 173 h 274"/>
                <a:gd name="T32" fmla="*/ 97 w 174"/>
                <a:gd name="T33" fmla="*/ 192 h 274"/>
                <a:gd name="T34" fmla="*/ 108 w 174"/>
                <a:gd name="T35" fmla="*/ 189 h 274"/>
                <a:gd name="T36" fmla="*/ 101 w 174"/>
                <a:gd name="T37" fmla="*/ 163 h 274"/>
                <a:gd name="T38" fmla="*/ 94 w 174"/>
                <a:gd name="T39" fmla="*/ 185 h 274"/>
                <a:gd name="T40" fmla="*/ 113 w 174"/>
                <a:gd name="T41" fmla="*/ 178 h 274"/>
                <a:gd name="T42" fmla="*/ 122 w 174"/>
                <a:gd name="T43" fmla="*/ 166 h 274"/>
                <a:gd name="T44" fmla="*/ 35 w 174"/>
                <a:gd name="T45" fmla="*/ 170 h 274"/>
                <a:gd name="T46" fmla="*/ 9 w 174"/>
                <a:gd name="T47" fmla="*/ 201 h 274"/>
                <a:gd name="T48" fmla="*/ 12 w 174"/>
                <a:gd name="T49" fmla="*/ 206 h 274"/>
                <a:gd name="T50" fmla="*/ 35 w 174"/>
                <a:gd name="T51" fmla="*/ 178 h 274"/>
                <a:gd name="T52" fmla="*/ 144 w 174"/>
                <a:gd name="T53" fmla="*/ 173 h 274"/>
                <a:gd name="T54" fmla="*/ 130 w 174"/>
                <a:gd name="T55" fmla="*/ 151 h 274"/>
                <a:gd name="T56" fmla="*/ 137 w 174"/>
                <a:gd name="T57" fmla="*/ 168 h 274"/>
                <a:gd name="T58" fmla="*/ 130 w 174"/>
                <a:gd name="T59" fmla="*/ 147 h 274"/>
                <a:gd name="T60" fmla="*/ 104 w 174"/>
                <a:gd name="T61" fmla="*/ 154 h 274"/>
                <a:gd name="T62" fmla="*/ 82 w 174"/>
                <a:gd name="T63" fmla="*/ 142 h 274"/>
                <a:gd name="T64" fmla="*/ 85 w 174"/>
                <a:gd name="T65" fmla="*/ 173 h 274"/>
                <a:gd name="T66" fmla="*/ 47 w 174"/>
                <a:gd name="T67" fmla="*/ 144 h 274"/>
                <a:gd name="T68" fmla="*/ 42 w 174"/>
                <a:gd name="T69" fmla="*/ 135 h 274"/>
                <a:gd name="T70" fmla="*/ 132 w 174"/>
                <a:gd name="T71" fmla="*/ 140 h 274"/>
                <a:gd name="T72" fmla="*/ 151 w 174"/>
                <a:gd name="T73" fmla="*/ 159 h 274"/>
                <a:gd name="T74" fmla="*/ 146 w 174"/>
                <a:gd name="T75" fmla="*/ 137 h 274"/>
                <a:gd name="T76" fmla="*/ 104 w 174"/>
                <a:gd name="T77" fmla="*/ 137 h 274"/>
                <a:gd name="T78" fmla="*/ 120 w 174"/>
                <a:gd name="T79" fmla="*/ 144 h 274"/>
                <a:gd name="T80" fmla="*/ 82 w 174"/>
                <a:gd name="T81" fmla="*/ 125 h 274"/>
                <a:gd name="T82" fmla="*/ 71 w 174"/>
                <a:gd name="T83" fmla="*/ 121 h 274"/>
                <a:gd name="T84" fmla="*/ 49 w 174"/>
                <a:gd name="T85" fmla="*/ 107 h 274"/>
                <a:gd name="T86" fmla="*/ 59 w 174"/>
                <a:gd name="T87" fmla="*/ 125 h 274"/>
                <a:gd name="T88" fmla="*/ 71 w 174"/>
                <a:gd name="T89" fmla="*/ 130 h 274"/>
                <a:gd name="T90" fmla="*/ 115 w 174"/>
                <a:gd name="T91" fmla="*/ 107 h 274"/>
                <a:gd name="T92" fmla="*/ 115 w 174"/>
                <a:gd name="T93" fmla="*/ 104 h 274"/>
                <a:gd name="T94" fmla="*/ 38 w 174"/>
                <a:gd name="T95" fmla="*/ 71 h 274"/>
                <a:gd name="T96" fmla="*/ 49 w 174"/>
                <a:gd name="T97" fmla="*/ 78 h 274"/>
                <a:gd name="T98" fmla="*/ 59 w 174"/>
                <a:gd name="T99" fmla="*/ 102 h 274"/>
                <a:gd name="T100" fmla="*/ 89 w 174"/>
                <a:gd name="T101" fmla="*/ 111 h 274"/>
                <a:gd name="T102" fmla="*/ 94 w 174"/>
                <a:gd name="T103" fmla="*/ 104 h 274"/>
                <a:gd name="T104" fmla="*/ 115 w 174"/>
                <a:gd name="T105" fmla="*/ 125 h 274"/>
                <a:gd name="T106" fmla="*/ 108 w 174"/>
                <a:gd name="T107" fmla="*/ 104 h 274"/>
                <a:gd name="T108" fmla="*/ 97 w 174"/>
                <a:gd name="T109" fmla="*/ 102 h 274"/>
                <a:gd name="T110" fmla="*/ 82 w 174"/>
                <a:gd name="T111" fmla="*/ 97 h 274"/>
                <a:gd name="T112" fmla="*/ 66 w 174"/>
                <a:gd name="T113" fmla="*/ 76 h 274"/>
                <a:gd name="T114" fmla="*/ 73 w 174"/>
                <a:gd name="T115" fmla="*/ 52 h 274"/>
                <a:gd name="T116" fmla="*/ 68 w 174"/>
                <a:gd name="T117" fmla="*/ 17 h 274"/>
                <a:gd name="T118" fmla="*/ 47 w 174"/>
                <a:gd name="T119" fmla="*/ 0 h 274"/>
                <a:gd name="T120" fmla="*/ 40 w 174"/>
                <a:gd name="T121" fmla="*/ 36 h 274"/>
                <a:gd name="T122" fmla="*/ 31 w 174"/>
                <a:gd name="T123" fmla="*/ 4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274">
                  <a:moveTo>
                    <a:pt x="92" y="258"/>
                  </a:moveTo>
                  <a:lnTo>
                    <a:pt x="94" y="256"/>
                  </a:lnTo>
                  <a:lnTo>
                    <a:pt x="94" y="253"/>
                  </a:lnTo>
                  <a:lnTo>
                    <a:pt x="97" y="253"/>
                  </a:lnTo>
                  <a:lnTo>
                    <a:pt x="97" y="253"/>
                  </a:lnTo>
                  <a:lnTo>
                    <a:pt x="92" y="251"/>
                  </a:lnTo>
                  <a:lnTo>
                    <a:pt x="89" y="251"/>
                  </a:lnTo>
                  <a:lnTo>
                    <a:pt x="87" y="253"/>
                  </a:lnTo>
                  <a:lnTo>
                    <a:pt x="87" y="253"/>
                  </a:lnTo>
                  <a:lnTo>
                    <a:pt x="87" y="253"/>
                  </a:lnTo>
                  <a:moveTo>
                    <a:pt x="174" y="234"/>
                  </a:moveTo>
                  <a:lnTo>
                    <a:pt x="174" y="230"/>
                  </a:lnTo>
                  <a:lnTo>
                    <a:pt x="174" y="230"/>
                  </a:lnTo>
                  <a:lnTo>
                    <a:pt x="172" y="230"/>
                  </a:lnTo>
                  <a:lnTo>
                    <a:pt x="172" y="227"/>
                  </a:lnTo>
                  <a:lnTo>
                    <a:pt x="172" y="225"/>
                  </a:lnTo>
                  <a:lnTo>
                    <a:pt x="172" y="220"/>
                  </a:lnTo>
                  <a:lnTo>
                    <a:pt x="172" y="220"/>
                  </a:lnTo>
                  <a:lnTo>
                    <a:pt x="170" y="218"/>
                  </a:lnTo>
                  <a:lnTo>
                    <a:pt x="170" y="213"/>
                  </a:lnTo>
                  <a:lnTo>
                    <a:pt x="167" y="213"/>
                  </a:lnTo>
                  <a:lnTo>
                    <a:pt x="165" y="213"/>
                  </a:lnTo>
                  <a:lnTo>
                    <a:pt x="165" y="211"/>
                  </a:lnTo>
                  <a:lnTo>
                    <a:pt x="165" y="211"/>
                  </a:lnTo>
                  <a:lnTo>
                    <a:pt x="165" y="208"/>
                  </a:lnTo>
                  <a:lnTo>
                    <a:pt x="167" y="208"/>
                  </a:lnTo>
                  <a:lnTo>
                    <a:pt x="167" y="206"/>
                  </a:lnTo>
                  <a:lnTo>
                    <a:pt x="167" y="204"/>
                  </a:lnTo>
                  <a:lnTo>
                    <a:pt x="165" y="201"/>
                  </a:lnTo>
                  <a:lnTo>
                    <a:pt x="165" y="201"/>
                  </a:lnTo>
                  <a:lnTo>
                    <a:pt x="165" y="196"/>
                  </a:lnTo>
                  <a:lnTo>
                    <a:pt x="163" y="196"/>
                  </a:lnTo>
                  <a:lnTo>
                    <a:pt x="160" y="196"/>
                  </a:lnTo>
                  <a:lnTo>
                    <a:pt x="160" y="194"/>
                  </a:lnTo>
                  <a:lnTo>
                    <a:pt x="158" y="192"/>
                  </a:lnTo>
                  <a:lnTo>
                    <a:pt x="153" y="189"/>
                  </a:lnTo>
                  <a:lnTo>
                    <a:pt x="151" y="187"/>
                  </a:lnTo>
                  <a:lnTo>
                    <a:pt x="151" y="187"/>
                  </a:lnTo>
                  <a:lnTo>
                    <a:pt x="148" y="189"/>
                  </a:lnTo>
                  <a:lnTo>
                    <a:pt x="151" y="196"/>
                  </a:lnTo>
                  <a:lnTo>
                    <a:pt x="153" y="199"/>
                  </a:lnTo>
                  <a:lnTo>
                    <a:pt x="153" y="204"/>
                  </a:lnTo>
                  <a:lnTo>
                    <a:pt x="151" y="204"/>
                  </a:lnTo>
                  <a:lnTo>
                    <a:pt x="148" y="201"/>
                  </a:lnTo>
                  <a:lnTo>
                    <a:pt x="146" y="201"/>
                  </a:lnTo>
                  <a:lnTo>
                    <a:pt x="146" y="204"/>
                  </a:lnTo>
                  <a:lnTo>
                    <a:pt x="146" y="206"/>
                  </a:lnTo>
                  <a:lnTo>
                    <a:pt x="144" y="206"/>
                  </a:lnTo>
                  <a:lnTo>
                    <a:pt x="141" y="204"/>
                  </a:lnTo>
                  <a:lnTo>
                    <a:pt x="141" y="204"/>
                  </a:lnTo>
                  <a:lnTo>
                    <a:pt x="139" y="204"/>
                  </a:lnTo>
                  <a:lnTo>
                    <a:pt x="139" y="206"/>
                  </a:lnTo>
                  <a:lnTo>
                    <a:pt x="139" y="208"/>
                  </a:lnTo>
                  <a:lnTo>
                    <a:pt x="139" y="213"/>
                  </a:lnTo>
                  <a:lnTo>
                    <a:pt x="137" y="213"/>
                  </a:lnTo>
                  <a:lnTo>
                    <a:pt x="134" y="211"/>
                  </a:lnTo>
                  <a:lnTo>
                    <a:pt x="132" y="211"/>
                  </a:lnTo>
                  <a:lnTo>
                    <a:pt x="132" y="213"/>
                  </a:lnTo>
                  <a:lnTo>
                    <a:pt x="132" y="213"/>
                  </a:lnTo>
                  <a:lnTo>
                    <a:pt x="130" y="215"/>
                  </a:lnTo>
                  <a:lnTo>
                    <a:pt x="130" y="218"/>
                  </a:lnTo>
                  <a:lnTo>
                    <a:pt x="130" y="220"/>
                  </a:lnTo>
                  <a:lnTo>
                    <a:pt x="130" y="220"/>
                  </a:lnTo>
                  <a:lnTo>
                    <a:pt x="125" y="220"/>
                  </a:lnTo>
                  <a:lnTo>
                    <a:pt x="125" y="220"/>
                  </a:lnTo>
                  <a:lnTo>
                    <a:pt x="122" y="222"/>
                  </a:lnTo>
                  <a:lnTo>
                    <a:pt x="120" y="222"/>
                  </a:lnTo>
                  <a:lnTo>
                    <a:pt x="122" y="220"/>
                  </a:lnTo>
                  <a:lnTo>
                    <a:pt x="122" y="220"/>
                  </a:lnTo>
                  <a:lnTo>
                    <a:pt x="122" y="215"/>
                  </a:lnTo>
                  <a:lnTo>
                    <a:pt x="122" y="215"/>
                  </a:lnTo>
                  <a:lnTo>
                    <a:pt x="120" y="213"/>
                  </a:lnTo>
                  <a:lnTo>
                    <a:pt x="120" y="211"/>
                  </a:lnTo>
                  <a:lnTo>
                    <a:pt x="118" y="211"/>
                  </a:lnTo>
                  <a:lnTo>
                    <a:pt x="115" y="211"/>
                  </a:lnTo>
                  <a:lnTo>
                    <a:pt x="115" y="208"/>
                  </a:lnTo>
                  <a:lnTo>
                    <a:pt x="113" y="211"/>
                  </a:lnTo>
                  <a:lnTo>
                    <a:pt x="113" y="213"/>
                  </a:lnTo>
                  <a:lnTo>
                    <a:pt x="113" y="213"/>
                  </a:lnTo>
                  <a:lnTo>
                    <a:pt x="108" y="213"/>
                  </a:lnTo>
                  <a:lnTo>
                    <a:pt x="108" y="213"/>
                  </a:lnTo>
                  <a:lnTo>
                    <a:pt x="108" y="215"/>
                  </a:lnTo>
                  <a:lnTo>
                    <a:pt x="106" y="215"/>
                  </a:lnTo>
                  <a:lnTo>
                    <a:pt x="106" y="215"/>
                  </a:lnTo>
                  <a:lnTo>
                    <a:pt x="106" y="218"/>
                  </a:lnTo>
                  <a:lnTo>
                    <a:pt x="106" y="220"/>
                  </a:lnTo>
                  <a:lnTo>
                    <a:pt x="106" y="220"/>
                  </a:lnTo>
                  <a:lnTo>
                    <a:pt x="104" y="220"/>
                  </a:lnTo>
                  <a:lnTo>
                    <a:pt x="101" y="220"/>
                  </a:lnTo>
                  <a:lnTo>
                    <a:pt x="99" y="222"/>
                  </a:lnTo>
                  <a:lnTo>
                    <a:pt x="97" y="222"/>
                  </a:lnTo>
                  <a:lnTo>
                    <a:pt x="94" y="222"/>
                  </a:lnTo>
                  <a:lnTo>
                    <a:pt x="94" y="225"/>
                  </a:lnTo>
                  <a:lnTo>
                    <a:pt x="92" y="227"/>
                  </a:lnTo>
                  <a:lnTo>
                    <a:pt x="92" y="230"/>
                  </a:lnTo>
                  <a:lnTo>
                    <a:pt x="92" y="232"/>
                  </a:lnTo>
                  <a:lnTo>
                    <a:pt x="89" y="237"/>
                  </a:lnTo>
                  <a:lnTo>
                    <a:pt x="89" y="239"/>
                  </a:lnTo>
                  <a:lnTo>
                    <a:pt x="89" y="241"/>
                  </a:lnTo>
                  <a:lnTo>
                    <a:pt x="87" y="244"/>
                  </a:lnTo>
                  <a:lnTo>
                    <a:pt x="89" y="246"/>
                  </a:lnTo>
                  <a:lnTo>
                    <a:pt x="89" y="246"/>
                  </a:lnTo>
                  <a:lnTo>
                    <a:pt x="92" y="246"/>
                  </a:lnTo>
                  <a:lnTo>
                    <a:pt x="92" y="246"/>
                  </a:lnTo>
                  <a:lnTo>
                    <a:pt x="94" y="244"/>
                  </a:lnTo>
                  <a:lnTo>
                    <a:pt x="94" y="241"/>
                  </a:lnTo>
                  <a:lnTo>
                    <a:pt x="97" y="237"/>
                  </a:lnTo>
                  <a:lnTo>
                    <a:pt x="97" y="234"/>
                  </a:lnTo>
                  <a:lnTo>
                    <a:pt x="99" y="232"/>
                  </a:lnTo>
                  <a:lnTo>
                    <a:pt x="99" y="232"/>
                  </a:lnTo>
                  <a:lnTo>
                    <a:pt x="101" y="230"/>
                  </a:lnTo>
                  <a:lnTo>
                    <a:pt x="101" y="230"/>
                  </a:lnTo>
                  <a:lnTo>
                    <a:pt x="104" y="230"/>
                  </a:lnTo>
                  <a:lnTo>
                    <a:pt x="104" y="234"/>
                  </a:lnTo>
                  <a:lnTo>
                    <a:pt x="106" y="234"/>
                  </a:lnTo>
                  <a:lnTo>
                    <a:pt x="106" y="234"/>
                  </a:lnTo>
                  <a:lnTo>
                    <a:pt x="108" y="234"/>
                  </a:lnTo>
                  <a:lnTo>
                    <a:pt x="108" y="232"/>
                  </a:lnTo>
                  <a:lnTo>
                    <a:pt x="108" y="230"/>
                  </a:lnTo>
                  <a:lnTo>
                    <a:pt x="111" y="232"/>
                  </a:lnTo>
                  <a:lnTo>
                    <a:pt x="111" y="232"/>
                  </a:lnTo>
                  <a:lnTo>
                    <a:pt x="111" y="232"/>
                  </a:lnTo>
                  <a:lnTo>
                    <a:pt x="111" y="234"/>
                  </a:lnTo>
                  <a:lnTo>
                    <a:pt x="113" y="234"/>
                  </a:lnTo>
                  <a:lnTo>
                    <a:pt x="115" y="237"/>
                  </a:lnTo>
                  <a:lnTo>
                    <a:pt x="115" y="232"/>
                  </a:lnTo>
                  <a:lnTo>
                    <a:pt x="115" y="230"/>
                  </a:lnTo>
                  <a:lnTo>
                    <a:pt x="115" y="230"/>
                  </a:lnTo>
                  <a:lnTo>
                    <a:pt x="118" y="227"/>
                  </a:lnTo>
                  <a:lnTo>
                    <a:pt x="118" y="227"/>
                  </a:lnTo>
                  <a:lnTo>
                    <a:pt x="118" y="227"/>
                  </a:lnTo>
                  <a:lnTo>
                    <a:pt x="120" y="227"/>
                  </a:lnTo>
                  <a:lnTo>
                    <a:pt x="120" y="230"/>
                  </a:lnTo>
                  <a:lnTo>
                    <a:pt x="122" y="230"/>
                  </a:lnTo>
                  <a:lnTo>
                    <a:pt x="125" y="232"/>
                  </a:lnTo>
                  <a:lnTo>
                    <a:pt x="127" y="232"/>
                  </a:lnTo>
                  <a:lnTo>
                    <a:pt x="130" y="237"/>
                  </a:lnTo>
                  <a:lnTo>
                    <a:pt x="130" y="237"/>
                  </a:lnTo>
                  <a:lnTo>
                    <a:pt x="130" y="239"/>
                  </a:lnTo>
                  <a:lnTo>
                    <a:pt x="130" y="239"/>
                  </a:lnTo>
                  <a:lnTo>
                    <a:pt x="130" y="241"/>
                  </a:lnTo>
                  <a:lnTo>
                    <a:pt x="130" y="241"/>
                  </a:lnTo>
                  <a:lnTo>
                    <a:pt x="127" y="244"/>
                  </a:lnTo>
                  <a:lnTo>
                    <a:pt x="127" y="246"/>
                  </a:lnTo>
                  <a:lnTo>
                    <a:pt x="127" y="246"/>
                  </a:lnTo>
                  <a:lnTo>
                    <a:pt x="127" y="248"/>
                  </a:lnTo>
                  <a:lnTo>
                    <a:pt x="130" y="253"/>
                  </a:lnTo>
                  <a:lnTo>
                    <a:pt x="130" y="256"/>
                  </a:lnTo>
                  <a:lnTo>
                    <a:pt x="130" y="258"/>
                  </a:lnTo>
                  <a:lnTo>
                    <a:pt x="132" y="260"/>
                  </a:lnTo>
                  <a:lnTo>
                    <a:pt x="137" y="263"/>
                  </a:lnTo>
                  <a:lnTo>
                    <a:pt x="139" y="265"/>
                  </a:lnTo>
                  <a:lnTo>
                    <a:pt x="146" y="270"/>
                  </a:lnTo>
                  <a:lnTo>
                    <a:pt x="146" y="270"/>
                  </a:lnTo>
                  <a:lnTo>
                    <a:pt x="148" y="270"/>
                  </a:lnTo>
                  <a:lnTo>
                    <a:pt x="148" y="267"/>
                  </a:lnTo>
                  <a:lnTo>
                    <a:pt x="151" y="265"/>
                  </a:lnTo>
                  <a:lnTo>
                    <a:pt x="151" y="265"/>
                  </a:lnTo>
                  <a:lnTo>
                    <a:pt x="151" y="265"/>
                  </a:lnTo>
                  <a:lnTo>
                    <a:pt x="151" y="265"/>
                  </a:lnTo>
                  <a:lnTo>
                    <a:pt x="151" y="267"/>
                  </a:lnTo>
                  <a:lnTo>
                    <a:pt x="151" y="270"/>
                  </a:lnTo>
                  <a:lnTo>
                    <a:pt x="151" y="272"/>
                  </a:lnTo>
                  <a:lnTo>
                    <a:pt x="153" y="274"/>
                  </a:lnTo>
                  <a:lnTo>
                    <a:pt x="153" y="274"/>
                  </a:lnTo>
                  <a:lnTo>
                    <a:pt x="155" y="272"/>
                  </a:lnTo>
                  <a:lnTo>
                    <a:pt x="158" y="270"/>
                  </a:lnTo>
                  <a:lnTo>
                    <a:pt x="160" y="267"/>
                  </a:lnTo>
                  <a:lnTo>
                    <a:pt x="160" y="260"/>
                  </a:lnTo>
                  <a:lnTo>
                    <a:pt x="158" y="256"/>
                  </a:lnTo>
                  <a:lnTo>
                    <a:pt x="158" y="256"/>
                  </a:lnTo>
                  <a:lnTo>
                    <a:pt x="155" y="253"/>
                  </a:lnTo>
                  <a:lnTo>
                    <a:pt x="153" y="253"/>
                  </a:lnTo>
                  <a:lnTo>
                    <a:pt x="153" y="251"/>
                  </a:lnTo>
                  <a:lnTo>
                    <a:pt x="153" y="248"/>
                  </a:lnTo>
                  <a:lnTo>
                    <a:pt x="155" y="246"/>
                  </a:lnTo>
                  <a:lnTo>
                    <a:pt x="155" y="244"/>
                  </a:lnTo>
                  <a:lnTo>
                    <a:pt x="158" y="244"/>
                  </a:lnTo>
                  <a:lnTo>
                    <a:pt x="158" y="241"/>
                  </a:lnTo>
                  <a:lnTo>
                    <a:pt x="158" y="241"/>
                  </a:lnTo>
                  <a:lnTo>
                    <a:pt x="158" y="239"/>
                  </a:lnTo>
                  <a:lnTo>
                    <a:pt x="160" y="239"/>
                  </a:lnTo>
                  <a:lnTo>
                    <a:pt x="160" y="239"/>
                  </a:lnTo>
                  <a:lnTo>
                    <a:pt x="163" y="241"/>
                  </a:lnTo>
                  <a:lnTo>
                    <a:pt x="163" y="244"/>
                  </a:lnTo>
                  <a:lnTo>
                    <a:pt x="165" y="246"/>
                  </a:lnTo>
                  <a:lnTo>
                    <a:pt x="165" y="248"/>
                  </a:lnTo>
                  <a:lnTo>
                    <a:pt x="165" y="251"/>
                  </a:lnTo>
                  <a:lnTo>
                    <a:pt x="167" y="256"/>
                  </a:lnTo>
                  <a:lnTo>
                    <a:pt x="167" y="258"/>
                  </a:lnTo>
                  <a:lnTo>
                    <a:pt x="170" y="260"/>
                  </a:lnTo>
                  <a:lnTo>
                    <a:pt x="170" y="256"/>
                  </a:lnTo>
                  <a:lnTo>
                    <a:pt x="170" y="251"/>
                  </a:lnTo>
                  <a:lnTo>
                    <a:pt x="167" y="248"/>
                  </a:lnTo>
                  <a:lnTo>
                    <a:pt x="167" y="248"/>
                  </a:lnTo>
                  <a:lnTo>
                    <a:pt x="170" y="248"/>
                  </a:lnTo>
                  <a:lnTo>
                    <a:pt x="172" y="244"/>
                  </a:lnTo>
                  <a:lnTo>
                    <a:pt x="174" y="241"/>
                  </a:lnTo>
                  <a:lnTo>
                    <a:pt x="174" y="239"/>
                  </a:lnTo>
                  <a:lnTo>
                    <a:pt x="174" y="239"/>
                  </a:lnTo>
                  <a:lnTo>
                    <a:pt x="174" y="234"/>
                  </a:lnTo>
                  <a:moveTo>
                    <a:pt x="160" y="187"/>
                  </a:moveTo>
                  <a:lnTo>
                    <a:pt x="160" y="187"/>
                  </a:lnTo>
                  <a:lnTo>
                    <a:pt x="163" y="187"/>
                  </a:lnTo>
                  <a:lnTo>
                    <a:pt x="163" y="187"/>
                  </a:lnTo>
                  <a:lnTo>
                    <a:pt x="163" y="185"/>
                  </a:lnTo>
                  <a:lnTo>
                    <a:pt x="163" y="185"/>
                  </a:lnTo>
                  <a:lnTo>
                    <a:pt x="163" y="182"/>
                  </a:lnTo>
                  <a:lnTo>
                    <a:pt x="160" y="180"/>
                  </a:lnTo>
                  <a:lnTo>
                    <a:pt x="160" y="182"/>
                  </a:lnTo>
                  <a:lnTo>
                    <a:pt x="160" y="185"/>
                  </a:lnTo>
                  <a:lnTo>
                    <a:pt x="160" y="187"/>
                  </a:lnTo>
                  <a:moveTo>
                    <a:pt x="125" y="180"/>
                  </a:moveTo>
                  <a:lnTo>
                    <a:pt x="125" y="182"/>
                  </a:lnTo>
                  <a:lnTo>
                    <a:pt x="120" y="182"/>
                  </a:lnTo>
                  <a:lnTo>
                    <a:pt x="120" y="185"/>
                  </a:lnTo>
                  <a:lnTo>
                    <a:pt x="120" y="185"/>
                  </a:lnTo>
                  <a:lnTo>
                    <a:pt x="120" y="187"/>
                  </a:lnTo>
                  <a:lnTo>
                    <a:pt x="120" y="189"/>
                  </a:lnTo>
                  <a:lnTo>
                    <a:pt x="122" y="189"/>
                  </a:lnTo>
                  <a:lnTo>
                    <a:pt x="125" y="189"/>
                  </a:lnTo>
                  <a:lnTo>
                    <a:pt x="130" y="189"/>
                  </a:lnTo>
                  <a:lnTo>
                    <a:pt x="130" y="189"/>
                  </a:lnTo>
                  <a:lnTo>
                    <a:pt x="132" y="187"/>
                  </a:lnTo>
                  <a:lnTo>
                    <a:pt x="132" y="187"/>
                  </a:lnTo>
                  <a:lnTo>
                    <a:pt x="134" y="187"/>
                  </a:lnTo>
                  <a:lnTo>
                    <a:pt x="134" y="187"/>
                  </a:lnTo>
                  <a:lnTo>
                    <a:pt x="134" y="185"/>
                  </a:lnTo>
                  <a:lnTo>
                    <a:pt x="134" y="185"/>
                  </a:lnTo>
                  <a:lnTo>
                    <a:pt x="134" y="182"/>
                  </a:lnTo>
                  <a:lnTo>
                    <a:pt x="132" y="180"/>
                  </a:lnTo>
                  <a:lnTo>
                    <a:pt x="130" y="180"/>
                  </a:lnTo>
                  <a:lnTo>
                    <a:pt x="130" y="180"/>
                  </a:lnTo>
                  <a:lnTo>
                    <a:pt x="130" y="178"/>
                  </a:lnTo>
                  <a:lnTo>
                    <a:pt x="130" y="178"/>
                  </a:lnTo>
                  <a:lnTo>
                    <a:pt x="125" y="180"/>
                  </a:lnTo>
                  <a:lnTo>
                    <a:pt x="125" y="180"/>
                  </a:lnTo>
                  <a:moveTo>
                    <a:pt x="153" y="173"/>
                  </a:moveTo>
                  <a:lnTo>
                    <a:pt x="153" y="173"/>
                  </a:lnTo>
                  <a:lnTo>
                    <a:pt x="151" y="173"/>
                  </a:lnTo>
                  <a:lnTo>
                    <a:pt x="151" y="175"/>
                  </a:lnTo>
                  <a:lnTo>
                    <a:pt x="151" y="175"/>
                  </a:lnTo>
                  <a:lnTo>
                    <a:pt x="151" y="178"/>
                  </a:lnTo>
                  <a:lnTo>
                    <a:pt x="151" y="180"/>
                  </a:lnTo>
                  <a:lnTo>
                    <a:pt x="151" y="180"/>
                  </a:lnTo>
                  <a:lnTo>
                    <a:pt x="153" y="182"/>
                  </a:lnTo>
                  <a:lnTo>
                    <a:pt x="153" y="182"/>
                  </a:lnTo>
                  <a:lnTo>
                    <a:pt x="153" y="185"/>
                  </a:lnTo>
                  <a:lnTo>
                    <a:pt x="153" y="185"/>
                  </a:lnTo>
                  <a:lnTo>
                    <a:pt x="153" y="182"/>
                  </a:lnTo>
                  <a:lnTo>
                    <a:pt x="153" y="182"/>
                  </a:lnTo>
                  <a:lnTo>
                    <a:pt x="153" y="180"/>
                  </a:lnTo>
                  <a:lnTo>
                    <a:pt x="153" y="178"/>
                  </a:lnTo>
                  <a:lnTo>
                    <a:pt x="153" y="173"/>
                  </a:lnTo>
                  <a:lnTo>
                    <a:pt x="153" y="173"/>
                  </a:lnTo>
                  <a:moveTo>
                    <a:pt x="97" y="173"/>
                  </a:moveTo>
                  <a:lnTo>
                    <a:pt x="97" y="173"/>
                  </a:lnTo>
                  <a:lnTo>
                    <a:pt x="97" y="173"/>
                  </a:lnTo>
                  <a:lnTo>
                    <a:pt x="97" y="170"/>
                  </a:lnTo>
                  <a:lnTo>
                    <a:pt x="99" y="168"/>
                  </a:lnTo>
                  <a:lnTo>
                    <a:pt x="99" y="166"/>
                  </a:lnTo>
                  <a:lnTo>
                    <a:pt x="97" y="166"/>
                  </a:lnTo>
                  <a:lnTo>
                    <a:pt x="97" y="166"/>
                  </a:lnTo>
                  <a:lnTo>
                    <a:pt x="97" y="166"/>
                  </a:lnTo>
                  <a:lnTo>
                    <a:pt x="97" y="168"/>
                  </a:lnTo>
                  <a:lnTo>
                    <a:pt x="94" y="168"/>
                  </a:lnTo>
                  <a:lnTo>
                    <a:pt x="94" y="170"/>
                  </a:lnTo>
                  <a:lnTo>
                    <a:pt x="94" y="173"/>
                  </a:lnTo>
                  <a:lnTo>
                    <a:pt x="97" y="173"/>
                  </a:lnTo>
                  <a:moveTo>
                    <a:pt x="94" y="185"/>
                  </a:moveTo>
                  <a:lnTo>
                    <a:pt x="94" y="187"/>
                  </a:lnTo>
                  <a:lnTo>
                    <a:pt x="97" y="192"/>
                  </a:lnTo>
                  <a:lnTo>
                    <a:pt x="99" y="194"/>
                  </a:lnTo>
                  <a:lnTo>
                    <a:pt x="99" y="194"/>
                  </a:lnTo>
                  <a:lnTo>
                    <a:pt x="101" y="194"/>
                  </a:lnTo>
                  <a:lnTo>
                    <a:pt x="104" y="196"/>
                  </a:lnTo>
                  <a:lnTo>
                    <a:pt x="104" y="201"/>
                  </a:lnTo>
                  <a:lnTo>
                    <a:pt x="106" y="201"/>
                  </a:lnTo>
                  <a:lnTo>
                    <a:pt x="106" y="201"/>
                  </a:lnTo>
                  <a:lnTo>
                    <a:pt x="108" y="201"/>
                  </a:lnTo>
                  <a:lnTo>
                    <a:pt x="108" y="201"/>
                  </a:lnTo>
                  <a:lnTo>
                    <a:pt x="111" y="201"/>
                  </a:lnTo>
                  <a:lnTo>
                    <a:pt x="111" y="199"/>
                  </a:lnTo>
                  <a:lnTo>
                    <a:pt x="111" y="196"/>
                  </a:lnTo>
                  <a:lnTo>
                    <a:pt x="111" y="196"/>
                  </a:lnTo>
                  <a:lnTo>
                    <a:pt x="111" y="194"/>
                  </a:lnTo>
                  <a:lnTo>
                    <a:pt x="108" y="189"/>
                  </a:lnTo>
                  <a:lnTo>
                    <a:pt x="108" y="189"/>
                  </a:lnTo>
                  <a:lnTo>
                    <a:pt x="108" y="187"/>
                  </a:lnTo>
                  <a:lnTo>
                    <a:pt x="108" y="185"/>
                  </a:lnTo>
                  <a:lnTo>
                    <a:pt x="108" y="182"/>
                  </a:lnTo>
                  <a:lnTo>
                    <a:pt x="108" y="180"/>
                  </a:lnTo>
                  <a:lnTo>
                    <a:pt x="108" y="180"/>
                  </a:lnTo>
                  <a:lnTo>
                    <a:pt x="111" y="175"/>
                  </a:lnTo>
                  <a:lnTo>
                    <a:pt x="111" y="173"/>
                  </a:lnTo>
                  <a:lnTo>
                    <a:pt x="113" y="170"/>
                  </a:lnTo>
                  <a:lnTo>
                    <a:pt x="113" y="168"/>
                  </a:lnTo>
                  <a:lnTo>
                    <a:pt x="113" y="166"/>
                  </a:lnTo>
                  <a:lnTo>
                    <a:pt x="113" y="163"/>
                  </a:lnTo>
                  <a:lnTo>
                    <a:pt x="113" y="163"/>
                  </a:lnTo>
                  <a:lnTo>
                    <a:pt x="106" y="161"/>
                  </a:lnTo>
                  <a:lnTo>
                    <a:pt x="106" y="161"/>
                  </a:lnTo>
                  <a:lnTo>
                    <a:pt x="104" y="163"/>
                  </a:lnTo>
                  <a:lnTo>
                    <a:pt x="101" y="163"/>
                  </a:lnTo>
                  <a:lnTo>
                    <a:pt x="101" y="163"/>
                  </a:lnTo>
                  <a:lnTo>
                    <a:pt x="101" y="166"/>
                  </a:lnTo>
                  <a:lnTo>
                    <a:pt x="101" y="168"/>
                  </a:lnTo>
                  <a:lnTo>
                    <a:pt x="101" y="168"/>
                  </a:lnTo>
                  <a:lnTo>
                    <a:pt x="101" y="170"/>
                  </a:lnTo>
                  <a:lnTo>
                    <a:pt x="99" y="170"/>
                  </a:lnTo>
                  <a:lnTo>
                    <a:pt x="101" y="173"/>
                  </a:lnTo>
                  <a:lnTo>
                    <a:pt x="101" y="175"/>
                  </a:lnTo>
                  <a:lnTo>
                    <a:pt x="101" y="180"/>
                  </a:lnTo>
                  <a:lnTo>
                    <a:pt x="101" y="180"/>
                  </a:lnTo>
                  <a:lnTo>
                    <a:pt x="99" y="182"/>
                  </a:lnTo>
                  <a:lnTo>
                    <a:pt x="97" y="182"/>
                  </a:lnTo>
                  <a:lnTo>
                    <a:pt x="94" y="182"/>
                  </a:lnTo>
                  <a:lnTo>
                    <a:pt x="94" y="182"/>
                  </a:lnTo>
                  <a:lnTo>
                    <a:pt x="94" y="185"/>
                  </a:lnTo>
                  <a:lnTo>
                    <a:pt x="94" y="185"/>
                  </a:lnTo>
                  <a:moveTo>
                    <a:pt x="122" y="161"/>
                  </a:moveTo>
                  <a:lnTo>
                    <a:pt x="122" y="161"/>
                  </a:lnTo>
                  <a:lnTo>
                    <a:pt x="122" y="159"/>
                  </a:lnTo>
                  <a:lnTo>
                    <a:pt x="120" y="159"/>
                  </a:lnTo>
                  <a:lnTo>
                    <a:pt x="122" y="156"/>
                  </a:lnTo>
                  <a:lnTo>
                    <a:pt x="120" y="154"/>
                  </a:lnTo>
                  <a:lnTo>
                    <a:pt x="120" y="156"/>
                  </a:lnTo>
                  <a:lnTo>
                    <a:pt x="120" y="159"/>
                  </a:lnTo>
                  <a:lnTo>
                    <a:pt x="120" y="159"/>
                  </a:lnTo>
                  <a:lnTo>
                    <a:pt x="120" y="159"/>
                  </a:lnTo>
                  <a:lnTo>
                    <a:pt x="120" y="161"/>
                  </a:lnTo>
                  <a:lnTo>
                    <a:pt x="118" y="166"/>
                  </a:lnTo>
                  <a:lnTo>
                    <a:pt x="115" y="170"/>
                  </a:lnTo>
                  <a:lnTo>
                    <a:pt x="115" y="173"/>
                  </a:lnTo>
                  <a:lnTo>
                    <a:pt x="115" y="175"/>
                  </a:lnTo>
                  <a:lnTo>
                    <a:pt x="113" y="178"/>
                  </a:lnTo>
                  <a:lnTo>
                    <a:pt x="111" y="182"/>
                  </a:lnTo>
                  <a:lnTo>
                    <a:pt x="111" y="185"/>
                  </a:lnTo>
                  <a:lnTo>
                    <a:pt x="111" y="192"/>
                  </a:lnTo>
                  <a:lnTo>
                    <a:pt x="111" y="192"/>
                  </a:lnTo>
                  <a:lnTo>
                    <a:pt x="111" y="194"/>
                  </a:lnTo>
                  <a:lnTo>
                    <a:pt x="113" y="194"/>
                  </a:lnTo>
                  <a:lnTo>
                    <a:pt x="113" y="189"/>
                  </a:lnTo>
                  <a:lnTo>
                    <a:pt x="115" y="182"/>
                  </a:lnTo>
                  <a:lnTo>
                    <a:pt x="115" y="182"/>
                  </a:lnTo>
                  <a:lnTo>
                    <a:pt x="118" y="180"/>
                  </a:lnTo>
                  <a:lnTo>
                    <a:pt x="118" y="178"/>
                  </a:lnTo>
                  <a:lnTo>
                    <a:pt x="120" y="175"/>
                  </a:lnTo>
                  <a:lnTo>
                    <a:pt x="120" y="175"/>
                  </a:lnTo>
                  <a:lnTo>
                    <a:pt x="122" y="173"/>
                  </a:lnTo>
                  <a:lnTo>
                    <a:pt x="122" y="170"/>
                  </a:lnTo>
                  <a:lnTo>
                    <a:pt x="122" y="166"/>
                  </a:lnTo>
                  <a:lnTo>
                    <a:pt x="122" y="161"/>
                  </a:lnTo>
                  <a:moveTo>
                    <a:pt x="40" y="166"/>
                  </a:moveTo>
                  <a:lnTo>
                    <a:pt x="38" y="161"/>
                  </a:lnTo>
                  <a:lnTo>
                    <a:pt x="38" y="159"/>
                  </a:lnTo>
                  <a:lnTo>
                    <a:pt x="38" y="159"/>
                  </a:lnTo>
                  <a:lnTo>
                    <a:pt x="38" y="156"/>
                  </a:lnTo>
                  <a:lnTo>
                    <a:pt x="38" y="154"/>
                  </a:lnTo>
                  <a:lnTo>
                    <a:pt x="38" y="154"/>
                  </a:lnTo>
                  <a:lnTo>
                    <a:pt x="38" y="154"/>
                  </a:lnTo>
                  <a:lnTo>
                    <a:pt x="35" y="154"/>
                  </a:lnTo>
                  <a:lnTo>
                    <a:pt x="35" y="161"/>
                  </a:lnTo>
                  <a:lnTo>
                    <a:pt x="33" y="161"/>
                  </a:lnTo>
                  <a:lnTo>
                    <a:pt x="33" y="163"/>
                  </a:lnTo>
                  <a:lnTo>
                    <a:pt x="35" y="166"/>
                  </a:lnTo>
                  <a:lnTo>
                    <a:pt x="35" y="168"/>
                  </a:lnTo>
                  <a:lnTo>
                    <a:pt x="35" y="170"/>
                  </a:lnTo>
                  <a:lnTo>
                    <a:pt x="33" y="170"/>
                  </a:lnTo>
                  <a:lnTo>
                    <a:pt x="33" y="173"/>
                  </a:lnTo>
                  <a:lnTo>
                    <a:pt x="33" y="173"/>
                  </a:lnTo>
                  <a:lnTo>
                    <a:pt x="31" y="173"/>
                  </a:lnTo>
                  <a:lnTo>
                    <a:pt x="31" y="175"/>
                  </a:lnTo>
                  <a:lnTo>
                    <a:pt x="26" y="180"/>
                  </a:lnTo>
                  <a:lnTo>
                    <a:pt x="26" y="180"/>
                  </a:lnTo>
                  <a:lnTo>
                    <a:pt x="26" y="180"/>
                  </a:lnTo>
                  <a:lnTo>
                    <a:pt x="21" y="187"/>
                  </a:lnTo>
                  <a:lnTo>
                    <a:pt x="19" y="189"/>
                  </a:lnTo>
                  <a:lnTo>
                    <a:pt x="14" y="196"/>
                  </a:lnTo>
                  <a:lnTo>
                    <a:pt x="14" y="196"/>
                  </a:lnTo>
                  <a:lnTo>
                    <a:pt x="12" y="196"/>
                  </a:lnTo>
                  <a:lnTo>
                    <a:pt x="12" y="196"/>
                  </a:lnTo>
                  <a:lnTo>
                    <a:pt x="12" y="199"/>
                  </a:lnTo>
                  <a:lnTo>
                    <a:pt x="9" y="201"/>
                  </a:lnTo>
                  <a:lnTo>
                    <a:pt x="5" y="204"/>
                  </a:lnTo>
                  <a:lnTo>
                    <a:pt x="5" y="206"/>
                  </a:lnTo>
                  <a:lnTo>
                    <a:pt x="2" y="208"/>
                  </a:lnTo>
                  <a:lnTo>
                    <a:pt x="2" y="208"/>
                  </a:lnTo>
                  <a:lnTo>
                    <a:pt x="0" y="213"/>
                  </a:lnTo>
                  <a:lnTo>
                    <a:pt x="0" y="215"/>
                  </a:lnTo>
                  <a:lnTo>
                    <a:pt x="0" y="215"/>
                  </a:lnTo>
                  <a:lnTo>
                    <a:pt x="2" y="215"/>
                  </a:lnTo>
                  <a:lnTo>
                    <a:pt x="2" y="213"/>
                  </a:lnTo>
                  <a:lnTo>
                    <a:pt x="5" y="213"/>
                  </a:lnTo>
                  <a:lnTo>
                    <a:pt x="5" y="213"/>
                  </a:lnTo>
                  <a:lnTo>
                    <a:pt x="5" y="211"/>
                  </a:lnTo>
                  <a:lnTo>
                    <a:pt x="5" y="211"/>
                  </a:lnTo>
                  <a:lnTo>
                    <a:pt x="7" y="211"/>
                  </a:lnTo>
                  <a:lnTo>
                    <a:pt x="9" y="208"/>
                  </a:lnTo>
                  <a:lnTo>
                    <a:pt x="12" y="206"/>
                  </a:lnTo>
                  <a:lnTo>
                    <a:pt x="14" y="206"/>
                  </a:lnTo>
                  <a:lnTo>
                    <a:pt x="14" y="204"/>
                  </a:lnTo>
                  <a:lnTo>
                    <a:pt x="16" y="201"/>
                  </a:lnTo>
                  <a:lnTo>
                    <a:pt x="16" y="199"/>
                  </a:lnTo>
                  <a:lnTo>
                    <a:pt x="19" y="199"/>
                  </a:lnTo>
                  <a:lnTo>
                    <a:pt x="21" y="196"/>
                  </a:lnTo>
                  <a:lnTo>
                    <a:pt x="21" y="196"/>
                  </a:lnTo>
                  <a:lnTo>
                    <a:pt x="23" y="194"/>
                  </a:lnTo>
                  <a:lnTo>
                    <a:pt x="26" y="187"/>
                  </a:lnTo>
                  <a:lnTo>
                    <a:pt x="26" y="185"/>
                  </a:lnTo>
                  <a:lnTo>
                    <a:pt x="26" y="182"/>
                  </a:lnTo>
                  <a:lnTo>
                    <a:pt x="28" y="182"/>
                  </a:lnTo>
                  <a:lnTo>
                    <a:pt x="28" y="182"/>
                  </a:lnTo>
                  <a:lnTo>
                    <a:pt x="33" y="180"/>
                  </a:lnTo>
                  <a:lnTo>
                    <a:pt x="33" y="180"/>
                  </a:lnTo>
                  <a:lnTo>
                    <a:pt x="35" y="178"/>
                  </a:lnTo>
                  <a:lnTo>
                    <a:pt x="35" y="175"/>
                  </a:lnTo>
                  <a:lnTo>
                    <a:pt x="35" y="175"/>
                  </a:lnTo>
                  <a:lnTo>
                    <a:pt x="38" y="175"/>
                  </a:lnTo>
                  <a:lnTo>
                    <a:pt x="40" y="173"/>
                  </a:lnTo>
                  <a:lnTo>
                    <a:pt x="40" y="173"/>
                  </a:lnTo>
                  <a:lnTo>
                    <a:pt x="42" y="170"/>
                  </a:lnTo>
                  <a:lnTo>
                    <a:pt x="42" y="170"/>
                  </a:lnTo>
                  <a:lnTo>
                    <a:pt x="40" y="166"/>
                  </a:lnTo>
                  <a:moveTo>
                    <a:pt x="144" y="178"/>
                  </a:moveTo>
                  <a:lnTo>
                    <a:pt x="144" y="178"/>
                  </a:lnTo>
                  <a:lnTo>
                    <a:pt x="144" y="178"/>
                  </a:lnTo>
                  <a:lnTo>
                    <a:pt x="144" y="175"/>
                  </a:lnTo>
                  <a:lnTo>
                    <a:pt x="146" y="175"/>
                  </a:lnTo>
                  <a:lnTo>
                    <a:pt x="146" y="175"/>
                  </a:lnTo>
                  <a:lnTo>
                    <a:pt x="146" y="175"/>
                  </a:lnTo>
                  <a:lnTo>
                    <a:pt x="144" y="173"/>
                  </a:lnTo>
                  <a:lnTo>
                    <a:pt x="144" y="170"/>
                  </a:lnTo>
                  <a:lnTo>
                    <a:pt x="144" y="168"/>
                  </a:lnTo>
                  <a:lnTo>
                    <a:pt x="141" y="168"/>
                  </a:lnTo>
                  <a:lnTo>
                    <a:pt x="141" y="166"/>
                  </a:lnTo>
                  <a:lnTo>
                    <a:pt x="141" y="166"/>
                  </a:lnTo>
                  <a:lnTo>
                    <a:pt x="139" y="166"/>
                  </a:lnTo>
                  <a:lnTo>
                    <a:pt x="139" y="161"/>
                  </a:lnTo>
                  <a:lnTo>
                    <a:pt x="139" y="159"/>
                  </a:lnTo>
                  <a:lnTo>
                    <a:pt x="139" y="156"/>
                  </a:lnTo>
                  <a:lnTo>
                    <a:pt x="139" y="156"/>
                  </a:lnTo>
                  <a:lnTo>
                    <a:pt x="137" y="151"/>
                  </a:lnTo>
                  <a:lnTo>
                    <a:pt x="134" y="151"/>
                  </a:lnTo>
                  <a:lnTo>
                    <a:pt x="134" y="154"/>
                  </a:lnTo>
                  <a:lnTo>
                    <a:pt x="132" y="154"/>
                  </a:lnTo>
                  <a:lnTo>
                    <a:pt x="132" y="154"/>
                  </a:lnTo>
                  <a:lnTo>
                    <a:pt x="130" y="151"/>
                  </a:lnTo>
                  <a:lnTo>
                    <a:pt x="130" y="151"/>
                  </a:lnTo>
                  <a:lnTo>
                    <a:pt x="127" y="151"/>
                  </a:lnTo>
                  <a:lnTo>
                    <a:pt x="127" y="149"/>
                  </a:lnTo>
                  <a:lnTo>
                    <a:pt x="125" y="149"/>
                  </a:lnTo>
                  <a:lnTo>
                    <a:pt x="125" y="149"/>
                  </a:lnTo>
                  <a:lnTo>
                    <a:pt x="127" y="151"/>
                  </a:lnTo>
                  <a:lnTo>
                    <a:pt x="127" y="154"/>
                  </a:lnTo>
                  <a:lnTo>
                    <a:pt x="127" y="156"/>
                  </a:lnTo>
                  <a:lnTo>
                    <a:pt x="130" y="163"/>
                  </a:lnTo>
                  <a:lnTo>
                    <a:pt x="130" y="163"/>
                  </a:lnTo>
                  <a:lnTo>
                    <a:pt x="132" y="161"/>
                  </a:lnTo>
                  <a:lnTo>
                    <a:pt x="134" y="161"/>
                  </a:lnTo>
                  <a:lnTo>
                    <a:pt x="134" y="163"/>
                  </a:lnTo>
                  <a:lnTo>
                    <a:pt x="137" y="166"/>
                  </a:lnTo>
                  <a:lnTo>
                    <a:pt x="137" y="166"/>
                  </a:lnTo>
                  <a:lnTo>
                    <a:pt x="137" y="168"/>
                  </a:lnTo>
                  <a:lnTo>
                    <a:pt x="137" y="173"/>
                  </a:lnTo>
                  <a:lnTo>
                    <a:pt x="137" y="175"/>
                  </a:lnTo>
                  <a:lnTo>
                    <a:pt x="137" y="175"/>
                  </a:lnTo>
                  <a:lnTo>
                    <a:pt x="137" y="178"/>
                  </a:lnTo>
                  <a:lnTo>
                    <a:pt x="137" y="180"/>
                  </a:lnTo>
                  <a:lnTo>
                    <a:pt x="139" y="180"/>
                  </a:lnTo>
                  <a:lnTo>
                    <a:pt x="141" y="180"/>
                  </a:lnTo>
                  <a:lnTo>
                    <a:pt x="141" y="180"/>
                  </a:lnTo>
                  <a:lnTo>
                    <a:pt x="141" y="178"/>
                  </a:lnTo>
                  <a:lnTo>
                    <a:pt x="141" y="173"/>
                  </a:lnTo>
                  <a:lnTo>
                    <a:pt x="141" y="175"/>
                  </a:lnTo>
                  <a:lnTo>
                    <a:pt x="144" y="178"/>
                  </a:lnTo>
                  <a:moveTo>
                    <a:pt x="130" y="149"/>
                  </a:moveTo>
                  <a:lnTo>
                    <a:pt x="132" y="149"/>
                  </a:lnTo>
                  <a:lnTo>
                    <a:pt x="132" y="149"/>
                  </a:lnTo>
                  <a:lnTo>
                    <a:pt x="130" y="147"/>
                  </a:lnTo>
                  <a:lnTo>
                    <a:pt x="130" y="147"/>
                  </a:lnTo>
                  <a:lnTo>
                    <a:pt x="127" y="147"/>
                  </a:lnTo>
                  <a:lnTo>
                    <a:pt x="127" y="147"/>
                  </a:lnTo>
                  <a:lnTo>
                    <a:pt x="127" y="149"/>
                  </a:lnTo>
                  <a:lnTo>
                    <a:pt x="130" y="149"/>
                  </a:lnTo>
                  <a:moveTo>
                    <a:pt x="94" y="168"/>
                  </a:moveTo>
                  <a:lnTo>
                    <a:pt x="97" y="166"/>
                  </a:lnTo>
                  <a:lnTo>
                    <a:pt x="99" y="163"/>
                  </a:lnTo>
                  <a:lnTo>
                    <a:pt x="99" y="163"/>
                  </a:lnTo>
                  <a:lnTo>
                    <a:pt x="99" y="161"/>
                  </a:lnTo>
                  <a:lnTo>
                    <a:pt x="99" y="161"/>
                  </a:lnTo>
                  <a:lnTo>
                    <a:pt x="99" y="161"/>
                  </a:lnTo>
                  <a:lnTo>
                    <a:pt x="101" y="159"/>
                  </a:lnTo>
                  <a:lnTo>
                    <a:pt x="101" y="159"/>
                  </a:lnTo>
                  <a:lnTo>
                    <a:pt x="104" y="156"/>
                  </a:lnTo>
                  <a:lnTo>
                    <a:pt x="104" y="154"/>
                  </a:lnTo>
                  <a:lnTo>
                    <a:pt x="104" y="154"/>
                  </a:lnTo>
                  <a:lnTo>
                    <a:pt x="104" y="151"/>
                  </a:lnTo>
                  <a:lnTo>
                    <a:pt x="104" y="149"/>
                  </a:lnTo>
                  <a:lnTo>
                    <a:pt x="104" y="149"/>
                  </a:lnTo>
                  <a:lnTo>
                    <a:pt x="99" y="151"/>
                  </a:lnTo>
                  <a:lnTo>
                    <a:pt x="99" y="149"/>
                  </a:lnTo>
                  <a:lnTo>
                    <a:pt x="99" y="149"/>
                  </a:lnTo>
                  <a:lnTo>
                    <a:pt x="99" y="149"/>
                  </a:lnTo>
                  <a:lnTo>
                    <a:pt x="97" y="147"/>
                  </a:lnTo>
                  <a:lnTo>
                    <a:pt x="94" y="149"/>
                  </a:lnTo>
                  <a:lnTo>
                    <a:pt x="92" y="147"/>
                  </a:lnTo>
                  <a:lnTo>
                    <a:pt x="89" y="147"/>
                  </a:lnTo>
                  <a:lnTo>
                    <a:pt x="87" y="144"/>
                  </a:lnTo>
                  <a:lnTo>
                    <a:pt x="85" y="142"/>
                  </a:lnTo>
                  <a:lnTo>
                    <a:pt x="82" y="142"/>
                  </a:lnTo>
                  <a:lnTo>
                    <a:pt x="82" y="142"/>
                  </a:lnTo>
                  <a:lnTo>
                    <a:pt x="80" y="142"/>
                  </a:lnTo>
                  <a:lnTo>
                    <a:pt x="80" y="144"/>
                  </a:lnTo>
                  <a:lnTo>
                    <a:pt x="80" y="144"/>
                  </a:lnTo>
                  <a:lnTo>
                    <a:pt x="85" y="144"/>
                  </a:lnTo>
                  <a:lnTo>
                    <a:pt x="85" y="147"/>
                  </a:lnTo>
                  <a:lnTo>
                    <a:pt x="85" y="147"/>
                  </a:lnTo>
                  <a:lnTo>
                    <a:pt x="85" y="154"/>
                  </a:lnTo>
                  <a:lnTo>
                    <a:pt x="85" y="159"/>
                  </a:lnTo>
                  <a:lnTo>
                    <a:pt x="85" y="161"/>
                  </a:lnTo>
                  <a:lnTo>
                    <a:pt x="82" y="163"/>
                  </a:lnTo>
                  <a:lnTo>
                    <a:pt x="82" y="166"/>
                  </a:lnTo>
                  <a:lnTo>
                    <a:pt x="85" y="168"/>
                  </a:lnTo>
                  <a:lnTo>
                    <a:pt x="85" y="168"/>
                  </a:lnTo>
                  <a:lnTo>
                    <a:pt x="82" y="170"/>
                  </a:lnTo>
                  <a:lnTo>
                    <a:pt x="85" y="173"/>
                  </a:lnTo>
                  <a:lnTo>
                    <a:pt x="85" y="173"/>
                  </a:lnTo>
                  <a:lnTo>
                    <a:pt x="85" y="173"/>
                  </a:lnTo>
                  <a:lnTo>
                    <a:pt x="85" y="170"/>
                  </a:lnTo>
                  <a:lnTo>
                    <a:pt x="87" y="170"/>
                  </a:lnTo>
                  <a:lnTo>
                    <a:pt x="87" y="168"/>
                  </a:lnTo>
                  <a:lnTo>
                    <a:pt x="94" y="168"/>
                  </a:lnTo>
                  <a:moveTo>
                    <a:pt x="45" y="142"/>
                  </a:moveTo>
                  <a:lnTo>
                    <a:pt x="45" y="140"/>
                  </a:lnTo>
                  <a:lnTo>
                    <a:pt x="45" y="140"/>
                  </a:lnTo>
                  <a:lnTo>
                    <a:pt x="42" y="140"/>
                  </a:lnTo>
                  <a:lnTo>
                    <a:pt x="42" y="140"/>
                  </a:lnTo>
                  <a:lnTo>
                    <a:pt x="45" y="144"/>
                  </a:lnTo>
                  <a:lnTo>
                    <a:pt x="45" y="144"/>
                  </a:lnTo>
                  <a:lnTo>
                    <a:pt x="45" y="147"/>
                  </a:lnTo>
                  <a:lnTo>
                    <a:pt x="45" y="147"/>
                  </a:lnTo>
                  <a:lnTo>
                    <a:pt x="47" y="147"/>
                  </a:lnTo>
                  <a:lnTo>
                    <a:pt x="47" y="144"/>
                  </a:lnTo>
                  <a:lnTo>
                    <a:pt x="47" y="142"/>
                  </a:lnTo>
                  <a:lnTo>
                    <a:pt x="47" y="142"/>
                  </a:lnTo>
                  <a:lnTo>
                    <a:pt x="45" y="142"/>
                  </a:lnTo>
                  <a:moveTo>
                    <a:pt x="49" y="135"/>
                  </a:moveTo>
                  <a:lnTo>
                    <a:pt x="47" y="135"/>
                  </a:lnTo>
                  <a:lnTo>
                    <a:pt x="47" y="137"/>
                  </a:lnTo>
                  <a:lnTo>
                    <a:pt x="47" y="135"/>
                  </a:lnTo>
                  <a:lnTo>
                    <a:pt x="47" y="135"/>
                  </a:lnTo>
                  <a:lnTo>
                    <a:pt x="45" y="133"/>
                  </a:lnTo>
                  <a:lnTo>
                    <a:pt x="42" y="133"/>
                  </a:lnTo>
                  <a:lnTo>
                    <a:pt x="42" y="133"/>
                  </a:lnTo>
                  <a:lnTo>
                    <a:pt x="42" y="133"/>
                  </a:lnTo>
                  <a:lnTo>
                    <a:pt x="42" y="133"/>
                  </a:lnTo>
                  <a:lnTo>
                    <a:pt x="42" y="133"/>
                  </a:lnTo>
                  <a:lnTo>
                    <a:pt x="42" y="135"/>
                  </a:lnTo>
                  <a:lnTo>
                    <a:pt x="42" y="135"/>
                  </a:lnTo>
                  <a:lnTo>
                    <a:pt x="42" y="135"/>
                  </a:lnTo>
                  <a:lnTo>
                    <a:pt x="45" y="137"/>
                  </a:lnTo>
                  <a:lnTo>
                    <a:pt x="45" y="140"/>
                  </a:lnTo>
                  <a:lnTo>
                    <a:pt x="47" y="140"/>
                  </a:lnTo>
                  <a:lnTo>
                    <a:pt x="47" y="140"/>
                  </a:lnTo>
                  <a:lnTo>
                    <a:pt x="49" y="140"/>
                  </a:lnTo>
                  <a:lnTo>
                    <a:pt x="52" y="140"/>
                  </a:lnTo>
                  <a:lnTo>
                    <a:pt x="52" y="137"/>
                  </a:lnTo>
                  <a:lnTo>
                    <a:pt x="49" y="137"/>
                  </a:lnTo>
                  <a:lnTo>
                    <a:pt x="49" y="135"/>
                  </a:lnTo>
                  <a:moveTo>
                    <a:pt x="125" y="135"/>
                  </a:moveTo>
                  <a:lnTo>
                    <a:pt x="127" y="137"/>
                  </a:lnTo>
                  <a:lnTo>
                    <a:pt x="127" y="137"/>
                  </a:lnTo>
                  <a:lnTo>
                    <a:pt x="130" y="137"/>
                  </a:lnTo>
                  <a:lnTo>
                    <a:pt x="132" y="140"/>
                  </a:lnTo>
                  <a:lnTo>
                    <a:pt x="132" y="140"/>
                  </a:lnTo>
                  <a:lnTo>
                    <a:pt x="134" y="142"/>
                  </a:lnTo>
                  <a:lnTo>
                    <a:pt x="134" y="142"/>
                  </a:lnTo>
                  <a:lnTo>
                    <a:pt x="137" y="144"/>
                  </a:lnTo>
                  <a:lnTo>
                    <a:pt x="137" y="144"/>
                  </a:lnTo>
                  <a:lnTo>
                    <a:pt x="137" y="144"/>
                  </a:lnTo>
                  <a:lnTo>
                    <a:pt x="139" y="147"/>
                  </a:lnTo>
                  <a:lnTo>
                    <a:pt x="137" y="147"/>
                  </a:lnTo>
                  <a:lnTo>
                    <a:pt x="137" y="149"/>
                  </a:lnTo>
                  <a:lnTo>
                    <a:pt x="137" y="151"/>
                  </a:lnTo>
                  <a:lnTo>
                    <a:pt x="139" y="154"/>
                  </a:lnTo>
                  <a:lnTo>
                    <a:pt x="141" y="154"/>
                  </a:lnTo>
                  <a:lnTo>
                    <a:pt x="141" y="154"/>
                  </a:lnTo>
                  <a:lnTo>
                    <a:pt x="144" y="159"/>
                  </a:lnTo>
                  <a:lnTo>
                    <a:pt x="144" y="159"/>
                  </a:lnTo>
                  <a:lnTo>
                    <a:pt x="146" y="159"/>
                  </a:lnTo>
                  <a:lnTo>
                    <a:pt x="151" y="159"/>
                  </a:lnTo>
                  <a:lnTo>
                    <a:pt x="151" y="159"/>
                  </a:lnTo>
                  <a:lnTo>
                    <a:pt x="153" y="159"/>
                  </a:lnTo>
                  <a:lnTo>
                    <a:pt x="153" y="159"/>
                  </a:lnTo>
                  <a:lnTo>
                    <a:pt x="153" y="156"/>
                  </a:lnTo>
                  <a:lnTo>
                    <a:pt x="151" y="156"/>
                  </a:lnTo>
                  <a:lnTo>
                    <a:pt x="148" y="156"/>
                  </a:lnTo>
                  <a:lnTo>
                    <a:pt x="148" y="154"/>
                  </a:lnTo>
                  <a:lnTo>
                    <a:pt x="151" y="154"/>
                  </a:lnTo>
                  <a:lnTo>
                    <a:pt x="148" y="151"/>
                  </a:lnTo>
                  <a:lnTo>
                    <a:pt x="148" y="149"/>
                  </a:lnTo>
                  <a:lnTo>
                    <a:pt x="146" y="149"/>
                  </a:lnTo>
                  <a:lnTo>
                    <a:pt x="146" y="147"/>
                  </a:lnTo>
                  <a:lnTo>
                    <a:pt x="146" y="144"/>
                  </a:lnTo>
                  <a:lnTo>
                    <a:pt x="146" y="144"/>
                  </a:lnTo>
                  <a:lnTo>
                    <a:pt x="146" y="140"/>
                  </a:lnTo>
                  <a:lnTo>
                    <a:pt x="146" y="137"/>
                  </a:lnTo>
                  <a:lnTo>
                    <a:pt x="146" y="137"/>
                  </a:lnTo>
                  <a:lnTo>
                    <a:pt x="146" y="135"/>
                  </a:lnTo>
                  <a:lnTo>
                    <a:pt x="146" y="135"/>
                  </a:lnTo>
                  <a:lnTo>
                    <a:pt x="144" y="133"/>
                  </a:lnTo>
                  <a:lnTo>
                    <a:pt x="144" y="133"/>
                  </a:lnTo>
                  <a:lnTo>
                    <a:pt x="141" y="133"/>
                  </a:lnTo>
                  <a:lnTo>
                    <a:pt x="141" y="130"/>
                  </a:lnTo>
                  <a:lnTo>
                    <a:pt x="141" y="130"/>
                  </a:lnTo>
                  <a:lnTo>
                    <a:pt x="141" y="128"/>
                  </a:lnTo>
                  <a:lnTo>
                    <a:pt x="139" y="128"/>
                  </a:lnTo>
                  <a:lnTo>
                    <a:pt x="134" y="128"/>
                  </a:lnTo>
                  <a:lnTo>
                    <a:pt x="127" y="128"/>
                  </a:lnTo>
                  <a:lnTo>
                    <a:pt x="122" y="128"/>
                  </a:lnTo>
                  <a:lnTo>
                    <a:pt x="125" y="130"/>
                  </a:lnTo>
                  <a:lnTo>
                    <a:pt x="125" y="135"/>
                  </a:lnTo>
                  <a:moveTo>
                    <a:pt x="104" y="137"/>
                  </a:moveTo>
                  <a:lnTo>
                    <a:pt x="104" y="140"/>
                  </a:lnTo>
                  <a:lnTo>
                    <a:pt x="104" y="142"/>
                  </a:lnTo>
                  <a:lnTo>
                    <a:pt x="106" y="140"/>
                  </a:lnTo>
                  <a:lnTo>
                    <a:pt x="108" y="135"/>
                  </a:lnTo>
                  <a:lnTo>
                    <a:pt x="108" y="135"/>
                  </a:lnTo>
                  <a:lnTo>
                    <a:pt x="111" y="135"/>
                  </a:lnTo>
                  <a:lnTo>
                    <a:pt x="111" y="137"/>
                  </a:lnTo>
                  <a:lnTo>
                    <a:pt x="113" y="137"/>
                  </a:lnTo>
                  <a:lnTo>
                    <a:pt x="113" y="137"/>
                  </a:lnTo>
                  <a:lnTo>
                    <a:pt x="113" y="140"/>
                  </a:lnTo>
                  <a:lnTo>
                    <a:pt x="113" y="140"/>
                  </a:lnTo>
                  <a:lnTo>
                    <a:pt x="115" y="140"/>
                  </a:lnTo>
                  <a:lnTo>
                    <a:pt x="115" y="142"/>
                  </a:lnTo>
                  <a:lnTo>
                    <a:pt x="118" y="144"/>
                  </a:lnTo>
                  <a:lnTo>
                    <a:pt x="120" y="144"/>
                  </a:lnTo>
                  <a:lnTo>
                    <a:pt x="120" y="144"/>
                  </a:lnTo>
                  <a:lnTo>
                    <a:pt x="120" y="140"/>
                  </a:lnTo>
                  <a:lnTo>
                    <a:pt x="118" y="135"/>
                  </a:lnTo>
                  <a:lnTo>
                    <a:pt x="113" y="133"/>
                  </a:lnTo>
                  <a:lnTo>
                    <a:pt x="111" y="130"/>
                  </a:lnTo>
                  <a:lnTo>
                    <a:pt x="111" y="130"/>
                  </a:lnTo>
                  <a:lnTo>
                    <a:pt x="108" y="128"/>
                  </a:lnTo>
                  <a:lnTo>
                    <a:pt x="106" y="128"/>
                  </a:lnTo>
                  <a:lnTo>
                    <a:pt x="104" y="128"/>
                  </a:lnTo>
                  <a:lnTo>
                    <a:pt x="104" y="128"/>
                  </a:lnTo>
                  <a:lnTo>
                    <a:pt x="104" y="130"/>
                  </a:lnTo>
                  <a:lnTo>
                    <a:pt x="104" y="133"/>
                  </a:lnTo>
                  <a:lnTo>
                    <a:pt x="104" y="137"/>
                  </a:lnTo>
                  <a:moveTo>
                    <a:pt x="82" y="137"/>
                  </a:moveTo>
                  <a:lnTo>
                    <a:pt x="82" y="133"/>
                  </a:lnTo>
                  <a:lnTo>
                    <a:pt x="82" y="128"/>
                  </a:lnTo>
                  <a:lnTo>
                    <a:pt x="82" y="125"/>
                  </a:lnTo>
                  <a:lnTo>
                    <a:pt x="82" y="125"/>
                  </a:lnTo>
                  <a:lnTo>
                    <a:pt x="82" y="125"/>
                  </a:lnTo>
                  <a:lnTo>
                    <a:pt x="80" y="128"/>
                  </a:lnTo>
                  <a:lnTo>
                    <a:pt x="80" y="130"/>
                  </a:lnTo>
                  <a:lnTo>
                    <a:pt x="80" y="130"/>
                  </a:lnTo>
                  <a:lnTo>
                    <a:pt x="80" y="133"/>
                  </a:lnTo>
                  <a:lnTo>
                    <a:pt x="80" y="133"/>
                  </a:lnTo>
                  <a:lnTo>
                    <a:pt x="80" y="135"/>
                  </a:lnTo>
                  <a:lnTo>
                    <a:pt x="80" y="135"/>
                  </a:lnTo>
                  <a:lnTo>
                    <a:pt x="82" y="137"/>
                  </a:lnTo>
                  <a:moveTo>
                    <a:pt x="71" y="130"/>
                  </a:moveTo>
                  <a:lnTo>
                    <a:pt x="71" y="128"/>
                  </a:lnTo>
                  <a:lnTo>
                    <a:pt x="71" y="128"/>
                  </a:lnTo>
                  <a:lnTo>
                    <a:pt x="73" y="125"/>
                  </a:lnTo>
                  <a:lnTo>
                    <a:pt x="71" y="121"/>
                  </a:lnTo>
                  <a:lnTo>
                    <a:pt x="71" y="121"/>
                  </a:lnTo>
                  <a:lnTo>
                    <a:pt x="71" y="118"/>
                  </a:lnTo>
                  <a:lnTo>
                    <a:pt x="71" y="116"/>
                  </a:lnTo>
                  <a:lnTo>
                    <a:pt x="71" y="116"/>
                  </a:lnTo>
                  <a:lnTo>
                    <a:pt x="68" y="114"/>
                  </a:lnTo>
                  <a:lnTo>
                    <a:pt x="68" y="114"/>
                  </a:lnTo>
                  <a:lnTo>
                    <a:pt x="66" y="111"/>
                  </a:lnTo>
                  <a:lnTo>
                    <a:pt x="64" y="109"/>
                  </a:lnTo>
                  <a:lnTo>
                    <a:pt x="64" y="111"/>
                  </a:lnTo>
                  <a:lnTo>
                    <a:pt x="61" y="109"/>
                  </a:lnTo>
                  <a:lnTo>
                    <a:pt x="61" y="109"/>
                  </a:lnTo>
                  <a:lnTo>
                    <a:pt x="59" y="109"/>
                  </a:lnTo>
                  <a:lnTo>
                    <a:pt x="59" y="107"/>
                  </a:lnTo>
                  <a:lnTo>
                    <a:pt x="56" y="109"/>
                  </a:lnTo>
                  <a:lnTo>
                    <a:pt x="54" y="109"/>
                  </a:lnTo>
                  <a:lnTo>
                    <a:pt x="54" y="109"/>
                  </a:lnTo>
                  <a:lnTo>
                    <a:pt x="49" y="107"/>
                  </a:lnTo>
                  <a:lnTo>
                    <a:pt x="49" y="107"/>
                  </a:lnTo>
                  <a:lnTo>
                    <a:pt x="47" y="109"/>
                  </a:lnTo>
                  <a:lnTo>
                    <a:pt x="47" y="109"/>
                  </a:lnTo>
                  <a:lnTo>
                    <a:pt x="49" y="109"/>
                  </a:lnTo>
                  <a:lnTo>
                    <a:pt x="49" y="109"/>
                  </a:lnTo>
                  <a:lnTo>
                    <a:pt x="49" y="109"/>
                  </a:lnTo>
                  <a:lnTo>
                    <a:pt x="52" y="111"/>
                  </a:lnTo>
                  <a:lnTo>
                    <a:pt x="52" y="114"/>
                  </a:lnTo>
                  <a:lnTo>
                    <a:pt x="52" y="114"/>
                  </a:lnTo>
                  <a:lnTo>
                    <a:pt x="54" y="114"/>
                  </a:lnTo>
                  <a:lnTo>
                    <a:pt x="54" y="116"/>
                  </a:lnTo>
                  <a:lnTo>
                    <a:pt x="56" y="118"/>
                  </a:lnTo>
                  <a:lnTo>
                    <a:pt x="56" y="121"/>
                  </a:lnTo>
                  <a:lnTo>
                    <a:pt x="56" y="123"/>
                  </a:lnTo>
                  <a:lnTo>
                    <a:pt x="59" y="123"/>
                  </a:lnTo>
                  <a:lnTo>
                    <a:pt x="59" y="125"/>
                  </a:lnTo>
                  <a:lnTo>
                    <a:pt x="61" y="125"/>
                  </a:lnTo>
                  <a:lnTo>
                    <a:pt x="61" y="128"/>
                  </a:lnTo>
                  <a:lnTo>
                    <a:pt x="61" y="128"/>
                  </a:lnTo>
                  <a:lnTo>
                    <a:pt x="61" y="130"/>
                  </a:lnTo>
                  <a:lnTo>
                    <a:pt x="64" y="133"/>
                  </a:lnTo>
                  <a:lnTo>
                    <a:pt x="64" y="133"/>
                  </a:lnTo>
                  <a:lnTo>
                    <a:pt x="64" y="133"/>
                  </a:lnTo>
                  <a:lnTo>
                    <a:pt x="66" y="135"/>
                  </a:lnTo>
                  <a:lnTo>
                    <a:pt x="66" y="135"/>
                  </a:lnTo>
                  <a:lnTo>
                    <a:pt x="68" y="135"/>
                  </a:lnTo>
                  <a:lnTo>
                    <a:pt x="68" y="133"/>
                  </a:lnTo>
                  <a:lnTo>
                    <a:pt x="68" y="133"/>
                  </a:lnTo>
                  <a:lnTo>
                    <a:pt x="68" y="133"/>
                  </a:lnTo>
                  <a:lnTo>
                    <a:pt x="71" y="133"/>
                  </a:lnTo>
                  <a:lnTo>
                    <a:pt x="71" y="133"/>
                  </a:lnTo>
                  <a:lnTo>
                    <a:pt x="71" y="130"/>
                  </a:lnTo>
                  <a:lnTo>
                    <a:pt x="71" y="130"/>
                  </a:lnTo>
                  <a:moveTo>
                    <a:pt x="78" y="107"/>
                  </a:moveTo>
                  <a:lnTo>
                    <a:pt x="78" y="107"/>
                  </a:lnTo>
                  <a:lnTo>
                    <a:pt x="78" y="107"/>
                  </a:lnTo>
                  <a:lnTo>
                    <a:pt x="75" y="107"/>
                  </a:lnTo>
                  <a:lnTo>
                    <a:pt x="75" y="109"/>
                  </a:lnTo>
                  <a:lnTo>
                    <a:pt x="75" y="111"/>
                  </a:lnTo>
                  <a:lnTo>
                    <a:pt x="78" y="111"/>
                  </a:lnTo>
                  <a:lnTo>
                    <a:pt x="80" y="114"/>
                  </a:lnTo>
                  <a:lnTo>
                    <a:pt x="80" y="114"/>
                  </a:lnTo>
                  <a:lnTo>
                    <a:pt x="80" y="114"/>
                  </a:lnTo>
                  <a:lnTo>
                    <a:pt x="80" y="111"/>
                  </a:lnTo>
                  <a:lnTo>
                    <a:pt x="80" y="109"/>
                  </a:lnTo>
                  <a:lnTo>
                    <a:pt x="80" y="109"/>
                  </a:lnTo>
                  <a:lnTo>
                    <a:pt x="78" y="107"/>
                  </a:lnTo>
                  <a:moveTo>
                    <a:pt x="115" y="107"/>
                  </a:moveTo>
                  <a:lnTo>
                    <a:pt x="118" y="107"/>
                  </a:lnTo>
                  <a:lnTo>
                    <a:pt x="120" y="107"/>
                  </a:lnTo>
                  <a:lnTo>
                    <a:pt x="120" y="107"/>
                  </a:lnTo>
                  <a:lnTo>
                    <a:pt x="120" y="107"/>
                  </a:lnTo>
                  <a:lnTo>
                    <a:pt x="122" y="104"/>
                  </a:lnTo>
                  <a:lnTo>
                    <a:pt x="122" y="104"/>
                  </a:lnTo>
                  <a:lnTo>
                    <a:pt x="122" y="102"/>
                  </a:lnTo>
                  <a:lnTo>
                    <a:pt x="122" y="99"/>
                  </a:lnTo>
                  <a:lnTo>
                    <a:pt x="120" y="99"/>
                  </a:lnTo>
                  <a:lnTo>
                    <a:pt x="120" y="99"/>
                  </a:lnTo>
                  <a:lnTo>
                    <a:pt x="118" y="95"/>
                  </a:lnTo>
                  <a:lnTo>
                    <a:pt x="118" y="97"/>
                  </a:lnTo>
                  <a:lnTo>
                    <a:pt x="118" y="97"/>
                  </a:lnTo>
                  <a:lnTo>
                    <a:pt x="115" y="97"/>
                  </a:lnTo>
                  <a:lnTo>
                    <a:pt x="118" y="102"/>
                  </a:lnTo>
                  <a:lnTo>
                    <a:pt x="115" y="104"/>
                  </a:lnTo>
                  <a:lnTo>
                    <a:pt x="115" y="107"/>
                  </a:lnTo>
                  <a:moveTo>
                    <a:pt x="75" y="92"/>
                  </a:moveTo>
                  <a:lnTo>
                    <a:pt x="75" y="92"/>
                  </a:lnTo>
                  <a:lnTo>
                    <a:pt x="75" y="95"/>
                  </a:lnTo>
                  <a:lnTo>
                    <a:pt x="80" y="97"/>
                  </a:lnTo>
                  <a:lnTo>
                    <a:pt x="80" y="97"/>
                  </a:lnTo>
                  <a:lnTo>
                    <a:pt x="75" y="92"/>
                  </a:lnTo>
                  <a:lnTo>
                    <a:pt x="75" y="92"/>
                  </a:lnTo>
                  <a:moveTo>
                    <a:pt x="31" y="55"/>
                  </a:moveTo>
                  <a:lnTo>
                    <a:pt x="31" y="57"/>
                  </a:lnTo>
                  <a:lnTo>
                    <a:pt x="33" y="57"/>
                  </a:lnTo>
                  <a:lnTo>
                    <a:pt x="33" y="57"/>
                  </a:lnTo>
                  <a:lnTo>
                    <a:pt x="33" y="59"/>
                  </a:lnTo>
                  <a:lnTo>
                    <a:pt x="35" y="66"/>
                  </a:lnTo>
                  <a:lnTo>
                    <a:pt x="35" y="69"/>
                  </a:lnTo>
                  <a:lnTo>
                    <a:pt x="38" y="71"/>
                  </a:lnTo>
                  <a:lnTo>
                    <a:pt x="38" y="73"/>
                  </a:lnTo>
                  <a:lnTo>
                    <a:pt x="38" y="76"/>
                  </a:lnTo>
                  <a:lnTo>
                    <a:pt x="40" y="78"/>
                  </a:lnTo>
                  <a:lnTo>
                    <a:pt x="40" y="81"/>
                  </a:lnTo>
                  <a:lnTo>
                    <a:pt x="42" y="81"/>
                  </a:lnTo>
                  <a:lnTo>
                    <a:pt x="42" y="81"/>
                  </a:lnTo>
                  <a:lnTo>
                    <a:pt x="45" y="83"/>
                  </a:lnTo>
                  <a:lnTo>
                    <a:pt x="45" y="85"/>
                  </a:lnTo>
                  <a:lnTo>
                    <a:pt x="47" y="88"/>
                  </a:lnTo>
                  <a:lnTo>
                    <a:pt x="47" y="88"/>
                  </a:lnTo>
                  <a:lnTo>
                    <a:pt x="49" y="88"/>
                  </a:lnTo>
                  <a:lnTo>
                    <a:pt x="49" y="88"/>
                  </a:lnTo>
                  <a:lnTo>
                    <a:pt x="49" y="88"/>
                  </a:lnTo>
                  <a:lnTo>
                    <a:pt x="49" y="85"/>
                  </a:lnTo>
                  <a:lnTo>
                    <a:pt x="49" y="81"/>
                  </a:lnTo>
                  <a:lnTo>
                    <a:pt x="49" y="78"/>
                  </a:lnTo>
                  <a:lnTo>
                    <a:pt x="49" y="81"/>
                  </a:lnTo>
                  <a:lnTo>
                    <a:pt x="52" y="81"/>
                  </a:lnTo>
                  <a:lnTo>
                    <a:pt x="54" y="81"/>
                  </a:lnTo>
                  <a:lnTo>
                    <a:pt x="54" y="83"/>
                  </a:lnTo>
                  <a:lnTo>
                    <a:pt x="56" y="83"/>
                  </a:lnTo>
                  <a:lnTo>
                    <a:pt x="56" y="85"/>
                  </a:lnTo>
                  <a:lnTo>
                    <a:pt x="56" y="88"/>
                  </a:lnTo>
                  <a:lnTo>
                    <a:pt x="52" y="90"/>
                  </a:lnTo>
                  <a:lnTo>
                    <a:pt x="52" y="92"/>
                  </a:lnTo>
                  <a:lnTo>
                    <a:pt x="52" y="92"/>
                  </a:lnTo>
                  <a:lnTo>
                    <a:pt x="52" y="97"/>
                  </a:lnTo>
                  <a:lnTo>
                    <a:pt x="52" y="102"/>
                  </a:lnTo>
                  <a:lnTo>
                    <a:pt x="54" y="99"/>
                  </a:lnTo>
                  <a:lnTo>
                    <a:pt x="56" y="99"/>
                  </a:lnTo>
                  <a:lnTo>
                    <a:pt x="59" y="102"/>
                  </a:lnTo>
                  <a:lnTo>
                    <a:pt x="59" y="102"/>
                  </a:lnTo>
                  <a:lnTo>
                    <a:pt x="61" y="104"/>
                  </a:lnTo>
                  <a:lnTo>
                    <a:pt x="64" y="104"/>
                  </a:lnTo>
                  <a:lnTo>
                    <a:pt x="66" y="104"/>
                  </a:lnTo>
                  <a:lnTo>
                    <a:pt x="68" y="104"/>
                  </a:lnTo>
                  <a:lnTo>
                    <a:pt x="68" y="102"/>
                  </a:lnTo>
                  <a:lnTo>
                    <a:pt x="68" y="99"/>
                  </a:lnTo>
                  <a:lnTo>
                    <a:pt x="71" y="99"/>
                  </a:lnTo>
                  <a:lnTo>
                    <a:pt x="71" y="99"/>
                  </a:lnTo>
                  <a:lnTo>
                    <a:pt x="73" y="99"/>
                  </a:lnTo>
                  <a:lnTo>
                    <a:pt x="73" y="99"/>
                  </a:lnTo>
                  <a:lnTo>
                    <a:pt x="80" y="102"/>
                  </a:lnTo>
                  <a:lnTo>
                    <a:pt x="82" y="104"/>
                  </a:lnTo>
                  <a:lnTo>
                    <a:pt x="85" y="107"/>
                  </a:lnTo>
                  <a:lnTo>
                    <a:pt x="85" y="109"/>
                  </a:lnTo>
                  <a:lnTo>
                    <a:pt x="87" y="111"/>
                  </a:lnTo>
                  <a:lnTo>
                    <a:pt x="89" y="111"/>
                  </a:lnTo>
                  <a:lnTo>
                    <a:pt x="89" y="114"/>
                  </a:lnTo>
                  <a:lnTo>
                    <a:pt x="89" y="114"/>
                  </a:lnTo>
                  <a:lnTo>
                    <a:pt x="92" y="114"/>
                  </a:lnTo>
                  <a:lnTo>
                    <a:pt x="92" y="109"/>
                  </a:lnTo>
                  <a:lnTo>
                    <a:pt x="89" y="107"/>
                  </a:lnTo>
                  <a:lnTo>
                    <a:pt x="89" y="107"/>
                  </a:lnTo>
                  <a:lnTo>
                    <a:pt x="87" y="104"/>
                  </a:lnTo>
                  <a:lnTo>
                    <a:pt x="87" y="104"/>
                  </a:lnTo>
                  <a:lnTo>
                    <a:pt x="87" y="102"/>
                  </a:lnTo>
                  <a:lnTo>
                    <a:pt x="87" y="102"/>
                  </a:lnTo>
                  <a:lnTo>
                    <a:pt x="87" y="99"/>
                  </a:lnTo>
                  <a:lnTo>
                    <a:pt x="87" y="99"/>
                  </a:lnTo>
                  <a:lnTo>
                    <a:pt x="87" y="99"/>
                  </a:lnTo>
                  <a:lnTo>
                    <a:pt x="89" y="99"/>
                  </a:lnTo>
                  <a:lnTo>
                    <a:pt x="92" y="102"/>
                  </a:lnTo>
                  <a:lnTo>
                    <a:pt x="94" y="104"/>
                  </a:lnTo>
                  <a:lnTo>
                    <a:pt x="94" y="107"/>
                  </a:lnTo>
                  <a:lnTo>
                    <a:pt x="99" y="109"/>
                  </a:lnTo>
                  <a:lnTo>
                    <a:pt x="101" y="109"/>
                  </a:lnTo>
                  <a:lnTo>
                    <a:pt x="101" y="111"/>
                  </a:lnTo>
                  <a:lnTo>
                    <a:pt x="104" y="114"/>
                  </a:lnTo>
                  <a:lnTo>
                    <a:pt x="104" y="116"/>
                  </a:lnTo>
                  <a:lnTo>
                    <a:pt x="104" y="118"/>
                  </a:lnTo>
                  <a:lnTo>
                    <a:pt x="106" y="118"/>
                  </a:lnTo>
                  <a:lnTo>
                    <a:pt x="111" y="121"/>
                  </a:lnTo>
                  <a:lnTo>
                    <a:pt x="111" y="121"/>
                  </a:lnTo>
                  <a:lnTo>
                    <a:pt x="113" y="121"/>
                  </a:lnTo>
                  <a:lnTo>
                    <a:pt x="113" y="121"/>
                  </a:lnTo>
                  <a:lnTo>
                    <a:pt x="115" y="118"/>
                  </a:lnTo>
                  <a:lnTo>
                    <a:pt x="115" y="121"/>
                  </a:lnTo>
                  <a:lnTo>
                    <a:pt x="115" y="123"/>
                  </a:lnTo>
                  <a:lnTo>
                    <a:pt x="115" y="125"/>
                  </a:lnTo>
                  <a:lnTo>
                    <a:pt x="118" y="128"/>
                  </a:lnTo>
                  <a:lnTo>
                    <a:pt x="118" y="128"/>
                  </a:lnTo>
                  <a:lnTo>
                    <a:pt x="120" y="123"/>
                  </a:lnTo>
                  <a:lnTo>
                    <a:pt x="120" y="118"/>
                  </a:lnTo>
                  <a:lnTo>
                    <a:pt x="118" y="118"/>
                  </a:lnTo>
                  <a:lnTo>
                    <a:pt x="118" y="118"/>
                  </a:lnTo>
                  <a:lnTo>
                    <a:pt x="115" y="116"/>
                  </a:lnTo>
                  <a:lnTo>
                    <a:pt x="113" y="116"/>
                  </a:lnTo>
                  <a:lnTo>
                    <a:pt x="113" y="116"/>
                  </a:lnTo>
                  <a:lnTo>
                    <a:pt x="113" y="114"/>
                  </a:lnTo>
                  <a:lnTo>
                    <a:pt x="113" y="114"/>
                  </a:lnTo>
                  <a:lnTo>
                    <a:pt x="111" y="111"/>
                  </a:lnTo>
                  <a:lnTo>
                    <a:pt x="111" y="109"/>
                  </a:lnTo>
                  <a:lnTo>
                    <a:pt x="108" y="107"/>
                  </a:lnTo>
                  <a:lnTo>
                    <a:pt x="106" y="104"/>
                  </a:lnTo>
                  <a:lnTo>
                    <a:pt x="108" y="104"/>
                  </a:lnTo>
                  <a:lnTo>
                    <a:pt x="111" y="104"/>
                  </a:lnTo>
                  <a:lnTo>
                    <a:pt x="113" y="102"/>
                  </a:lnTo>
                  <a:lnTo>
                    <a:pt x="111" y="99"/>
                  </a:lnTo>
                  <a:lnTo>
                    <a:pt x="108" y="99"/>
                  </a:lnTo>
                  <a:lnTo>
                    <a:pt x="108" y="99"/>
                  </a:lnTo>
                  <a:lnTo>
                    <a:pt x="108" y="99"/>
                  </a:lnTo>
                  <a:lnTo>
                    <a:pt x="104" y="97"/>
                  </a:lnTo>
                  <a:lnTo>
                    <a:pt x="104" y="97"/>
                  </a:lnTo>
                  <a:lnTo>
                    <a:pt x="101" y="95"/>
                  </a:lnTo>
                  <a:lnTo>
                    <a:pt x="101" y="97"/>
                  </a:lnTo>
                  <a:lnTo>
                    <a:pt x="101" y="97"/>
                  </a:lnTo>
                  <a:lnTo>
                    <a:pt x="101" y="99"/>
                  </a:lnTo>
                  <a:lnTo>
                    <a:pt x="101" y="99"/>
                  </a:lnTo>
                  <a:lnTo>
                    <a:pt x="101" y="102"/>
                  </a:lnTo>
                  <a:lnTo>
                    <a:pt x="99" y="102"/>
                  </a:lnTo>
                  <a:lnTo>
                    <a:pt x="97" y="102"/>
                  </a:lnTo>
                  <a:lnTo>
                    <a:pt x="97" y="99"/>
                  </a:lnTo>
                  <a:lnTo>
                    <a:pt x="97" y="99"/>
                  </a:lnTo>
                  <a:lnTo>
                    <a:pt x="97" y="97"/>
                  </a:lnTo>
                  <a:lnTo>
                    <a:pt x="97" y="95"/>
                  </a:lnTo>
                  <a:lnTo>
                    <a:pt x="94" y="92"/>
                  </a:lnTo>
                  <a:lnTo>
                    <a:pt x="92" y="92"/>
                  </a:lnTo>
                  <a:lnTo>
                    <a:pt x="89" y="90"/>
                  </a:lnTo>
                  <a:lnTo>
                    <a:pt x="87" y="90"/>
                  </a:lnTo>
                  <a:lnTo>
                    <a:pt x="85" y="90"/>
                  </a:lnTo>
                  <a:lnTo>
                    <a:pt x="82" y="92"/>
                  </a:lnTo>
                  <a:lnTo>
                    <a:pt x="82" y="92"/>
                  </a:lnTo>
                  <a:lnTo>
                    <a:pt x="80" y="92"/>
                  </a:lnTo>
                  <a:lnTo>
                    <a:pt x="80" y="95"/>
                  </a:lnTo>
                  <a:lnTo>
                    <a:pt x="80" y="95"/>
                  </a:lnTo>
                  <a:lnTo>
                    <a:pt x="82" y="97"/>
                  </a:lnTo>
                  <a:lnTo>
                    <a:pt x="82" y="97"/>
                  </a:lnTo>
                  <a:lnTo>
                    <a:pt x="82" y="97"/>
                  </a:lnTo>
                  <a:lnTo>
                    <a:pt x="82" y="99"/>
                  </a:lnTo>
                  <a:lnTo>
                    <a:pt x="80" y="99"/>
                  </a:lnTo>
                  <a:lnTo>
                    <a:pt x="78" y="99"/>
                  </a:lnTo>
                  <a:lnTo>
                    <a:pt x="75" y="97"/>
                  </a:lnTo>
                  <a:lnTo>
                    <a:pt x="75" y="95"/>
                  </a:lnTo>
                  <a:lnTo>
                    <a:pt x="73" y="95"/>
                  </a:lnTo>
                  <a:lnTo>
                    <a:pt x="73" y="95"/>
                  </a:lnTo>
                  <a:lnTo>
                    <a:pt x="73" y="92"/>
                  </a:lnTo>
                  <a:lnTo>
                    <a:pt x="68" y="88"/>
                  </a:lnTo>
                  <a:lnTo>
                    <a:pt x="68" y="85"/>
                  </a:lnTo>
                  <a:lnTo>
                    <a:pt x="68" y="83"/>
                  </a:lnTo>
                  <a:lnTo>
                    <a:pt x="71" y="81"/>
                  </a:lnTo>
                  <a:lnTo>
                    <a:pt x="68" y="81"/>
                  </a:lnTo>
                  <a:lnTo>
                    <a:pt x="68" y="81"/>
                  </a:lnTo>
                  <a:lnTo>
                    <a:pt x="66" y="76"/>
                  </a:lnTo>
                  <a:lnTo>
                    <a:pt x="64" y="71"/>
                  </a:lnTo>
                  <a:lnTo>
                    <a:pt x="64" y="71"/>
                  </a:lnTo>
                  <a:lnTo>
                    <a:pt x="64" y="69"/>
                  </a:lnTo>
                  <a:lnTo>
                    <a:pt x="64" y="69"/>
                  </a:lnTo>
                  <a:lnTo>
                    <a:pt x="64" y="66"/>
                  </a:lnTo>
                  <a:lnTo>
                    <a:pt x="64" y="66"/>
                  </a:lnTo>
                  <a:lnTo>
                    <a:pt x="66" y="64"/>
                  </a:lnTo>
                  <a:lnTo>
                    <a:pt x="66" y="62"/>
                  </a:lnTo>
                  <a:lnTo>
                    <a:pt x="66" y="62"/>
                  </a:lnTo>
                  <a:lnTo>
                    <a:pt x="64" y="59"/>
                  </a:lnTo>
                  <a:lnTo>
                    <a:pt x="64" y="59"/>
                  </a:lnTo>
                  <a:lnTo>
                    <a:pt x="64" y="57"/>
                  </a:lnTo>
                  <a:lnTo>
                    <a:pt x="66" y="55"/>
                  </a:lnTo>
                  <a:lnTo>
                    <a:pt x="68" y="52"/>
                  </a:lnTo>
                  <a:lnTo>
                    <a:pt x="71" y="52"/>
                  </a:lnTo>
                  <a:lnTo>
                    <a:pt x="73" y="52"/>
                  </a:lnTo>
                  <a:lnTo>
                    <a:pt x="75" y="47"/>
                  </a:lnTo>
                  <a:lnTo>
                    <a:pt x="75" y="45"/>
                  </a:lnTo>
                  <a:lnTo>
                    <a:pt x="78" y="38"/>
                  </a:lnTo>
                  <a:lnTo>
                    <a:pt x="78" y="33"/>
                  </a:lnTo>
                  <a:lnTo>
                    <a:pt x="78" y="33"/>
                  </a:lnTo>
                  <a:lnTo>
                    <a:pt x="78" y="31"/>
                  </a:lnTo>
                  <a:lnTo>
                    <a:pt x="78" y="31"/>
                  </a:lnTo>
                  <a:lnTo>
                    <a:pt x="75" y="31"/>
                  </a:lnTo>
                  <a:lnTo>
                    <a:pt x="75" y="29"/>
                  </a:lnTo>
                  <a:lnTo>
                    <a:pt x="75" y="29"/>
                  </a:lnTo>
                  <a:lnTo>
                    <a:pt x="73" y="26"/>
                  </a:lnTo>
                  <a:lnTo>
                    <a:pt x="73" y="26"/>
                  </a:lnTo>
                  <a:lnTo>
                    <a:pt x="71" y="24"/>
                  </a:lnTo>
                  <a:lnTo>
                    <a:pt x="71" y="21"/>
                  </a:lnTo>
                  <a:lnTo>
                    <a:pt x="68" y="19"/>
                  </a:lnTo>
                  <a:lnTo>
                    <a:pt x="68" y="17"/>
                  </a:lnTo>
                  <a:lnTo>
                    <a:pt x="68" y="12"/>
                  </a:lnTo>
                  <a:lnTo>
                    <a:pt x="68" y="10"/>
                  </a:lnTo>
                  <a:lnTo>
                    <a:pt x="71" y="7"/>
                  </a:lnTo>
                  <a:lnTo>
                    <a:pt x="71" y="5"/>
                  </a:lnTo>
                  <a:lnTo>
                    <a:pt x="68" y="5"/>
                  </a:lnTo>
                  <a:lnTo>
                    <a:pt x="68" y="3"/>
                  </a:lnTo>
                  <a:lnTo>
                    <a:pt x="68" y="3"/>
                  </a:lnTo>
                  <a:lnTo>
                    <a:pt x="66" y="3"/>
                  </a:lnTo>
                  <a:lnTo>
                    <a:pt x="66" y="5"/>
                  </a:lnTo>
                  <a:lnTo>
                    <a:pt x="66" y="5"/>
                  </a:lnTo>
                  <a:lnTo>
                    <a:pt x="64" y="7"/>
                  </a:lnTo>
                  <a:lnTo>
                    <a:pt x="61" y="7"/>
                  </a:lnTo>
                  <a:lnTo>
                    <a:pt x="59" y="5"/>
                  </a:lnTo>
                  <a:lnTo>
                    <a:pt x="56" y="5"/>
                  </a:lnTo>
                  <a:lnTo>
                    <a:pt x="49" y="0"/>
                  </a:lnTo>
                  <a:lnTo>
                    <a:pt x="47" y="0"/>
                  </a:lnTo>
                  <a:lnTo>
                    <a:pt x="45" y="0"/>
                  </a:lnTo>
                  <a:lnTo>
                    <a:pt x="45" y="0"/>
                  </a:lnTo>
                  <a:lnTo>
                    <a:pt x="42" y="0"/>
                  </a:lnTo>
                  <a:lnTo>
                    <a:pt x="42" y="0"/>
                  </a:lnTo>
                  <a:lnTo>
                    <a:pt x="40" y="0"/>
                  </a:lnTo>
                  <a:lnTo>
                    <a:pt x="38" y="3"/>
                  </a:lnTo>
                  <a:lnTo>
                    <a:pt x="38" y="5"/>
                  </a:lnTo>
                  <a:lnTo>
                    <a:pt x="38" y="7"/>
                  </a:lnTo>
                  <a:lnTo>
                    <a:pt x="38" y="10"/>
                  </a:lnTo>
                  <a:lnTo>
                    <a:pt x="35" y="21"/>
                  </a:lnTo>
                  <a:lnTo>
                    <a:pt x="38" y="21"/>
                  </a:lnTo>
                  <a:lnTo>
                    <a:pt x="38" y="24"/>
                  </a:lnTo>
                  <a:lnTo>
                    <a:pt x="38" y="26"/>
                  </a:lnTo>
                  <a:lnTo>
                    <a:pt x="38" y="29"/>
                  </a:lnTo>
                  <a:lnTo>
                    <a:pt x="40" y="31"/>
                  </a:lnTo>
                  <a:lnTo>
                    <a:pt x="40" y="36"/>
                  </a:lnTo>
                  <a:lnTo>
                    <a:pt x="38" y="38"/>
                  </a:lnTo>
                  <a:lnTo>
                    <a:pt x="38" y="40"/>
                  </a:lnTo>
                  <a:lnTo>
                    <a:pt x="40" y="43"/>
                  </a:lnTo>
                  <a:lnTo>
                    <a:pt x="40" y="47"/>
                  </a:lnTo>
                  <a:lnTo>
                    <a:pt x="42" y="50"/>
                  </a:lnTo>
                  <a:lnTo>
                    <a:pt x="42" y="52"/>
                  </a:lnTo>
                  <a:lnTo>
                    <a:pt x="42" y="52"/>
                  </a:lnTo>
                  <a:lnTo>
                    <a:pt x="40" y="55"/>
                  </a:lnTo>
                  <a:lnTo>
                    <a:pt x="40" y="55"/>
                  </a:lnTo>
                  <a:lnTo>
                    <a:pt x="38" y="55"/>
                  </a:lnTo>
                  <a:lnTo>
                    <a:pt x="38" y="55"/>
                  </a:lnTo>
                  <a:lnTo>
                    <a:pt x="35" y="52"/>
                  </a:lnTo>
                  <a:lnTo>
                    <a:pt x="33" y="50"/>
                  </a:lnTo>
                  <a:lnTo>
                    <a:pt x="33" y="50"/>
                  </a:lnTo>
                  <a:lnTo>
                    <a:pt x="33" y="50"/>
                  </a:lnTo>
                  <a:lnTo>
                    <a:pt x="31" y="47"/>
                  </a:lnTo>
                  <a:lnTo>
                    <a:pt x="31" y="47"/>
                  </a:lnTo>
                  <a:lnTo>
                    <a:pt x="31" y="50"/>
                  </a:lnTo>
                  <a:lnTo>
                    <a:pt x="31" y="55"/>
                  </a:lnTo>
                  <a:lnTo>
                    <a:pt x="31" y="55"/>
                  </a:lnTo>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3" name="Freeform 259"/>
            <p:cNvSpPr>
              <a:spLocks/>
            </p:cNvSpPr>
            <p:nvPr userDrawn="1"/>
          </p:nvSpPr>
          <p:spPr bwMode="auto">
            <a:xfrm>
              <a:off x="2142" y="2808"/>
              <a:ext cx="248" cy="387"/>
            </a:xfrm>
            <a:custGeom>
              <a:avLst/>
              <a:gdLst>
                <a:gd name="T0" fmla="*/ 238 w 248"/>
                <a:gd name="T1" fmla="*/ 326 h 387"/>
                <a:gd name="T2" fmla="*/ 238 w 248"/>
                <a:gd name="T3" fmla="*/ 307 h 387"/>
                <a:gd name="T4" fmla="*/ 243 w 248"/>
                <a:gd name="T5" fmla="*/ 298 h 387"/>
                <a:gd name="T6" fmla="*/ 238 w 248"/>
                <a:gd name="T7" fmla="*/ 272 h 387"/>
                <a:gd name="T8" fmla="*/ 236 w 248"/>
                <a:gd name="T9" fmla="*/ 250 h 387"/>
                <a:gd name="T10" fmla="*/ 215 w 248"/>
                <a:gd name="T11" fmla="*/ 234 h 387"/>
                <a:gd name="T12" fmla="*/ 205 w 248"/>
                <a:gd name="T13" fmla="*/ 220 h 387"/>
                <a:gd name="T14" fmla="*/ 205 w 248"/>
                <a:gd name="T15" fmla="*/ 201 h 387"/>
                <a:gd name="T16" fmla="*/ 191 w 248"/>
                <a:gd name="T17" fmla="*/ 210 h 387"/>
                <a:gd name="T18" fmla="*/ 172 w 248"/>
                <a:gd name="T19" fmla="*/ 201 h 387"/>
                <a:gd name="T20" fmla="*/ 158 w 248"/>
                <a:gd name="T21" fmla="*/ 186 h 387"/>
                <a:gd name="T22" fmla="*/ 149 w 248"/>
                <a:gd name="T23" fmla="*/ 177 h 387"/>
                <a:gd name="T24" fmla="*/ 144 w 248"/>
                <a:gd name="T25" fmla="*/ 165 h 387"/>
                <a:gd name="T26" fmla="*/ 139 w 248"/>
                <a:gd name="T27" fmla="*/ 158 h 387"/>
                <a:gd name="T28" fmla="*/ 144 w 248"/>
                <a:gd name="T29" fmla="*/ 153 h 387"/>
                <a:gd name="T30" fmla="*/ 153 w 248"/>
                <a:gd name="T31" fmla="*/ 137 h 387"/>
                <a:gd name="T32" fmla="*/ 156 w 248"/>
                <a:gd name="T33" fmla="*/ 118 h 387"/>
                <a:gd name="T34" fmla="*/ 165 w 248"/>
                <a:gd name="T35" fmla="*/ 104 h 387"/>
                <a:gd name="T36" fmla="*/ 186 w 248"/>
                <a:gd name="T37" fmla="*/ 94 h 387"/>
                <a:gd name="T38" fmla="*/ 203 w 248"/>
                <a:gd name="T39" fmla="*/ 87 h 387"/>
                <a:gd name="T40" fmla="*/ 210 w 248"/>
                <a:gd name="T41" fmla="*/ 87 h 387"/>
                <a:gd name="T42" fmla="*/ 201 w 248"/>
                <a:gd name="T43" fmla="*/ 82 h 387"/>
                <a:gd name="T44" fmla="*/ 208 w 248"/>
                <a:gd name="T45" fmla="*/ 56 h 387"/>
                <a:gd name="T46" fmla="*/ 193 w 248"/>
                <a:gd name="T47" fmla="*/ 47 h 387"/>
                <a:gd name="T48" fmla="*/ 179 w 248"/>
                <a:gd name="T49" fmla="*/ 47 h 387"/>
                <a:gd name="T50" fmla="*/ 165 w 248"/>
                <a:gd name="T51" fmla="*/ 52 h 387"/>
                <a:gd name="T52" fmla="*/ 153 w 248"/>
                <a:gd name="T53" fmla="*/ 49 h 387"/>
                <a:gd name="T54" fmla="*/ 146 w 248"/>
                <a:gd name="T55" fmla="*/ 38 h 387"/>
                <a:gd name="T56" fmla="*/ 139 w 248"/>
                <a:gd name="T57" fmla="*/ 26 h 387"/>
                <a:gd name="T58" fmla="*/ 127 w 248"/>
                <a:gd name="T59" fmla="*/ 16 h 387"/>
                <a:gd name="T60" fmla="*/ 120 w 248"/>
                <a:gd name="T61" fmla="*/ 4 h 387"/>
                <a:gd name="T62" fmla="*/ 111 w 248"/>
                <a:gd name="T63" fmla="*/ 2 h 387"/>
                <a:gd name="T64" fmla="*/ 111 w 248"/>
                <a:gd name="T65" fmla="*/ 11 h 387"/>
                <a:gd name="T66" fmla="*/ 109 w 248"/>
                <a:gd name="T67" fmla="*/ 19 h 387"/>
                <a:gd name="T68" fmla="*/ 92 w 248"/>
                <a:gd name="T69" fmla="*/ 49 h 387"/>
                <a:gd name="T70" fmla="*/ 61 w 248"/>
                <a:gd name="T71" fmla="*/ 68 h 387"/>
                <a:gd name="T72" fmla="*/ 57 w 248"/>
                <a:gd name="T73" fmla="*/ 73 h 387"/>
                <a:gd name="T74" fmla="*/ 52 w 248"/>
                <a:gd name="T75" fmla="*/ 82 h 387"/>
                <a:gd name="T76" fmla="*/ 50 w 248"/>
                <a:gd name="T77" fmla="*/ 94 h 387"/>
                <a:gd name="T78" fmla="*/ 43 w 248"/>
                <a:gd name="T79" fmla="*/ 104 h 387"/>
                <a:gd name="T80" fmla="*/ 31 w 248"/>
                <a:gd name="T81" fmla="*/ 94 h 387"/>
                <a:gd name="T82" fmla="*/ 19 w 248"/>
                <a:gd name="T83" fmla="*/ 94 h 387"/>
                <a:gd name="T84" fmla="*/ 17 w 248"/>
                <a:gd name="T85" fmla="*/ 85 h 387"/>
                <a:gd name="T86" fmla="*/ 21 w 248"/>
                <a:gd name="T87" fmla="*/ 78 h 387"/>
                <a:gd name="T88" fmla="*/ 14 w 248"/>
                <a:gd name="T89" fmla="*/ 73 h 387"/>
                <a:gd name="T90" fmla="*/ 5 w 248"/>
                <a:gd name="T91" fmla="*/ 108 h 387"/>
                <a:gd name="T92" fmla="*/ 5 w 248"/>
                <a:gd name="T93" fmla="*/ 127 h 387"/>
                <a:gd name="T94" fmla="*/ 40 w 248"/>
                <a:gd name="T95" fmla="*/ 168 h 387"/>
                <a:gd name="T96" fmla="*/ 64 w 248"/>
                <a:gd name="T97" fmla="*/ 208 h 387"/>
                <a:gd name="T98" fmla="*/ 87 w 248"/>
                <a:gd name="T99" fmla="*/ 255 h 387"/>
                <a:gd name="T100" fmla="*/ 106 w 248"/>
                <a:gd name="T101" fmla="*/ 281 h 387"/>
                <a:gd name="T102" fmla="*/ 113 w 248"/>
                <a:gd name="T103" fmla="*/ 309 h 387"/>
                <a:gd name="T104" fmla="*/ 156 w 248"/>
                <a:gd name="T105" fmla="*/ 340 h 387"/>
                <a:gd name="T106" fmla="*/ 193 w 248"/>
                <a:gd name="T107" fmla="*/ 359 h 387"/>
                <a:gd name="T108" fmla="*/ 217 w 248"/>
                <a:gd name="T109" fmla="*/ 380 h 387"/>
                <a:gd name="T110" fmla="*/ 234 w 248"/>
                <a:gd name="T111" fmla="*/ 378 h 387"/>
                <a:gd name="T112" fmla="*/ 238 w 248"/>
                <a:gd name="T113" fmla="*/ 366 h 387"/>
                <a:gd name="T114" fmla="*/ 243 w 248"/>
                <a:gd name="T115" fmla="*/ 35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8" h="387">
                  <a:moveTo>
                    <a:pt x="248" y="345"/>
                  </a:moveTo>
                  <a:lnTo>
                    <a:pt x="248" y="343"/>
                  </a:lnTo>
                  <a:lnTo>
                    <a:pt x="245" y="343"/>
                  </a:lnTo>
                  <a:lnTo>
                    <a:pt x="243" y="343"/>
                  </a:lnTo>
                  <a:lnTo>
                    <a:pt x="243" y="343"/>
                  </a:lnTo>
                  <a:lnTo>
                    <a:pt x="241" y="340"/>
                  </a:lnTo>
                  <a:lnTo>
                    <a:pt x="238" y="333"/>
                  </a:lnTo>
                  <a:lnTo>
                    <a:pt x="236" y="331"/>
                  </a:lnTo>
                  <a:lnTo>
                    <a:pt x="236" y="328"/>
                  </a:lnTo>
                  <a:lnTo>
                    <a:pt x="238" y="326"/>
                  </a:lnTo>
                  <a:lnTo>
                    <a:pt x="238" y="324"/>
                  </a:lnTo>
                  <a:lnTo>
                    <a:pt x="241" y="321"/>
                  </a:lnTo>
                  <a:lnTo>
                    <a:pt x="241" y="321"/>
                  </a:lnTo>
                  <a:lnTo>
                    <a:pt x="236" y="317"/>
                  </a:lnTo>
                  <a:lnTo>
                    <a:pt x="236" y="317"/>
                  </a:lnTo>
                  <a:lnTo>
                    <a:pt x="236" y="314"/>
                  </a:lnTo>
                  <a:lnTo>
                    <a:pt x="236" y="312"/>
                  </a:lnTo>
                  <a:lnTo>
                    <a:pt x="238" y="312"/>
                  </a:lnTo>
                  <a:lnTo>
                    <a:pt x="238" y="309"/>
                  </a:lnTo>
                  <a:lnTo>
                    <a:pt x="238" y="307"/>
                  </a:lnTo>
                  <a:lnTo>
                    <a:pt x="238" y="307"/>
                  </a:lnTo>
                  <a:lnTo>
                    <a:pt x="238" y="307"/>
                  </a:lnTo>
                  <a:lnTo>
                    <a:pt x="241" y="305"/>
                  </a:lnTo>
                  <a:lnTo>
                    <a:pt x="241" y="305"/>
                  </a:lnTo>
                  <a:lnTo>
                    <a:pt x="241" y="302"/>
                  </a:lnTo>
                  <a:lnTo>
                    <a:pt x="241" y="300"/>
                  </a:lnTo>
                  <a:lnTo>
                    <a:pt x="243" y="300"/>
                  </a:lnTo>
                  <a:lnTo>
                    <a:pt x="243" y="300"/>
                  </a:lnTo>
                  <a:lnTo>
                    <a:pt x="243" y="300"/>
                  </a:lnTo>
                  <a:lnTo>
                    <a:pt x="243" y="298"/>
                  </a:lnTo>
                  <a:lnTo>
                    <a:pt x="243" y="295"/>
                  </a:lnTo>
                  <a:lnTo>
                    <a:pt x="241" y="295"/>
                  </a:lnTo>
                  <a:lnTo>
                    <a:pt x="241" y="291"/>
                  </a:lnTo>
                  <a:lnTo>
                    <a:pt x="238" y="288"/>
                  </a:lnTo>
                  <a:lnTo>
                    <a:pt x="238" y="288"/>
                  </a:lnTo>
                  <a:lnTo>
                    <a:pt x="241" y="286"/>
                  </a:lnTo>
                  <a:lnTo>
                    <a:pt x="241" y="286"/>
                  </a:lnTo>
                  <a:lnTo>
                    <a:pt x="241" y="283"/>
                  </a:lnTo>
                  <a:lnTo>
                    <a:pt x="238" y="274"/>
                  </a:lnTo>
                  <a:lnTo>
                    <a:pt x="238" y="272"/>
                  </a:lnTo>
                  <a:lnTo>
                    <a:pt x="241" y="272"/>
                  </a:lnTo>
                  <a:lnTo>
                    <a:pt x="241" y="269"/>
                  </a:lnTo>
                  <a:lnTo>
                    <a:pt x="243" y="269"/>
                  </a:lnTo>
                  <a:lnTo>
                    <a:pt x="243" y="267"/>
                  </a:lnTo>
                  <a:lnTo>
                    <a:pt x="243" y="267"/>
                  </a:lnTo>
                  <a:lnTo>
                    <a:pt x="243" y="264"/>
                  </a:lnTo>
                  <a:lnTo>
                    <a:pt x="243" y="264"/>
                  </a:lnTo>
                  <a:lnTo>
                    <a:pt x="241" y="260"/>
                  </a:lnTo>
                  <a:lnTo>
                    <a:pt x="238" y="255"/>
                  </a:lnTo>
                  <a:lnTo>
                    <a:pt x="236" y="250"/>
                  </a:lnTo>
                  <a:lnTo>
                    <a:pt x="234" y="246"/>
                  </a:lnTo>
                  <a:lnTo>
                    <a:pt x="231" y="243"/>
                  </a:lnTo>
                  <a:lnTo>
                    <a:pt x="229" y="238"/>
                  </a:lnTo>
                  <a:lnTo>
                    <a:pt x="229" y="236"/>
                  </a:lnTo>
                  <a:lnTo>
                    <a:pt x="224" y="231"/>
                  </a:lnTo>
                  <a:lnTo>
                    <a:pt x="224" y="231"/>
                  </a:lnTo>
                  <a:lnTo>
                    <a:pt x="219" y="231"/>
                  </a:lnTo>
                  <a:lnTo>
                    <a:pt x="217" y="231"/>
                  </a:lnTo>
                  <a:lnTo>
                    <a:pt x="217" y="231"/>
                  </a:lnTo>
                  <a:lnTo>
                    <a:pt x="215" y="234"/>
                  </a:lnTo>
                  <a:lnTo>
                    <a:pt x="212" y="234"/>
                  </a:lnTo>
                  <a:lnTo>
                    <a:pt x="212" y="234"/>
                  </a:lnTo>
                  <a:lnTo>
                    <a:pt x="210" y="234"/>
                  </a:lnTo>
                  <a:lnTo>
                    <a:pt x="210" y="231"/>
                  </a:lnTo>
                  <a:lnTo>
                    <a:pt x="208" y="231"/>
                  </a:lnTo>
                  <a:lnTo>
                    <a:pt x="208" y="231"/>
                  </a:lnTo>
                  <a:lnTo>
                    <a:pt x="205" y="231"/>
                  </a:lnTo>
                  <a:lnTo>
                    <a:pt x="205" y="229"/>
                  </a:lnTo>
                  <a:lnTo>
                    <a:pt x="205" y="224"/>
                  </a:lnTo>
                  <a:lnTo>
                    <a:pt x="205" y="220"/>
                  </a:lnTo>
                  <a:lnTo>
                    <a:pt x="205" y="215"/>
                  </a:lnTo>
                  <a:lnTo>
                    <a:pt x="205" y="210"/>
                  </a:lnTo>
                  <a:lnTo>
                    <a:pt x="205" y="208"/>
                  </a:lnTo>
                  <a:lnTo>
                    <a:pt x="205" y="205"/>
                  </a:lnTo>
                  <a:lnTo>
                    <a:pt x="205" y="205"/>
                  </a:lnTo>
                  <a:lnTo>
                    <a:pt x="205" y="203"/>
                  </a:lnTo>
                  <a:lnTo>
                    <a:pt x="205" y="201"/>
                  </a:lnTo>
                  <a:lnTo>
                    <a:pt x="205" y="201"/>
                  </a:lnTo>
                  <a:lnTo>
                    <a:pt x="205" y="198"/>
                  </a:lnTo>
                  <a:lnTo>
                    <a:pt x="205" y="201"/>
                  </a:lnTo>
                  <a:lnTo>
                    <a:pt x="203" y="201"/>
                  </a:lnTo>
                  <a:lnTo>
                    <a:pt x="203" y="201"/>
                  </a:lnTo>
                  <a:lnTo>
                    <a:pt x="201" y="201"/>
                  </a:lnTo>
                  <a:lnTo>
                    <a:pt x="201" y="203"/>
                  </a:lnTo>
                  <a:lnTo>
                    <a:pt x="201" y="203"/>
                  </a:lnTo>
                  <a:lnTo>
                    <a:pt x="198" y="205"/>
                  </a:lnTo>
                  <a:lnTo>
                    <a:pt x="196" y="208"/>
                  </a:lnTo>
                  <a:lnTo>
                    <a:pt x="196" y="208"/>
                  </a:lnTo>
                  <a:lnTo>
                    <a:pt x="193" y="210"/>
                  </a:lnTo>
                  <a:lnTo>
                    <a:pt x="191" y="210"/>
                  </a:lnTo>
                  <a:lnTo>
                    <a:pt x="186" y="210"/>
                  </a:lnTo>
                  <a:lnTo>
                    <a:pt x="182" y="210"/>
                  </a:lnTo>
                  <a:lnTo>
                    <a:pt x="177" y="210"/>
                  </a:lnTo>
                  <a:lnTo>
                    <a:pt x="177" y="210"/>
                  </a:lnTo>
                  <a:lnTo>
                    <a:pt x="175" y="210"/>
                  </a:lnTo>
                  <a:lnTo>
                    <a:pt x="177" y="208"/>
                  </a:lnTo>
                  <a:lnTo>
                    <a:pt x="175" y="205"/>
                  </a:lnTo>
                  <a:lnTo>
                    <a:pt x="175" y="205"/>
                  </a:lnTo>
                  <a:lnTo>
                    <a:pt x="172" y="203"/>
                  </a:lnTo>
                  <a:lnTo>
                    <a:pt x="172" y="201"/>
                  </a:lnTo>
                  <a:lnTo>
                    <a:pt x="172" y="201"/>
                  </a:lnTo>
                  <a:lnTo>
                    <a:pt x="170" y="201"/>
                  </a:lnTo>
                  <a:lnTo>
                    <a:pt x="168" y="198"/>
                  </a:lnTo>
                  <a:lnTo>
                    <a:pt x="163" y="198"/>
                  </a:lnTo>
                  <a:lnTo>
                    <a:pt x="160" y="198"/>
                  </a:lnTo>
                  <a:lnTo>
                    <a:pt x="156" y="198"/>
                  </a:lnTo>
                  <a:lnTo>
                    <a:pt x="158" y="196"/>
                  </a:lnTo>
                  <a:lnTo>
                    <a:pt x="160" y="191"/>
                  </a:lnTo>
                  <a:lnTo>
                    <a:pt x="160" y="189"/>
                  </a:lnTo>
                  <a:lnTo>
                    <a:pt x="158" y="186"/>
                  </a:lnTo>
                  <a:lnTo>
                    <a:pt x="158" y="186"/>
                  </a:lnTo>
                  <a:lnTo>
                    <a:pt x="156" y="184"/>
                  </a:lnTo>
                  <a:lnTo>
                    <a:pt x="153" y="182"/>
                  </a:lnTo>
                  <a:lnTo>
                    <a:pt x="153" y="182"/>
                  </a:lnTo>
                  <a:lnTo>
                    <a:pt x="153" y="179"/>
                  </a:lnTo>
                  <a:lnTo>
                    <a:pt x="151" y="179"/>
                  </a:lnTo>
                  <a:lnTo>
                    <a:pt x="151" y="179"/>
                  </a:lnTo>
                  <a:lnTo>
                    <a:pt x="151" y="177"/>
                  </a:lnTo>
                  <a:lnTo>
                    <a:pt x="149" y="177"/>
                  </a:lnTo>
                  <a:lnTo>
                    <a:pt x="149" y="177"/>
                  </a:lnTo>
                  <a:lnTo>
                    <a:pt x="149" y="175"/>
                  </a:lnTo>
                  <a:lnTo>
                    <a:pt x="149" y="175"/>
                  </a:lnTo>
                  <a:lnTo>
                    <a:pt x="146" y="172"/>
                  </a:lnTo>
                  <a:lnTo>
                    <a:pt x="146" y="172"/>
                  </a:lnTo>
                  <a:lnTo>
                    <a:pt x="146" y="170"/>
                  </a:lnTo>
                  <a:lnTo>
                    <a:pt x="146" y="170"/>
                  </a:lnTo>
                  <a:lnTo>
                    <a:pt x="144" y="168"/>
                  </a:lnTo>
                  <a:lnTo>
                    <a:pt x="144" y="168"/>
                  </a:lnTo>
                  <a:lnTo>
                    <a:pt x="144" y="168"/>
                  </a:lnTo>
                  <a:lnTo>
                    <a:pt x="144" y="165"/>
                  </a:lnTo>
                  <a:lnTo>
                    <a:pt x="144" y="165"/>
                  </a:lnTo>
                  <a:lnTo>
                    <a:pt x="144" y="165"/>
                  </a:lnTo>
                  <a:lnTo>
                    <a:pt x="144" y="163"/>
                  </a:lnTo>
                  <a:lnTo>
                    <a:pt x="144" y="163"/>
                  </a:lnTo>
                  <a:lnTo>
                    <a:pt x="142" y="160"/>
                  </a:lnTo>
                  <a:lnTo>
                    <a:pt x="139" y="160"/>
                  </a:lnTo>
                  <a:lnTo>
                    <a:pt x="139" y="160"/>
                  </a:lnTo>
                  <a:lnTo>
                    <a:pt x="139" y="158"/>
                  </a:lnTo>
                  <a:lnTo>
                    <a:pt x="139" y="158"/>
                  </a:lnTo>
                  <a:lnTo>
                    <a:pt x="139" y="158"/>
                  </a:lnTo>
                  <a:lnTo>
                    <a:pt x="139" y="158"/>
                  </a:lnTo>
                  <a:lnTo>
                    <a:pt x="139" y="156"/>
                  </a:lnTo>
                  <a:lnTo>
                    <a:pt x="139" y="156"/>
                  </a:lnTo>
                  <a:lnTo>
                    <a:pt x="142" y="156"/>
                  </a:lnTo>
                  <a:lnTo>
                    <a:pt x="142" y="156"/>
                  </a:lnTo>
                  <a:lnTo>
                    <a:pt x="142" y="156"/>
                  </a:lnTo>
                  <a:lnTo>
                    <a:pt x="142" y="156"/>
                  </a:lnTo>
                  <a:lnTo>
                    <a:pt x="144" y="156"/>
                  </a:lnTo>
                  <a:lnTo>
                    <a:pt x="144" y="153"/>
                  </a:lnTo>
                  <a:lnTo>
                    <a:pt x="144" y="153"/>
                  </a:lnTo>
                  <a:lnTo>
                    <a:pt x="144" y="151"/>
                  </a:lnTo>
                  <a:lnTo>
                    <a:pt x="142" y="151"/>
                  </a:lnTo>
                  <a:lnTo>
                    <a:pt x="142" y="149"/>
                  </a:lnTo>
                  <a:lnTo>
                    <a:pt x="144" y="146"/>
                  </a:lnTo>
                  <a:lnTo>
                    <a:pt x="144" y="146"/>
                  </a:lnTo>
                  <a:lnTo>
                    <a:pt x="144" y="144"/>
                  </a:lnTo>
                  <a:lnTo>
                    <a:pt x="149" y="142"/>
                  </a:lnTo>
                  <a:lnTo>
                    <a:pt x="151" y="139"/>
                  </a:lnTo>
                  <a:lnTo>
                    <a:pt x="153" y="139"/>
                  </a:lnTo>
                  <a:lnTo>
                    <a:pt x="153" y="137"/>
                  </a:lnTo>
                  <a:lnTo>
                    <a:pt x="153" y="137"/>
                  </a:lnTo>
                  <a:lnTo>
                    <a:pt x="153" y="134"/>
                  </a:lnTo>
                  <a:lnTo>
                    <a:pt x="153" y="134"/>
                  </a:lnTo>
                  <a:lnTo>
                    <a:pt x="153" y="132"/>
                  </a:lnTo>
                  <a:lnTo>
                    <a:pt x="153" y="130"/>
                  </a:lnTo>
                  <a:lnTo>
                    <a:pt x="151" y="127"/>
                  </a:lnTo>
                  <a:lnTo>
                    <a:pt x="153" y="127"/>
                  </a:lnTo>
                  <a:lnTo>
                    <a:pt x="153" y="125"/>
                  </a:lnTo>
                  <a:lnTo>
                    <a:pt x="156" y="123"/>
                  </a:lnTo>
                  <a:lnTo>
                    <a:pt x="156" y="118"/>
                  </a:lnTo>
                  <a:lnTo>
                    <a:pt x="156" y="118"/>
                  </a:lnTo>
                  <a:lnTo>
                    <a:pt x="156" y="116"/>
                  </a:lnTo>
                  <a:lnTo>
                    <a:pt x="158" y="111"/>
                  </a:lnTo>
                  <a:lnTo>
                    <a:pt x="158" y="108"/>
                  </a:lnTo>
                  <a:lnTo>
                    <a:pt x="158" y="108"/>
                  </a:lnTo>
                  <a:lnTo>
                    <a:pt x="158" y="108"/>
                  </a:lnTo>
                  <a:lnTo>
                    <a:pt x="158" y="108"/>
                  </a:lnTo>
                  <a:lnTo>
                    <a:pt x="160" y="106"/>
                  </a:lnTo>
                  <a:lnTo>
                    <a:pt x="163" y="106"/>
                  </a:lnTo>
                  <a:lnTo>
                    <a:pt x="165" y="104"/>
                  </a:lnTo>
                  <a:lnTo>
                    <a:pt x="168" y="101"/>
                  </a:lnTo>
                  <a:lnTo>
                    <a:pt x="170" y="99"/>
                  </a:lnTo>
                  <a:lnTo>
                    <a:pt x="172" y="97"/>
                  </a:lnTo>
                  <a:lnTo>
                    <a:pt x="175" y="97"/>
                  </a:lnTo>
                  <a:lnTo>
                    <a:pt x="175" y="97"/>
                  </a:lnTo>
                  <a:lnTo>
                    <a:pt x="177" y="94"/>
                  </a:lnTo>
                  <a:lnTo>
                    <a:pt x="179" y="94"/>
                  </a:lnTo>
                  <a:lnTo>
                    <a:pt x="182" y="94"/>
                  </a:lnTo>
                  <a:lnTo>
                    <a:pt x="184" y="94"/>
                  </a:lnTo>
                  <a:lnTo>
                    <a:pt x="186" y="94"/>
                  </a:lnTo>
                  <a:lnTo>
                    <a:pt x="189" y="92"/>
                  </a:lnTo>
                  <a:lnTo>
                    <a:pt x="189" y="92"/>
                  </a:lnTo>
                  <a:lnTo>
                    <a:pt x="193" y="92"/>
                  </a:lnTo>
                  <a:lnTo>
                    <a:pt x="193" y="90"/>
                  </a:lnTo>
                  <a:lnTo>
                    <a:pt x="196" y="90"/>
                  </a:lnTo>
                  <a:lnTo>
                    <a:pt x="196" y="87"/>
                  </a:lnTo>
                  <a:lnTo>
                    <a:pt x="198" y="87"/>
                  </a:lnTo>
                  <a:lnTo>
                    <a:pt x="198" y="87"/>
                  </a:lnTo>
                  <a:lnTo>
                    <a:pt x="201" y="87"/>
                  </a:lnTo>
                  <a:lnTo>
                    <a:pt x="203" y="87"/>
                  </a:lnTo>
                  <a:lnTo>
                    <a:pt x="205" y="87"/>
                  </a:lnTo>
                  <a:lnTo>
                    <a:pt x="205" y="90"/>
                  </a:lnTo>
                  <a:lnTo>
                    <a:pt x="208" y="90"/>
                  </a:lnTo>
                  <a:lnTo>
                    <a:pt x="208" y="90"/>
                  </a:lnTo>
                  <a:lnTo>
                    <a:pt x="208" y="90"/>
                  </a:lnTo>
                  <a:lnTo>
                    <a:pt x="210" y="92"/>
                  </a:lnTo>
                  <a:lnTo>
                    <a:pt x="210" y="92"/>
                  </a:lnTo>
                  <a:lnTo>
                    <a:pt x="212" y="90"/>
                  </a:lnTo>
                  <a:lnTo>
                    <a:pt x="212" y="90"/>
                  </a:lnTo>
                  <a:lnTo>
                    <a:pt x="210" y="87"/>
                  </a:lnTo>
                  <a:lnTo>
                    <a:pt x="210" y="87"/>
                  </a:lnTo>
                  <a:lnTo>
                    <a:pt x="208" y="85"/>
                  </a:lnTo>
                  <a:lnTo>
                    <a:pt x="208" y="85"/>
                  </a:lnTo>
                  <a:lnTo>
                    <a:pt x="205" y="82"/>
                  </a:lnTo>
                  <a:lnTo>
                    <a:pt x="205" y="80"/>
                  </a:lnTo>
                  <a:lnTo>
                    <a:pt x="205" y="80"/>
                  </a:lnTo>
                  <a:lnTo>
                    <a:pt x="203" y="80"/>
                  </a:lnTo>
                  <a:lnTo>
                    <a:pt x="203" y="80"/>
                  </a:lnTo>
                  <a:lnTo>
                    <a:pt x="201" y="82"/>
                  </a:lnTo>
                  <a:lnTo>
                    <a:pt x="201" y="82"/>
                  </a:lnTo>
                  <a:lnTo>
                    <a:pt x="198" y="80"/>
                  </a:lnTo>
                  <a:lnTo>
                    <a:pt x="196" y="80"/>
                  </a:lnTo>
                  <a:lnTo>
                    <a:pt x="198" y="75"/>
                  </a:lnTo>
                  <a:lnTo>
                    <a:pt x="203" y="68"/>
                  </a:lnTo>
                  <a:lnTo>
                    <a:pt x="205" y="66"/>
                  </a:lnTo>
                  <a:lnTo>
                    <a:pt x="208" y="61"/>
                  </a:lnTo>
                  <a:lnTo>
                    <a:pt x="208" y="59"/>
                  </a:lnTo>
                  <a:lnTo>
                    <a:pt x="210" y="56"/>
                  </a:lnTo>
                  <a:lnTo>
                    <a:pt x="208" y="56"/>
                  </a:lnTo>
                  <a:lnTo>
                    <a:pt x="208" y="56"/>
                  </a:lnTo>
                  <a:lnTo>
                    <a:pt x="208" y="56"/>
                  </a:lnTo>
                  <a:lnTo>
                    <a:pt x="205" y="54"/>
                  </a:lnTo>
                  <a:lnTo>
                    <a:pt x="205" y="54"/>
                  </a:lnTo>
                  <a:lnTo>
                    <a:pt x="203" y="54"/>
                  </a:lnTo>
                  <a:lnTo>
                    <a:pt x="203" y="52"/>
                  </a:lnTo>
                  <a:lnTo>
                    <a:pt x="201" y="52"/>
                  </a:lnTo>
                  <a:lnTo>
                    <a:pt x="198" y="52"/>
                  </a:lnTo>
                  <a:lnTo>
                    <a:pt x="198" y="52"/>
                  </a:lnTo>
                  <a:lnTo>
                    <a:pt x="196" y="49"/>
                  </a:lnTo>
                  <a:lnTo>
                    <a:pt x="193" y="47"/>
                  </a:lnTo>
                  <a:lnTo>
                    <a:pt x="191" y="47"/>
                  </a:lnTo>
                  <a:lnTo>
                    <a:pt x="191" y="47"/>
                  </a:lnTo>
                  <a:lnTo>
                    <a:pt x="189" y="47"/>
                  </a:lnTo>
                  <a:lnTo>
                    <a:pt x="186" y="49"/>
                  </a:lnTo>
                  <a:lnTo>
                    <a:pt x="186" y="49"/>
                  </a:lnTo>
                  <a:lnTo>
                    <a:pt x="184" y="49"/>
                  </a:lnTo>
                  <a:lnTo>
                    <a:pt x="184" y="49"/>
                  </a:lnTo>
                  <a:lnTo>
                    <a:pt x="182" y="47"/>
                  </a:lnTo>
                  <a:lnTo>
                    <a:pt x="182" y="47"/>
                  </a:lnTo>
                  <a:lnTo>
                    <a:pt x="179" y="47"/>
                  </a:lnTo>
                  <a:lnTo>
                    <a:pt x="177" y="45"/>
                  </a:lnTo>
                  <a:lnTo>
                    <a:pt x="177" y="45"/>
                  </a:lnTo>
                  <a:lnTo>
                    <a:pt x="175" y="47"/>
                  </a:lnTo>
                  <a:lnTo>
                    <a:pt x="175" y="47"/>
                  </a:lnTo>
                  <a:lnTo>
                    <a:pt x="172" y="49"/>
                  </a:lnTo>
                  <a:lnTo>
                    <a:pt x="172" y="49"/>
                  </a:lnTo>
                  <a:lnTo>
                    <a:pt x="170" y="49"/>
                  </a:lnTo>
                  <a:lnTo>
                    <a:pt x="168" y="49"/>
                  </a:lnTo>
                  <a:lnTo>
                    <a:pt x="168" y="52"/>
                  </a:lnTo>
                  <a:lnTo>
                    <a:pt x="165" y="52"/>
                  </a:lnTo>
                  <a:lnTo>
                    <a:pt x="163" y="49"/>
                  </a:lnTo>
                  <a:lnTo>
                    <a:pt x="163" y="49"/>
                  </a:lnTo>
                  <a:lnTo>
                    <a:pt x="160" y="49"/>
                  </a:lnTo>
                  <a:lnTo>
                    <a:pt x="160" y="49"/>
                  </a:lnTo>
                  <a:lnTo>
                    <a:pt x="160" y="49"/>
                  </a:lnTo>
                  <a:lnTo>
                    <a:pt x="158" y="52"/>
                  </a:lnTo>
                  <a:lnTo>
                    <a:pt x="156" y="52"/>
                  </a:lnTo>
                  <a:lnTo>
                    <a:pt x="156" y="49"/>
                  </a:lnTo>
                  <a:lnTo>
                    <a:pt x="153" y="49"/>
                  </a:lnTo>
                  <a:lnTo>
                    <a:pt x="153" y="49"/>
                  </a:lnTo>
                  <a:lnTo>
                    <a:pt x="151" y="47"/>
                  </a:lnTo>
                  <a:lnTo>
                    <a:pt x="151" y="47"/>
                  </a:lnTo>
                  <a:lnTo>
                    <a:pt x="151" y="45"/>
                  </a:lnTo>
                  <a:lnTo>
                    <a:pt x="151" y="45"/>
                  </a:lnTo>
                  <a:lnTo>
                    <a:pt x="151" y="42"/>
                  </a:lnTo>
                  <a:lnTo>
                    <a:pt x="151" y="40"/>
                  </a:lnTo>
                  <a:lnTo>
                    <a:pt x="151" y="38"/>
                  </a:lnTo>
                  <a:lnTo>
                    <a:pt x="149" y="38"/>
                  </a:lnTo>
                  <a:lnTo>
                    <a:pt x="149" y="38"/>
                  </a:lnTo>
                  <a:lnTo>
                    <a:pt x="146" y="38"/>
                  </a:lnTo>
                  <a:lnTo>
                    <a:pt x="146" y="38"/>
                  </a:lnTo>
                  <a:lnTo>
                    <a:pt x="144" y="35"/>
                  </a:lnTo>
                  <a:lnTo>
                    <a:pt x="144" y="35"/>
                  </a:lnTo>
                  <a:lnTo>
                    <a:pt x="144" y="33"/>
                  </a:lnTo>
                  <a:lnTo>
                    <a:pt x="144" y="30"/>
                  </a:lnTo>
                  <a:lnTo>
                    <a:pt x="144" y="30"/>
                  </a:lnTo>
                  <a:lnTo>
                    <a:pt x="142" y="28"/>
                  </a:lnTo>
                  <a:lnTo>
                    <a:pt x="142" y="26"/>
                  </a:lnTo>
                  <a:lnTo>
                    <a:pt x="139" y="26"/>
                  </a:lnTo>
                  <a:lnTo>
                    <a:pt x="139" y="26"/>
                  </a:lnTo>
                  <a:lnTo>
                    <a:pt x="137" y="26"/>
                  </a:lnTo>
                  <a:lnTo>
                    <a:pt x="137" y="23"/>
                  </a:lnTo>
                  <a:lnTo>
                    <a:pt x="135" y="23"/>
                  </a:lnTo>
                  <a:lnTo>
                    <a:pt x="135" y="21"/>
                  </a:lnTo>
                  <a:lnTo>
                    <a:pt x="132" y="21"/>
                  </a:lnTo>
                  <a:lnTo>
                    <a:pt x="130" y="21"/>
                  </a:lnTo>
                  <a:lnTo>
                    <a:pt x="130" y="19"/>
                  </a:lnTo>
                  <a:lnTo>
                    <a:pt x="130" y="19"/>
                  </a:lnTo>
                  <a:lnTo>
                    <a:pt x="130" y="16"/>
                  </a:lnTo>
                  <a:lnTo>
                    <a:pt x="127" y="16"/>
                  </a:lnTo>
                  <a:lnTo>
                    <a:pt x="127" y="14"/>
                  </a:lnTo>
                  <a:lnTo>
                    <a:pt x="127" y="11"/>
                  </a:lnTo>
                  <a:lnTo>
                    <a:pt x="125" y="11"/>
                  </a:lnTo>
                  <a:lnTo>
                    <a:pt x="125" y="9"/>
                  </a:lnTo>
                  <a:lnTo>
                    <a:pt x="125" y="9"/>
                  </a:lnTo>
                  <a:lnTo>
                    <a:pt x="123" y="7"/>
                  </a:lnTo>
                  <a:lnTo>
                    <a:pt x="123" y="7"/>
                  </a:lnTo>
                  <a:lnTo>
                    <a:pt x="120" y="7"/>
                  </a:lnTo>
                  <a:lnTo>
                    <a:pt x="120" y="4"/>
                  </a:lnTo>
                  <a:lnTo>
                    <a:pt x="120" y="4"/>
                  </a:lnTo>
                  <a:lnTo>
                    <a:pt x="120" y="4"/>
                  </a:lnTo>
                  <a:lnTo>
                    <a:pt x="118" y="4"/>
                  </a:lnTo>
                  <a:lnTo>
                    <a:pt x="118" y="4"/>
                  </a:lnTo>
                  <a:lnTo>
                    <a:pt x="116" y="2"/>
                  </a:lnTo>
                  <a:lnTo>
                    <a:pt x="116" y="2"/>
                  </a:lnTo>
                  <a:lnTo>
                    <a:pt x="113" y="0"/>
                  </a:lnTo>
                  <a:lnTo>
                    <a:pt x="113" y="0"/>
                  </a:lnTo>
                  <a:lnTo>
                    <a:pt x="111" y="0"/>
                  </a:lnTo>
                  <a:lnTo>
                    <a:pt x="111" y="2"/>
                  </a:lnTo>
                  <a:lnTo>
                    <a:pt x="111" y="2"/>
                  </a:lnTo>
                  <a:lnTo>
                    <a:pt x="109" y="2"/>
                  </a:lnTo>
                  <a:lnTo>
                    <a:pt x="109" y="2"/>
                  </a:lnTo>
                  <a:lnTo>
                    <a:pt x="106" y="2"/>
                  </a:lnTo>
                  <a:lnTo>
                    <a:pt x="104" y="2"/>
                  </a:lnTo>
                  <a:lnTo>
                    <a:pt x="104" y="2"/>
                  </a:lnTo>
                  <a:lnTo>
                    <a:pt x="106" y="4"/>
                  </a:lnTo>
                  <a:lnTo>
                    <a:pt x="106" y="4"/>
                  </a:lnTo>
                  <a:lnTo>
                    <a:pt x="109" y="7"/>
                  </a:lnTo>
                  <a:lnTo>
                    <a:pt x="109" y="9"/>
                  </a:lnTo>
                  <a:lnTo>
                    <a:pt x="111" y="11"/>
                  </a:lnTo>
                  <a:lnTo>
                    <a:pt x="111" y="11"/>
                  </a:lnTo>
                  <a:lnTo>
                    <a:pt x="111" y="11"/>
                  </a:lnTo>
                  <a:lnTo>
                    <a:pt x="111" y="14"/>
                  </a:lnTo>
                  <a:lnTo>
                    <a:pt x="111" y="14"/>
                  </a:lnTo>
                  <a:lnTo>
                    <a:pt x="111" y="21"/>
                  </a:lnTo>
                  <a:lnTo>
                    <a:pt x="111" y="21"/>
                  </a:lnTo>
                  <a:lnTo>
                    <a:pt x="111" y="21"/>
                  </a:lnTo>
                  <a:lnTo>
                    <a:pt x="111" y="21"/>
                  </a:lnTo>
                  <a:lnTo>
                    <a:pt x="109" y="19"/>
                  </a:lnTo>
                  <a:lnTo>
                    <a:pt x="109" y="19"/>
                  </a:lnTo>
                  <a:lnTo>
                    <a:pt x="109" y="21"/>
                  </a:lnTo>
                  <a:lnTo>
                    <a:pt x="109" y="23"/>
                  </a:lnTo>
                  <a:lnTo>
                    <a:pt x="106" y="28"/>
                  </a:lnTo>
                  <a:lnTo>
                    <a:pt x="106" y="33"/>
                  </a:lnTo>
                  <a:lnTo>
                    <a:pt x="104" y="33"/>
                  </a:lnTo>
                  <a:lnTo>
                    <a:pt x="104" y="35"/>
                  </a:lnTo>
                  <a:lnTo>
                    <a:pt x="99" y="40"/>
                  </a:lnTo>
                  <a:lnTo>
                    <a:pt x="97" y="45"/>
                  </a:lnTo>
                  <a:lnTo>
                    <a:pt x="94" y="47"/>
                  </a:lnTo>
                  <a:lnTo>
                    <a:pt x="92" y="49"/>
                  </a:lnTo>
                  <a:lnTo>
                    <a:pt x="90" y="52"/>
                  </a:lnTo>
                  <a:lnTo>
                    <a:pt x="85" y="54"/>
                  </a:lnTo>
                  <a:lnTo>
                    <a:pt x="83" y="56"/>
                  </a:lnTo>
                  <a:lnTo>
                    <a:pt x="78" y="56"/>
                  </a:lnTo>
                  <a:lnTo>
                    <a:pt x="73" y="59"/>
                  </a:lnTo>
                  <a:lnTo>
                    <a:pt x="71" y="61"/>
                  </a:lnTo>
                  <a:lnTo>
                    <a:pt x="69" y="61"/>
                  </a:lnTo>
                  <a:lnTo>
                    <a:pt x="64" y="64"/>
                  </a:lnTo>
                  <a:lnTo>
                    <a:pt x="61" y="64"/>
                  </a:lnTo>
                  <a:lnTo>
                    <a:pt x="61" y="68"/>
                  </a:lnTo>
                  <a:lnTo>
                    <a:pt x="59" y="68"/>
                  </a:lnTo>
                  <a:lnTo>
                    <a:pt x="59" y="71"/>
                  </a:lnTo>
                  <a:lnTo>
                    <a:pt x="59" y="71"/>
                  </a:lnTo>
                  <a:lnTo>
                    <a:pt x="59" y="71"/>
                  </a:lnTo>
                  <a:lnTo>
                    <a:pt x="59" y="73"/>
                  </a:lnTo>
                  <a:lnTo>
                    <a:pt x="59" y="73"/>
                  </a:lnTo>
                  <a:lnTo>
                    <a:pt x="59" y="73"/>
                  </a:lnTo>
                  <a:lnTo>
                    <a:pt x="57" y="73"/>
                  </a:lnTo>
                  <a:lnTo>
                    <a:pt x="57" y="73"/>
                  </a:lnTo>
                  <a:lnTo>
                    <a:pt x="57" y="73"/>
                  </a:lnTo>
                  <a:lnTo>
                    <a:pt x="57" y="71"/>
                  </a:lnTo>
                  <a:lnTo>
                    <a:pt x="57" y="71"/>
                  </a:lnTo>
                  <a:lnTo>
                    <a:pt x="54" y="71"/>
                  </a:lnTo>
                  <a:lnTo>
                    <a:pt x="54" y="73"/>
                  </a:lnTo>
                  <a:lnTo>
                    <a:pt x="54" y="75"/>
                  </a:lnTo>
                  <a:lnTo>
                    <a:pt x="54" y="78"/>
                  </a:lnTo>
                  <a:lnTo>
                    <a:pt x="54" y="78"/>
                  </a:lnTo>
                  <a:lnTo>
                    <a:pt x="54" y="80"/>
                  </a:lnTo>
                  <a:lnTo>
                    <a:pt x="54" y="80"/>
                  </a:lnTo>
                  <a:lnTo>
                    <a:pt x="52" y="82"/>
                  </a:lnTo>
                  <a:lnTo>
                    <a:pt x="52" y="82"/>
                  </a:lnTo>
                  <a:lnTo>
                    <a:pt x="52" y="85"/>
                  </a:lnTo>
                  <a:lnTo>
                    <a:pt x="52" y="85"/>
                  </a:lnTo>
                  <a:lnTo>
                    <a:pt x="52" y="87"/>
                  </a:lnTo>
                  <a:lnTo>
                    <a:pt x="50" y="90"/>
                  </a:lnTo>
                  <a:lnTo>
                    <a:pt x="50" y="92"/>
                  </a:lnTo>
                  <a:lnTo>
                    <a:pt x="50" y="92"/>
                  </a:lnTo>
                  <a:lnTo>
                    <a:pt x="50" y="94"/>
                  </a:lnTo>
                  <a:lnTo>
                    <a:pt x="50" y="94"/>
                  </a:lnTo>
                  <a:lnTo>
                    <a:pt x="50" y="94"/>
                  </a:lnTo>
                  <a:lnTo>
                    <a:pt x="50" y="97"/>
                  </a:lnTo>
                  <a:lnTo>
                    <a:pt x="50" y="97"/>
                  </a:lnTo>
                  <a:lnTo>
                    <a:pt x="47" y="99"/>
                  </a:lnTo>
                  <a:lnTo>
                    <a:pt x="45" y="99"/>
                  </a:lnTo>
                  <a:lnTo>
                    <a:pt x="45" y="101"/>
                  </a:lnTo>
                  <a:lnTo>
                    <a:pt x="45" y="101"/>
                  </a:lnTo>
                  <a:lnTo>
                    <a:pt x="45" y="101"/>
                  </a:lnTo>
                  <a:lnTo>
                    <a:pt x="45" y="104"/>
                  </a:lnTo>
                  <a:lnTo>
                    <a:pt x="45" y="104"/>
                  </a:lnTo>
                  <a:lnTo>
                    <a:pt x="43" y="104"/>
                  </a:lnTo>
                  <a:lnTo>
                    <a:pt x="43" y="106"/>
                  </a:lnTo>
                  <a:lnTo>
                    <a:pt x="40" y="104"/>
                  </a:lnTo>
                  <a:lnTo>
                    <a:pt x="40" y="104"/>
                  </a:lnTo>
                  <a:lnTo>
                    <a:pt x="38" y="104"/>
                  </a:lnTo>
                  <a:lnTo>
                    <a:pt x="38" y="101"/>
                  </a:lnTo>
                  <a:lnTo>
                    <a:pt x="36" y="101"/>
                  </a:lnTo>
                  <a:lnTo>
                    <a:pt x="36" y="99"/>
                  </a:lnTo>
                  <a:lnTo>
                    <a:pt x="33" y="97"/>
                  </a:lnTo>
                  <a:lnTo>
                    <a:pt x="33" y="94"/>
                  </a:lnTo>
                  <a:lnTo>
                    <a:pt x="31" y="94"/>
                  </a:lnTo>
                  <a:lnTo>
                    <a:pt x="31" y="94"/>
                  </a:lnTo>
                  <a:lnTo>
                    <a:pt x="28" y="94"/>
                  </a:lnTo>
                  <a:lnTo>
                    <a:pt x="28" y="94"/>
                  </a:lnTo>
                  <a:lnTo>
                    <a:pt x="26" y="92"/>
                  </a:lnTo>
                  <a:lnTo>
                    <a:pt x="24" y="92"/>
                  </a:lnTo>
                  <a:lnTo>
                    <a:pt x="21" y="90"/>
                  </a:lnTo>
                  <a:lnTo>
                    <a:pt x="21" y="92"/>
                  </a:lnTo>
                  <a:lnTo>
                    <a:pt x="21" y="92"/>
                  </a:lnTo>
                  <a:lnTo>
                    <a:pt x="19" y="92"/>
                  </a:lnTo>
                  <a:lnTo>
                    <a:pt x="19" y="94"/>
                  </a:lnTo>
                  <a:lnTo>
                    <a:pt x="17" y="94"/>
                  </a:lnTo>
                  <a:lnTo>
                    <a:pt x="17" y="94"/>
                  </a:lnTo>
                  <a:lnTo>
                    <a:pt x="17" y="92"/>
                  </a:lnTo>
                  <a:lnTo>
                    <a:pt x="17" y="92"/>
                  </a:lnTo>
                  <a:lnTo>
                    <a:pt x="19" y="90"/>
                  </a:lnTo>
                  <a:lnTo>
                    <a:pt x="17" y="90"/>
                  </a:lnTo>
                  <a:lnTo>
                    <a:pt x="17" y="87"/>
                  </a:lnTo>
                  <a:lnTo>
                    <a:pt x="17" y="87"/>
                  </a:lnTo>
                  <a:lnTo>
                    <a:pt x="17" y="85"/>
                  </a:lnTo>
                  <a:lnTo>
                    <a:pt x="17" y="85"/>
                  </a:lnTo>
                  <a:lnTo>
                    <a:pt x="17" y="85"/>
                  </a:lnTo>
                  <a:lnTo>
                    <a:pt x="19" y="85"/>
                  </a:lnTo>
                  <a:lnTo>
                    <a:pt x="19" y="85"/>
                  </a:lnTo>
                  <a:lnTo>
                    <a:pt x="19" y="82"/>
                  </a:lnTo>
                  <a:lnTo>
                    <a:pt x="21" y="82"/>
                  </a:lnTo>
                  <a:lnTo>
                    <a:pt x="21" y="82"/>
                  </a:lnTo>
                  <a:lnTo>
                    <a:pt x="21" y="82"/>
                  </a:lnTo>
                  <a:lnTo>
                    <a:pt x="21" y="80"/>
                  </a:lnTo>
                  <a:lnTo>
                    <a:pt x="21" y="78"/>
                  </a:lnTo>
                  <a:lnTo>
                    <a:pt x="21" y="78"/>
                  </a:lnTo>
                  <a:lnTo>
                    <a:pt x="21" y="78"/>
                  </a:lnTo>
                  <a:lnTo>
                    <a:pt x="21" y="75"/>
                  </a:lnTo>
                  <a:lnTo>
                    <a:pt x="19" y="75"/>
                  </a:lnTo>
                  <a:lnTo>
                    <a:pt x="19" y="73"/>
                  </a:lnTo>
                  <a:lnTo>
                    <a:pt x="19" y="73"/>
                  </a:lnTo>
                  <a:lnTo>
                    <a:pt x="19" y="73"/>
                  </a:lnTo>
                  <a:lnTo>
                    <a:pt x="19" y="73"/>
                  </a:lnTo>
                  <a:lnTo>
                    <a:pt x="19" y="71"/>
                  </a:lnTo>
                  <a:lnTo>
                    <a:pt x="19" y="71"/>
                  </a:lnTo>
                  <a:lnTo>
                    <a:pt x="14" y="73"/>
                  </a:lnTo>
                  <a:lnTo>
                    <a:pt x="12" y="78"/>
                  </a:lnTo>
                  <a:lnTo>
                    <a:pt x="10" y="78"/>
                  </a:lnTo>
                  <a:lnTo>
                    <a:pt x="7" y="82"/>
                  </a:lnTo>
                  <a:lnTo>
                    <a:pt x="3" y="90"/>
                  </a:lnTo>
                  <a:lnTo>
                    <a:pt x="0" y="92"/>
                  </a:lnTo>
                  <a:lnTo>
                    <a:pt x="0" y="99"/>
                  </a:lnTo>
                  <a:lnTo>
                    <a:pt x="3" y="101"/>
                  </a:lnTo>
                  <a:lnTo>
                    <a:pt x="3" y="104"/>
                  </a:lnTo>
                  <a:lnTo>
                    <a:pt x="5" y="106"/>
                  </a:lnTo>
                  <a:lnTo>
                    <a:pt x="5" y="108"/>
                  </a:lnTo>
                  <a:lnTo>
                    <a:pt x="5" y="108"/>
                  </a:lnTo>
                  <a:lnTo>
                    <a:pt x="10" y="116"/>
                  </a:lnTo>
                  <a:lnTo>
                    <a:pt x="10" y="118"/>
                  </a:lnTo>
                  <a:lnTo>
                    <a:pt x="10" y="120"/>
                  </a:lnTo>
                  <a:lnTo>
                    <a:pt x="10" y="123"/>
                  </a:lnTo>
                  <a:lnTo>
                    <a:pt x="7" y="123"/>
                  </a:lnTo>
                  <a:lnTo>
                    <a:pt x="7" y="123"/>
                  </a:lnTo>
                  <a:lnTo>
                    <a:pt x="5" y="123"/>
                  </a:lnTo>
                  <a:lnTo>
                    <a:pt x="5" y="125"/>
                  </a:lnTo>
                  <a:lnTo>
                    <a:pt x="5" y="127"/>
                  </a:lnTo>
                  <a:lnTo>
                    <a:pt x="7" y="130"/>
                  </a:lnTo>
                  <a:lnTo>
                    <a:pt x="12" y="132"/>
                  </a:lnTo>
                  <a:lnTo>
                    <a:pt x="26" y="139"/>
                  </a:lnTo>
                  <a:lnTo>
                    <a:pt x="28" y="142"/>
                  </a:lnTo>
                  <a:lnTo>
                    <a:pt x="28" y="146"/>
                  </a:lnTo>
                  <a:lnTo>
                    <a:pt x="33" y="149"/>
                  </a:lnTo>
                  <a:lnTo>
                    <a:pt x="36" y="153"/>
                  </a:lnTo>
                  <a:lnTo>
                    <a:pt x="36" y="156"/>
                  </a:lnTo>
                  <a:lnTo>
                    <a:pt x="40" y="165"/>
                  </a:lnTo>
                  <a:lnTo>
                    <a:pt x="40" y="168"/>
                  </a:lnTo>
                  <a:lnTo>
                    <a:pt x="45" y="170"/>
                  </a:lnTo>
                  <a:lnTo>
                    <a:pt x="47" y="172"/>
                  </a:lnTo>
                  <a:lnTo>
                    <a:pt x="50" y="177"/>
                  </a:lnTo>
                  <a:lnTo>
                    <a:pt x="52" y="182"/>
                  </a:lnTo>
                  <a:lnTo>
                    <a:pt x="52" y="184"/>
                  </a:lnTo>
                  <a:lnTo>
                    <a:pt x="54" y="189"/>
                  </a:lnTo>
                  <a:lnTo>
                    <a:pt x="57" y="194"/>
                  </a:lnTo>
                  <a:lnTo>
                    <a:pt x="59" y="198"/>
                  </a:lnTo>
                  <a:lnTo>
                    <a:pt x="61" y="203"/>
                  </a:lnTo>
                  <a:lnTo>
                    <a:pt x="64" y="208"/>
                  </a:lnTo>
                  <a:lnTo>
                    <a:pt x="64" y="212"/>
                  </a:lnTo>
                  <a:lnTo>
                    <a:pt x="66" y="217"/>
                  </a:lnTo>
                  <a:lnTo>
                    <a:pt x="73" y="229"/>
                  </a:lnTo>
                  <a:lnTo>
                    <a:pt x="76" y="231"/>
                  </a:lnTo>
                  <a:lnTo>
                    <a:pt x="76" y="236"/>
                  </a:lnTo>
                  <a:lnTo>
                    <a:pt x="78" y="238"/>
                  </a:lnTo>
                  <a:lnTo>
                    <a:pt x="83" y="243"/>
                  </a:lnTo>
                  <a:lnTo>
                    <a:pt x="85" y="246"/>
                  </a:lnTo>
                  <a:lnTo>
                    <a:pt x="87" y="250"/>
                  </a:lnTo>
                  <a:lnTo>
                    <a:pt x="87" y="255"/>
                  </a:lnTo>
                  <a:lnTo>
                    <a:pt x="90" y="255"/>
                  </a:lnTo>
                  <a:lnTo>
                    <a:pt x="90" y="257"/>
                  </a:lnTo>
                  <a:lnTo>
                    <a:pt x="90" y="257"/>
                  </a:lnTo>
                  <a:lnTo>
                    <a:pt x="94" y="260"/>
                  </a:lnTo>
                  <a:lnTo>
                    <a:pt x="94" y="264"/>
                  </a:lnTo>
                  <a:lnTo>
                    <a:pt x="97" y="269"/>
                  </a:lnTo>
                  <a:lnTo>
                    <a:pt x="99" y="272"/>
                  </a:lnTo>
                  <a:lnTo>
                    <a:pt x="102" y="274"/>
                  </a:lnTo>
                  <a:lnTo>
                    <a:pt x="102" y="276"/>
                  </a:lnTo>
                  <a:lnTo>
                    <a:pt x="106" y="281"/>
                  </a:lnTo>
                  <a:lnTo>
                    <a:pt x="109" y="286"/>
                  </a:lnTo>
                  <a:lnTo>
                    <a:pt x="106" y="291"/>
                  </a:lnTo>
                  <a:lnTo>
                    <a:pt x="106" y="291"/>
                  </a:lnTo>
                  <a:lnTo>
                    <a:pt x="104" y="293"/>
                  </a:lnTo>
                  <a:lnTo>
                    <a:pt x="106" y="295"/>
                  </a:lnTo>
                  <a:lnTo>
                    <a:pt x="106" y="298"/>
                  </a:lnTo>
                  <a:lnTo>
                    <a:pt x="109" y="300"/>
                  </a:lnTo>
                  <a:lnTo>
                    <a:pt x="111" y="302"/>
                  </a:lnTo>
                  <a:lnTo>
                    <a:pt x="113" y="305"/>
                  </a:lnTo>
                  <a:lnTo>
                    <a:pt x="113" y="309"/>
                  </a:lnTo>
                  <a:lnTo>
                    <a:pt x="118" y="312"/>
                  </a:lnTo>
                  <a:lnTo>
                    <a:pt x="123" y="314"/>
                  </a:lnTo>
                  <a:lnTo>
                    <a:pt x="125" y="319"/>
                  </a:lnTo>
                  <a:lnTo>
                    <a:pt x="127" y="321"/>
                  </a:lnTo>
                  <a:lnTo>
                    <a:pt x="130" y="324"/>
                  </a:lnTo>
                  <a:lnTo>
                    <a:pt x="132" y="326"/>
                  </a:lnTo>
                  <a:lnTo>
                    <a:pt x="142" y="331"/>
                  </a:lnTo>
                  <a:lnTo>
                    <a:pt x="146" y="333"/>
                  </a:lnTo>
                  <a:lnTo>
                    <a:pt x="151" y="335"/>
                  </a:lnTo>
                  <a:lnTo>
                    <a:pt x="156" y="340"/>
                  </a:lnTo>
                  <a:lnTo>
                    <a:pt x="158" y="343"/>
                  </a:lnTo>
                  <a:lnTo>
                    <a:pt x="165" y="345"/>
                  </a:lnTo>
                  <a:lnTo>
                    <a:pt x="168" y="345"/>
                  </a:lnTo>
                  <a:lnTo>
                    <a:pt x="172" y="350"/>
                  </a:lnTo>
                  <a:lnTo>
                    <a:pt x="177" y="350"/>
                  </a:lnTo>
                  <a:lnTo>
                    <a:pt x="182" y="352"/>
                  </a:lnTo>
                  <a:lnTo>
                    <a:pt x="184" y="354"/>
                  </a:lnTo>
                  <a:lnTo>
                    <a:pt x="186" y="357"/>
                  </a:lnTo>
                  <a:lnTo>
                    <a:pt x="191" y="359"/>
                  </a:lnTo>
                  <a:lnTo>
                    <a:pt x="193" y="359"/>
                  </a:lnTo>
                  <a:lnTo>
                    <a:pt x="196" y="361"/>
                  </a:lnTo>
                  <a:lnTo>
                    <a:pt x="196" y="364"/>
                  </a:lnTo>
                  <a:lnTo>
                    <a:pt x="201" y="364"/>
                  </a:lnTo>
                  <a:lnTo>
                    <a:pt x="203" y="366"/>
                  </a:lnTo>
                  <a:lnTo>
                    <a:pt x="203" y="369"/>
                  </a:lnTo>
                  <a:lnTo>
                    <a:pt x="205" y="371"/>
                  </a:lnTo>
                  <a:lnTo>
                    <a:pt x="205" y="373"/>
                  </a:lnTo>
                  <a:lnTo>
                    <a:pt x="212" y="378"/>
                  </a:lnTo>
                  <a:lnTo>
                    <a:pt x="215" y="378"/>
                  </a:lnTo>
                  <a:lnTo>
                    <a:pt x="217" y="380"/>
                  </a:lnTo>
                  <a:lnTo>
                    <a:pt x="222" y="385"/>
                  </a:lnTo>
                  <a:lnTo>
                    <a:pt x="224" y="387"/>
                  </a:lnTo>
                  <a:lnTo>
                    <a:pt x="224" y="387"/>
                  </a:lnTo>
                  <a:lnTo>
                    <a:pt x="226" y="387"/>
                  </a:lnTo>
                  <a:lnTo>
                    <a:pt x="229" y="387"/>
                  </a:lnTo>
                  <a:lnTo>
                    <a:pt x="231" y="385"/>
                  </a:lnTo>
                  <a:lnTo>
                    <a:pt x="234" y="385"/>
                  </a:lnTo>
                  <a:lnTo>
                    <a:pt x="234" y="383"/>
                  </a:lnTo>
                  <a:lnTo>
                    <a:pt x="236" y="380"/>
                  </a:lnTo>
                  <a:lnTo>
                    <a:pt x="234" y="378"/>
                  </a:lnTo>
                  <a:lnTo>
                    <a:pt x="234" y="376"/>
                  </a:lnTo>
                  <a:lnTo>
                    <a:pt x="234" y="373"/>
                  </a:lnTo>
                  <a:lnTo>
                    <a:pt x="234" y="373"/>
                  </a:lnTo>
                  <a:lnTo>
                    <a:pt x="236" y="373"/>
                  </a:lnTo>
                  <a:lnTo>
                    <a:pt x="238" y="371"/>
                  </a:lnTo>
                  <a:lnTo>
                    <a:pt x="238" y="369"/>
                  </a:lnTo>
                  <a:lnTo>
                    <a:pt x="238" y="369"/>
                  </a:lnTo>
                  <a:lnTo>
                    <a:pt x="238" y="369"/>
                  </a:lnTo>
                  <a:lnTo>
                    <a:pt x="238" y="366"/>
                  </a:lnTo>
                  <a:lnTo>
                    <a:pt x="238" y="366"/>
                  </a:lnTo>
                  <a:lnTo>
                    <a:pt x="236" y="364"/>
                  </a:lnTo>
                  <a:lnTo>
                    <a:pt x="236" y="364"/>
                  </a:lnTo>
                  <a:lnTo>
                    <a:pt x="236" y="364"/>
                  </a:lnTo>
                  <a:lnTo>
                    <a:pt x="238" y="361"/>
                  </a:lnTo>
                  <a:lnTo>
                    <a:pt x="238" y="361"/>
                  </a:lnTo>
                  <a:lnTo>
                    <a:pt x="241" y="359"/>
                  </a:lnTo>
                  <a:lnTo>
                    <a:pt x="241" y="359"/>
                  </a:lnTo>
                  <a:lnTo>
                    <a:pt x="243" y="357"/>
                  </a:lnTo>
                  <a:lnTo>
                    <a:pt x="243" y="354"/>
                  </a:lnTo>
                  <a:lnTo>
                    <a:pt x="243" y="352"/>
                  </a:lnTo>
                  <a:lnTo>
                    <a:pt x="245" y="352"/>
                  </a:lnTo>
                  <a:lnTo>
                    <a:pt x="245" y="352"/>
                  </a:lnTo>
                  <a:lnTo>
                    <a:pt x="245" y="350"/>
                  </a:lnTo>
                  <a:lnTo>
                    <a:pt x="245" y="347"/>
                  </a:lnTo>
                  <a:lnTo>
                    <a:pt x="245" y="347"/>
                  </a:lnTo>
                  <a:lnTo>
                    <a:pt x="248" y="345"/>
                  </a:lnTo>
                  <a:lnTo>
                    <a:pt x="248" y="345"/>
                  </a:lnTo>
                  <a:lnTo>
                    <a:pt x="248" y="345"/>
                  </a:lnTo>
                  <a:lnTo>
                    <a:pt x="248" y="3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4" name="Freeform 260"/>
            <p:cNvSpPr>
              <a:spLocks/>
            </p:cNvSpPr>
            <p:nvPr userDrawn="1"/>
          </p:nvSpPr>
          <p:spPr bwMode="auto">
            <a:xfrm>
              <a:off x="2517" y="3214"/>
              <a:ext cx="158" cy="175"/>
            </a:xfrm>
            <a:custGeom>
              <a:avLst/>
              <a:gdLst>
                <a:gd name="T0" fmla="*/ 153 w 158"/>
                <a:gd name="T1" fmla="*/ 97 h 175"/>
                <a:gd name="T2" fmla="*/ 146 w 158"/>
                <a:gd name="T3" fmla="*/ 97 h 175"/>
                <a:gd name="T4" fmla="*/ 139 w 158"/>
                <a:gd name="T5" fmla="*/ 100 h 175"/>
                <a:gd name="T6" fmla="*/ 134 w 158"/>
                <a:gd name="T7" fmla="*/ 95 h 175"/>
                <a:gd name="T8" fmla="*/ 132 w 158"/>
                <a:gd name="T9" fmla="*/ 88 h 175"/>
                <a:gd name="T10" fmla="*/ 130 w 158"/>
                <a:gd name="T11" fmla="*/ 81 h 175"/>
                <a:gd name="T12" fmla="*/ 130 w 158"/>
                <a:gd name="T13" fmla="*/ 74 h 175"/>
                <a:gd name="T14" fmla="*/ 127 w 158"/>
                <a:gd name="T15" fmla="*/ 67 h 175"/>
                <a:gd name="T16" fmla="*/ 120 w 158"/>
                <a:gd name="T17" fmla="*/ 64 h 175"/>
                <a:gd name="T18" fmla="*/ 113 w 158"/>
                <a:gd name="T19" fmla="*/ 59 h 175"/>
                <a:gd name="T20" fmla="*/ 111 w 158"/>
                <a:gd name="T21" fmla="*/ 64 h 175"/>
                <a:gd name="T22" fmla="*/ 104 w 158"/>
                <a:gd name="T23" fmla="*/ 64 h 175"/>
                <a:gd name="T24" fmla="*/ 94 w 158"/>
                <a:gd name="T25" fmla="*/ 62 h 175"/>
                <a:gd name="T26" fmla="*/ 87 w 158"/>
                <a:gd name="T27" fmla="*/ 62 h 175"/>
                <a:gd name="T28" fmla="*/ 85 w 158"/>
                <a:gd name="T29" fmla="*/ 57 h 175"/>
                <a:gd name="T30" fmla="*/ 85 w 158"/>
                <a:gd name="T31" fmla="*/ 52 h 175"/>
                <a:gd name="T32" fmla="*/ 85 w 158"/>
                <a:gd name="T33" fmla="*/ 45 h 175"/>
                <a:gd name="T34" fmla="*/ 85 w 158"/>
                <a:gd name="T35" fmla="*/ 41 h 175"/>
                <a:gd name="T36" fmla="*/ 85 w 158"/>
                <a:gd name="T37" fmla="*/ 33 h 175"/>
                <a:gd name="T38" fmla="*/ 82 w 158"/>
                <a:gd name="T39" fmla="*/ 31 h 175"/>
                <a:gd name="T40" fmla="*/ 80 w 158"/>
                <a:gd name="T41" fmla="*/ 24 h 175"/>
                <a:gd name="T42" fmla="*/ 78 w 158"/>
                <a:gd name="T43" fmla="*/ 19 h 175"/>
                <a:gd name="T44" fmla="*/ 66 w 158"/>
                <a:gd name="T45" fmla="*/ 5 h 175"/>
                <a:gd name="T46" fmla="*/ 26 w 158"/>
                <a:gd name="T47" fmla="*/ 5 h 175"/>
                <a:gd name="T48" fmla="*/ 9 w 158"/>
                <a:gd name="T49" fmla="*/ 17 h 175"/>
                <a:gd name="T50" fmla="*/ 5 w 158"/>
                <a:gd name="T51" fmla="*/ 38 h 175"/>
                <a:gd name="T52" fmla="*/ 0 w 158"/>
                <a:gd name="T53" fmla="*/ 64 h 175"/>
                <a:gd name="T54" fmla="*/ 9 w 158"/>
                <a:gd name="T55" fmla="*/ 71 h 175"/>
                <a:gd name="T56" fmla="*/ 24 w 158"/>
                <a:gd name="T57" fmla="*/ 85 h 175"/>
                <a:gd name="T58" fmla="*/ 33 w 158"/>
                <a:gd name="T59" fmla="*/ 93 h 175"/>
                <a:gd name="T60" fmla="*/ 52 w 158"/>
                <a:gd name="T61" fmla="*/ 100 h 175"/>
                <a:gd name="T62" fmla="*/ 68 w 158"/>
                <a:gd name="T63" fmla="*/ 111 h 175"/>
                <a:gd name="T64" fmla="*/ 87 w 158"/>
                <a:gd name="T65" fmla="*/ 121 h 175"/>
                <a:gd name="T66" fmla="*/ 99 w 158"/>
                <a:gd name="T67" fmla="*/ 128 h 175"/>
                <a:gd name="T68" fmla="*/ 99 w 158"/>
                <a:gd name="T69" fmla="*/ 135 h 175"/>
                <a:gd name="T70" fmla="*/ 97 w 158"/>
                <a:gd name="T71" fmla="*/ 142 h 175"/>
                <a:gd name="T72" fmla="*/ 94 w 158"/>
                <a:gd name="T73" fmla="*/ 147 h 175"/>
                <a:gd name="T74" fmla="*/ 92 w 158"/>
                <a:gd name="T75" fmla="*/ 152 h 175"/>
                <a:gd name="T76" fmla="*/ 92 w 158"/>
                <a:gd name="T77" fmla="*/ 159 h 175"/>
                <a:gd name="T78" fmla="*/ 92 w 158"/>
                <a:gd name="T79" fmla="*/ 161 h 175"/>
                <a:gd name="T80" fmla="*/ 87 w 158"/>
                <a:gd name="T81" fmla="*/ 166 h 175"/>
                <a:gd name="T82" fmla="*/ 111 w 158"/>
                <a:gd name="T83" fmla="*/ 173 h 175"/>
                <a:gd name="T84" fmla="*/ 122 w 158"/>
                <a:gd name="T85" fmla="*/ 175 h 175"/>
                <a:gd name="T86" fmla="*/ 130 w 158"/>
                <a:gd name="T87" fmla="*/ 173 h 175"/>
                <a:gd name="T88" fmla="*/ 137 w 158"/>
                <a:gd name="T89" fmla="*/ 171 h 175"/>
                <a:gd name="T90" fmla="*/ 141 w 158"/>
                <a:gd name="T91" fmla="*/ 168 h 175"/>
                <a:gd name="T92" fmla="*/ 146 w 158"/>
                <a:gd name="T93" fmla="*/ 164 h 175"/>
                <a:gd name="T94" fmla="*/ 151 w 158"/>
                <a:gd name="T95" fmla="*/ 159 h 175"/>
                <a:gd name="T96" fmla="*/ 155 w 158"/>
                <a:gd name="T97" fmla="*/ 154 h 175"/>
                <a:gd name="T98" fmla="*/ 155 w 158"/>
                <a:gd name="T99" fmla="*/ 126 h 175"/>
                <a:gd name="T100" fmla="*/ 158 w 158"/>
                <a:gd name="T101"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75">
                  <a:moveTo>
                    <a:pt x="155" y="102"/>
                  </a:moveTo>
                  <a:lnTo>
                    <a:pt x="158" y="102"/>
                  </a:lnTo>
                  <a:lnTo>
                    <a:pt x="158" y="102"/>
                  </a:lnTo>
                  <a:lnTo>
                    <a:pt x="155" y="100"/>
                  </a:lnTo>
                  <a:lnTo>
                    <a:pt x="153" y="97"/>
                  </a:lnTo>
                  <a:lnTo>
                    <a:pt x="151" y="97"/>
                  </a:lnTo>
                  <a:lnTo>
                    <a:pt x="151" y="97"/>
                  </a:lnTo>
                  <a:lnTo>
                    <a:pt x="148" y="97"/>
                  </a:lnTo>
                  <a:lnTo>
                    <a:pt x="148" y="97"/>
                  </a:lnTo>
                  <a:lnTo>
                    <a:pt x="146" y="97"/>
                  </a:lnTo>
                  <a:lnTo>
                    <a:pt x="146" y="100"/>
                  </a:lnTo>
                  <a:lnTo>
                    <a:pt x="144" y="100"/>
                  </a:lnTo>
                  <a:lnTo>
                    <a:pt x="141" y="100"/>
                  </a:lnTo>
                  <a:lnTo>
                    <a:pt x="141" y="100"/>
                  </a:lnTo>
                  <a:lnTo>
                    <a:pt x="139" y="100"/>
                  </a:lnTo>
                  <a:lnTo>
                    <a:pt x="137" y="100"/>
                  </a:lnTo>
                  <a:lnTo>
                    <a:pt x="137" y="100"/>
                  </a:lnTo>
                  <a:lnTo>
                    <a:pt x="134" y="97"/>
                  </a:lnTo>
                  <a:lnTo>
                    <a:pt x="134" y="95"/>
                  </a:lnTo>
                  <a:lnTo>
                    <a:pt x="134" y="95"/>
                  </a:lnTo>
                  <a:lnTo>
                    <a:pt x="134" y="93"/>
                  </a:lnTo>
                  <a:lnTo>
                    <a:pt x="132" y="93"/>
                  </a:lnTo>
                  <a:lnTo>
                    <a:pt x="132" y="90"/>
                  </a:lnTo>
                  <a:lnTo>
                    <a:pt x="132" y="88"/>
                  </a:lnTo>
                  <a:lnTo>
                    <a:pt x="132" y="88"/>
                  </a:lnTo>
                  <a:lnTo>
                    <a:pt x="132" y="88"/>
                  </a:lnTo>
                  <a:lnTo>
                    <a:pt x="132" y="85"/>
                  </a:lnTo>
                  <a:lnTo>
                    <a:pt x="132" y="85"/>
                  </a:lnTo>
                  <a:lnTo>
                    <a:pt x="132" y="83"/>
                  </a:lnTo>
                  <a:lnTo>
                    <a:pt x="130" y="81"/>
                  </a:lnTo>
                  <a:lnTo>
                    <a:pt x="130" y="81"/>
                  </a:lnTo>
                  <a:lnTo>
                    <a:pt x="130" y="78"/>
                  </a:lnTo>
                  <a:lnTo>
                    <a:pt x="130" y="76"/>
                  </a:lnTo>
                  <a:lnTo>
                    <a:pt x="130" y="76"/>
                  </a:lnTo>
                  <a:lnTo>
                    <a:pt x="130" y="74"/>
                  </a:lnTo>
                  <a:lnTo>
                    <a:pt x="130" y="71"/>
                  </a:lnTo>
                  <a:lnTo>
                    <a:pt x="130" y="71"/>
                  </a:lnTo>
                  <a:lnTo>
                    <a:pt x="127" y="71"/>
                  </a:lnTo>
                  <a:lnTo>
                    <a:pt x="127" y="69"/>
                  </a:lnTo>
                  <a:lnTo>
                    <a:pt x="127" y="67"/>
                  </a:lnTo>
                  <a:lnTo>
                    <a:pt x="125" y="67"/>
                  </a:lnTo>
                  <a:lnTo>
                    <a:pt x="125" y="64"/>
                  </a:lnTo>
                  <a:lnTo>
                    <a:pt x="122" y="64"/>
                  </a:lnTo>
                  <a:lnTo>
                    <a:pt x="122" y="64"/>
                  </a:lnTo>
                  <a:lnTo>
                    <a:pt x="120" y="64"/>
                  </a:lnTo>
                  <a:lnTo>
                    <a:pt x="118" y="64"/>
                  </a:lnTo>
                  <a:lnTo>
                    <a:pt x="118" y="64"/>
                  </a:lnTo>
                  <a:lnTo>
                    <a:pt x="115" y="62"/>
                  </a:lnTo>
                  <a:lnTo>
                    <a:pt x="115" y="62"/>
                  </a:lnTo>
                  <a:lnTo>
                    <a:pt x="113" y="59"/>
                  </a:lnTo>
                  <a:lnTo>
                    <a:pt x="113" y="59"/>
                  </a:lnTo>
                  <a:lnTo>
                    <a:pt x="111" y="59"/>
                  </a:lnTo>
                  <a:lnTo>
                    <a:pt x="111" y="62"/>
                  </a:lnTo>
                  <a:lnTo>
                    <a:pt x="111" y="62"/>
                  </a:lnTo>
                  <a:lnTo>
                    <a:pt x="111" y="64"/>
                  </a:lnTo>
                  <a:lnTo>
                    <a:pt x="108" y="64"/>
                  </a:lnTo>
                  <a:lnTo>
                    <a:pt x="108" y="64"/>
                  </a:lnTo>
                  <a:lnTo>
                    <a:pt x="106" y="64"/>
                  </a:lnTo>
                  <a:lnTo>
                    <a:pt x="104" y="64"/>
                  </a:lnTo>
                  <a:lnTo>
                    <a:pt x="104" y="64"/>
                  </a:lnTo>
                  <a:lnTo>
                    <a:pt x="101" y="62"/>
                  </a:lnTo>
                  <a:lnTo>
                    <a:pt x="99" y="62"/>
                  </a:lnTo>
                  <a:lnTo>
                    <a:pt x="97" y="62"/>
                  </a:lnTo>
                  <a:lnTo>
                    <a:pt x="97" y="62"/>
                  </a:lnTo>
                  <a:lnTo>
                    <a:pt x="94" y="62"/>
                  </a:lnTo>
                  <a:lnTo>
                    <a:pt x="92" y="62"/>
                  </a:lnTo>
                  <a:lnTo>
                    <a:pt x="92" y="62"/>
                  </a:lnTo>
                  <a:lnTo>
                    <a:pt x="90" y="59"/>
                  </a:lnTo>
                  <a:lnTo>
                    <a:pt x="90" y="59"/>
                  </a:lnTo>
                  <a:lnTo>
                    <a:pt x="87" y="62"/>
                  </a:lnTo>
                  <a:lnTo>
                    <a:pt x="87" y="62"/>
                  </a:lnTo>
                  <a:lnTo>
                    <a:pt x="85" y="59"/>
                  </a:lnTo>
                  <a:lnTo>
                    <a:pt x="85" y="59"/>
                  </a:lnTo>
                  <a:lnTo>
                    <a:pt x="85" y="59"/>
                  </a:lnTo>
                  <a:lnTo>
                    <a:pt x="85" y="57"/>
                  </a:lnTo>
                  <a:lnTo>
                    <a:pt x="85" y="57"/>
                  </a:lnTo>
                  <a:lnTo>
                    <a:pt x="85" y="55"/>
                  </a:lnTo>
                  <a:lnTo>
                    <a:pt x="85" y="55"/>
                  </a:lnTo>
                  <a:lnTo>
                    <a:pt x="85" y="52"/>
                  </a:lnTo>
                  <a:lnTo>
                    <a:pt x="85" y="52"/>
                  </a:lnTo>
                  <a:lnTo>
                    <a:pt x="85" y="50"/>
                  </a:lnTo>
                  <a:lnTo>
                    <a:pt x="85" y="50"/>
                  </a:lnTo>
                  <a:lnTo>
                    <a:pt x="85" y="48"/>
                  </a:lnTo>
                  <a:lnTo>
                    <a:pt x="85" y="48"/>
                  </a:lnTo>
                  <a:lnTo>
                    <a:pt x="85" y="45"/>
                  </a:lnTo>
                  <a:lnTo>
                    <a:pt x="85" y="45"/>
                  </a:lnTo>
                  <a:lnTo>
                    <a:pt x="85" y="43"/>
                  </a:lnTo>
                  <a:lnTo>
                    <a:pt x="85" y="43"/>
                  </a:lnTo>
                  <a:lnTo>
                    <a:pt x="85" y="41"/>
                  </a:lnTo>
                  <a:lnTo>
                    <a:pt x="85" y="41"/>
                  </a:lnTo>
                  <a:lnTo>
                    <a:pt x="85" y="38"/>
                  </a:lnTo>
                  <a:lnTo>
                    <a:pt x="85" y="36"/>
                  </a:lnTo>
                  <a:lnTo>
                    <a:pt x="85" y="36"/>
                  </a:lnTo>
                  <a:lnTo>
                    <a:pt x="85" y="33"/>
                  </a:lnTo>
                  <a:lnTo>
                    <a:pt x="85" y="33"/>
                  </a:lnTo>
                  <a:lnTo>
                    <a:pt x="85" y="33"/>
                  </a:lnTo>
                  <a:lnTo>
                    <a:pt x="82" y="33"/>
                  </a:lnTo>
                  <a:lnTo>
                    <a:pt x="85" y="31"/>
                  </a:lnTo>
                  <a:lnTo>
                    <a:pt x="82" y="31"/>
                  </a:lnTo>
                  <a:lnTo>
                    <a:pt x="82" y="31"/>
                  </a:lnTo>
                  <a:lnTo>
                    <a:pt x="82" y="29"/>
                  </a:lnTo>
                  <a:lnTo>
                    <a:pt x="82" y="29"/>
                  </a:lnTo>
                  <a:lnTo>
                    <a:pt x="80" y="26"/>
                  </a:lnTo>
                  <a:lnTo>
                    <a:pt x="80" y="26"/>
                  </a:lnTo>
                  <a:lnTo>
                    <a:pt x="80" y="24"/>
                  </a:lnTo>
                  <a:lnTo>
                    <a:pt x="80" y="24"/>
                  </a:lnTo>
                  <a:lnTo>
                    <a:pt x="80" y="24"/>
                  </a:lnTo>
                  <a:lnTo>
                    <a:pt x="78" y="22"/>
                  </a:lnTo>
                  <a:lnTo>
                    <a:pt x="78" y="22"/>
                  </a:lnTo>
                  <a:lnTo>
                    <a:pt x="78" y="19"/>
                  </a:lnTo>
                  <a:lnTo>
                    <a:pt x="78" y="17"/>
                  </a:lnTo>
                  <a:lnTo>
                    <a:pt x="78" y="12"/>
                  </a:lnTo>
                  <a:lnTo>
                    <a:pt x="78" y="12"/>
                  </a:lnTo>
                  <a:lnTo>
                    <a:pt x="71" y="7"/>
                  </a:lnTo>
                  <a:lnTo>
                    <a:pt x="66" y="5"/>
                  </a:lnTo>
                  <a:lnTo>
                    <a:pt x="59" y="0"/>
                  </a:lnTo>
                  <a:lnTo>
                    <a:pt x="49" y="0"/>
                  </a:lnTo>
                  <a:lnTo>
                    <a:pt x="42" y="0"/>
                  </a:lnTo>
                  <a:lnTo>
                    <a:pt x="33" y="3"/>
                  </a:lnTo>
                  <a:lnTo>
                    <a:pt x="26" y="5"/>
                  </a:lnTo>
                  <a:lnTo>
                    <a:pt x="24" y="5"/>
                  </a:lnTo>
                  <a:lnTo>
                    <a:pt x="14" y="7"/>
                  </a:lnTo>
                  <a:lnTo>
                    <a:pt x="12" y="7"/>
                  </a:lnTo>
                  <a:lnTo>
                    <a:pt x="9" y="12"/>
                  </a:lnTo>
                  <a:lnTo>
                    <a:pt x="9" y="17"/>
                  </a:lnTo>
                  <a:lnTo>
                    <a:pt x="7" y="19"/>
                  </a:lnTo>
                  <a:lnTo>
                    <a:pt x="5" y="24"/>
                  </a:lnTo>
                  <a:lnTo>
                    <a:pt x="2" y="29"/>
                  </a:lnTo>
                  <a:lnTo>
                    <a:pt x="5" y="33"/>
                  </a:lnTo>
                  <a:lnTo>
                    <a:pt x="5" y="38"/>
                  </a:lnTo>
                  <a:lnTo>
                    <a:pt x="2" y="45"/>
                  </a:lnTo>
                  <a:lnTo>
                    <a:pt x="2" y="52"/>
                  </a:lnTo>
                  <a:lnTo>
                    <a:pt x="2" y="57"/>
                  </a:lnTo>
                  <a:lnTo>
                    <a:pt x="0" y="62"/>
                  </a:lnTo>
                  <a:lnTo>
                    <a:pt x="0" y="64"/>
                  </a:lnTo>
                  <a:lnTo>
                    <a:pt x="0" y="64"/>
                  </a:lnTo>
                  <a:lnTo>
                    <a:pt x="2" y="64"/>
                  </a:lnTo>
                  <a:lnTo>
                    <a:pt x="2" y="67"/>
                  </a:lnTo>
                  <a:lnTo>
                    <a:pt x="7" y="67"/>
                  </a:lnTo>
                  <a:lnTo>
                    <a:pt x="9" y="71"/>
                  </a:lnTo>
                  <a:lnTo>
                    <a:pt x="12" y="76"/>
                  </a:lnTo>
                  <a:lnTo>
                    <a:pt x="16" y="81"/>
                  </a:lnTo>
                  <a:lnTo>
                    <a:pt x="19" y="83"/>
                  </a:lnTo>
                  <a:lnTo>
                    <a:pt x="21" y="85"/>
                  </a:lnTo>
                  <a:lnTo>
                    <a:pt x="24" y="85"/>
                  </a:lnTo>
                  <a:lnTo>
                    <a:pt x="24" y="88"/>
                  </a:lnTo>
                  <a:lnTo>
                    <a:pt x="24" y="88"/>
                  </a:lnTo>
                  <a:lnTo>
                    <a:pt x="26" y="88"/>
                  </a:lnTo>
                  <a:lnTo>
                    <a:pt x="31" y="90"/>
                  </a:lnTo>
                  <a:lnTo>
                    <a:pt x="33" y="93"/>
                  </a:lnTo>
                  <a:lnTo>
                    <a:pt x="33" y="95"/>
                  </a:lnTo>
                  <a:lnTo>
                    <a:pt x="38" y="97"/>
                  </a:lnTo>
                  <a:lnTo>
                    <a:pt x="45" y="100"/>
                  </a:lnTo>
                  <a:lnTo>
                    <a:pt x="49" y="100"/>
                  </a:lnTo>
                  <a:lnTo>
                    <a:pt x="52" y="100"/>
                  </a:lnTo>
                  <a:lnTo>
                    <a:pt x="57" y="102"/>
                  </a:lnTo>
                  <a:lnTo>
                    <a:pt x="61" y="107"/>
                  </a:lnTo>
                  <a:lnTo>
                    <a:pt x="64" y="109"/>
                  </a:lnTo>
                  <a:lnTo>
                    <a:pt x="66" y="109"/>
                  </a:lnTo>
                  <a:lnTo>
                    <a:pt x="68" y="111"/>
                  </a:lnTo>
                  <a:lnTo>
                    <a:pt x="78" y="116"/>
                  </a:lnTo>
                  <a:lnTo>
                    <a:pt x="82" y="119"/>
                  </a:lnTo>
                  <a:lnTo>
                    <a:pt x="85" y="119"/>
                  </a:lnTo>
                  <a:lnTo>
                    <a:pt x="85" y="121"/>
                  </a:lnTo>
                  <a:lnTo>
                    <a:pt x="87" y="121"/>
                  </a:lnTo>
                  <a:lnTo>
                    <a:pt x="87" y="121"/>
                  </a:lnTo>
                  <a:lnTo>
                    <a:pt x="90" y="121"/>
                  </a:lnTo>
                  <a:lnTo>
                    <a:pt x="92" y="123"/>
                  </a:lnTo>
                  <a:lnTo>
                    <a:pt x="97" y="123"/>
                  </a:lnTo>
                  <a:lnTo>
                    <a:pt x="99" y="128"/>
                  </a:lnTo>
                  <a:lnTo>
                    <a:pt x="101" y="130"/>
                  </a:lnTo>
                  <a:lnTo>
                    <a:pt x="101" y="130"/>
                  </a:lnTo>
                  <a:lnTo>
                    <a:pt x="101" y="133"/>
                  </a:lnTo>
                  <a:lnTo>
                    <a:pt x="101" y="135"/>
                  </a:lnTo>
                  <a:lnTo>
                    <a:pt x="99" y="135"/>
                  </a:lnTo>
                  <a:lnTo>
                    <a:pt x="99" y="135"/>
                  </a:lnTo>
                  <a:lnTo>
                    <a:pt x="99" y="138"/>
                  </a:lnTo>
                  <a:lnTo>
                    <a:pt x="99" y="138"/>
                  </a:lnTo>
                  <a:lnTo>
                    <a:pt x="97" y="140"/>
                  </a:lnTo>
                  <a:lnTo>
                    <a:pt x="97" y="142"/>
                  </a:lnTo>
                  <a:lnTo>
                    <a:pt x="97" y="142"/>
                  </a:lnTo>
                  <a:lnTo>
                    <a:pt x="97" y="145"/>
                  </a:lnTo>
                  <a:lnTo>
                    <a:pt x="94" y="145"/>
                  </a:lnTo>
                  <a:lnTo>
                    <a:pt x="94" y="147"/>
                  </a:lnTo>
                  <a:lnTo>
                    <a:pt x="94" y="147"/>
                  </a:lnTo>
                  <a:lnTo>
                    <a:pt x="94" y="147"/>
                  </a:lnTo>
                  <a:lnTo>
                    <a:pt x="92" y="149"/>
                  </a:lnTo>
                  <a:lnTo>
                    <a:pt x="92" y="149"/>
                  </a:lnTo>
                  <a:lnTo>
                    <a:pt x="92" y="152"/>
                  </a:lnTo>
                  <a:lnTo>
                    <a:pt x="92" y="152"/>
                  </a:lnTo>
                  <a:lnTo>
                    <a:pt x="94" y="154"/>
                  </a:lnTo>
                  <a:lnTo>
                    <a:pt x="94" y="156"/>
                  </a:lnTo>
                  <a:lnTo>
                    <a:pt x="92" y="156"/>
                  </a:lnTo>
                  <a:lnTo>
                    <a:pt x="92" y="156"/>
                  </a:lnTo>
                  <a:lnTo>
                    <a:pt x="92" y="159"/>
                  </a:lnTo>
                  <a:lnTo>
                    <a:pt x="92" y="159"/>
                  </a:lnTo>
                  <a:lnTo>
                    <a:pt x="92" y="159"/>
                  </a:lnTo>
                  <a:lnTo>
                    <a:pt x="92" y="161"/>
                  </a:lnTo>
                  <a:lnTo>
                    <a:pt x="92" y="161"/>
                  </a:lnTo>
                  <a:lnTo>
                    <a:pt x="92" y="161"/>
                  </a:lnTo>
                  <a:lnTo>
                    <a:pt x="90" y="161"/>
                  </a:lnTo>
                  <a:lnTo>
                    <a:pt x="90" y="164"/>
                  </a:lnTo>
                  <a:lnTo>
                    <a:pt x="90" y="164"/>
                  </a:lnTo>
                  <a:lnTo>
                    <a:pt x="90" y="166"/>
                  </a:lnTo>
                  <a:lnTo>
                    <a:pt x="87" y="166"/>
                  </a:lnTo>
                  <a:lnTo>
                    <a:pt x="87" y="168"/>
                  </a:lnTo>
                  <a:lnTo>
                    <a:pt x="87" y="171"/>
                  </a:lnTo>
                  <a:lnTo>
                    <a:pt x="97" y="171"/>
                  </a:lnTo>
                  <a:lnTo>
                    <a:pt x="101" y="171"/>
                  </a:lnTo>
                  <a:lnTo>
                    <a:pt x="111" y="173"/>
                  </a:lnTo>
                  <a:lnTo>
                    <a:pt x="115" y="173"/>
                  </a:lnTo>
                  <a:lnTo>
                    <a:pt x="118" y="173"/>
                  </a:lnTo>
                  <a:lnTo>
                    <a:pt x="120" y="173"/>
                  </a:lnTo>
                  <a:lnTo>
                    <a:pt x="120" y="173"/>
                  </a:lnTo>
                  <a:lnTo>
                    <a:pt x="122" y="175"/>
                  </a:lnTo>
                  <a:lnTo>
                    <a:pt x="125" y="173"/>
                  </a:lnTo>
                  <a:lnTo>
                    <a:pt x="127" y="173"/>
                  </a:lnTo>
                  <a:lnTo>
                    <a:pt x="127" y="175"/>
                  </a:lnTo>
                  <a:lnTo>
                    <a:pt x="130" y="175"/>
                  </a:lnTo>
                  <a:lnTo>
                    <a:pt x="130" y="173"/>
                  </a:lnTo>
                  <a:lnTo>
                    <a:pt x="132" y="171"/>
                  </a:lnTo>
                  <a:lnTo>
                    <a:pt x="132" y="171"/>
                  </a:lnTo>
                  <a:lnTo>
                    <a:pt x="134" y="171"/>
                  </a:lnTo>
                  <a:lnTo>
                    <a:pt x="137" y="171"/>
                  </a:lnTo>
                  <a:lnTo>
                    <a:pt x="137" y="171"/>
                  </a:lnTo>
                  <a:lnTo>
                    <a:pt x="139" y="173"/>
                  </a:lnTo>
                  <a:lnTo>
                    <a:pt x="141" y="173"/>
                  </a:lnTo>
                  <a:lnTo>
                    <a:pt x="141" y="171"/>
                  </a:lnTo>
                  <a:lnTo>
                    <a:pt x="141" y="171"/>
                  </a:lnTo>
                  <a:lnTo>
                    <a:pt x="141" y="168"/>
                  </a:lnTo>
                  <a:lnTo>
                    <a:pt x="141" y="166"/>
                  </a:lnTo>
                  <a:lnTo>
                    <a:pt x="144" y="166"/>
                  </a:lnTo>
                  <a:lnTo>
                    <a:pt x="144" y="166"/>
                  </a:lnTo>
                  <a:lnTo>
                    <a:pt x="144" y="164"/>
                  </a:lnTo>
                  <a:lnTo>
                    <a:pt x="146" y="164"/>
                  </a:lnTo>
                  <a:lnTo>
                    <a:pt x="148" y="164"/>
                  </a:lnTo>
                  <a:lnTo>
                    <a:pt x="148" y="161"/>
                  </a:lnTo>
                  <a:lnTo>
                    <a:pt x="148" y="161"/>
                  </a:lnTo>
                  <a:lnTo>
                    <a:pt x="151" y="161"/>
                  </a:lnTo>
                  <a:lnTo>
                    <a:pt x="151" y="159"/>
                  </a:lnTo>
                  <a:lnTo>
                    <a:pt x="153" y="159"/>
                  </a:lnTo>
                  <a:lnTo>
                    <a:pt x="153" y="156"/>
                  </a:lnTo>
                  <a:lnTo>
                    <a:pt x="153" y="156"/>
                  </a:lnTo>
                  <a:lnTo>
                    <a:pt x="153" y="156"/>
                  </a:lnTo>
                  <a:lnTo>
                    <a:pt x="155" y="154"/>
                  </a:lnTo>
                  <a:lnTo>
                    <a:pt x="155" y="149"/>
                  </a:lnTo>
                  <a:lnTo>
                    <a:pt x="155" y="142"/>
                  </a:lnTo>
                  <a:lnTo>
                    <a:pt x="155" y="133"/>
                  </a:lnTo>
                  <a:lnTo>
                    <a:pt x="155" y="130"/>
                  </a:lnTo>
                  <a:lnTo>
                    <a:pt x="155" y="126"/>
                  </a:lnTo>
                  <a:lnTo>
                    <a:pt x="158" y="123"/>
                  </a:lnTo>
                  <a:lnTo>
                    <a:pt x="155" y="123"/>
                  </a:lnTo>
                  <a:lnTo>
                    <a:pt x="155" y="119"/>
                  </a:lnTo>
                  <a:lnTo>
                    <a:pt x="158" y="111"/>
                  </a:lnTo>
                  <a:lnTo>
                    <a:pt x="158" y="107"/>
                  </a:lnTo>
                  <a:lnTo>
                    <a:pt x="155" y="104"/>
                  </a:lnTo>
                  <a:lnTo>
                    <a:pt x="155" y="10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5" name="Freeform 261"/>
            <p:cNvSpPr>
              <a:spLocks noEditPoints="1"/>
            </p:cNvSpPr>
            <p:nvPr userDrawn="1"/>
          </p:nvSpPr>
          <p:spPr bwMode="auto">
            <a:xfrm>
              <a:off x="6264" y="2848"/>
              <a:ext cx="234" cy="184"/>
            </a:xfrm>
            <a:custGeom>
              <a:avLst/>
              <a:gdLst>
                <a:gd name="T0" fmla="*/ 186 w 234"/>
                <a:gd name="T1" fmla="*/ 170 h 184"/>
                <a:gd name="T2" fmla="*/ 184 w 234"/>
                <a:gd name="T3" fmla="*/ 172 h 184"/>
                <a:gd name="T4" fmla="*/ 182 w 234"/>
                <a:gd name="T5" fmla="*/ 163 h 184"/>
                <a:gd name="T6" fmla="*/ 177 w 234"/>
                <a:gd name="T7" fmla="*/ 156 h 184"/>
                <a:gd name="T8" fmla="*/ 175 w 234"/>
                <a:gd name="T9" fmla="*/ 158 h 184"/>
                <a:gd name="T10" fmla="*/ 189 w 234"/>
                <a:gd name="T11" fmla="*/ 142 h 184"/>
                <a:gd name="T12" fmla="*/ 135 w 234"/>
                <a:gd name="T13" fmla="*/ 83 h 184"/>
                <a:gd name="T14" fmla="*/ 135 w 234"/>
                <a:gd name="T15" fmla="*/ 80 h 184"/>
                <a:gd name="T16" fmla="*/ 118 w 234"/>
                <a:gd name="T17" fmla="*/ 71 h 184"/>
                <a:gd name="T18" fmla="*/ 99 w 234"/>
                <a:gd name="T19" fmla="*/ 59 h 184"/>
                <a:gd name="T20" fmla="*/ 217 w 234"/>
                <a:gd name="T21" fmla="*/ 52 h 184"/>
                <a:gd name="T22" fmla="*/ 203 w 234"/>
                <a:gd name="T23" fmla="*/ 50 h 184"/>
                <a:gd name="T24" fmla="*/ 194 w 234"/>
                <a:gd name="T25" fmla="*/ 68 h 184"/>
                <a:gd name="T26" fmla="*/ 179 w 234"/>
                <a:gd name="T27" fmla="*/ 76 h 184"/>
                <a:gd name="T28" fmla="*/ 175 w 234"/>
                <a:gd name="T29" fmla="*/ 68 h 184"/>
                <a:gd name="T30" fmla="*/ 151 w 234"/>
                <a:gd name="T31" fmla="*/ 76 h 184"/>
                <a:gd name="T32" fmla="*/ 146 w 234"/>
                <a:gd name="T33" fmla="*/ 83 h 184"/>
                <a:gd name="T34" fmla="*/ 168 w 234"/>
                <a:gd name="T35" fmla="*/ 92 h 184"/>
                <a:gd name="T36" fmla="*/ 191 w 234"/>
                <a:gd name="T37" fmla="*/ 87 h 184"/>
                <a:gd name="T38" fmla="*/ 208 w 234"/>
                <a:gd name="T39" fmla="*/ 78 h 184"/>
                <a:gd name="T40" fmla="*/ 227 w 234"/>
                <a:gd name="T41" fmla="*/ 26 h 184"/>
                <a:gd name="T42" fmla="*/ 170 w 234"/>
                <a:gd name="T43" fmla="*/ 172 h 184"/>
                <a:gd name="T44" fmla="*/ 165 w 234"/>
                <a:gd name="T45" fmla="*/ 165 h 184"/>
                <a:gd name="T46" fmla="*/ 153 w 234"/>
                <a:gd name="T47" fmla="*/ 154 h 184"/>
                <a:gd name="T48" fmla="*/ 139 w 234"/>
                <a:gd name="T49" fmla="*/ 142 h 184"/>
                <a:gd name="T50" fmla="*/ 125 w 234"/>
                <a:gd name="T51" fmla="*/ 123 h 184"/>
                <a:gd name="T52" fmla="*/ 123 w 234"/>
                <a:gd name="T53" fmla="*/ 102 h 184"/>
                <a:gd name="T54" fmla="*/ 128 w 234"/>
                <a:gd name="T55" fmla="*/ 87 h 184"/>
                <a:gd name="T56" fmla="*/ 97 w 234"/>
                <a:gd name="T57" fmla="*/ 76 h 184"/>
                <a:gd name="T58" fmla="*/ 80 w 234"/>
                <a:gd name="T59" fmla="*/ 47 h 184"/>
                <a:gd name="T60" fmla="*/ 66 w 234"/>
                <a:gd name="T61" fmla="*/ 40 h 184"/>
                <a:gd name="T62" fmla="*/ 38 w 234"/>
                <a:gd name="T63" fmla="*/ 28 h 184"/>
                <a:gd name="T64" fmla="*/ 10 w 234"/>
                <a:gd name="T65" fmla="*/ 14 h 184"/>
                <a:gd name="T66" fmla="*/ 7 w 234"/>
                <a:gd name="T67" fmla="*/ 50 h 184"/>
                <a:gd name="T68" fmla="*/ 5 w 234"/>
                <a:gd name="T69" fmla="*/ 92 h 184"/>
                <a:gd name="T70" fmla="*/ 3 w 234"/>
                <a:gd name="T71" fmla="*/ 123 h 184"/>
                <a:gd name="T72" fmla="*/ 5 w 234"/>
                <a:gd name="T73" fmla="*/ 154 h 184"/>
                <a:gd name="T74" fmla="*/ 26 w 234"/>
                <a:gd name="T75" fmla="*/ 156 h 184"/>
                <a:gd name="T76" fmla="*/ 45 w 234"/>
                <a:gd name="T77" fmla="*/ 142 h 184"/>
                <a:gd name="T78" fmla="*/ 26 w 234"/>
                <a:gd name="T79" fmla="*/ 132 h 184"/>
                <a:gd name="T80" fmla="*/ 36 w 234"/>
                <a:gd name="T81" fmla="*/ 135 h 184"/>
                <a:gd name="T82" fmla="*/ 52 w 234"/>
                <a:gd name="T83" fmla="*/ 128 h 184"/>
                <a:gd name="T84" fmla="*/ 54 w 234"/>
                <a:gd name="T85" fmla="*/ 118 h 184"/>
                <a:gd name="T86" fmla="*/ 66 w 234"/>
                <a:gd name="T87" fmla="*/ 123 h 184"/>
                <a:gd name="T88" fmla="*/ 78 w 234"/>
                <a:gd name="T89" fmla="*/ 125 h 184"/>
                <a:gd name="T90" fmla="*/ 97 w 234"/>
                <a:gd name="T91" fmla="*/ 132 h 184"/>
                <a:gd name="T92" fmla="*/ 111 w 234"/>
                <a:gd name="T93" fmla="*/ 151 h 184"/>
                <a:gd name="T94" fmla="*/ 123 w 234"/>
                <a:gd name="T95" fmla="*/ 170 h 184"/>
                <a:gd name="T96" fmla="*/ 139 w 234"/>
                <a:gd name="T97" fmla="*/ 175 h 184"/>
                <a:gd name="T98" fmla="*/ 163 w 234"/>
                <a:gd name="T99" fmla="*/ 182 h 184"/>
                <a:gd name="T100" fmla="*/ 175 w 234"/>
                <a:gd name="T101" fmla="*/ 180 h 184"/>
                <a:gd name="T102" fmla="*/ 217 w 234"/>
                <a:gd name="T103" fmla="*/ 31 h 184"/>
                <a:gd name="T104" fmla="*/ 196 w 234"/>
                <a:gd name="T105" fmla="*/ 16 h 184"/>
                <a:gd name="T106" fmla="*/ 205 w 234"/>
                <a:gd name="T107" fmla="*/ 26 h 184"/>
                <a:gd name="T108" fmla="*/ 224 w 234"/>
                <a:gd name="T109" fmla="*/ 47 h 184"/>
                <a:gd name="T110" fmla="*/ 231 w 234"/>
                <a:gd name="T111" fmla="*/ 59 h 184"/>
                <a:gd name="T112" fmla="*/ 182 w 234"/>
                <a:gd name="T113" fmla="*/ 16 h 184"/>
                <a:gd name="T114" fmla="*/ 177 w 234"/>
                <a:gd name="T115" fmla="*/ 12 h 184"/>
                <a:gd name="T116" fmla="*/ 128 w 234"/>
                <a:gd name="T117" fmla="*/ 2 h 184"/>
                <a:gd name="T118" fmla="*/ 116 w 234"/>
                <a:gd name="T119"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84">
                  <a:moveTo>
                    <a:pt x="179" y="182"/>
                  </a:moveTo>
                  <a:lnTo>
                    <a:pt x="179" y="184"/>
                  </a:lnTo>
                  <a:lnTo>
                    <a:pt x="179" y="184"/>
                  </a:lnTo>
                  <a:lnTo>
                    <a:pt x="182" y="184"/>
                  </a:lnTo>
                  <a:lnTo>
                    <a:pt x="182" y="182"/>
                  </a:lnTo>
                  <a:lnTo>
                    <a:pt x="182" y="182"/>
                  </a:lnTo>
                  <a:lnTo>
                    <a:pt x="179" y="182"/>
                  </a:lnTo>
                  <a:close/>
                  <a:moveTo>
                    <a:pt x="189" y="170"/>
                  </a:moveTo>
                  <a:lnTo>
                    <a:pt x="186" y="170"/>
                  </a:lnTo>
                  <a:lnTo>
                    <a:pt x="186" y="170"/>
                  </a:lnTo>
                  <a:lnTo>
                    <a:pt x="184" y="170"/>
                  </a:lnTo>
                  <a:lnTo>
                    <a:pt x="186" y="170"/>
                  </a:lnTo>
                  <a:lnTo>
                    <a:pt x="182" y="168"/>
                  </a:lnTo>
                  <a:lnTo>
                    <a:pt x="182" y="165"/>
                  </a:lnTo>
                  <a:lnTo>
                    <a:pt x="182" y="165"/>
                  </a:lnTo>
                  <a:lnTo>
                    <a:pt x="182" y="165"/>
                  </a:lnTo>
                  <a:lnTo>
                    <a:pt x="182" y="168"/>
                  </a:lnTo>
                  <a:lnTo>
                    <a:pt x="182" y="170"/>
                  </a:lnTo>
                  <a:lnTo>
                    <a:pt x="184" y="170"/>
                  </a:lnTo>
                  <a:lnTo>
                    <a:pt x="184" y="172"/>
                  </a:lnTo>
                  <a:lnTo>
                    <a:pt x="186" y="175"/>
                  </a:lnTo>
                  <a:lnTo>
                    <a:pt x="189" y="175"/>
                  </a:lnTo>
                  <a:lnTo>
                    <a:pt x="189" y="170"/>
                  </a:lnTo>
                  <a:lnTo>
                    <a:pt x="189" y="170"/>
                  </a:lnTo>
                  <a:lnTo>
                    <a:pt x="189" y="170"/>
                  </a:lnTo>
                  <a:close/>
                  <a:moveTo>
                    <a:pt x="175" y="163"/>
                  </a:moveTo>
                  <a:lnTo>
                    <a:pt x="177" y="163"/>
                  </a:lnTo>
                  <a:lnTo>
                    <a:pt x="179" y="163"/>
                  </a:lnTo>
                  <a:lnTo>
                    <a:pt x="182" y="163"/>
                  </a:lnTo>
                  <a:lnTo>
                    <a:pt x="182" y="163"/>
                  </a:lnTo>
                  <a:lnTo>
                    <a:pt x="182" y="165"/>
                  </a:lnTo>
                  <a:lnTo>
                    <a:pt x="184" y="163"/>
                  </a:lnTo>
                  <a:lnTo>
                    <a:pt x="184" y="163"/>
                  </a:lnTo>
                  <a:lnTo>
                    <a:pt x="184" y="163"/>
                  </a:lnTo>
                  <a:lnTo>
                    <a:pt x="184" y="161"/>
                  </a:lnTo>
                  <a:lnTo>
                    <a:pt x="182" y="158"/>
                  </a:lnTo>
                  <a:lnTo>
                    <a:pt x="182" y="158"/>
                  </a:lnTo>
                  <a:lnTo>
                    <a:pt x="179" y="158"/>
                  </a:lnTo>
                  <a:lnTo>
                    <a:pt x="177" y="156"/>
                  </a:lnTo>
                  <a:lnTo>
                    <a:pt x="177" y="156"/>
                  </a:lnTo>
                  <a:lnTo>
                    <a:pt x="175" y="158"/>
                  </a:lnTo>
                  <a:lnTo>
                    <a:pt x="175" y="158"/>
                  </a:lnTo>
                  <a:lnTo>
                    <a:pt x="175" y="158"/>
                  </a:lnTo>
                  <a:lnTo>
                    <a:pt x="177" y="161"/>
                  </a:lnTo>
                  <a:lnTo>
                    <a:pt x="177" y="161"/>
                  </a:lnTo>
                  <a:lnTo>
                    <a:pt x="175" y="163"/>
                  </a:lnTo>
                  <a:close/>
                  <a:moveTo>
                    <a:pt x="172" y="161"/>
                  </a:moveTo>
                  <a:lnTo>
                    <a:pt x="172" y="161"/>
                  </a:lnTo>
                  <a:lnTo>
                    <a:pt x="175" y="158"/>
                  </a:lnTo>
                  <a:lnTo>
                    <a:pt x="175" y="158"/>
                  </a:lnTo>
                  <a:lnTo>
                    <a:pt x="172" y="156"/>
                  </a:lnTo>
                  <a:lnTo>
                    <a:pt x="172" y="154"/>
                  </a:lnTo>
                  <a:lnTo>
                    <a:pt x="170" y="156"/>
                  </a:lnTo>
                  <a:lnTo>
                    <a:pt x="170" y="158"/>
                  </a:lnTo>
                  <a:lnTo>
                    <a:pt x="172" y="161"/>
                  </a:lnTo>
                  <a:lnTo>
                    <a:pt x="172" y="161"/>
                  </a:lnTo>
                  <a:close/>
                  <a:moveTo>
                    <a:pt x="189" y="137"/>
                  </a:moveTo>
                  <a:lnTo>
                    <a:pt x="189" y="137"/>
                  </a:lnTo>
                  <a:lnTo>
                    <a:pt x="186" y="139"/>
                  </a:lnTo>
                  <a:lnTo>
                    <a:pt x="189" y="142"/>
                  </a:lnTo>
                  <a:lnTo>
                    <a:pt x="189" y="142"/>
                  </a:lnTo>
                  <a:lnTo>
                    <a:pt x="189" y="142"/>
                  </a:lnTo>
                  <a:lnTo>
                    <a:pt x="189" y="144"/>
                  </a:lnTo>
                  <a:lnTo>
                    <a:pt x="189" y="146"/>
                  </a:lnTo>
                  <a:lnTo>
                    <a:pt x="189" y="144"/>
                  </a:lnTo>
                  <a:lnTo>
                    <a:pt x="189" y="142"/>
                  </a:lnTo>
                  <a:lnTo>
                    <a:pt x="189" y="139"/>
                  </a:lnTo>
                  <a:lnTo>
                    <a:pt x="189" y="137"/>
                  </a:lnTo>
                  <a:lnTo>
                    <a:pt x="189" y="137"/>
                  </a:lnTo>
                  <a:close/>
                  <a:moveTo>
                    <a:pt x="135" y="83"/>
                  </a:moveTo>
                  <a:lnTo>
                    <a:pt x="135" y="83"/>
                  </a:lnTo>
                  <a:lnTo>
                    <a:pt x="137" y="83"/>
                  </a:lnTo>
                  <a:lnTo>
                    <a:pt x="137" y="80"/>
                  </a:lnTo>
                  <a:lnTo>
                    <a:pt x="137" y="78"/>
                  </a:lnTo>
                  <a:lnTo>
                    <a:pt x="137" y="78"/>
                  </a:lnTo>
                  <a:lnTo>
                    <a:pt x="135" y="76"/>
                  </a:lnTo>
                  <a:lnTo>
                    <a:pt x="132" y="76"/>
                  </a:lnTo>
                  <a:lnTo>
                    <a:pt x="132" y="76"/>
                  </a:lnTo>
                  <a:lnTo>
                    <a:pt x="132" y="78"/>
                  </a:lnTo>
                  <a:lnTo>
                    <a:pt x="135" y="80"/>
                  </a:lnTo>
                  <a:lnTo>
                    <a:pt x="135" y="83"/>
                  </a:lnTo>
                  <a:close/>
                  <a:moveTo>
                    <a:pt x="118" y="71"/>
                  </a:moveTo>
                  <a:lnTo>
                    <a:pt x="118" y="71"/>
                  </a:lnTo>
                  <a:lnTo>
                    <a:pt x="118" y="73"/>
                  </a:lnTo>
                  <a:lnTo>
                    <a:pt x="120" y="76"/>
                  </a:lnTo>
                  <a:lnTo>
                    <a:pt x="120" y="76"/>
                  </a:lnTo>
                  <a:lnTo>
                    <a:pt x="123" y="73"/>
                  </a:lnTo>
                  <a:lnTo>
                    <a:pt x="123" y="71"/>
                  </a:lnTo>
                  <a:lnTo>
                    <a:pt x="120" y="68"/>
                  </a:lnTo>
                  <a:lnTo>
                    <a:pt x="118" y="71"/>
                  </a:lnTo>
                  <a:close/>
                  <a:moveTo>
                    <a:pt x="99" y="59"/>
                  </a:moveTo>
                  <a:lnTo>
                    <a:pt x="102" y="59"/>
                  </a:lnTo>
                  <a:lnTo>
                    <a:pt x="102" y="57"/>
                  </a:lnTo>
                  <a:lnTo>
                    <a:pt x="102" y="57"/>
                  </a:lnTo>
                  <a:lnTo>
                    <a:pt x="99" y="57"/>
                  </a:lnTo>
                  <a:lnTo>
                    <a:pt x="99" y="57"/>
                  </a:lnTo>
                  <a:lnTo>
                    <a:pt x="99" y="57"/>
                  </a:lnTo>
                  <a:lnTo>
                    <a:pt x="97" y="59"/>
                  </a:lnTo>
                  <a:lnTo>
                    <a:pt x="99" y="59"/>
                  </a:lnTo>
                  <a:lnTo>
                    <a:pt x="99" y="59"/>
                  </a:lnTo>
                  <a:close/>
                  <a:moveTo>
                    <a:pt x="215" y="66"/>
                  </a:moveTo>
                  <a:lnTo>
                    <a:pt x="215" y="64"/>
                  </a:lnTo>
                  <a:lnTo>
                    <a:pt x="217" y="64"/>
                  </a:lnTo>
                  <a:lnTo>
                    <a:pt x="217" y="61"/>
                  </a:lnTo>
                  <a:lnTo>
                    <a:pt x="219" y="59"/>
                  </a:lnTo>
                  <a:lnTo>
                    <a:pt x="219" y="57"/>
                  </a:lnTo>
                  <a:lnTo>
                    <a:pt x="219" y="57"/>
                  </a:lnTo>
                  <a:lnTo>
                    <a:pt x="219" y="54"/>
                  </a:lnTo>
                  <a:lnTo>
                    <a:pt x="219" y="52"/>
                  </a:lnTo>
                  <a:lnTo>
                    <a:pt x="217" y="52"/>
                  </a:lnTo>
                  <a:lnTo>
                    <a:pt x="215" y="50"/>
                  </a:lnTo>
                  <a:lnTo>
                    <a:pt x="215" y="50"/>
                  </a:lnTo>
                  <a:lnTo>
                    <a:pt x="212" y="52"/>
                  </a:lnTo>
                  <a:lnTo>
                    <a:pt x="210" y="50"/>
                  </a:lnTo>
                  <a:lnTo>
                    <a:pt x="210" y="50"/>
                  </a:lnTo>
                  <a:lnTo>
                    <a:pt x="208" y="50"/>
                  </a:lnTo>
                  <a:lnTo>
                    <a:pt x="208" y="50"/>
                  </a:lnTo>
                  <a:lnTo>
                    <a:pt x="205" y="50"/>
                  </a:lnTo>
                  <a:lnTo>
                    <a:pt x="203" y="50"/>
                  </a:lnTo>
                  <a:lnTo>
                    <a:pt x="203" y="50"/>
                  </a:lnTo>
                  <a:lnTo>
                    <a:pt x="203" y="52"/>
                  </a:lnTo>
                  <a:lnTo>
                    <a:pt x="205" y="57"/>
                  </a:lnTo>
                  <a:lnTo>
                    <a:pt x="205" y="61"/>
                  </a:lnTo>
                  <a:lnTo>
                    <a:pt x="205" y="64"/>
                  </a:lnTo>
                  <a:lnTo>
                    <a:pt x="203" y="64"/>
                  </a:lnTo>
                  <a:lnTo>
                    <a:pt x="201" y="64"/>
                  </a:lnTo>
                  <a:lnTo>
                    <a:pt x="201" y="64"/>
                  </a:lnTo>
                  <a:lnTo>
                    <a:pt x="198" y="64"/>
                  </a:lnTo>
                  <a:lnTo>
                    <a:pt x="196" y="68"/>
                  </a:lnTo>
                  <a:lnTo>
                    <a:pt x="194" y="68"/>
                  </a:lnTo>
                  <a:lnTo>
                    <a:pt x="194" y="73"/>
                  </a:lnTo>
                  <a:lnTo>
                    <a:pt x="191" y="73"/>
                  </a:lnTo>
                  <a:lnTo>
                    <a:pt x="191" y="76"/>
                  </a:lnTo>
                  <a:lnTo>
                    <a:pt x="189" y="76"/>
                  </a:lnTo>
                  <a:lnTo>
                    <a:pt x="189" y="76"/>
                  </a:lnTo>
                  <a:lnTo>
                    <a:pt x="186" y="76"/>
                  </a:lnTo>
                  <a:lnTo>
                    <a:pt x="184" y="76"/>
                  </a:lnTo>
                  <a:lnTo>
                    <a:pt x="184" y="76"/>
                  </a:lnTo>
                  <a:lnTo>
                    <a:pt x="182" y="76"/>
                  </a:lnTo>
                  <a:lnTo>
                    <a:pt x="179" y="76"/>
                  </a:lnTo>
                  <a:lnTo>
                    <a:pt x="177" y="76"/>
                  </a:lnTo>
                  <a:lnTo>
                    <a:pt x="175" y="76"/>
                  </a:lnTo>
                  <a:lnTo>
                    <a:pt x="175" y="71"/>
                  </a:lnTo>
                  <a:lnTo>
                    <a:pt x="175" y="68"/>
                  </a:lnTo>
                  <a:lnTo>
                    <a:pt x="177" y="68"/>
                  </a:lnTo>
                  <a:lnTo>
                    <a:pt x="177" y="66"/>
                  </a:lnTo>
                  <a:lnTo>
                    <a:pt x="177" y="66"/>
                  </a:lnTo>
                  <a:lnTo>
                    <a:pt x="175" y="66"/>
                  </a:lnTo>
                  <a:lnTo>
                    <a:pt x="175" y="66"/>
                  </a:lnTo>
                  <a:lnTo>
                    <a:pt x="175" y="68"/>
                  </a:lnTo>
                  <a:lnTo>
                    <a:pt x="172" y="76"/>
                  </a:lnTo>
                  <a:lnTo>
                    <a:pt x="170" y="76"/>
                  </a:lnTo>
                  <a:lnTo>
                    <a:pt x="168" y="76"/>
                  </a:lnTo>
                  <a:lnTo>
                    <a:pt x="168" y="76"/>
                  </a:lnTo>
                  <a:lnTo>
                    <a:pt x="163" y="78"/>
                  </a:lnTo>
                  <a:lnTo>
                    <a:pt x="161" y="78"/>
                  </a:lnTo>
                  <a:lnTo>
                    <a:pt x="158" y="78"/>
                  </a:lnTo>
                  <a:lnTo>
                    <a:pt x="158" y="76"/>
                  </a:lnTo>
                  <a:lnTo>
                    <a:pt x="156" y="76"/>
                  </a:lnTo>
                  <a:lnTo>
                    <a:pt x="151" y="76"/>
                  </a:lnTo>
                  <a:lnTo>
                    <a:pt x="149" y="76"/>
                  </a:lnTo>
                  <a:lnTo>
                    <a:pt x="149" y="76"/>
                  </a:lnTo>
                  <a:lnTo>
                    <a:pt x="149" y="76"/>
                  </a:lnTo>
                  <a:lnTo>
                    <a:pt x="146" y="76"/>
                  </a:lnTo>
                  <a:lnTo>
                    <a:pt x="144" y="76"/>
                  </a:lnTo>
                  <a:lnTo>
                    <a:pt x="142" y="78"/>
                  </a:lnTo>
                  <a:lnTo>
                    <a:pt x="142" y="80"/>
                  </a:lnTo>
                  <a:lnTo>
                    <a:pt x="144" y="83"/>
                  </a:lnTo>
                  <a:lnTo>
                    <a:pt x="146" y="83"/>
                  </a:lnTo>
                  <a:lnTo>
                    <a:pt x="146" y="83"/>
                  </a:lnTo>
                  <a:lnTo>
                    <a:pt x="149" y="83"/>
                  </a:lnTo>
                  <a:lnTo>
                    <a:pt x="151" y="85"/>
                  </a:lnTo>
                  <a:lnTo>
                    <a:pt x="156" y="90"/>
                  </a:lnTo>
                  <a:lnTo>
                    <a:pt x="156" y="90"/>
                  </a:lnTo>
                  <a:lnTo>
                    <a:pt x="158" y="87"/>
                  </a:lnTo>
                  <a:lnTo>
                    <a:pt x="161" y="87"/>
                  </a:lnTo>
                  <a:lnTo>
                    <a:pt x="163" y="90"/>
                  </a:lnTo>
                  <a:lnTo>
                    <a:pt x="165" y="92"/>
                  </a:lnTo>
                  <a:lnTo>
                    <a:pt x="165" y="92"/>
                  </a:lnTo>
                  <a:lnTo>
                    <a:pt x="168" y="92"/>
                  </a:lnTo>
                  <a:lnTo>
                    <a:pt x="170" y="92"/>
                  </a:lnTo>
                  <a:lnTo>
                    <a:pt x="177" y="92"/>
                  </a:lnTo>
                  <a:lnTo>
                    <a:pt x="179" y="92"/>
                  </a:lnTo>
                  <a:lnTo>
                    <a:pt x="182" y="92"/>
                  </a:lnTo>
                  <a:lnTo>
                    <a:pt x="184" y="90"/>
                  </a:lnTo>
                  <a:lnTo>
                    <a:pt x="186" y="90"/>
                  </a:lnTo>
                  <a:lnTo>
                    <a:pt x="186" y="90"/>
                  </a:lnTo>
                  <a:lnTo>
                    <a:pt x="189" y="87"/>
                  </a:lnTo>
                  <a:lnTo>
                    <a:pt x="189" y="87"/>
                  </a:lnTo>
                  <a:lnTo>
                    <a:pt x="191" y="87"/>
                  </a:lnTo>
                  <a:lnTo>
                    <a:pt x="194" y="87"/>
                  </a:lnTo>
                  <a:lnTo>
                    <a:pt x="196" y="85"/>
                  </a:lnTo>
                  <a:lnTo>
                    <a:pt x="198" y="83"/>
                  </a:lnTo>
                  <a:lnTo>
                    <a:pt x="201" y="80"/>
                  </a:lnTo>
                  <a:lnTo>
                    <a:pt x="201" y="80"/>
                  </a:lnTo>
                  <a:lnTo>
                    <a:pt x="201" y="80"/>
                  </a:lnTo>
                  <a:lnTo>
                    <a:pt x="201" y="78"/>
                  </a:lnTo>
                  <a:lnTo>
                    <a:pt x="201" y="78"/>
                  </a:lnTo>
                  <a:lnTo>
                    <a:pt x="205" y="78"/>
                  </a:lnTo>
                  <a:lnTo>
                    <a:pt x="208" y="78"/>
                  </a:lnTo>
                  <a:lnTo>
                    <a:pt x="210" y="76"/>
                  </a:lnTo>
                  <a:lnTo>
                    <a:pt x="212" y="76"/>
                  </a:lnTo>
                  <a:lnTo>
                    <a:pt x="212" y="73"/>
                  </a:lnTo>
                  <a:lnTo>
                    <a:pt x="212" y="71"/>
                  </a:lnTo>
                  <a:lnTo>
                    <a:pt x="210" y="68"/>
                  </a:lnTo>
                  <a:lnTo>
                    <a:pt x="210" y="66"/>
                  </a:lnTo>
                  <a:lnTo>
                    <a:pt x="212" y="66"/>
                  </a:lnTo>
                  <a:lnTo>
                    <a:pt x="215" y="66"/>
                  </a:lnTo>
                  <a:close/>
                  <a:moveTo>
                    <a:pt x="224" y="28"/>
                  </a:moveTo>
                  <a:lnTo>
                    <a:pt x="227" y="26"/>
                  </a:lnTo>
                  <a:lnTo>
                    <a:pt x="224" y="24"/>
                  </a:lnTo>
                  <a:lnTo>
                    <a:pt x="224" y="24"/>
                  </a:lnTo>
                  <a:lnTo>
                    <a:pt x="224" y="26"/>
                  </a:lnTo>
                  <a:lnTo>
                    <a:pt x="224" y="26"/>
                  </a:lnTo>
                  <a:lnTo>
                    <a:pt x="224" y="28"/>
                  </a:lnTo>
                  <a:close/>
                  <a:moveTo>
                    <a:pt x="177" y="177"/>
                  </a:moveTo>
                  <a:lnTo>
                    <a:pt x="175" y="175"/>
                  </a:lnTo>
                  <a:lnTo>
                    <a:pt x="172" y="175"/>
                  </a:lnTo>
                  <a:lnTo>
                    <a:pt x="170" y="175"/>
                  </a:lnTo>
                  <a:lnTo>
                    <a:pt x="170" y="172"/>
                  </a:lnTo>
                  <a:lnTo>
                    <a:pt x="168" y="172"/>
                  </a:lnTo>
                  <a:lnTo>
                    <a:pt x="165" y="172"/>
                  </a:lnTo>
                  <a:lnTo>
                    <a:pt x="165" y="172"/>
                  </a:lnTo>
                  <a:lnTo>
                    <a:pt x="163" y="170"/>
                  </a:lnTo>
                  <a:lnTo>
                    <a:pt x="163" y="170"/>
                  </a:lnTo>
                  <a:lnTo>
                    <a:pt x="161" y="168"/>
                  </a:lnTo>
                  <a:lnTo>
                    <a:pt x="163" y="168"/>
                  </a:lnTo>
                  <a:lnTo>
                    <a:pt x="163" y="165"/>
                  </a:lnTo>
                  <a:lnTo>
                    <a:pt x="165" y="165"/>
                  </a:lnTo>
                  <a:lnTo>
                    <a:pt x="165" y="165"/>
                  </a:lnTo>
                  <a:lnTo>
                    <a:pt x="168" y="165"/>
                  </a:lnTo>
                  <a:lnTo>
                    <a:pt x="165" y="163"/>
                  </a:lnTo>
                  <a:lnTo>
                    <a:pt x="165" y="163"/>
                  </a:lnTo>
                  <a:lnTo>
                    <a:pt x="163" y="163"/>
                  </a:lnTo>
                  <a:lnTo>
                    <a:pt x="156" y="163"/>
                  </a:lnTo>
                  <a:lnTo>
                    <a:pt x="156" y="161"/>
                  </a:lnTo>
                  <a:lnTo>
                    <a:pt x="153" y="161"/>
                  </a:lnTo>
                  <a:lnTo>
                    <a:pt x="153" y="158"/>
                  </a:lnTo>
                  <a:lnTo>
                    <a:pt x="153" y="156"/>
                  </a:lnTo>
                  <a:lnTo>
                    <a:pt x="153" y="154"/>
                  </a:lnTo>
                  <a:lnTo>
                    <a:pt x="153" y="151"/>
                  </a:lnTo>
                  <a:lnTo>
                    <a:pt x="153" y="151"/>
                  </a:lnTo>
                  <a:lnTo>
                    <a:pt x="151" y="151"/>
                  </a:lnTo>
                  <a:lnTo>
                    <a:pt x="151" y="151"/>
                  </a:lnTo>
                  <a:lnTo>
                    <a:pt x="146" y="151"/>
                  </a:lnTo>
                  <a:lnTo>
                    <a:pt x="144" y="151"/>
                  </a:lnTo>
                  <a:lnTo>
                    <a:pt x="142" y="151"/>
                  </a:lnTo>
                  <a:lnTo>
                    <a:pt x="142" y="149"/>
                  </a:lnTo>
                  <a:lnTo>
                    <a:pt x="139" y="144"/>
                  </a:lnTo>
                  <a:lnTo>
                    <a:pt x="139" y="142"/>
                  </a:lnTo>
                  <a:lnTo>
                    <a:pt x="137" y="139"/>
                  </a:lnTo>
                  <a:lnTo>
                    <a:pt x="137" y="139"/>
                  </a:lnTo>
                  <a:lnTo>
                    <a:pt x="137" y="139"/>
                  </a:lnTo>
                  <a:lnTo>
                    <a:pt x="137" y="135"/>
                  </a:lnTo>
                  <a:lnTo>
                    <a:pt x="135" y="132"/>
                  </a:lnTo>
                  <a:lnTo>
                    <a:pt x="135" y="130"/>
                  </a:lnTo>
                  <a:lnTo>
                    <a:pt x="132" y="128"/>
                  </a:lnTo>
                  <a:lnTo>
                    <a:pt x="130" y="128"/>
                  </a:lnTo>
                  <a:lnTo>
                    <a:pt x="128" y="125"/>
                  </a:lnTo>
                  <a:lnTo>
                    <a:pt x="125" y="123"/>
                  </a:lnTo>
                  <a:lnTo>
                    <a:pt x="123" y="120"/>
                  </a:lnTo>
                  <a:lnTo>
                    <a:pt x="120" y="118"/>
                  </a:lnTo>
                  <a:lnTo>
                    <a:pt x="120" y="118"/>
                  </a:lnTo>
                  <a:lnTo>
                    <a:pt x="118" y="116"/>
                  </a:lnTo>
                  <a:lnTo>
                    <a:pt x="118" y="111"/>
                  </a:lnTo>
                  <a:lnTo>
                    <a:pt x="116" y="106"/>
                  </a:lnTo>
                  <a:lnTo>
                    <a:pt x="116" y="104"/>
                  </a:lnTo>
                  <a:lnTo>
                    <a:pt x="116" y="104"/>
                  </a:lnTo>
                  <a:lnTo>
                    <a:pt x="118" y="102"/>
                  </a:lnTo>
                  <a:lnTo>
                    <a:pt x="123" y="102"/>
                  </a:lnTo>
                  <a:lnTo>
                    <a:pt x="130" y="102"/>
                  </a:lnTo>
                  <a:lnTo>
                    <a:pt x="132" y="102"/>
                  </a:lnTo>
                  <a:lnTo>
                    <a:pt x="132" y="102"/>
                  </a:lnTo>
                  <a:lnTo>
                    <a:pt x="132" y="99"/>
                  </a:lnTo>
                  <a:lnTo>
                    <a:pt x="132" y="94"/>
                  </a:lnTo>
                  <a:lnTo>
                    <a:pt x="132" y="92"/>
                  </a:lnTo>
                  <a:lnTo>
                    <a:pt x="130" y="92"/>
                  </a:lnTo>
                  <a:lnTo>
                    <a:pt x="130" y="92"/>
                  </a:lnTo>
                  <a:lnTo>
                    <a:pt x="130" y="90"/>
                  </a:lnTo>
                  <a:lnTo>
                    <a:pt x="128" y="87"/>
                  </a:lnTo>
                  <a:lnTo>
                    <a:pt x="128" y="87"/>
                  </a:lnTo>
                  <a:lnTo>
                    <a:pt x="125" y="85"/>
                  </a:lnTo>
                  <a:lnTo>
                    <a:pt x="125" y="85"/>
                  </a:lnTo>
                  <a:lnTo>
                    <a:pt x="123" y="85"/>
                  </a:lnTo>
                  <a:lnTo>
                    <a:pt x="120" y="85"/>
                  </a:lnTo>
                  <a:lnTo>
                    <a:pt x="118" y="85"/>
                  </a:lnTo>
                  <a:lnTo>
                    <a:pt x="106" y="78"/>
                  </a:lnTo>
                  <a:lnTo>
                    <a:pt x="104" y="78"/>
                  </a:lnTo>
                  <a:lnTo>
                    <a:pt x="99" y="76"/>
                  </a:lnTo>
                  <a:lnTo>
                    <a:pt x="97" y="76"/>
                  </a:lnTo>
                  <a:lnTo>
                    <a:pt x="95" y="73"/>
                  </a:lnTo>
                  <a:lnTo>
                    <a:pt x="97" y="68"/>
                  </a:lnTo>
                  <a:lnTo>
                    <a:pt x="97" y="64"/>
                  </a:lnTo>
                  <a:lnTo>
                    <a:pt x="95" y="61"/>
                  </a:lnTo>
                  <a:lnTo>
                    <a:pt x="87" y="52"/>
                  </a:lnTo>
                  <a:lnTo>
                    <a:pt x="85" y="52"/>
                  </a:lnTo>
                  <a:lnTo>
                    <a:pt x="83" y="52"/>
                  </a:lnTo>
                  <a:lnTo>
                    <a:pt x="83" y="50"/>
                  </a:lnTo>
                  <a:lnTo>
                    <a:pt x="80" y="47"/>
                  </a:lnTo>
                  <a:lnTo>
                    <a:pt x="80" y="47"/>
                  </a:lnTo>
                  <a:lnTo>
                    <a:pt x="78" y="45"/>
                  </a:lnTo>
                  <a:lnTo>
                    <a:pt x="76" y="45"/>
                  </a:lnTo>
                  <a:lnTo>
                    <a:pt x="73" y="42"/>
                  </a:lnTo>
                  <a:lnTo>
                    <a:pt x="73" y="40"/>
                  </a:lnTo>
                  <a:lnTo>
                    <a:pt x="73" y="40"/>
                  </a:lnTo>
                  <a:lnTo>
                    <a:pt x="71" y="40"/>
                  </a:lnTo>
                  <a:lnTo>
                    <a:pt x="71" y="40"/>
                  </a:lnTo>
                  <a:lnTo>
                    <a:pt x="69" y="40"/>
                  </a:lnTo>
                  <a:lnTo>
                    <a:pt x="66" y="40"/>
                  </a:lnTo>
                  <a:lnTo>
                    <a:pt x="66" y="40"/>
                  </a:lnTo>
                  <a:lnTo>
                    <a:pt x="64" y="40"/>
                  </a:lnTo>
                  <a:lnTo>
                    <a:pt x="62" y="38"/>
                  </a:lnTo>
                  <a:lnTo>
                    <a:pt x="62" y="35"/>
                  </a:lnTo>
                  <a:lnTo>
                    <a:pt x="59" y="35"/>
                  </a:lnTo>
                  <a:lnTo>
                    <a:pt x="54" y="33"/>
                  </a:lnTo>
                  <a:lnTo>
                    <a:pt x="52" y="31"/>
                  </a:lnTo>
                  <a:lnTo>
                    <a:pt x="47" y="31"/>
                  </a:lnTo>
                  <a:lnTo>
                    <a:pt x="45" y="31"/>
                  </a:lnTo>
                  <a:lnTo>
                    <a:pt x="45" y="31"/>
                  </a:lnTo>
                  <a:lnTo>
                    <a:pt x="38" y="28"/>
                  </a:lnTo>
                  <a:lnTo>
                    <a:pt x="31" y="26"/>
                  </a:lnTo>
                  <a:lnTo>
                    <a:pt x="26" y="21"/>
                  </a:lnTo>
                  <a:lnTo>
                    <a:pt x="26" y="21"/>
                  </a:lnTo>
                  <a:lnTo>
                    <a:pt x="26" y="21"/>
                  </a:lnTo>
                  <a:lnTo>
                    <a:pt x="24" y="21"/>
                  </a:lnTo>
                  <a:lnTo>
                    <a:pt x="21" y="19"/>
                  </a:lnTo>
                  <a:lnTo>
                    <a:pt x="12" y="14"/>
                  </a:lnTo>
                  <a:lnTo>
                    <a:pt x="12" y="14"/>
                  </a:lnTo>
                  <a:lnTo>
                    <a:pt x="10" y="14"/>
                  </a:lnTo>
                  <a:lnTo>
                    <a:pt x="10" y="14"/>
                  </a:lnTo>
                  <a:lnTo>
                    <a:pt x="10" y="14"/>
                  </a:lnTo>
                  <a:lnTo>
                    <a:pt x="10" y="16"/>
                  </a:lnTo>
                  <a:lnTo>
                    <a:pt x="10" y="19"/>
                  </a:lnTo>
                  <a:lnTo>
                    <a:pt x="7" y="24"/>
                  </a:lnTo>
                  <a:lnTo>
                    <a:pt x="7" y="28"/>
                  </a:lnTo>
                  <a:lnTo>
                    <a:pt x="7" y="33"/>
                  </a:lnTo>
                  <a:lnTo>
                    <a:pt x="7" y="35"/>
                  </a:lnTo>
                  <a:lnTo>
                    <a:pt x="7" y="40"/>
                  </a:lnTo>
                  <a:lnTo>
                    <a:pt x="7" y="45"/>
                  </a:lnTo>
                  <a:lnTo>
                    <a:pt x="7" y="50"/>
                  </a:lnTo>
                  <a:lnTo>
                    <a:pt x="7" y="54"/>
                  </a:lnTo>
                  <a:lnTo>
                    <a:pt x="7" y="57"/>
                  </a:lnTo>
                  <a:lnTo>
                    <a:pt x="7" y="61"/>
                  </a:lnTo>
                  <a:lnTo>
                    <a:pt x="7" y="66"/>
                  </a:lnTo>
                  <a:lnTo>
                    <a:pt x="7" y="71"/>
                  </a:lnTo>
                  <a:lnTo>
                    <a:pt x="5" y="76"/>
                  </a:lnTo>
                  <a:lnTo>
                    <a:pt x="5" y="78"/>
                  </a:lnTo>
                  <a:lnTo>
                    <a:pt x="5" y="83"/>
                  </a:lnTo>
                  <a:lnTo>
                    <a:pt x="5" y="87"/>
                  </a:lnTo>
                  <a:lnTo>
                    <a:pt x="5" y="92"/>
                  </a:lnTo>
                  <a:lnTo>
                    <a:pt x="5" y="94"/>
                  </a:lnTo>
                  <a:lnTo>
                    <a:pt x="5" y="97"/>
                  </a:lnTo>
                  <a:lnTo>
                    <a:pt x="3" y="99"/>
                  </a:lnTo>
                  <a:lnTo>
                    <a:pt x="3" y="102"/>
                  </a:lnTo>
                  <a:lnTo>
                    <a:pt x="3" y="104"/>
                  </a:lnTo>
                  <a:lnTo>
                    <a:pt x="5" y="106"/>
                  </a:lnTo>
                  <a:lnTo>
                    <a:pt x="5" y="109"/>
                  </a:lnTo>
                  <a:lnTo>
                    <a:pt x="3" y="113"/>
                  </a:lnTo>
                  <a:lnTo>
                    <a:pt x="3" y="118"/>
                  </a:lnTo>
                  <a:lnTo>
                    <a:pt x="3" y="123"/>
                  </a:lnTo>
                  <a:lnTo>
                    <a:pt x="3" y="125"/>
                  </a:lnTo>
                  <a:lnTo>
                    <a:pt x="3" y="130"/>
                  </a:lnTo>
                  <a:lnTo>
                    <a:pt x="3" y="135"/>
                  </a:lnTo>
                  <a:lnTo>
                    <a:pt x="3" y="139"/>
                  </a:lnTo>
                  <a:lnTo>
                    <a:pt x="0" y="144"/>
                  </a:lnTo>
                  <a:lnTo>
                    <a:pt x="0" y="149"/>
                  </a:lnTo>
                  <a:lnTo>
                    <a:pt x="0" y="151"/>
                  </a:lnTo>
                  <a:lnTo>
                    <a:pt x="0" y="151"/>
                  </a:lnTo>
                  <a:lnTo>
                    <a:pt x="3" y="154"/>
                  </a:lnTo>
                  <a:lnTo>
                    <a:pt x="5" y="154"/>
                  </a:lnTo>
                  <a:lnTo>
                    <a:pt x="7" y="154"/>
                  </a:lnTo>
                  <a:lnTo>
                    <a:pt x="7" y="154"/>
                  </a:lnTo>
                  <a:lnTo>
                    <a:pt x="10" y="154"/>
                  </a:lnTo>
                  <a:lnTo>
                    <a:pt x="12" y="154"/>
                  </a:lnTo>
                  <a:lnTo>
                    <a:pt x="14" y="154"/>
                  </a:lnTo>
                  <a:lnTo>
                    <a:pt x="19" y="154"/>
                  </a:lnTo>
                  <a:lnTo>
                    <a:pt x="24" y="154"/>
                  </a:lnTo>
                  <a:lnTo>
                    <a:pt x="24" y="154"/>
                  </a:lnTo>
                  <a:lnTo>
                    <a:pt x="26" y="154"/>
                  </a:lnTo>
                  <a:lnTo>
                    <a:pt x="26" y="156"/>
                  </a:lnTo>
                  <a:lnTo>
                    <a:pt x="29" y="156"/>
                  </a:lnTo>
                  <a:lnTo>
                    <a:pt x="31" y="156"/>
                  </a:lnTo>
                  <a:lnTo>
                    <a:pt x="36" y="154"/>
                  </a:lnTo>
                  <a:lnTo>
                    <a:pt x="40" y="151"/>
                  </a:lnTo>
                  <a:lnTo>
                    <a:pt x="43" y="151"/>
                  </a:lnTo>
                  <a:lnTo>
                    <a:pt x="45" y="149"/>
                  </a:lnTo>
                  <a:lnTo>
                    <a:pt x="45" y="149"/>
                  </a:lnTo>
                  <a:lnTo>
                    <a:pt x="45" y="146"/>
                  </a:lnTo>
                  <a:lnTo>
                    <a:pt x="45" y="144"/>
                  </a:lnTo>
                  <a:lnTo>
                    <a:pt x="45" y="142"/>
                  </a:lnTo>
                  <a:lnTo>
                    <a:pt x="43" y="142"/>
                  </a:lnTo>
                  <a:lnTo>
                    <a:pt x="40" y="139"/>
                  </a:lnTo>
                  <a:lnTo>
                    <a:pt x="40" y="139"/>
                  </a:lnTo>
                  <a:lnTo>
                    <a:pt x="40" y="137"/>
                  </a:lnTo>
                  <a:lnTo>
                    <a:pt x="36" y="137"/>
                  </a:lnTo>
                  <a:lnTo>
                    <a:pt x="31" y="135"/>
                  </a:lnTo>
                  <a:lnTo>
                    <a:pt x="29" y="137"/>
                  </a:lnTo>
                  <a:lnTo>
                    <a:pt x="29" y="135"/>
                  </a:lnTo>
                  <a:lnTo>
                    <a:pt x="29" y="135"/>
                  </a:lnTo>
                  <a:lnTo>
                    <a:pt x="26" y="132"/>
                  </a:lnTo>
                  <a:lnTo>
                    <a:pt x="24" y="132"/>
                  </a:lnTo>
                  <a:lnTo>
                    <a:pt x="26" y="132"/>
                  </a:lnTo>
                  <a:lnTo>
                    <a:pt x="29" y="132"/>
                  </a:lnTo>
                  <a:lnTo>
                    <a:pt x="29" y="132"/>
                  </a:lnTo>
                  <a:lnTo>
                    <a:pt x="29" y="135"/>
                  </a:lnTo>
                  <a:lnTo>
                    <a:pt x="29" y="135"/>
                  </a:lnTo>
                  <a:lnTo>
                    <a:pt x="31" y="135"/>
                  </a:lnTo>
                  <a:lnTo>
                    <a:pt x="33" y="135"/>
                  </a:lnTo>
                  <a:lnTo>
                    <a:pt x="33" y="135"/>
                  </a:lnTo>
                  <a:lnTo>
                    <a:pt x="36" y="135"/>
                  </a:lnTo>
                  <a:lnTo>
                    <a:pt x="38" y="135"/>
                  </a:lnTo>
                  <a:lnTo>
                    <a:pt x="40" y="135"/>
                  </a:lnTo>
                  <a:lnTo>
                    <a:pt x="45" y="135"/>
                  </a:lnTo>
                  <a:lnTo>
                    <a:pt x="47" y="135"/>
                  </a:lnTo>
                  <a:lnTo>
                    <a:pt x="52" y="132"/>
                  </a:lnTo>
                  <a:lnTo>
                    <a:pt x="50" y="130"/>
                  </a:lnTo>
                  <a:lnTo>
                    <a:pt x="50" y="130"/>
                  </a:lnTo>
                  <a:lnTo>
                    <a:pt x="50" y="128"/>
                  </a:lnTo>
                  <a:lnTo>
                    <a:pt x="50" y="128"/>
                  </a:lnTo>
                  <a:lnTo>
                    <a:pt x="52" y="128"/>
                  </a:lnTo>
                  <a:lnTo>
                    <a:pt x="54" y="130"/>
                  </a:lnTo>
                  <a:lnTo>
                    <a:pt x="54" y="130"/>
                  </a:lnTo>
                  <a:lnTo>
                    <a:pt x="57" y="130"/>
                  </a:lnTo>
                  <a:lnTo>
                    <a:pt x="54" y="128"/>
                  </a:lnTo>
                  <a:lnTo>
                    <a:pt x="57" y="128"/>
                  </a:lnTo>
                  <a:lnTo>
                    <a:pt x="57" y="128"/>
                  </a:lnTo>
                  <a:lnTo>
                    <a:pt x="54" y="118"/>
                  </a:lnTo>
                  <a:lnTo>
                    <a:pt x="52" y="118"/>
                  </a:lnTo>
                  <a:lnTo>
                    <a:pt x="54" y="118"/>
                  </a:lnTo>
                  <a:lnTo>
                    <a:pt x="54" y="118"/>
                  </a:lnTo>
                  <a:lnTo>
                    <a:pt x="57" y="120"/>
                  </a:lnTo>
                  <a:lnTo>
                    <a:pt x="57" y="123"/>
                  </a:lnTo>
                  <a:lnTo>
                    <a:pt x="59" y="123"/>
                  </a:lnTo>
                  <a:lnTo>
                    <a:pt x="62" y="123"/>
                  </a:lnTo>
                  <a:lnTo>
                    <a:pt x="64" y="123"/>
                  </a:lnTo>
                  <a:lnTo>
                    <a:pt x="64" y="123"/>
                  </a:lnTo>
                  <a:lnTo>
                    <a:pt x="64" y="123"/>
                  </a:lnTo>
                  <a:lnTo>
                    <a:pt x="66" y="120"/>
                  </a:lnTo>
                  <a:lnTo>
                    <a:pt x="66" y="123"/>
                  </a:lnTo>
                  <a:lnTo>
                    <a:pt x="66" y="123"/>
                  </a:lnTo>
                  <a:lnTo>
                    <a:pt x="69" y="120"/>
                  </a:lnTo>
                  <a:lnTo>
                    <a:pt x="69" y="120"/>
                  </a:lnTo>
                  <a:lnTo>
                    <a:pt x="71" y="120"/>
                  </a:lnTo>
                  <a:lnTo>
                    <a:pt x="71" y="120"/>
                  </a:lnTo>
                  <a:lnTo>
                    <a:pt x="73" y="120"/>
                  </a:lnTo>
                  <a:lnTo>
                    <a:pt x="76" y="120"/>
                  </a:lnTo>
                  <a:lnTo>
                    <a:pt x="76" y="123"/>
                  </a:lnTo>
                  <a:lnTo>
                    <a:pt x="76" y="123"/>
                  </a:lnTo>
                  <a:lnTo>
                    <a:pt x="76" y="125"/>
                  </a:lnTo>
                  <a:lnTo>
                    <a:pt x="78" y="125"/>
                  </a:lnTo>
                  <a:lnTo>
                    <a:pt x="80" y="125"/>
                  </a:lnTo>
                  <a:lnTo>
                    <a:pt x="83" y="125"/>
                  </a:lnTo>
                  <a:lnTo>
                    <a:pt x="85" y="128"/>
                  </a:lnTo>
                  <a:lnTo>
                    <a:pt x="87" y="128"/>
                  </a:lnTo>
                  <a:lnTo>
                    <a:pt x="90" y="128"/>
                  </a:lnTo>
                  <a:lnTo>
                    <a:pt x="92" y="128"/>
                  </a:lnTo>
                  <a:lnTo>
                    <a:pt x="92" y="128"/>
                  </a:lnTo>
                  <a:lnTo>
                    <a:pt x="97" y="130"/>
                  </a:lnTo>
                  <a:lnTo>
                    <a:pt x="97" y="130"/>
                  </a:lnTo>
                  <a:lnTo>
                    <a:pt x="97" y="132"/>
                  </a:lnTo>
                  <a:lnTo>
                    <a:pt x="97" y="132"/>
                  </a:lnTo>
                  <a:lnTo>
                    <a:pt x="99" y="135"/>
                  </a:lnTo>
                  <a:lnTo>
                    <a:pt x="99" y="137"/>
                  </a:lnTo>
                  <a:lnTo>
                    <a:pt x="99" y="139"/>
                  </a:lnTo>
                  <a:lnTo>
                    <a:pt x="104" y="142"/>
                  </a:lnTo>
                  <a:lnTo>
                    <a:pt x="104" y="144"/>
                  </a:lnTo>
                  <a:lnTo>
                    <a:pt x="106" y="149"/>
                  </a:lnTo>
                  <a:lnTo>
                    <a:pt x="106" y="151"/>
                  </a:lnTo>
                  <a:lnTo>
                    <a:pt x="109" y="151"/>
                  </a:lnTo>
                  <a:lnTo>
                    <a:pt x="111" y="151"/>
                  </a:lnTo>
                  <a:lnTo>
                    <a:pt x="111" y="151"/>
                  </a:lnTo>
                  <a:lnTo>
                    <a:pt x="111" y="154"/>
                  </a:lnTo>
                  <a:lnTo>
                    <a:pt x="111" y="156"/>
                  </a:lnTo>
                  <a:lnTo>
                    <a:pt x="111" y="158"/>
                  </a:lnTo>
                  <a:lnTo>
                    <a:pt x="113" y="158"/>
                  </a:lnTo>
                  <a:lnTo>
                    <a:pt x="116" y="163"/>
                  </a:lnTo>
                  <a:lnTo>
                    <a:pt x="118" y="163"/>
                  </a:lnTo>
                  <a:lnTo>
                    <a:pt x="120" y="165"/>
                  </a:lnTo>
                  <a:lnTo>
                    <a:pt x="120" y="170"/>
                  </a:lnTo>
                  <a:lnTo>
                    <a:pt x="123" y="170"/>
                  </a:lnTo>
                  <a:lnTo>
                    <a:pt x="123" y="170"/>
                  </a:lnTo>
                  <a:lnTo>
                    <a:pt x="125" y="172"/>
                  </a:lnTo>
                  <a:lnTo>
                    <a:pt x="128" y="172"/>
                  </a:lnTo>
                  <a:lnTo>
                    <a:pt x="130" y="172"/>
                  </a:lnTo>
                  <a:lnTo>
                    <a:pt x="130" y="172"/>
                  </a:lnTo>
                  <a:lnTo>
                    <a:pt x="132" y="172"/>
                  </a:lnTo>
                  <a:lnTo>
                    <a:pt x="135" y="172"/>
                  </a:lnTo>
                  <a:lnTo>
                    <a:pt x="135" y="175"/>
                  </a:lnTo>
                  <a:lnTo>
                    <a:pt x="137" y="175"/>
                  </a:lnTo>
                  <a:lnTo>
                    <a:pt x="139" y="175"/>
                  </a:lnTo>
                  <a:lnTo>
                    <a:pt x="142" y="175"/>
                  </a:lnTo>
                  <a:lnTo>
                    <a:pt x="142" y="175"/>
                  </a:lnTo>
                  <a:lnTo>
                    <a:pt x="144" y="175"/>
                  </a:lnTo>
                  <a:lnTo>
                    <a:pt x="146" y="177"/>
                  </a:lnTo>
                  <a:lnTo>
                    <a:pt x="153" y="177"/>
                  </a:lnTo>
                  <a:lnTo>
                    <a:pt x="156" y="177"/>
                  </a:lnTo>
                  <a:lnTo>
                    <a:pt x="158" y="177"/>
                  </a:lnTo>
                  <a:lnTo>
                    <a:pt x="161" y="177"/>
                  </a:lnTo>
                  <a:lnTo>
                    <a:pt x="163" y="180"/>
                  </a:lnTo>
                  <a:lnTo>
                    <a:pt x="163" y="182"/>
                  </a:lnTo>
                  <a:lnTo>
                    <a:pt x="165" y="182"/>
                  </a:lnTo>
                  <a:lnTo>
                    <a:pt x="165" y="182"/>
                  </a:lnTo>
                  <a:lnTo>
                    <a:pt x="168" y="184"/>
                  </a:lnTo>
                  <a:lnTo>
                    <a:pt x="170" y="184"/>
                  </a:lnTo>
                  <a:lnTo>
                    <a:pt x="172" y="184"/>
                  </a:lnTo>
                  <a:lnTo>
                    <a:pt x="172" y="184"/>
                  </a:lnTo>
                  <a:lnTo>
                    <a:pt x="177" y="182"/>
                  </a:lnTo>
                  <a:lnTo>
                    <a:pt x="177" y="182"/>
                  </a:lnTo>
                  <a:lnTo>
                    <a:pt x="177" y="182"/>
                  </a:lnTo>
                  <a:lnTo>
                    <a:pt x="175" y="180"/>
                  </a:lnTo>
                  <a:lnTo>
                    <a:pt x="172" y="177"/>
                  </a:lnTo>
                  <a:lnTo>
                    <a:pt x="172" y="177"/>
                  </a:lnTo>
                  <a:lnTo>
                    <a:pt x="177" y="177"/>
                  </a:lnTo>
                  <a:lnTo>
                    <a:pt x="177" y="177"/>
                  </a:lnTo>
                  <a:lnTo>
                    <a:pt x="182" y="175"/>
                  </a:lnTo>
                  <a:lnTo>
                    <a:pt x="177" y="177"/>
                  </a:lnTo>
                  <a:close/>
                  <a:moveTo>
                    <a:pt x="231" y="47"/>
                  </a:moveTo>
                  <a:lnTo>
                    <a:pt x="219" y="35"/>
                  </a:lnTo>
                  <a:lnTo>
                    <a:pt x="219" y="33"/>
                  </a:lnTo>
                  <a:lnTo>
                    <a:pt x="217" y="31"/>
                  </a:lnTo>
                  <a:lnTo>
                    <a:pt x="215" y="28"/>
                  </a:lnTo>
                  <a:lnTo>
                    <a:pt x="215" y="28"/>
                  </a:lnTo>
                  <a:lnTo>
                    <a:pt x="210" y="26"/>
                  </a:lnTo>
                  <a:lnTo>
                    <a:pt x="208" y="24"/>
                  </a:lnTo>
                  <a:lnTo>
                    <a:pt x="205" y="24"/>
                  </a:lnTo>
                  <a:lnTo>
                    <a:pt x="203" y="21"/>
                  </a:lnTo>
                  <a:lnTo>
                    <a:pt x="201" y="21"/>
                  </a:lnTo>
                  <a:lnTo>
                    <a:pt x="198" y="21"/>
                  </a:lnTo>
                  <a:lnTo>
                    <a:pt x="198" y="19"/>
                  </a:lnTo>
                  <a:lnTo>
                    <a:pt x="196" y="16"/>
                  </a:lnTo>
                  <a:lnTo>
                    <a:pt x="191" y="14"/>
                  </a:lnTo>
                  <a:lnTo>
                    <a:pt x="191" y="16"/>
                  </a:lnTo>
                  <a:lnTo>
                    <a:pt x="191" y="16"/>
                  </a:lnTo>
                  <a:lnTo>
                    <a:pt x="191" y="16"/>
                  </a:lnTo>
                  <a:lnTo>
                    <a:pt x="191" y="19"/>
                  </a:lnTo>
                  <a:lnTo>
                    <a:pt x="194" y="19"/>
                  </a:lnTo>
                  <a:lnTo>
                    <a:pt x="196" y="19"/>
                  </a:lnTo>
                  <a:lnTo>
                    <a:pt x="203" y="24"/>
                  </a:lnTo>
                  <a:lnTo>
                    <a:pt x="203" y="26"/>
                  </a:lnTo>
                  <a:lnTo>
                    <a:pt x="205" y="26"/>
                  </a:lnTo>
                  <a:lnTo>
                    <a:pt x="210" y="31"/>
                  </a:lnTo>
                  <a:lnTo>
                    <a:pt x="210" y="31"/>
                  </a:lnTo>
                  <a:lnTo>
                    <a:pt x="212" y="33"/>
                  </a:lnTo>
                  <a:lnTo>
                    <a:pt x="212" y="33"/>
                  </a:lnTo>
                  <a:lnTo>
                    <a:pt x="215" y="33"/>
                  </a:lnTo>
                  <a:lnTo>
                    <a:pt x="217" y="33"/>
                  </a:lnTo>
                  <a:lnTo>
                    <a:pt x="217" y="35"/>
                  </a:lnTo>
                  <a:lnTo>
                    <a:pt x="219" y="38"/>
                  </a:lnTo>
                  <a:lnTo>
                    <a:pt x="224" y="45"/>
                  </a:lnTo>
                  <a:lnTo>
                    <a:pt x="224" y="47"/>
                  </a:lnTo>
                  <a:lnTo>
                    <a:pt x="224" y="50"/>
                  </a:lnTo>
                  <a:lnTo>
                    <a:pt x="224" y="52"/>
                  </a:lnTo>
                  <a:lnTo>
                    <a:pt x="224" y="54"/>
                  </a:lnTo>
                  <a:lnTo>
                    <a:pt x="224" y="54"/>
                  </a:lnTo>
                  <a:lnTo>
                    <a:pt x="227" y="57"/>
                  </a:lnTo>
                  <a:lnTo>
                    <a:pt x="227" y="59"/>
                  </a:lnTo>
                  <a:lnTo>
                    <a:pt x="227" y="61"/>
                  </a:lnTo>
                  <a:lnTo>
                    <a:pt x="229" y="61"/>
                  </a:lnTo>
                  <a:lnTo>
                    <a:pt x="229" y="59"/>
                  </a:lnTo>
                  <a:lnTo>
                    <a:pt x="231" y="59"/>
                  </a:lnTo>
                  <a:lnTo>
                    <a:pt x="231" y="57"/>
                  </a:lnTo>
                  <a:lnTo>
                    <a:pt x="231" y="54"/>
                  </a:lnTo>
                  <a:lnTo>
                    <a:pt x="234" y="52"/>
                  </a:lnTo>
                  <a:lnTo>
                    <a:pt x="234" y="52"/>
                  </a:lnTo>
                  <a:lnTo>
                    <a:pt x="234" y="50"/>
                  </a:lnTo>
                  <a:lnTo>
                    <a:pt x="231" y="47"/>
                  </a:lnTo>
                  <a:close/>
                  <a:moveTo>
                    <a:pt x="177" y="12"/>
                  </a:moveTo>
                  <a:lnTo>
                    <a:pt x="179" y="14"/>
                  </a:lnTo>
                  <a:lnTo>
                    <a:pt x="179" y="16"/>
                  </a:lnTo>
                  <a:lnTo>
                    <a:pt x="182" y="16"/>
                  </a:lnTo>
                  <a:lnTo>
                    <a:pt x="184" y="16"/>
                  </a:lnTo>
                  <a:lnTo>
                    <a:pt x="184" y="16"/>
                  </a:lnTo>
                  <a:lnTo>
                    <a:pt x="184" y="14"/>
                  </a:lnTo>
                  <a:lnTo>
                    <a:pt x="184" y="12"/>
                  </a:lnTo>
                  <a:lnTo>
                    <a:pt x="184" y="12"/>
                  </a:lnTo>
                  <a:lnTo>
                    <a:pt x="182" y="9"/>
                  </a:lnTo>
                  <a:lnTo>
                    <a:pt x="179" y="12"/>
                  </a:lnTo>
                  <a:lnTo>
                    <a:pt x="177" y="12"/>
                  </a:lnTo>
                  <a:lnTo>
                    <a:pt x="177" y="12"/>
                  </a:lnTo>
                  <a:lnTo>
                    <a:pt x="177" y="12"/>
                  </a:lnTo>
                  <a:close/>
                  <a:moveTo>
                    <a:pt x="113" y="7"/>
                  </a:moveTo>
                  <a:lnTo>
                    <a:pt x="113" y="5"/>
                  </a:lnTo>
                  <a:lnTo>
                    <a:pt x="116" y="7"/>
                  </a:lnTo>
                  <a:lnTo>
                    <a:pt x="116" y="5"/>
                  </a:lnTo>
                  <a:lnTo>
                    <a:pt x="120" y="7"/>
                  </a:lnTo>
                  <a:lnTo>
                    <a:pt x="123" y="7"/>
                  </a:lnTo>
                  <a:lnTo>
                    <a:pt x="123" y="5"/>
                  </a:lnTo>
                  <a:lnTo>
                    <a:pt x="125" y="7"/>
                  </a:lnTo>
                  <a:lnTo>
                    <a:pt x="128" y="5"/>
                  </a:lnTo>
                  <a:lnTo>
                    <a:pt x="128" y="2"/>
                  </a:lnTo>
                  <a:lnTo>
                    <a:pt x="128" y="5"/>
                  </a:lnTo>
                  <a:lnTo>
                    <a:pt x="130" y="2"/>
                  </a:lnTo>
                  <a:lnTo>
                    <a:pt x="130" y="2"/>
                  </a:lnTo>
                  <a:lnTo>
                    <a:pt x="130" y="2"/>
                  </a:lnTo>
                  <a:lnTo>
                    <a:pt x="130" y="2"/>
                  </a:lnTo>
                  <a:lnTo>
                    <a:pt x="130" y="2"/>
                  </a:lnTo>
                  <a:lnTo>
                    <a:pt x="128" y="2"/>
                  </a:lnTo>
                  <a:lnTo>
                    <a:pt x="123" y="2"/>
                  </a:lnTo>
                  <a:lnTo>
                    <a:pt x="118" y="0"/>
                  </a:lnTo>
                  <a:lnTo>
                    <a:pt x="116" y="2"/>
                  </a:lnTo>
                  <a:lnTo>
                    <a:pt x="116" y="2"/>
                  </a:lnTo>
                  <a:lnTo>
                    <a:pt x="113" y="2"/>
                  </a:lnTo>
                  <a:lnTo>
                    <a:pt x="113" y="5"/>
                  </a:lnTo>
                  <a:lnTo>
                    <a:pt x="113" y="5"/>
                  </a:lnTo>
                  <a:lnTo>
                    <a:pt x="113" y="5"/>
                  </a:lnTo>
                  <a:lnTo>
                    <a:pt x="113" y="7"/>
                  </a:lnTo>
                  <a:lnTo>
                    <a:pt x="113"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6" name="Freeform 262"/>
            <p:cNvSpPr>
              <a:spLocks noEditPoints="1"/>
            </p:cNvSpPr>
            <p:nvPr userDrawn="1"/>
          </p:nvSpPr>
          <p:spPr bwMode="auto">
            <a:xfrm>
              <a:off x="2114" y="2604"/>
              <a:ext cx="108" cy="52"/>
            </a:xfrm>
            <a:custGeom>
              <a:avLst/>
              <a:gdLst>
                <a:gd name="T0" fmla="*/ 23 w 108"/>
                <a:gd name="T1" fmla="*/ 43 h 52"/>
                <a:gd name="T2" fmla="*/ 21 w 108"/>
                <a:gd name="T3" fmla="*/ 45 h 52"/>
                <a:gd name="T4" fmla="*/ 26 w 108"/>
                <a:gd name="T5" fmla="*/ 50 h 52"/>
                <a:gd name="T6" fmla="*/ 73 w 108"/>
                <a:gd name="T7" fmla="*/ 29 h 52"/>
                <a:gd name="T8" fmla="*/ 73 w 108"/>
                <a:gd name="T9" fmla="*/ 29 h 52"/>
                <a:gd name="T10" fmla="*/ 75 w 108"/>
                <a:gd name="T11" fmla="*/ 26 h 52"/>
                <a:gd name="T12" fmla="*/ 78 w 108"/>
                <a:gd name="T13" fmla="*/ 29 h 52"/>
                <a:gd name="T14" fmla="*/ 16 w 108"/>
                <a:gd name="T15" fmla="*/ 5 h 52"/>
                <a:gd name="T16" fmla="*/ 16 w 108"/>
                <a:gd name="T17" fmla="*/ 7 h 52"/>
                <a:gd name="T18" fmla="*/ 106 w 108"/>
                <a:gd name="T19" fmla="*/ 29 h 52"/>
                <a:gd name="T20" fmla="*/ 104 w 108"/>
                <a:gd name="T21" fmla="*/ 24 h 52"/>
                <a:gd name="T22" fmla="*/ 99 w 108"/>
                <a:gd name="T23" fmla="*/ 12 h 52"/>
                <a:gd name="T24" fmla="*/ 78 w 108"/>
                <a:gd name="T25" fmla="*/ 5 h 52"/>
                <a:gd name="T26" fmla="*/ 73 w 108"/>
                <a:gd name="T27" fmla="*/ 3 h 52"/>
                <a:gd name="T28" fmla="*/ 64 w 108"/>
                <a:gd name="T29" fmla="*/ 3 h 52"/>
                <a:gd name="T30" fmla="*/ 56 w 108"/>
                <a:gd name="T31" fmla="*/ 10 h 52"/>
                <a:gd name="T32" fmla="*/ 38 w 108"/>
                <a:gd name="T33" fmla="*/ 17 h 52"/>
                <a:gd name="T34" fmla="*/ 26 w 108"/>
                <a:gd name="T35" fmla="*/ 15 h 52"/>
                <a:gd name="T36" fmla="*/ 23 w 108"/>
                <a:gd name="T37" fmla="*/ 12 h 52"/>
                <a:gd name="T38" fmla="*/ 23 w 108"/>
                <a:gd name="T39" fmla="*/ 15 h 52"/>
                <a:gd name="T40" fmla="*/ 16 w 108"/>
                <a:gd name="T41" fmla="*/ 10 h 52"/>
                <a:gd name="T42" fmla="*/ 16 w 108"/>
                <a:gd name="T43" fmla="*/ 10 h 52"/>
                <a:gd name="T44" fmla="*/ 14 w 108"/>
                <a:gd name="T45" fmla="*/ 5 h 52"/>
                <a:gd name="T46" fmla="*/ 12 w 108"/>
                <a:gd name="T47" fmla="*/ 3 h 52"/>
                <a:gd name="T48" fmla="*/ 7 w 108"/>
                <a:gd name="T49" fmla="*/ 0 h 52"/>
                <a:gd name="T50" fmla="*/ 5 w 108"/>
                <a:gd name="T51" fmla="*/ 3 h 52"/>
                <a:gd name="T52" fmla="*/ 5 w 108"/>
                <a:gd name="T53" fmla="*/ 12 h 52"/>
                <a:gd name="T54" fmla="*/ 7 w 108"/>
                <a:gd name="T55" fmla="*/ 17 h 52"/>
                <a:gd name="T56" fmla="*/ 5 w 108"/>
                <a:gd name="T57" fmla="*/ 22 h 52"/>
                <a:gd name="T58" fmla="*/ 2 w 108"/>
                <a:gd name="T59" fmla="*/ 26 h 52"/>
                <a:gd name="T60" fmla="*/ 2 w 108"/>
                <a:gd name="T61" fmla="*/ 31 h 52"/>
                <a:gd name="T62" fmla="*/ 5 w 108"/>
                <a:gd name="T63" fmla="*/ 29 h 52"/>
                <a:gd name="T64" fmla="*/ 14 w 108"/>
                <a:gd name="T65" fmla="*/ 29 h 52"/>
                <a:gd name="T66" fmla="*/ 19 w 108"/>
                <a:gd name="T67" fmla="*/ 31 h 52"/>
                <a:gd name="T68" fmla="*/ 26 w 108"/>
                <a:gd name="T69" fmla="*/ 33 h 52"/>
                <a:gd name="T70" fmla="*/ 33 w 108"/>
                <a:gd name="T71" fmla="*/ 43 h 52"/>
                <a:gd name="T72" fmla="*/ 35 w 108"/>
                <a:gd name="T73" fmla="*/ 38 h 52"/>
                <a:gd name="T74" fmla="*/ 40 w 108"/>
                <a:gd name="T75" fmla="*/ 48 h 52"/>
                <a:gd name="T76" fmla="*/ 47 w 108"/>
                <a:gd name="T77" fmla="*/ 50 h 52"/>
                <a:gd name="T78" fmla="*/ 54 w 108"/>
                <a:gd name="T79" fmla="*/ 48 h 52"/>
                <a:gd name="T80" fmla="*/ 54 w 108"/>
                <a:gd name="T81" fmla="*/ 43 h 52"/>
                <a:gd name="T82" fmla="*/ 47 w 108"/>
                <a:gd name="T83" fmla="*/ 33 h 52"/>
                <a:gd name="T84" fmla="*/ 49 w 108"/>
                <a:gd name="T85" fmla="*/ 29 h 52"/>
                <a:gd name="T86" fmla="*/ 61 w 108"/>
                <a:gd name="T87" fmla="*/ 22 h 52"/>
                <a:gd name="T88" fmla="*/ 66 w 108"/>
                <a:gd name="T89" fmla="*/ 17 h 52"/>
                <a:gd name="T90" fmla="*/ 71 w 108"/>
                <a:gd name="T91" fmla="*/ 12 h 52"/>
                <a:gd name="T92" fmla="*/ 80 w 108"/>
                <a:gd name="T93" fmla="*/ 17 h 52"/>
                <a:gd name="T94" fmla="*/ 85 w 108"/>
                <a:gd name="T95" fmla="*/ 22 h 52"/>
                <a:gd name="T96" fmla="*/ 87 w 108"/>
                <a:gd name="T97" fmla="*/ 26 h 52"/>
                <a:gd name="T98" fmla="*/ 87 w 108"/>
                <a:gd name="T99" fmla="*/ 24 h 52"/>
                <a:gd name="T100" fmla="*/ 89 w 108"/>
                <a:gd name="T101" fmla="*/ 26 h 52"/>
                <a:gd name="T102" fmla="*/ 94 w 108"/>
                <a:gd name="T103" fmla="*/ 26 h 52"/>
                <a:gd name="T104" fmla="*/ 97 w 108"/>
                <a:gd name="T105" fmla="*/ 31 h 52"/>
                <a:gd name="T106" fmla="*/ 92 w 108"/>
                <a:gd name="T107" fmla="*/ 26 h 52"/>
                <a:gd name="T108" fmla="*/ 89 w 108"/>
                <a:gd name="T109" fmla="*/ 33 h 52"/>
                <a:gd name="T110" fmla="*/ 87 w 108"/>
                <a:gd name="T111" fmla="*/ 36 h 52"/>
                <a:gd name="T112" fmla="*/ 97 w 108"/>
                <a:gd name="T113" fmla="*/ 48 h 52"/>
                <a:gd name="T114" fmla="*/ 99 w 108"/>
                <a:gd name="T115" fmla="*/ 41 h 52"/>
                <a:gd name="T116" fmla="*/ 99 w 108"/>
                <a:gd name="T117" fmla="*/ 43 h 52"/>
                <a:gd name="T118" fmla="*/ 106 w 108"/>
                <a:gd name="T119" fmla="*/ 41 h 52"/>
                <a:gd name="T120" fmla="*/ 108 w 108"/>
                <a:gd name="T121"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 h="52">
                  <a:moveTo>
                    <a:pt x="23" y="48"/>
                  </a:moveTo>
                  <a:lnTo>
                    <a:pt x="23" y="45"/>
                  </a:lnTo>
                  <a:lnTo>
                    <a:pt x="26" y="45"/>
                  </a:lnTo>
                  <a:lnTo>
                    <a:pt x="23" y="43"/>
                  </a:lnTo>
                  <a:lnTo>
                    <a:pt x="23" y="43"/>
                  </a:lnTo>
                  <a:lnTo>
                    <a:pt x="23" y="43"/>
                  </a:lnTo>
                  <a:lnTo>
                    <a:pt x="21" y="45"/>
                  </a:lnTo>
                  <a:lnTo>
                    <a:pt x="21" y="45"/>
                  </a:lnTo>
                  <a:lnTo>
                    <a:pt x="21" y="45"/>
                  </a:lnTo>
                  <a:lnTo>
                    <a:pt x="23" y="48"/>
                  </a:lnTo>
                  <a:lnTo>
                    <a:pt x="26" y="50"/>
                  </a:lnTo>
                  <a:lnTo>
                    <a:pt x="26" y="50"/>
                  </a:lnTo>
                  <a:lnTo>
                    <a:pt x="26" y="48"/>
                  </a:lnTo>
                  <a:lnTo>
                    <a:pt x="23" y="48"/>
                  </a:lnTo>
                  <a:close/>
                  <a:moveTo>
                    <a:pt x="73" y="29"/>
                  </a:moveTo>
                  <a:lnTo>
                    <a:pt x="73" y="29"/>
                  </a:lnTo>
                  <a:lnTo>
                    <a:pt x="73" y="31"/>
                  </a:lnTo>
                  <a:lnTo>
                    <a:pt x="75" y="29"/>
                  </a:lnTo>
                  <a:lnTo>
                    <a:pt x="73" y="29"/>
                  </a:lnTo>
                  <a:lnTo>
                    <a:pt x="73" y="29"/>
                  </a:lnTo>
                  <a:close/>
                  <a:moveTo>
                    <a:pt x="78" y="24"/>
                  </a:moveTo>
                  <a:lnTo>
                    <a:pt x="78" y="26"/>
                  </a:lnTo>
                  <a:lnTo>
                    <a:pt x="75" y="26"/>
                  </a:lnTo>
                  <a:lnTo>
                    <a:pt x="75" y="26"/>
                  </a:lnTo>
                  <a:lnTo>
                    <a:pt x="75" y="29"/>
                  </a:lnTo>
                  <a:lnTo>
                    <a:pt x="78" y="31"/>
                  </a:lnTo>
                  <a:lnTo>
                    <a:pt x="78" y="29"/>
                  </a:lnTo>
                  <a:lnTo>
                    <a:pt x="78" y="29"/>
                  </a:lnTo>
                  <a:lnTo>
                    <a:pt x="78" y="26"/>
                  </a:lnTo>
                  <a:lnTo>
                    <a:pt x="78" y="26"/>
                  </a:lnTo>
                  <a:lnTo>
                    <a:pt x="78" y="24"/>
                  </a:lnTo>
                  <a:close/>
                  <a:moveTo>
                    <a:pt x="16" y="5"/>
                  </a:moveTo>
                  <a:lnTo>
                    <a:pt x="16" y="5"/>
                  </a:lnTo>
                  <a:lnTo>
                    <a:pt x="16" y="5"/>
                  </a:lnTo>
                  <a:lnTo>
                    <a:pt x="16" y="5"/>
                  </a:lnTo>
                  <a:lnTo>
                    <a:pt x="16" y="7"/>
                  </a:lnTo>
                  <a:lnTo>
                    <a:pt x="16" y="5"/>
                  </a:lnTo>
                  <a:close/>
                  <a:moveTo>
                    <a:pt x="108" y="33"/>
                  </a:moveTo>
                  <a:lnTo>
                    <a:pt x="108" y="31"/>
                  </a:lnTo>
                  <a:lnTo>
                    <a:pt x="106" y="29"/>
                  </a:lnTo>
                  <a:lnTo>
                    <a:pt x="106" y="26"/>
                  </a:lnTo>
                  <a:lnTo>
                    <a:pt x="106" y="26"/>
                  </a:lnTo>
                  <a:lnTo>
                    <a:pt x="104" y="24"/>
                  </a:lnTo>
                  <a:lnTo>
                    <a:pt x="104" y="24"/>
                  </a:lnTo>
                  <a:lnTo>
                    <a:pt x="106" y="22"/>
                  </a:lnTo>
                  <a:lnTo>
                    <a:pt x="106" y="22"/>
                  </a:lnTo>
                  <a:lnTo>
                    <a:pt x="101" y="17"/>
                  </a:lnTo>
                  <a:lnTo>
                    <a:pt x="99" y="12"/>
                  </a:lnTo>
                  <a:lnTo>
                    <a:pt x="94" y="10"/>
                  </a:lnTo>
                  <a:lnTo>
                    <a:pt x="87" y="5"/>
                  </a:lnTo>
                  <a:lnTo>
                    <a:pt x="82" y="5"/>
                  </a:lnTo>
                  <a:lnTo>
                    <a:pt x="78" y="5"/>
                  </a:lnTo>
                  <a:lnTo>
                    <a:pt x="78" y="5"/>
                  </a:lnTo>
                  <a:lnTo>
                    <a:pt x="78" y="3"/>
                  </a:lnTo>
                  <a:lnTo>
                    <a:pt x="75" y="3"/>
                  </a:lnTo>
                  <a:lnTo>
                    <a:pt x="73" y="3"/>
                  </a:lnTo>
                  <a:lnTo>
                    <a:pt x="71" y="3"/>
                  </a:lnTo>
                  <a:lnTo>
                    <a:pt x="66" y="0"/>
                  </a:lnTo>
                  <a:lnTo>
                    <a:pt x="66" y="3"/>
                  </a:lnTo>
                  <a:lnTo>
                    <a:pt x="64" y="3"/>
                  </a:lnTo>
                  <a:lnTo>
                    <a:pt x="61" y="5"/>
                  </a:lnTo>
                  <a:lnTo>
                    <a:pt x="59" y="5"/>
                  </a:lnTo>
                  <a:lnTo>
                    <a:pt x="59" y="7"/>
                  </a:lnTo>
                  <a:lnTo>
                    <a:pt x="56" y="10"/>
                  </a:lnTo>
                  <a:lnTo>
                    <a:pt x="47" y="12"/>
                  </a:lnTo>
                  <a:lnTo>
                    <a:pt x="45" y="12"/>
                  </a:lnTo>
                  <a:lnTo>
                    <a:pt x="42" y="17"/>
                  </a:lnTo>
                  <a:lnTo>
                    <a:pt x="38" y="17"/>
                  </a:lnTo>
                  <a:lnTo>
                    <a:pt x="35" y="19"/>
                  </a:lnTo>
                  <a:lnTo>
                    <a:pt x="33" y="19"/>
                  </a:lnTo>
                  <a:lnTo>
                    <a:pt x="28" y="17"/>
                  </a:lnTo>
                  <a:lnTo>
                    <a:pt x="26" y="15"/>
                  </a:lnTo>
                  <a:lnTo>
                    <a:pt x="23" y="12"/>
                  </a:lnTo>
                  <a:lnTo>
                    <a:pt x="23" y="12"/>
                  </a:lnTo>
                  <a:lnTo>
                    <a:pt x="23" y="10"/>
                  </a:lnTo>
                  <a:lnTo>
                    <a:pt x="23" y="12"/>
                  </a:lnTo>
                  <a:lnTo>
                    <a:pt x="23" y="12"/>
                  </a:lnTo>
                  <a:lnTo>
                    <a:pt x="26" y="15"/>
                  </a:lnTo>
                  <a:lnTo>
                    <a:pt x="23" y="15"/>
                  </a:lnTo>
                  <a:lnTo>
                    <a:pt x="23" y="15"/>
                  </a:lnTo>
                  <a:lnTo>
                    <a:pt x="19" y="15"/>
                  </a:lnTo>
                  <a:lnTo>
                    <a:pt x="19" y="15"/>
                  </a:lnTo>
                  <a:lnTo>
                    <a:pt x="16" y="12"/>
                  </a:lnTo>
                  <a:lnTo>
                    <a:pt x="16" y="10"/>
                  </a:lnTo>
                  <a:lnTo>
                    <a:pt x="16" y="10"/>
                  </a:lnTo>
                  <a:lnTo>
                    <a:pt x="16" y="10"/>
                  </a:lnTo>
                  <a:lnTo>
                    <a:pt x="16" y="10"/>
                  </a:lnTo>
                  <a:lnTo>
                    <a:pt x="16" y="10"/>
                  </a:lnTo>
                  <a:lnTo>
                    <a:pt x="14" y="10"/>
                  </a:lnTo>
                  <a:lnTo>
                    <a:pt x="14" y="7"/>
                  </a:lnTo>
                  <a:lnTo>
                    <a:pt x="14" y="5"/>
                  </a:lnTo>
                  <a:lnTo>
                    <a:pt x="14" y="5"/>
                  </a:lnTo>
                  <a:lnTo>
                    <a:pt x="12" y="3"/>
                  </a:lnTo>
                  <a:lnTo>
                    <a:pt x="12" y="3"/>
                  </a:lnTo>
                  <a:lnTo>
                    <a:pt x="12" y="3"/>
                  </a:lnTo>
                  <a:lnTo>
                    <a:pt x="12" y="3"/>
                  </a:lnTo>
                  <a:lnTo>
                    <a:pt x="9" y="3"/>
                  </a:lnTo>
                  <a:lnTo>
                    <a:pt x="9" y="3"/>
                  </a:lnTo>
                  <a:lnTo>
                    <a:pt x="7" y="3"/>
                  </a:lnTo>
                  <a:lnTo>
                    <a:pt x="7" y="0"/>
                  </a:lnTo>
                  <a:lnTo>
                    <a:pt x="7" y="3"/>
                  </a:lnTo>
                  <a:lnTo>
                    <a:pt x="5" y="3"/>
                  </a:lnTo>
                  <a:lnTo>
                    <a:pt x="5" y="3"/>
                  </a:lnTo>
                  <a:lnTo>
                    <a:pt x="5" y="3"/>
                  </a:lnTo>
                  <a:lnTo>
                    <a:pt x="5" y="5"/>
                  </a:lnTo>
                  <a:lnTo>
                    <a:pt x="5" y="7"/>
                  </a:lnTo>
                  <a:lnTo>
                    <a:pt x="2" y="12"/>
                  </a:lnTo>
                  <a:lnTo>
                    <a:pt x="5" y="12"/>
                  </a:lnTo>
                  <a:lnTo>
                    <a:pt x="7" y="15"/>
                  </a:lnTo>
                  <a:lnTo>
                    <a:pt x="7" y="15"/>
                  </a:lnTo>
                  <a:lnTo>
                    <a:pt x="7" y="15"/>
                  </a:lnTo>
                  <a:lnTo>
                    <a:pt x="7" y="17"/>
                  </a:lnTo>
                  <a:lnTo>
                    <a:pt x="5" y="17"/>
                  </a:lnTo>
                  <a:lnTo>
                    <a:pt x="5" y="17"/>
                  </a:lnTo>
                  <a:lnTo>
                    <a:pt x="2" y="19"/>
                  </a:lnTo>
                  <a:lnTo>
                    <a:pt x="5" y="22"/>
                  </a:lnTo>
                  <a:lnTo>
                    <a:pt x="5" y="24"/>
                  </a:lnTo>
                  <a:lnTo>
                    <a:pt x="5" y="24"/>
                  </a:lnTo>
                  <a:lnTo>
                    <a:pt x="5" y="26"/>
                  </a:lnTo>
                  <a:lnTo>
                    <a:pt x="2" y="26"/>
                  </a:lnTo>
                  <a:lnTo>
                    <a:pt x="0" y="29"/>
                  </a:lnTo>
                  <a:lnTo>
                    <a:pt x="0" y="29"/>
                  </a:lnTo>
                  <a:lnTo>
                    <a:pt x="2" y="29"/>
                  </a:lnTo>
                  <a:lnTo>
                    <a:pt x="2" y="31"/>
                  </a:lnTo>
                  <a:lnTo>
                    <a:pt x="2" y="31"/>
                  </a:lnTo>
                  <a:lnTo>
                    <a:pt x="2" y="33"/>
                  </a:lnTo>
                  <a:lnTo>
                    <a:pt x="5" y="33"/>
                  </a:lnTo>
                  <a:lnTo>
                    <a:pt x="5" y="29"/>
                  </a:lnTo>
                  <a:lnTo>
                    <a:pt x="5" y="29"/>
                  </a:lnTo>
                  <a:lnTo>
                    <a:pt x="7" y="29"/>
                  </a:lnTo>
                  <a:lnTo>
                    <a:pt x="9" y="29"/>
                  </a:lnTo>
                  <a:lnTo>
                    <a:pt x="14" y="29"/>
                  </a:lnTo>
                  <a:lnTo>
                    <a:pt x="16" y="29"/>
                  </a:lnTo>
                  <a:lnTo>
                    <a:pt x="16" y="31"/>
                  </a:lnTo>
                  <a:lnTo>
                    <a:pt x="16" y="31"/>
                  </a:lnTo>
                  <a:lnTo>
                    <a:pt x="19" y="31"/>
                  </a:lnTo>
                  <a:lnTo>
                    <a:pt x="21" y="31"/>
                  </a:lnTo>
                  <a:lnTo>
                    <a:pt x="23" y="31"/>
                  </a:lnTo>
                  <a:lnTo>
                    <a:pt x="26" y="31"/>
                  </a:lnTo>
                  <a:lnTo>
                    <a:pt x="26" y="33"/>
                  </a:lnTo>
                  <a:lnTo>
                    <a:pt x="26" y="33"/>
                  </a:lnTo>
                  <a:lnTo>
                    <a:pt x="28" y="41"/>
                  </a:lnTo>
                  <a:lnTo>
                    <a:pt x="31" y="43"/>
                  </a:lnTo>
                  <a:lnTo>
                    <a:pt x="33" y="43"/>
                  </a:lnTo>
                  <a:lnTo>
                    <a:pt x="33" y="43"/>
                  </a:lnTo>
                  <a:lnTo>
                    <a:pt x="33" y="43"/>
                  </a:lnTo>
                  <a:lnTo>
                    <a:pt x="35" y="38"/>
                  </a:lnTo>
                  <a:lnTo>
                    <a:pt x="35" y="38"/>
                  </a:lnTo>
                  <a:lnTo>
                    <a:pt x="35" y="38"/>
                  </a:lnTo>
                  <a:lnTo>
                    <a:pt x="38" y="36"/>
                  </a:lnTo>
                  <a:lnTo>
                    <a:pt x="38" y="41"/>
                  </a:lnTo>
                  <a:lnTo>
                    <a:pt x="40" y="48"/>
                  </a:lnTo>
                  <a:lnTo>
                    <a:pt x="40" y="50"/>
                  </a:lnTo>
                  <a:lnTo>
                    <a:pt x="40" y="52"/>
                  </a:lnTo>
                  <a:lnTo>
                    <a:pt x="42" y="52"/>
                  </a:lnTo>
                  <a:lnTo>
                    <a:pt x="47" y="50"/>
                  </a:lnTo>
                  <a:lnTo>
                    <a:pt x="49" y="50"/>
                  </a:lnTo>
                  <a:lnTo>
                    <a:pt x="49" y="48"/>
                  </a:lnTo>
                  <a:lnTo>
                    <a:pt x="52" y="48"/>
                  </a:lnTo>
                  <a:lnTo>
                    <a:pt x="54" y="48"/>
                  </a:lnTo>
                  <a:lnTo>
                    <a:pt x="54" y="45"/>
                  </a:lnTo>
                  <a:lnTo>
                    <a:pt x="56" y="45"/>
                  </a:lnTo>
                  <a:lnTo>
                    <a:pt x="56" y="43"/>
                  </a:lnTo>
                  <a:lnTo>
                    <a:pt x="54" y="43"/>
                  </a:lnTo>
                  <a:lnTo>
                    <a:pt x="52" y="38"/>
                  </a:lnTo>
                  <a:lnTo>
                    <a:pt x="49" y="36"/>
                  </a:lnTo>
                  <a:lnTo>
                    <a:pt x="49" y="33"/>
                  </a:lnTo>
                  <a:lnTo>
                    <a:pt x="47" y="33"/>
                  </a:lnTo>
                  <a:lnTo>
                    <a:pt x="47" y="31"/>
                  </a:lnTo>
                  <a:lnTo>
                    <a:pt x="49" y="31"/>
                  </a:lnTo>
                  <a:lnTo>
                    <a:pt x="49" y="29"/>
                  </a:lnTo>
                  <a:lnTo>
                    <a:pt x="49" y="29"/>
                  </a:lnTo>
                  <a:lnTo>
                    <a:pt x="54" y="29"/>
                  </a:lnTo>
                  <a:lnTo>
                    <a:pt x="54" y="26"/>
                  </a:lnTo>
                  <a:lnTo>
                    <a:pt x="61" y="22"/>
                  </a:lnTo>
                  <a:lnTo>
                    <a:pt x="61" y="22"/>
                  </a:lnTo>
                  <a:lnTo>
                    <a:pt x="61" y="19"/>
                  </a:lnTo>
                  <a:lnTo>
                    <a:pt x="64" y="19"/>
                  </a:lnTo>
                  <a:lnTo>
                    <a:pt x="64" y="17"/>
                  </a:lnTo>
                  <a:lnTo>
                    <a:pt x="66" y="17"/>
                  </a:lnTo>
                  <a:lnTo>
                    <a:pt x="66" y="15"/>
                  </a:lnTo>
                  <a:lnTo>
                    <a:pt x="66" y="15"/>
                  </a:lnTo>
                  <a:lnTo>
                    <a:pt x="68" y="15"/>
                  </a:lnTo>
                  <a:lnTo>
                    <a:pt x="71" y="12"/>
                  </a:lnTo>
                  <a:lnTo>
                    <a:pt x="75" y="15"/>
                  </a:lnTo>
                  <a:lnTo>
                    <a:pt x="78" y="15"/>
                  </a:lnTo>
                  <a:lnTo>
                    <a:pt x="80" y="17"/>
                  </a:lnTo>
                  <a:lnTo>
                    <a:pt x="80" y="17"/>
                  </a:lnTo>
                  <a:lnTo>
                    <a:pt x="82" y="19"/>
                  </a:lnTo>
                  <a:lnTo>
                    <a:pt x="82" y="19"/>
                  </a:lnTo>
                  <a:lnTo>
                    <a:pt x="82" y="19"/>
                  </a:lnTo>
                  <a:lnTo>
                    <a:pt x="85" y="22"/>
                  </a:lnTo>
                  <a:lnTo>
                    <a:pt x="85" y="26"/>
                  </a:lnTo>
                  <a:lnTo>
                    <a:pt x="87" y="26"/>
                  </a:lnTo>
                  <a:lnTo>
                    <a:pt x="87" y="26"/>
                  </a:lnTo>
                  <a:lnTo>
                    <a:pt x="87" y="26"/>
                  </a:lnTo>
                  <a:lnTo>
                    <a:pt x="87" y="26"/>
                  </a:lnTo>
                  <a:lnTo>
                    <a:pt x="87" y="26"/>
                  </a:lnTo>
                  <a:lnTo>
                    <a:pt x="87" y="24"/>
                  </a:lnTo>
                  <a:lnTo>
                    <a:pt x="87" y="24"/>
                  </a:lnTo>
                  <a:lnTo>
                    <a:pt x="87" y="24"/>
                  </a:lnTo>
                  <a:lnTo>
                    <a:pt x="89" y="26"/>
                  </a:lnTo>
                  <a:lnTo>
                    <a:pt x="89" y="26"/>
                  </a:lnTo>
                  <a:lnTo>
                    <a:pt x="89" y="26"/>
                  </a:lnTo>
                  <a:lnTo>
                    <a:pt x="89" y="26"/>
                  </a:lnTo>
                  <a:lnTo>
                    <a:pt x="92" y="26"/>
                  </a:lnTo>
                  <a:lnTo>
                    <a:pt x="92" y="24"/>
                  </a:lnTo>
                  <a:lnTo>
                    <a:pt x="94" y="26"/>
                  </a:lnTo>
                  <a:lnTo>
                    <a:pt x="94" y="29"/>
                  </a:lnTo>
                  <a:lnTo>
                    <a:pt x="97" y="31"/>
                  </a:lnTo>
                  <a:lnTo>
                    <a:pt x="99" y="31"/>
                  </a:lnTo>
                  <a:lnTo>
                    <a:pt x="97" y="31"/>
                  </a:lnTo>
                  <a:lnTo>
                    <a:pt x="94" y="31"/>
                  </a:lnTo>
                  <a:lnTo>
                    <a:pt x="94" y="29"/>
                  </a:lnTo>
                  <a:lnTo>
                    <a:pt x="92" y="26"/>
                  </a:lnTo>
                  <a:lnTo>
                    <a:pt x="92" y="26"/>
                  </a:lnTo>
                  <a:lnTo>
                    <a:pt x="92" y="29"/>
                  </a:lnTo>
                  <a:lnTo>
                    <a:pt x="89" y="29"/>
                  </a:lnTo>
                  <a:lnTo>
                    <a:pt x="89" y="31"/>
                  </a:lnTo>
                  <a:lnTo>
                    <a:pt x="89" y="33"/>
                  </a:lnTo>
                  <a:lnTo>
                    <a:pt x="87" y="33"/>
                  </a:lnTo>
                  <a:lnTo>
                    <a:pt x="87" y="33"/>
                  </a:lnTo>
                  <a:lnTo>
                    <a:pt x="85" y="33"/>
                  </a:lnTo>
                  <a:lnTo>
                    <a:pt x="87" y="36"/>
                  </a:lnTo>
                  <a:lnTo>
                    <a:pt x="89" y="45"/>
                  </a:lnTo>
                  <a:lnTo>
                    <a:pt x="94" y="50"/>
                  </a:lnTo>
                  <a:lnTo>
                    <a:pt x="94" y="50"/>
                  </a:lnTo>
                  <a:lnTo>
                    <a:pt x="97" y="48"/>
                  </a:lnTo>
                  <a:lnTo>
                    <a:pt x="97" y="45"/>
                  </a:lnTo>
                  <a:lnTo>
                    <a:pt x="99" y="45"/>
                  </a:lnTo>
                  <a:lnTo>
                    <a:pt x="97" y="43"/>
                  </a:lnTo>
                  <a:lnTo>
                    <a:pt x="99" y="41"/>
                  </a:lnTo>
                  <a:lnTo>
                    <a:pt x="99" y="41"/>
                  </a:lnTo>
                  <a:lnTo>
                    <a:pt x="99" y="41"/>
                  </a:lnTo>
                  <a:lnTo>
                    <a:pt x="99" y="41"/>
                  </a:lnTo>
                  <a:lnTo>
                    <a:pt x="99" y="43"/>
                  </a:lnTo>
                  <a:lnTo>
                    <a:pt x="101" y="43"/>
                  </a:lnTo>
                  <a:lnTo>
                    <a:pt x="101" y="45"/>
                  </a:lnTo>
                  <a:lnTo>
                    <a:pt x="101" y="43"/>
                  </a:lnTo>
                  <a:lnTo>
                    <a:pt x="106" y="41"/>
                  </a:lnTo>
                  <a:lnTo>
                    <a:pt x="106" y="41"/>
                  </a:lnTo>
                  <a:lnTo>
                    <a:pt x="106" y="38"/>
                  </a:lnTo>
                  <a:lnTo>
                    <a:pt x="106" y="36"/>
                  </a:lnTo>
                  <a:lnTo>
                    <a:pt x="108" y="36"/>
                  </a:lnTo>
                  <a:lnTo>
                    <a:pt x="108" y="36"/>
                  </a:lnTo>
                  <a:lnTo>
                    <a:pt x="108"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7" name="Freeform 263"/>
            <p:cNvSpPr>
              <a:spLocks/>
            </p:cNvSpPr>
            <p:nvPr userDrawn="1"/>
          </p:nvSpPr>
          <p:spPr bwMode="auto">
            <a:xfrm>
              <a:off x="6090" y="274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8" name="Freeform 264"/>
            <p:cNvSpPr>
              <a:spLocks noEditPoints="1"/>
            </p:cNvSpPr>
            <p:nvPr userDrawn="1"/>
          </p:nvSpPr>
          <p:spPr bwMode="auto">
            <a:xfrm>
              <a:off x="4270" y="2122"/>
              <a:ext cx="24" cy="26"/>
            </a:xfrm>
            <a:custGeom>
              <a:avLst/>
              <a:gdLst>
                <a:gd name="T0" fmla="*/ 5 w 24"/>
                <a:gd name="T1" fmla="*/ 19 h 26"/>
                <a:gd name="T2" fmla="*/ 5 w 24"/>
                <a:gd name="T3" fmla="*/ 19 h 26"/>
                <a:gd name="T4" fmla="*/ 3 w 24"/>
                <a:gd name="T5" fmla="*/ 21 h 26"/>
                <a:gd name="T6" fmla="*/ 0 w 24"/>
                <a:gd name="T7" fmla="*/ 24 h 26"/>
                <a:gd name="T8" fmla="*/ 0 w 24"/>
                <a:gd name="T9" fmla="*/ 26 h 26"/>
                <a:gd name="T10" fmla="*/ 0 w 24"/>
                <a:gd name="T11" fmla="*/ 26 h 26"/>
                <a:gd name="T12" fmla="*/ 3 w 24"/>
                <a:gd name="T13" fmla="*/ 26 h 26"/>
                <a:gd name="T14" fmla="*/ 3 w 24"/>
                <a:gd name="T15" fmla="*/ 24 h 26"/>
                <a:gd name="T16" fmla="*/ 5 w 24"/>
                <a:gd name="T17" fmla="*/ 21 h 26"/>
                <a:gd name="T18" fmla="*/ 5 w 24"/>
                <a:gd name="T19" fmla="*/ 19 h 26"/>
                <a:gd name="T20" fmla="*/ 22 w 24"/>
                <a:gd name="T21" fmla="*/ 12 h 26"/>
                <a:gd name="T22" fmla="*/ 22 w 24"/>
                <a:gd name="T23" fmla="*/ 7 h 26"/>
                <a:gd name="T24" fmla="*/ 22 w 24"/>
                <a:gd name="T25" fmla="*/ 5 h 26"/>
                <a:gd name="T26" fmla="*/ 22 w 24"/>
                <a:gd name="T27" fmla="*/ 2 h 26"/>
                <a:gd name="T28" fmla="*/ 22 w 24"/>
                <a:gd name="T29" fmla="*/ 2 h 26"/>
                <a:gd name="T30" fmla="*/ 19 w 24"/>
                <a:gd name="T31" fmla="*/ 0 h 26"/>
                <a:gd name="T32" fmla="*/ 19 w 24"/>
                <a:gd name="T33" fmla="*/ 0 h 26"/>
                <a:gd name="T34" fmla="*/ 19 w 24"/>
                <a:gd name="T35" fmla="*/ 0 h 26"/>
                <a:gd name="T36" fmla="*/ 17 w 24"/>
                <a:gd name="T37" fmla="*/ 0 h 26"/>
                <a:gd name="T38" fmla="*/ 15 w 24"/>
                <a:gd name="T39" fmla="*/ 0 h 26"/>
                <a:gd name="T40" fmla="*/ 12 w 24"/>
                <a:gd name="T41" fmla="*/ 0 h 26"/>
                <a:gd name="T42" fmla="*/ 12 w 24"/>
                <a:gd name="T43" fmla="*/ 2 h 26"/>
                <a:gd name="T44" fmla="*/ 12 w 24"/>
                <a:gd name="T45" fmla="*/ 5 h 26"/>
                <a:gd name="T46" fmla="*/ 12 w 24"/>
                <a:gd name="T47" fmla="*/ 7 h 26"/>
                <a:gd name="T48" fmla="*/ 12 w 24"/>
                <a:gd name="T49" fmla="*/ 9 h 26"/>
                <a:gd name="T50" fmla="*/ 12 w 24"/>
                <a:gd name="T51" fmla="*/ 9 h 26"/>
                <a:gd name="T52" fmla="*/ 12 w 24"/>
                <a:gd name="T53" fmla="*/ 12 h 26"/>
                <a:gd name="T54" fmla="*/ 12 w 24"/>
                <a:gd name="T55" fmla="*/ 14 h 26"/>
                <a:gd name="T56" fmla="*/ 12 w 24"/>
                <a:gd name="T57" fmla="*/ 14 h 26"/>
                <a:gd name="T58" fmla="*/ 12 w 24"/>
                <a:gd name="T59" fmla="*/ 14 h 26"/>
                <a:gd name="T60" fmla="*/ 12 w 24"/>
                <a:gd name="T61" fmla="*/ 14 h 26"/>
                <a:gd name="T62" fmla="*/ 15 w 24"/>
                <a:gd name="T63" fmla="*/ 14 h 26"/>
                <a:gd name="T64" fmla="*/ 15 w 24"/>
                <a:gd name="T65" fmla="*/ 14 h 26"/>
                <a:gd name="T66" fmla="*/ 17 w 24"/>
                <a:gd name="T67" fmla="*/ 14 h 26"/>
                <a:gd name="T68" fmla="*/ 17 w 24"/>
                <a:gd name="T69" fmla="*/ 17 h 26"/>
                <a:gd name="T70" fmla="*/ 17 w 24"/>
                <a:gd name="T71" fmla="*/ 17 h 26"/>
                <a:gd name="T72" fmla="*/ 15 w 24"/>
                <a:gd name="T73" fmla="*/ 17 h 26"/>
                <a:gd name="T74" fmla="*/ 12 w 24"/>
                <a:gd name="T75" fmla="*/ 19 h 26"/>
                <a:gd name="T76" fmla="*/ 12 w 24"/>
                <a:gd name="T77" fmla="*/ 21 h 26"/>
                <a:gd name="T78" fmla="*/ 12 w 24"/>
                <a:gd name="T79" fmla="*/ 24 h 26"/>
                <a:gd name="T80" fmla="*/ 12 w 24"/>
                <a:gd name="T81" fmla="*/ 24 h 26"/>
                <a:gd name="T82" fmla="*/ 12 w 24"/>
                <a:gd name="T83" fmla="*/ 24 h 26"/>
                <a:gd name="T84" fmla="*/ 15 w 24"/>
                <a:gd name="T85" fmla="*/ 24 h 26"/>
                <a:gd name="T86" fmla="*/ 19 w 24"/>
                <a:gd name="T87" fmla="*/ 24 h 26"/>
                <a:gd name="T88" fmla="*/ 22 w 24"/>
                <a:gd name="T89" fmla="*/ 21 h 26"/>
                <a:gd name="T90" fmla="*/ 22 w 24"/>
                <a:gd name="T91" fmla="*/ 21 h 26"/>
                <a:gd name="T92" fmla="*/ 22 w 24"/>
                <a:gd name="T93" fmla="*/ 19 h 26"/>
                <a:gd name="T94" fmla="*/ 22 w 24"/>
                <a:gd name="T95" fmla="*/ 17 h 26"/>
                <a:gd name="T96" fmla="*/ 24 w 24"/>
                <a:gd name="T97" fmla="*/ 14 h 26"/>
                <a:gd name="T98" fmla="*/ 22 w 24"/>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26">
                  <a:moveTo>
                    <a:pt x="5" y="19"/>
                  </a:moveTo>
                  <a:lnTo>
                    <a:pt x="5" y="19"/>
                  </a:lnTo>
                  <a:lnTo>
                    <a:pt x="3" y="21"/>
                  </a:lnTo>
                  <a:lnTo>
                    <a:pt x="0" y="24"/>
                  </a:lnTo>
                  <a:lnTo>
                    <a:pt x="0" y="26"/>
                  </a:lnTo>
                  <a:lnTo>
                    <a:pt x="0" y="26"/>
                  </a:lnTo>
                  <a:lnTo>
                    <a:pt x="3" y="26"/>
                  </a:lnTo>
                  <a:lnTo>
                    <a:pt x="3" y="24"/>
                  </a:lnTo>
                  <a:lnTo>
                    <a:pt x="5" y="21"/>
                  </a:lnTo>
                  <a:lnTo>
                    <a:pt x="5" y="19"/>
                  </a:lnTo>
                  <a:close/>
                  <a:moveTo>
                    <a:pt x="22" y="12"/>
                  </a:moveTo>
                  <a:lnTo>
                    <a:pt x="22" y="7"/>
                  </a:lnTo>
                  <a:lnTo>
                    <a:pt x="22" y="5"/>
                  </a:lnTo>
                  <a:lnTo>
                    <a:pt x="22" y="2"/>
                  </a:lnTo>
                  <a:lnTo>
                    <a:pt x="22" y="2"/>
                  </a:lnTo>
                  <a:lnTo>
                    <a:pt x="19" y="0"/>
                  </a:lnTo>
                  <a:lnTo>
                    <a:pt x="19" y="0"/>
                  </a:lnTo>
                  <a:lnTo>
                    <a:pt x="19" y="0"/>
                  </a:lnTo>
                  <a:lnTo>
                    <a:pt x="17" y="0"/>
                  </a:lnTo>
                  <a:lnTo>
                    <a:pt x="15" y="0"/>
                  </a:lnTo>
                  <a:lnTo>
                    <a:pt x="12" y="0"/>
                  </a:lnTo>
                  <a:lnTo>
                    <a:pt x="12" y="2"/>
                  </a:lnTo>
                  <a:lnTo>
                    <a:pt x="12" y="5"/>
                  </a:lnTo>
                  <a:lnTo>
                    <a:pt x="12" y="7"/>
                  </a:lnTo>
                  <a:lnTo>
                    <a:pt x="12" y="9"/>
                  </a:lnTo>
                  <a:lnTo>
                    <a:pt x="12" y="9"/>
                  </a:lnTo>
                  <a:lnTo>
                    <a:pt x="12" y="12"/>
                  </a:lnTo>
                  <a:lnTo>
                    <a:pt x="12" y="14"/>
                  </a:lnTo>
                  <a:lnTo>
                    <a:pt x="12" y="14"/>
                  </a:lnTo>
                  <a:lnTo>
                    <a:pt x="12" y="14"/>
                  </a:lnTo>
                  <a:lnTo>
                    <a:pt x="12" y="14"/>
                  </a:lnTo>
                  <a:lnTo>
                    <a:pt x="15" y="14"/>
                  </a:lnTo>
                  <a:lnTo>
                    <a:pt x="15" y="14"/>
                  </a:lnTo>
                  <a:lnTo>
                    <a:pt x="17" y="14"/>
                  </a:lnTo>
                  <a:lnTo>
                    <a:pt x="17" y="17"/>
                  </a:lnTo>
                  <a:lnTo>
                    <a:pt x="17" y="17"/>
                  </a:lnTo>
                  <a:lnTo>
                    <a:pt x="15" y="17"/>
                  </a:lnTo>
                  <a:lnTo>
                    <a:pt x="12" y="19"/>
                  </a:lnTo>
                  <a:lnTo>
                    <a:pt x="12" y="21"/>
                  </a:lnTo>
                  <a:lnTo>
                    <a:pt x="12" y="24"/>
                  </a:lnTo>
                  <a:lnTo>
                    <a:pt x="12" y="24"/>
                  </a:lnTo>
                  <a:lnTo>
                    <a:pt x="12" y="24"/>
                  </a:lnTo>
                  <a:lnTo>
                    <a:pt x="15" y="24"/>
                  </a:lnTo>
                  <a:lnTo>
                    <a:pt x="19" y="24"/>
                  </a:lnTo>
                  <a:lnTo>
                    <a:pt x="22" y="21"/>
                  </a:lnTo>
                  <a:lnTo>
                    <a:pt x="22" y="21"/>
                  </a:lnTo>
                  <a:lnTo>
                    <a:pt x="22" y="19"/>
                  </a:lnTo>
                  <a:lnTo>
                    <a:pt x="22" y="17"/>
                  </a:lnTo>
                  <a:lnTo>
                    <a:pt x="24" y="14"/>
                  </a:lnTo>
                  <a:lnTo>
                    <a:pt x="22"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9" name="Freeform 265"/>
            <p:cNvSpPr>
              <a:spLocks/>
            </p:cNvSpPr>
            <p:nvPr userDrawn="1"/>
          </p:nvSpPr>
          <p:spPr bwMode="auto">
            <a:xfrm>
              <a:off x="4746" y="2025"/>
              <a:ext cx="269" cy="281"/>
            </a:xfrm>
            <a:custGeom>
              <a:avLst/>
              <a:gdLst>
                <a:gd name="T0" fmla="*/ 257 w 269"/>
                <a:gd name="T1" fmla="*/ 28 h 281"/>
                <a:gd name="T2" fmla="*/ 246 w 269"/>
                <a:gd name="T3" fmla="*/ 24 h 281"/>
                <a:gd name="T4" fmla="*/ 241 w 269"/>
                <a:gd name="T5" fmla="*/ 9 h 281"/>
                <a:gd name="T6" fmla="*/ 227 w 269"/>
                <a:gd name="T7" fmla="*/ 2 h 281"/>
                <a:gd name="T8" fmla="*/ 215 w 269"/>
                <a:gd name="T9" fmla="*/ 2 h 281"/>
                <a:gd name="T10" fmla="*/ 189 w 269"/>
                <a:gd name="T11" fmla="*/ 5 h 281"/>
                <a:gd name="T12" fmla="*/ 173 w 269"/>
                <a:gd name="T13" fmla="*/ 12 h 281"/>
                <a:gd name="T14" fmla="*/ 161 w 269"/>
                <a:gd name="T15" fmla="*/ 21 h 281"/>
                <a:gd name="T16" fmla="*/ 173 w 269"/>
                <a:gd name="T17" fmla="*/ 35 h 281"/>
                <a:gd name="T18" fmla="*/ 173 w 269"/>
                <a:gd name="T19" fmla="*/ 43 h 281"/>
                <a:gd name="T20" fmla="*/ 165 w 269"/>
                <a:gd name="T21" fmla="*/ 54 h 281"/>
                <a:gd name="T22" fmla="*/ 156 w 269"/>
                <a:gd name="T23" fmla="*/ 66 h 281"/>
                <a:gd name="T24" fmla="*/ 156 w 269"/>
                <a:gd name="T25" fmla="*/ 78 h 281"/>
                <a:gd name="T26" fmla="*/ 144 w 269"/>
                <a:gd name="T27" fmla="*/ 92 h 281"/>
                <a:gd name="T28" fmla="*/ 140 w 269"/>
                <a:gd name="T29" fmla="*/ 116 h 281"/>
                <a:gd name="T30" fmla="*/ 125 w 269"/>
                <a:gd name="T31" fmla="*/ 111 h 281"/>
                <a:gd name="T32" fmla="*/ 121 w 269"/>
                <a:gd name="T33" fmla="*/ 121 h 281"/>
                <a:gd name="T34" fmla="*/ 102 w 269"/>
                <a:gd name="T35" fmla="*/ 125 h 281"/>
                <a:gd name="T36" fmla="*/ 97 w 269"/>
                <a:gd name="T37" fmla="*/ 142 h 281"/>
                <a:gd name="T38" fmla="*/ 88 w 269"/>
                <a:gd name="T39" fmla="*/ 156 h 281"/>
                <a:gd name="T40" fmla="*/ 64 w 269"/>
                <a:gd name="T41" fmla="*/ 161 h 281"/>
                <a:gd name="T42" fmla="*/ 15 w 269"/>
                <a:gd name="T43" fmla="*/ 156 h 281"/>
                <a:gd name="T44" fmla="*/ 17 w 269"/>
                <a:gd name="T45" fmla="*/ 173 h 281"/>
                <a:gd name="T46" fmla="*/ 38 w 269"/>
                <a:gd name="T47" fmla="*/ 187 h 281"/>
                <a:gd name="T48" fmla="*/ 43 w 269"/>
                <a:gd name="T49" fmla="*/ 206 h 281"/>
                <a:gd name="T50" fmla="*/ 52 w 269"/>
                <a:gd name="T51" fmla="*/ 210 h 281"/>
                <a:gd name="T52" fmla="*/ 45 w 269"/>
                <a:gd name="T53" fmla="*/ 220 h 281"/>
                <a:gd name="T54" fmla="*/ 33 w 269"/>
                <a:gd name="T55" fmla="*/ 227 h 281"/>
                <a:gd name="T56" fmla="*/ 26 w 269"/>
                <a:gd name="T57" fmla="*/ 239 h 281"/>
                <a:gd name="T58" fmla="*/ 36 w 269"/>
                <a:gd name="T59" fmla="*/ 251 h 281"/>
                <a:gd name="T60" fmla="*/ 55 w 269"/>
                <a:gd name="T61" fmla="*/ 251 h 281"/>
                <a:gd name="T62" fmla="*/ 71 w 269"/>
                <a:gd name="T63" fmla="*/ 246 h 281"/>
                <a:gd name="T64" fmla="*/ 104 w 269"/>
                <a:gd name="T65" fmla="*/ 246 h 281"/>
                <a:gd name="T66" fmla="*/ 109 w 269"/>
                <a:gd name="T67" fmla="*/ 244 h 281"/>
                <a:gd name="T68" fmla="*/ 128 w 269"/>
                <a:gd name="T69" fmla="*/ 260 h 281"/>
                <a:gd name="T70" fmla="*/ 135 w 269"/>
                <a:gd name="T71" fmla="*/ 277 h 281"/>
                <a:gd name="T72" fmla="*/ 147 w 269"/>
                <a:gd name="T73" fmla="*/ 279 h 281"/>
                <a:gd name="T74" fmla="*/ 156 w 269"/>
                <a:gd name="T75" fmla="*/ 277 h 281"/>
                <a:gd name="T76" fmla="*/ 161 w 269"/>
                <a:gd name="T77" fmla="*/ 270 h 281"/>
                <a:gd name="T78" fmla="*/ 177 w 269"/>
                <a:gd name="T79" fmla="*/ 272 h 281"/>
                <a:gd name="T80" fmla="*/ 191 w 269"/>
                <a:gd name="T81" fmla="*/ 270 h 281"/>
                <a:gd name="T82" fmla="*/ 198 w 269"/>
                <a:gd name="T83" fmla="*/ 267 h 281"/>
                <a:gd name="T84" fmla="*/ 198 w 269"/>
                <a:gd name="T85" fmla="*/ 260 h 281"/>
                <a:gd name="T86" fmla="*/ 187 w 269"/>
                <a:gd name="T87" fmla="*/ 241 h 281"/>
                <a:gd name="T88" fmla="*/ 177 w 269"/>
                <a:gd name="T89" fmla="*/ 227 h 281"/>
                <a:gd name="T90" fmla="*/ 165 w 269"/>
                <a:gd name="T91" fmla="*/ 218 h 281"/>
                <a:gd name="T92" fmla="*/ 173 w 269"/>
                <a:gd name="T93" fmla="*/ 199 h 281"/>
                <a:gd name="T94" fmla="*/ 182 w 269"/>
                <a:gd name="T95" fmla="*/ 194 h 281"/>
                <a:gd name="T96" fmla="*/ 206 w 269"/>
                <a:gd name="T97" fmla="*/ 192 h 281"/>
                <a:gd name="T98" fmla="*/ 220 w 269"/>
                <a:gd name="T99" fmla="*/ 170 h 281"/>
                <a:gd name="T100" fmla="*/ 231 w 269"/>
                <a:gd name="T101" fmla="*/ 147 h 281"/>
                <a:gd name="T102" fmla="*/ 239 w 269"/>
                <a:gd name="T103" fmla="*/ 130 h 281"/>
                <a:gd name="T104" fmla="*/ 241 w 269"/>
                <a:gd name="T105" fmla="*/ 118 h 281"/>
                <a:gd name="T106" fmla="*/ 250 w 269"/>
                <a:gd name="T107" fmla="*/ 104 h 281"/>
                <a:gd name="T108" fmla="*/ 239 w 269"/>
                <a:gd name="T109" fmla="*/ 97 h 281"/>
                <a:gd name="T110" fmla="*/ 229 w 269"/>
                <a:gd name="T111" fmla="*/ 88 h 281"/>
                <a:gd name="T112" fmla="*/ 224 w 269"/>
                <a:gd name="T113" fmla="*/ 80 h 281"/>
                <a:gd name="T114" fmla="*/ 222 w 269"/>
                <a:gd name="T115" fmla="*/ 69 h 281"/>
                <a:gd name="T116" fmla="*/ 217 w 269"/>
                <a:gd name="T117" fmla="*/ 64 h 281"/>
                <a:gd name="T118" fmla="*/ 215 w 269"/>
                <a:gd name="T119" fmla="*/ 54 h 281"/>
                <a:gd name="T120" fmla="*/ 234 w 269"/>
                <a:gd name="T121" fmla="*/ 52 h 281"/>
                <a:gd name="T122" fmla="*/ 253 w 269"/>
                <a:gd name="T123" fmla="*/ 52 h 281"/>
                <a:gd name="T124" fmla="*/ 267 w 269"/>
                <a:gd name="T125" fmla="*/ 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9" h="281">
                  <a:moveTo>
                    <a:pt x="267" y="40"/>
                  </a:moveTo>
                  <a:lnTo>
                    <a:pt x="267" y="38"/>
                  </a:lnTo>
                  <a:lnTo>
                    <a:pt x="264" y="35"/>
                  </a:lnTo>
                  <a:lnTo>
                    <a:pt x="264" y="35"/>
                  </a:lnTo>
                  <a:lnTo>
                    <a:pt x="262" y="31"/>
                  </a:lnTo>
                  <a:lnTo>
                    <a:pt x="260" y="31"/>
                  </a:lnTo>
                  <a:lnTo>
                    <a:pt x="260" y="28"/>
                  </a:lnTo>
                  <a:lnTo>
                    <a:pt x="257" y="28"/>
                  </a:lnTo>
                  <a:lnTo>
                    <a:pt x="257" y="28"/>
                  </a:lnTo>
                  <a:lnTo>
                    <a:pt x="255" y="24"/>
                  </a:lnTo>
                  <a:lnTo>
                    <a:pt x="255" y="26"/>
                  </a:lnTo>
                  <a:lnTo>
                    <a:pt x="253" y="26"/>
                  </a:lnTo>
                  <a:lnTo>
                    <a:pt x="250" y="26"/>
                  </a:lnTo>
                  <a:lnTo>
                    <a:pt x="250" y="26"/>
                  </a:lnTo>
                  <a:lnTo>
                    <a:pt x="250" y="26"/>
                  </a:lnTo>
                  <a:lnTo>
                    <a:pt x="248" y="24"/>
                  </a:lnTo>
                  <a:lnTo>
                    <a:pt x="248" y="24"/>
                  </a:lnTo>
                  <a:lnTo>
                    <a:pt x="246" y="24"/>
                  </a:lnTo>
                  <a:lnTo>
                    <a:pt x="246" y="21"/>
                  </a:lnTo>
                  <a:lnTo>
                    <a:pt x="243" y="21"/>
                  </a:lnTo>
                  <a:lnTo>
                    <a:pt x="243" y="21"/>
                  </a:lnTo>
                  <a:lnTo>
                    <a:pt x="243" y="19"/>
                  </a:lnTo>
                  <a:lnTo>
                    <a:pt x="246" y="19"/>
                  </a:lnTo>
                  <a:lnTo>
                    <a:pt x="243" y="14"/>
                  </a:lnTo>
                  <a:lnTo>
                    <a:pt x="243" y="12"/>
                  </a:lnTo>
                  <a:lnTo>
                    <a:pt x="243" y="12"/>
                  </a:lnTo>
                  <a:lnTo>
                    <a:pt x="241" y="9"/>
                  </a:lnTo>
                  <a:lnTo>
                    <a:pt x="241" y="9"/>
                  </a:lnTo>
                  <a:lnTo>
                    <a:pt x="239" y="7"/>
                  </a:lnTo>
                  <a:lnTo>
                    <a:pt x="236" y="7"/>
                  </a:lnTo>
                  <a:lnTo>
                    <a:pt x="234" y="7"/>
                  </a:lnTo>
                  <a:lnTo>
                    <a:pt x="234" y="7"/>
                  </a:lnTo>
                  <a:lnTo>
                    <a:pt x="231" y="7"/>
                  </a:lnTo>
                  <a:lnTo>
                    <a:pt x="231" y="2"/>
                  </a:lnTo>
                  <a:lnTo>
                    <a:pt x="229" y="2"/>
                  </a:lnTo>
                  <a:lnTo>
                    <a:pt x="227" y="2"/>
                  </a:lnTo>
                  <a:lnTo>
                    <a:pt x="224" y="0"/>
                  </a:lnTo>
                  <a:lnTo>
                    <a:pt x="222" y="2"/>
                  </a:lnTo>
                  <a:lnTo>
                    <a:pt x="222" y="2"/>
                  </a:lnTo>
                  <a:lnTo>
                    <a:pt x="222" y="2"/>
                  </a:lnTo>
                  <a:lnTo>
                    <a:pt x="220" y="0"/>
                  </a:lnTo>
                  <a:lnTo>
                    <a:pt x="217" y="0"/>
                  </a:lnTo>
                  <a:lnTo>
                    <a:pt x="217" y="0"/>
                  </a:lnTo>
                  <a:lnTo>
                    <a:pt x="215" y="0"/>
                  </a:lnTo>
                  <a:lnTo>
                    <a:pt x="215" y="2"/>
                  </a:lnTo>
                  <a:lnTo>
                    <a:pt x="210" y="2"/>
                  </a:lnTo>
                  <a:lnTo>
                    <a:pt x="208" y="5"/>
                  </a:lnTo>
                  <a:lnTo>
                    <a:pt x="208" y="5"/>
                  </a:lnTo>
                  <a:lnTo>
                    <a:pt x="206" y="5"/>
                  </a:lnTo>
                  <a:lnTo>
                    <a:pt x="203" y="2"/>
                  </a:lnTo>
                  <a:lnTo>
                    <a:pt x="203" y="2"/>
                  </a:lnTo>
                  <a:lnTo>
                    <a:pt x="196" y="2"/>
                  </a:lnTo>
                  <a:lnTo>
                    <a:pt x="191" y="5"/>
                  </a:lnTo>
                  <a:lnTo>
                    <a:pt x="189" y="5"/>
                  </a:lnTo>
                  <a:lnTo>
                    <a:pt x="187" y="5"/>
                  </a:lnTo>
                  <a:lnTo>
                    <a:pt x="182" y="5"/>
                  </a:lnTo>
                  <a:lnTo>
                    <a:pt x="182" y="5"/>
                  </a:lnTo>
                  <a:lnTo>
                    <a:pt x="180" y="7"/>
                  </a:lnTo>
                  <a:lnTo>
                    <a:pt x="177" y="7"/>
                  </a:lnTo>
                  <a:lnTo>
                    <a:pt x="177" y="7"/>
                  </a:lnTo>
                  <a:lnTo>
                    <a:pt x="175" y="7"/>
                  </a:lnTo>
                  <a:lnTo>
                    <a:pt x="175" y="9"/>
                  </a:lnTo>
                  <a:lnTo>
                    <a:pt x="173" y="12"/>
                  </a:lnTo>
                  <a:lnTo>
                    <a:pt x="170" y="12"/>
                  </a:lnTo>
                  <a:lnTo>
                    <a:pt x="170" y="14"/>
                  </a:lnTo>
                  <a:lnTo>
                    <a:pt x="170" y="14"/>
                  </a:lnTo>
                  <a:lnTo>
                    <a:pt x="168" y="14"/>
                  </a:lnTo>
                  <a:lnTo>
                    <a:pt x="165" y="14"/>
                  </a:lnTo>
                  <a:lnTo>
                    <a:pt x="165" y="17"/>
                  </a:lnTo>
                  <a:lnTo>
                    <a:pt x="163" y="19"/>
                  </a:lnTo>
                  <a:lnTo>
                    <a:pt x="163" y="19"/>
                  </a:lnTo>
                  <a:lnTo>
                    <a:pt x="161" y="21"/>
                  </a:lnTo>
                  <a:lnTo>
                    <a:pt x="163" y="21"/>
                  </a:lnTo>
                  <a:lnTo>
                    <a:pt x="165" y="24"/>
                  </a:lnTo>
                  <a:lnTo>
                    <a:pt x="165" y="26"/>
                  </a:lnTo>
                  <a:lnTo>
                    <a:pt x="168" y="26"/>
                  </a:lnTo>
                  <a:lnTo>
                    <a:pt x="168" y="28"/>
                  </a:lnTo>
                  <a:lnTo>
                    <a:pt x="170" y="31"/>
                  </a:lnTo>
                  <a:lnTo>
                    <a:pt x="170" y="33"/>
                  </a:lnTo>
                  <a:lnTo>
                    <a:pt x="170" y="33"/>
                  </a:lnTo>
                  <a:lnTo>
                    <a:pt x="173" y="35"/>
                  </a:lnTo>
                  <a:lnTo>
                    <a:pt x="173" y="35"/>
                  </a:lnTo>
                  <a:lnTo>
                    <a:pt x="170" y="38"/>
                  </a:lnTo>
                  <a:lnTo>
                    <a:pt x="170" y="38"/>
                  </a:lnTo>
                  <a:lnTo>
                    <a:pt x="173" y="38"/>
                  </a:lnTo>
                  <a:lnTo>
                    <a:pt x="173" y="40"/>
                  </a:lnTo>
                  <a:lnTo>
                    <a:pt x="173" y="40"/>
                  </a:lnTo>
                  <a:lnTo>
                    <a:pt x="173" y="40"/>
                  </a:lnTo>
                  <a:lnTo>
                    <a:pt x="173" y="43"/>
                  </a:lnTo>
                  <a:lnTo>
                    <a:pt x="173" y="43"/>
                  </a:lnTo>
                  <a:lnTo>
                    <a:pt x="170" y="45"/>
                  </a:lnTo>
                  <a:lnTo>
                    <a:pt x="170" y="45"/>
                  </a:lnTo>
                  <a:lnTo>
                    <a:pt x="168" y="47"/>
                  </a:lnTo>
                  <a:lnTo>
                    <a:pt x="168" y="50"/>
                  </a:lnTo>
                  <a:lnTo>
                    <a:pt x="165" y="50"/>
                  </a:lnTo>
                  <a:lnTo>
                    <a:pt x="165" y="52"/>
                  </a:lnTo>
                  <a:lnTo>
                    <a:pt x="165" y="54"/>
                  </a:lnTo>
                  <a:lnTo>
                    <a:pt x="165" y="54"/>
                  </a:lnTo>
                  <a:lnTo>
                    <a:pt x="165" y="54"/>
                  </a:lnTo>
                  <a:lnTo>
                    <a:pt x="165" y="57"/>
                  </a:lnTo>
                  <a:lnTo>
                    <a:pt x="168" y="57"/>
                  </a:lnTo>
                  <a:lnTo>
                    <a:pt x="168" y="59"/>
                  </a:lnTo>
                  <a:lnTo>
                    <a:pt x="168" y="62"/>
                  </a:lnTo>
                  <a:lnTo>
                    <a:pt x="168" y="62"/>
                  </a:lnTo>
                  <a:lnTo>
                    <a:pt x="168" y="64"/>
                  </a:lnTo>
                  <a:lnTo>
                    <a:pt x="165" y="66"/>
                  </a:lnTo>
                  <a:lnTo>
                    <a:pt x="161" y="66"/>
                  </a:lnTo>
                  <a:lnTo>
                    <a:pt x="156" y="66"/>
                  </a:lnTo>
                  <a:lnTo>
                    <a:pt x="156" y="66"/>
                  </a:lnTo>
                  <a:lnTo>
                    <a:pt x="154" y="66"/>
                  </a:lnTo>
                  <a:lnTo>
                    <a:pt x="149" y="64"/>
                  </a:lnTo>
                  <a:lnTo>
                    <a:pt x="147" y="64"/>
                  </a:lnTo>
                  <a:lnTo>
                    <a:pt x="147" y="66"/>
                  </a:lnTo>
                  <a:lnTo>
                    <a:pt x="151" y="71"/>
                  </a:lnTo>
                  <a:lnTo>
                    <a:pt x="154" y="73"/>
                  </a:lnTo>
                  <a:lnTo>
                    <a:pt x="156" y="76"/>
                  </a:lnTo>
                  <a:lnTo>
                    <a:pt x="156" y="78"/>
                  </a:lnTo>
                  <a:lnTo>
                    <a:pt x="156" y="80"/>
                  </a:lnTo>
                  <a:lnTo>
                    <a:pt x="154" y="83"/>
                  </a:lnTo>
                  <a:lnTo>
                    <a:pt x="151" y="83"/>
                  </a:lnTo>
                  <a:lnTo>
                    <a:pt x="149" y="85"/>
                  </a:lnTo>
                  <a:lnTo>
                    <a:pt x="147" y="85"/>
                  </a:lnTo>
                  <a:lnTo>
                    <a:pt x="144" y="85"/>
                  </a:lnTo>
                  <a:lnTo>
                    <a:pt x="144" y="90"/>
                  </a:lnTo>
                  <a:lnTo>
                    <a:pt x="144" y="92"/>
                  </a:lnTo>
                  <a:lnTo>
                    <a:pt x="144" y="92"/>
                  </a:lnTo>
                  <a:lnTo>
                    <a:pt x="144" y="95"/>
                  </a:lnTo>
                  <a:lnTo>
                    <a:pt x="142" y="97"/>
                  </a:lnTo>
                  <a:lnTo>
                    <a:pt x="142" y="99"/>
                  </a:lnTo>
                  <a:lnTo>
                    <a:pt x="144" y="102"/>
                  </a:lnTo>
                  <a:lnTo>
                    <a:pt x="144" y="109"/>
                  </a:lnTo>
                  <a:lnTo>
                    <a:pt x="144" y="111"/>
                  </a:lnTo>
                  <a:lnTo>
                    <a:pt x="142" y="114"/>
                  </a:lnTo>
                  <a:lnTo>
                    <a:pt x="140" y="114"/>
                  </a:lnTo>
                  <a:lnTo>
                    <a:pt x="140" y="116"/>
                  </a:lnTo>
                  <a:lnTo>
                    <a:pt x="137" y="116"/>
                  </a:lnTo>
                  <a:lnTo>
                    <a:pt x="135" y="114"/>
                  </a:lnTo>
                  <a:lnTo>
                    <a:pt x="135" y="114"/>
                  </a:lnTo>
                  <a:lnTo>
                    <a:pt x="132" y="111"/>
                  </a:lnTo>
                  <a:lnTo>
                    <a:pt x="132" y="111"/>
                  </a:lnTo>
                  <a:lnTo>
                    <a:pt x="130" y="114"/>
                  </a:lnTo>
                  <a:lnTo>
                    <a:pt x="128" y="111"/>
                  </a:lnTo>
                  <a:lnTo>
                    <a:pt x="125" y="111"/>
                  </a:lnTo>
                  <a:lnTo>
                    <a:pt x="125" y="111"/>
                  </a:lnTo>
                  <a:lnTo>
                    <a:pt x="125" y="114"/>
                  </a:lnTo>
                  <a:lnTo>
                    <a:pt x="123" y="114"/>
                  </a:lnTo>
                  <a:lnTo>
                    <a:pt x="118" y="116"/>
                  </a:lnTo>
                  <a:lnTo>
                    <a:pt x="116" y="116"/>
                  </a:lnTo>
                  <a:lnTo>
                    <a:pt x="116" y="118"/>
                  </a:lnTo>
                  <a:lnTo>
                    <a:pt x="116" y="118"/>
                  </a:lnTo>
                  <a:lnTo>
                    <a:pt x="118" y="121"/>
                  </a:lnTo>
                  <a:lnTo>
                    <a:pt x="118" y="121"/>
                  </a:lnTo>
                  <a:lnTo>
                    <a:pt x="121" y="121"/>
                  </a:lnTo>
                  <a:lnTo>
                    <a:pt x="118" y="123"/>
                  </a:lnTo>
                  <a:lnTo>
                    <a:pt x="118" y="123"/>
                  </a:lnTo>
                  <a:lnTo>
                    <a:pt x="116" y="123"/>
                  </a:lnTo>
                  <a:lnTo>
                    <a:pt x="111" y="123"/>
                  </a:lnTo>
                  <a:lnTo>
                    <a:pt x="109" y="123"/>
                  </a:lnTo>
                  <a:lnTo>
                    <a:pt x="107" y="123"/>
                  </a:lnTo>
                  <a:lnTo>
                    <a:pt x="104" y="123"/>
                  </a:lnTo>
                  <a:lnTo>
                    <a:pt x="104" y="123"/>
                  </a:lnTo>
                  <a:lnTo>
                    <a:pt x="102" y="125"/>
                  </a:lnTo>
                  <a:lnTo>
                    <a:pt x="102" y="128"/>
                  </a:lnTo>
                  <a:lnTo>
                    <a:pt x="99" y="128"/>
                  </a:lnTo>
                  <a:lnTo>
                    <a:pt x="99" y="128"/>
                  </a:lnTo>
                  <a:lnTo>
                    <a:pt x="99" y="130"/>
                  </a:lnTo>
                  <a:lnTo>
                    <a:pt x="97" y="130"/>
                  </a:lnTo>
                  <a:lnTo>
                    <a:pt x="97" y="132"/>
                  </a:lnTo>
                  <a:lnTo>
                    <a:pt x="97" y="137"/>
                  </a:lnTo>
                  <a:lnTo>
                    <a:pt x="97" y="140"/>
                  </a:lnTo>
                  <a:lnTo>
                    <a:pt x="97" y="142"/>
                  </a:lnTo>
                  <a:lnTo>
                    <a:pt x="97" y="144"/>
                  </a:lnTo>
                  <a:lnTo>
                    <a:pt x="97" y="147"/>
                  </a:lnTo>
                  <a:lnTo>
                    <a:pt x="97" y="149"/>
                  </a:lnTo>
                  <a:lnTo>
                    <a:pt x="99" y="149"/>
                  </a:lnTo>
                  <a:lnTo>
                    <a:pt x="99" y="151"/>
                  </a:lnTo>
                  <a:lnTo>
                    <a:pt x="97" y="151"/>
                  </a:lnTo>
                  <a:lnTo>
                    <a:pt x="97" y="154"/>
                  </a:lnTo>
                  <a:lnTo>
                    <a:pt x="92" y="154"/>
                  </a:lnTo>
                  <a:lnTo>
                    <a:pt x="88" y="156"/>
                  </a:lnTo>
                  <a:lnTo>
                    <a:pt x="85" y="156"/>
                  </a:lnTo>
                  <a:lnTo>
                    <a:pt x="81" y="158"/>
                  </a:lnTo>
                  <a:lnTo>
                    <a:pt x="78" y="158"/>
                  </a:lnTo>
                  <a:lnTo>
                    <a:pt x="76" y="158"/>
                  </a:lnTo>
                  <a:lnTo>
                    <a:pt x="74" y="158"/>
                  </a:lnTo>
                  <a:lnTo>
                    <a:pt x="71" y="158"/>
                  </a:lnTo>
                  <a:lnTo>
                    <a:pt x="69" y="158"/>
                  </a:lnTo>
                  <a:lnTo>
                    <a:pt x="66" y="158"/>
                  </a:lnTo>
                  <a:lnTo>
                    <a:pt x="64" y="161"/>
                  </a:lnTo>
                  <a:lnTo>
                    <a:pt x="62" y="161"/>
                  </a:lnTo>
                  <a:lnTo>
                    <a:pt x="62" y="161"/>
                  </a:lnTo>
                  <a:lnTo>
                    <a:pt x="62" y="163"/>
                  </a:lnTo>
                  <a:lnTo>
                    <a:pt x="59" y="161"/>
                  </a:lnTo>
                  <a:lnTo>
                    <a:pt x="50" y="161"/>
                  </a:lnTo>
                  <a:lnTo>
                    <a:pt x="31" y="161"/>
                  </a:lnTo>
                  <a:lnTo>
                    <a:pt x="29" y="161"/>
                  </a:lnTo>
                  <a:lnTo>
                    <a:pt x="24" y="158"/>
                  </a:lnTo>
                  <a:lnTo>
                    <a:pt x="15" y="156"/>
                  </a:lnTo>
                  <a:lnTo>
                    <a:pt x="8" y="154"/>
                  </a:lnTo>
                  <a:lnTo>
                    <a:pt x="0" y="151"/>
                  </a:lnTo>
                  <a:lnTo>
                    <a:pt x="5" y="156"/>
                  </a:lnTo>
                  <a:lnTo>
                    <a:pt x="8" y="158"/>
                  </a:lnTo>
                  <a:lnTo>
                    <a:pt x="12" y="163"/>
                  </a:lnTo>
                  <a:lnTo>
                    <a:pt x="12" y="163"/>
                  </a:lnTo>
                  <a:lnTo>
                    <a:pt x="12" y="166"/>
                  </a:lnTo>
                  <a:lnTo>
                    <a:pt x="15" y="170"/>
                  </a:lnTo>
                  <a:lnTo>
                    <a:pt x="17" y="173"/>
                  </a:lnTo>
                  <a:lnTo>
                    <a:pt x="19" y="175"/>
                  </a:lnTo>
                  <a:lnTo>
                    <a:pt x="22" y="177"/>
                  </a:lnTo>
                  <a:lnTo>
                    <a:pt x="24" y="180"/>
                  </a:lnTo>
                  <a:lnTo>
                    <a:pt x="26" y="182"/>
                  </a:lnTo>
                  <a:lnTo>
                    <a:pt x="29" y="182"/>
                  </a:lnTo>
                  <a:lnTo>
                    <a:pt x="33" y="182"/>
                  </a:lnTo>
                  <a:lnTo>
                    <a:pt x="33" y="184"/>
                  </a:lnTo>
                  <a:lnTo>
                    <a:pt x="36" y="187"/>
                  </a:lnTo>
                  <a:lnTo>
                    <a:pt x="38" y="187"/>
                  </a:lnTo>
                  <a:lnTo>
                    <a:pt x="41" y="187"/>
                  </a:lnTo>
                  <a:lnTo>
                    <a:pt x="41" y="187"/>
                  </a:lnTo>
                  <a:lnTo>
                    <a:pt x="41" y="187"/>
                  </a:lnTo>
                  <a:lnTo>
                    <a:pt x="41" y="192"/>
                  </a:lnTo>
                  <a:lnTo>
                    <a:pt x="41" y="196"/>
                  </a:lnTo>
                  <a:lnTo>
                    <a:pt x="43" y="203"/>
                  </a:lnTo>
                  <a:lnTo>
                    <a:pt x="43" y="203"/>
                  </a:lnTo>
                  <a:lnTo>
                    <a:pt x="43" y="206"/>
                  </a:lnTo>
                  <a:lnTo>
                    <a:pt x="43" y="206"/>
                  </a:lnTo>
                  <a:lnTo>
                    <a:pt x="43" y="208"/>
                  </a:lnTo>
                  <a:lnTo>
                    <a:pt x="43" y="208"/>
                  </a:lnTo>
                  <a:lnTo>
                    <a:pt x="43" y="208"/>
                  </a:lnTo>
                  <a:lnTo>
                    <a:pt x="45" y="208"/>
                  </a:lnTo>
                  <a:lnTo>
                    <a:pt x="50" y="208"/>
                  </a:lnTo>
                  <a:lnTo>
                    <a:pt x="50" y="208"/>
                  </a:lnTo>
                  <a:lnTo>
                    <a:pt x="52" y="208"/>
                  </a:lnTo>
                  <a:lnTo>
                    <a:pt x="52" y="210"/>
                  </a:lnTo>
                  <a:lnTo>
                    <a:pt x="52" y="210"/>
                  </a:lnTo>
                  <a:lnTo>
                    <a:pt x="52" y="210"/>
                  </a:lnTo>
                  <a:lnTo>
                    <a:pt x="52" y="213"/>
                  </a:lnTo>
                  <a:lnTo>
                    <a:pt x="52" y="215"/>
                  </a:lnTo>
                  <a:lnTo>
                    <a:pt x="52" y="215"/>
                  </a:lnTo>
                  <a:lnTo>
                    <a:pt x="52" y="215"/>
                  </a:lnTo>
                  <a:lnTo>
                    <a:pt x="52" y="220"/>
                  </a:lnTo>
                  <a:lnTo>
                    <a:pt x="52" y="220"/>
                  </a:lnTo>
                  <a:lnTo>
                    <a:pt x="50" y="220"/>
                  </a:lnTo>
                  <a:lnTo>
                    <a:pt x="45" y="220"/>
                  </a:lnTo>
                  <a:lnTo>
                    <a:pt x="43" y="220"/>
                  </a:lnTo>
                  <a:lnTo>
                    <a:pt x="43" y="222"/>
                  </a:lnTo>
                  <a:lnTo>
                    <a:pt x="38" y="222"/>
                  </a:lnTo>
                  <a:lnTo>
                    <a:pt x="38" y="222"/>
                  </a:lnTo>
                  <a:lnTo>
                    <a:pt x="36" y="222"/>
                  </a:lnTo>
                  <a:lnTo>
                    <a:pt x="36" y="225"/>
                  </a:lnTo>
                  <a:lnTo>
                    <a:pt x="36" y="227"/>
                  </a:lnTo>
                  <a:lnTo>
                    <a:pt x="36" y="227"/>
                  </a:lnTo>
                  <a:lnTo>
                    <a:pt x="33" y="227"/>
                  </a:lnTo>
                  <a:lnTo>
                    <a:pt x="33" y="227"/>
                  </a:lnTo>
                  <a:lnTo>
                    <a:pt x="29" y="229"/>
                  </a:lnTo>
                  <a:lnTo>
                    <a:pt x="29" y="229"/>
                  </a:lnTo>
                  <a:lnTo>
                    <a:pt x="29" y="229"/>
                  </a:lnTo>
                  <a:lnTo>
                    <a:pt x="29" y="234"/>
                  </a:lnTo>
                  <a:lnTo>
                    <a:pt x="29" y="236"/>
                  </a:lnTo>
                  <a:lnTo>
                    <a:pt x="26" y="236"/>
                  </a:lnTo>
                  <a:lnTo>
                    <a:pt x="26" y="239"/>
                  </a:lnTo>
                  <a:lnTo>
                    <a:pt x="26" y="239"/>
                  </a:lnTo>
                  <a:lnTo>
                    <a:pt x="26" y="241"/>
                  </a:lnTo>
                  <a:lnTo>
                    <a:pt x="26" y="244"/>
                  </a:lnTo>
                  <a:lnTo>
                    <a:pt x="26" y="248"/>
                  </a:lnTo>
                  <a:lnTo>
                    <a:pt x="26" y="251"/>
                  </a:lnTo>
                  <a:lnTo>
                    <a:pt x="26" y="251"/>
                  </a:lnTo>
                  <a:lnTo>
                    <a:pt x="29" y="253"/>
                  </a:lnTo>
                  <a:lnTo>
                    <a:pt x="31" y="253"/>
                  </a:lnTo>
                  <a:lnTo>
                    <a:pt x="36" y="251"/>
                  </a:lnTo>
                  <a:lnTo>
                    <a:pt x="36" y="251"/>
                  </a:lnTo>
                  <a:lnTo>
                    <a:pt x="38" y="251"/>
                  </a:lnTo>
                  <a:lnTo>
                    <a:pt x="38" y="251"/>
                  </a:lnTo>
                  <a:lnTo>
                    <a:pt x="38" y="253"/>
                  </a:lnTo>
                  <a:lnTo>
                    <a:pt x="41" y="251"/>
                  </a:lnTo>
                  <a:lnTo>
                    <a:pt x="41" y="251"/>
                  </a:lnTo>
                  <a:lnTo>
                    <a:pt x="43" y="251"/>
                  </a:lnTo>
                  <a:lnTo>
                    <a:pt x="45" y="248"/>
                  </a:lnTo>
                  <a:lnTo>
                    <a:pt x="52" y="251"/>
                  </a:lnTo>
                  <a:lnTo>
                    <a:pt x="55" y="251"/>
                  </a:lnTo>
                  <a:lnTo>
                    <a:pt x="57" y="251"/>
                  </a:lnTo>
                  <a:lnTo>
                    <a:pt x="59" y="251"/>
                  </a:lnTo>
                  <a:lnTo>
                    <a:pt x="59" y="248"/>
                  </a:lnTo>
                  <a:lnTo>
                    <a:pt x="62" y="248"/>
                  </a:lnTo>
                  <a:lnTo>
                    <a:pt x="64" y="246"/>
                  </a:lnTo>
                  <a:lnTo>
                    <a:pt x="69" y="248"/>
                  </a:lnTo>
                  <a:lnTo>
                    <a:pt x="69" y="248"/>
                  </a:lnTo>
                  <a:lnTo>
                    <a:pt x="71" y="246"/>
                  </a:lnTo>
                  <a:lnTo>
                    <a:pt x="71" y="246"/>
                  </a:lnTo>
                  <a:lnTo>
                    <a:pt x="71" y="248"/>
                  </a:lnTo>
                  <a:lnTo>
                    <a:pt x="81" y="251"/>
                  </a:lnTo>
                  <a:lnTo>
                    <a:pt x="81" y="251"/>
                  </a:lnTo>
                  <a:lnTo>
                    <a:pt x="81" y="251"/>
                  </a:lnTo>
                  <a:lnTo>
                    <a:pt x="83" y="248"/>
                  </a:lnTo>
                  <a:lnTo>
                    <a:pt x="88" y="248"/>
                  </a:lnTo>
                  <a:lnTo>
                    <a:pt x="95" y="246"/>
                  </a:lnTo>
                  <a:lnTo>
                    <a:pt x="99" y="248"/>
                  </a:lnTo>
                  <a:lnTo>
                    <a:pt x="104" y="246"/>
                  </a:lnTo>
                  <a:lnTo>
                    <a:pt x="109" y="246"/>
                  </a:lnTo>
                  <a:lnTo>
                    <a:pt x="111" y="246"/>
                  </a:lnTo>
                  <a:lnTo>
                    <a:pt x="114" y="246"/>
                  </a:lnTo>
                  <a:lnTo>
                    <a:pt x="114" y="246"/>
                  </a:lnTo>
                  <a:lnTo>
                    <a:pt x="114" y="244"/>
                  </a:lnTo>
                  <a:lnTo>
                    <a:pt x="111" y="244"/>
                  </a:lnTo>
                  <a:lnTo>
                    <a:pt x="107" y="244"/>
                  </a:lnTo>
                  <a:lnTo>
                    <a:pt x="109" y="244"/>
                  </a:lnTo>
                  <a:lnTo>
                    <a:pt x="109" y="244"/>
                  </a:lnTo>
                  <a:lnTo>
                    <a:pt x="111" y="241"/>
                  </a:lnTo>
                  <a:lnTo>
                    <a:pt x="114" y="244"/>
                  </a:lnTo>
                  <a:lnTo>
                    <a:pt x="116" y="244"/>
                  </a:lnTo>
                  <a:lnTo>
                    <a:pt x="116" y="246"/>
                  </a:lnTo>
                  <a:lnTo>
                    <a:pt x="118" y="251"/>
                  </a:lnTo>
                  <a:lnTo>
                    <a:pt x="118" y="253"/>
                  </a:lnTo>
                  <a:lnTo>
                    <a:pt x="118" y="255"/>
                  </a:lnTo>
                  <a:lnTo>
                    <a:pt x="118" y="258"/>
                  </a:lnTo>
                  <a:lnTo>
                    <a:pt x="128" y="260"/>
                  </a:lnTo>
                  <a:lnTo>
                    <a:pt x="128" y="260"/>
                  </a:lnTo>
                  <a:lnTo>
                    <a:pt x="130" y="267"/>
                  </a:lnTo>
                  <a:lnTo>
                    <a:pt x="132" y="270"/>
                  </a:lnTo>
                  <a:lnTo>
                    <a:pt x="132" y="272"/>
                  </a:lnTo>
                  <a:lnTo>
                    <a:pt x="132" y="274"/>
                  </a:lnTo>
                  <a:lnTo>
                    <a:pt x="135" y="274"/>
                  </a:lnTo>
                  <a:lnTo>
                    <a:pt x="135" y="274"/>
                  </a:lnTo>
                  <a:lnTo>
                    <a:pt x="135" y="277"/>
                  </a:lnTo>
                  <a:lnTo>
                    <a:pt x="135" y="277"/>
                  </a:lnTo>
                  <a:lnTo>
                    <a:pt x="137" y="279"/>
                  </a:lnTo>
                  <a:lnTo>
                    <a:pt x="140" y="277"/>
                  </a:lnTo>
                  <a:lnTo>
                    <a:pt x="140" y="279"/>
                  </a:lnTo>
                  <a:lnTo>
                    <a:pt x="140" y="279"/>
                  </a:lnTo>
                  <a:lnTo>
                    <a:pt x="142" y="279"/>
                  </a:lnTo>
                  <a:lnTo>
                    <a:pt x="142" y="279"/>
                  </a:lnTo>
                  <a:lnTo>
                    <a:pt x="144" y="279"/>
                  </a:lnTo>
                  <a:lnTo>
                    <a:pt x="144" y="279"/>
                  </a:lnTo>
                  <a:lnTo>
                    <a:pt x="147" y="279"/>
                  </a:lnTo>
                  <a:lnTo>
                    <a:pt x="147" y="279"/>
                  </a:lnTo>
                  <a:lnTo>
                    <a:pt x="147" y="281"/>
                  </a:lnTo>
                  <a:lnTo>
                    <a:pt x="149" y="281"/>
                  </a:lnTo>
                  <a:lnTo>
                    <a:pt x="149" y="279"/>
                  </a:lnTo>
                  <a:lnTo>
                    <a:pt x="149" y="279"/>
                  </a:lnTo>
                  <a:lnTo>
                    <a:pt x="149" y="277"/>
                  </a:lnTo>
                  <a:lnTo>
                    <a:pt x="151" y="277"/>
                  </a:lnTo>
                  <a:lnTo>
                    <a:pt x="154" y="277"/>
                  </a:lnTo>
                  <a:lnTo>
                    <a:pt x="156" y="277"/>
                  </a:lnTo>
                  <a:lnTo>
                    <a:pt x="158" y="277"/>
                  </a:lnTo>
                  <a:lnTo>
                    <a:pt x="158" y="270"/>
                  </a:lnTo>
                  <a:lnTo>
                    <a:pt x="158" y="270"/>
                  </a:lnTo>
                  <a:lnTo>
                    <a:pt x="158" y="270"/>
                  </a:lnTo>
                  <a:lnTo>
                    <a:pt x="158" y="270"/>
                  </a:lnTo>
                  <a:lnTo>
                    <a:pt x="158" y="270"/>
                  </a:lnTo>
                  <a:lnTo>
                    <a:pt x="158" y="270"/>
                  </a:lnTo>
                  <a:lnTo>
                    <a:pt x="161" y="270"/>
                  </a:lnTo>
                  <a:lnTo>
                    <a:pt x="161" y="270"/>
                  </a:lnTo>
                  <a:lnTo>
                    <a:pt x="161" y="270"/>
                  </a:lnTo>
                  <a:lnTo>
                    <a:pt x="163" y="270"/>
                  </a:lnTo>
                  <a:lnTo>
                    <a:pt x="165" y="270"/>
                  </a:lnTo>
                  <a:lnTo>
                    <a:pt x="165" y="270"/>
                  </a:lnTo>
                  <a:lnTo>
                    <a:pt x="170" y="270"/>
                  </a:lnTo>
                  <a:lnTo>
                    <a:pt x="173" y="270"/>
                  </a:lnTo>
                  <a:lnTo>
                    <a:pt x="175" y="272"/>
                  </a:lnTo>
                  <a:lnTo>
                    <a:pt x="175" y="272"/>
                  </a:lnTo>
                  <a:lnTo>
                    <a:pt x="177" y="272"/>
                  </a:lnTo>
                  <a:lnTo>
                    <a:pt x="180" y="272"/>
                  </a:lnTo>
                  <a:lnTo>
                    <a:pt x="182" y="272"/>
                  </a:lnTo>
                  <a:lnTo>
                    <a:pt x="182" y="272"/>
                  </a:lnTo>
                  <a:lnTo>
                    <a:pt x="182" y="270"/>
                  </a:lnTo>
                  <a:lnTo>
                    <a:pt x="184" y="270"/>
                  </a:lnTo>
                  <a:lnTo>
                    <a:pt x="189" y="267"/>
                  </a:lnTo>
                  <a:lnTo>
                    <a:pt x="189" y="267"/>
                  </a:lnTo>
                  <a:lnTo>
                    <a:pt x="191" y="267"/>
                  </a:lnTo>
                  <a:lnTo>
                    <a:pt x="191" y="270"/>
                  </a:lnTo>
                  <a:lnTo>
                    <a:pt x="191" y="270"/>
                  </a:lnTo>
                  <a:lnTo>
                    <a:pt x="191" y="272"/>
                  </a:lnTo>
                  <a:lnTo>
                    <a:pt x="194" y="272"/>
                  </a:lnTo>
                  <a:lnTo>
                    <a:pt x="194" y="272"/>
                  </a:lnTo>
                  <a:lnTo>
                    <a:pt x="196" y="270"/>
                  </a:lnTo>
                  <a:lnTo>
                    <a:pt x="196" y="270"/>
                  </a:lnTo>
                  <a:lnTo>
                    <a:pt x="196" y="270"/>
                  </a:lnTo>
                  <a:lnTo>
                    <a:pt x="198" y="270"/>
                  </a:lnTo>
                  <a:lnTo>
                    <a:pt x="198" y="267"/>
                  </a:lnTo>
                  <a:lnTo>
                    <a:pt x="198" y="267"/>
                  </a:lnTo>
                  <a:lnTo>
                    <a:pt x="198" y="267"/>
                  </a:lnTo>
                  <a:lnTo>
                    <a:pt x="198" y="265"/>
                  </a:lnTo>
                  <a:lnTo>
                    <a:pt x="198" y="265"/>
                  </a:lnTo>
                  <a:lnTo>
                    <a:pt x="196" y="265"/>
                  </a:lnTo>
                  <a:lnTo>
                    <a:pt x="196" y="262"/>
                  </a:lnTo>
                  <a:lnTo>
                    <a:pt x="198" y="262"/>
                  </a:lnTo>
                  <a:lnTo>
                    <a:pt x="198" y="262"/>
                  </a:lnTo>
                  <a:lnTo>
                    <a:pt x="198" y="260"/>
                  </a:lnTo>
                  <a:lnTo>
                    <a:pt x="196" y="258"/>
                  </a:lnTo>
                  <a:lnTo>
                    <a:pt x="194" y="253"/>
                  </a:lnTo>
                  <a:lnTo>
                    <a:pt x="194" y="251"/>
                  </a:lnTo>
                  <a:lnTo>
                    <a:pt x="191" y="248"/>
                  </a:lnTo>
                  <a:lnTo>
                    <a:pt x="189" y="246"/>
                  </a:lnTo>
                  <a:lnTo>
                    <a:pt x="189" y="241"/>
                  </a:lnTo>
                  <a:lnTo>
                    <a:pt x="189" y="241"/>
                  </a:lnTo>
                  <a:lnTo>
                    <a:pt x="189" y="241"/>
                  </a:lnTo>
                  <a:lnTo>
                    <a:pt x="187" y="241"/>
                  </a:lnTo>
                  <a:lnTo>
                    <a:pt x="187" y="241"/>
                  </a:lnTo>
                  <a:lnTo>
                    <a:pt x="184" y="241"/>
                  </a:lnTo>
                  <a:lnTo>
                    <a:pt x="182" y="241"/>
                  </a:lnTo>
                  <a:lnTo>
                    <a:pt x="182" y="241"/>
                  </a:lnTo>
                  <a:lnTo>
                    <a:pt x="177" y="236"/>
                  </a:lnTo>
                  <a:lnTo>
                    <a:pt x="177" y="234"/>
                  </a:lnTo>
                  <a:lnTo>
                    <a:pt x="177" y="232"/>
                  </a:lnTo>
                  <a:lnTo>
                    <a:pt x="177" y="229"/>
                  </a:lnTo>
                  <a:lnTo>
                    <a:pt x="177" y="227"/>
                  </a:lnTo>
                  <a:lnTo>
                    <a:pt x="177" y="225"/>
                  </a:lnTo>
                  <a:lnTo>
                    <a:pt x="177" y="222"/>
                  </a:lnTo>
                  <a:lnTo>
                    <a:pt x="177" y="222"/>
                  </a:lnTo>
                  <a:lnTo>
                    <a:pt x="175" y="222"/>
                  </a:lnTo>
                  <a:lnTo>
                    <a:pt x="173" y="222"/>
                  </a:lnTo>
                  <a:lnTo>
                    <a:pt x="170" y="220"/>
                  </a:lnTo>
                  <a:lnTo>
                    <a:pt x="168" y="220"/>
                  </a:lnTo>
                  <a:lnTo>
                    <a:pt x="165" y="218"/>
                  </a:lnTo>
                  <a:lnTo>
                    <a:pt x="165" y="218"/>
                  </a:lnTo>
                  <a:lnTo>
                    <a:pt x="165" y="218"/>
                  </a:lnTo>
                  <a:lnTo>
                    <a:pt x="165" y="213"/>
                  </a:lnTo>
                  <a:lnTo>
                    <a:pt x="165" y="210"/>
                  </a:lnTo>
                  <a:lnTo>
                    <a:pt x="165" y="208"/>
                  </a:lnTo>
                  <a:lnTo>
                    <a:pt x="165" y="208"/>
                  </a:lnTo>
                  <a:lnTo>
                    <a:pt x="168" y="208"/>
                  </a:lnTo>
                  <a:lnTo>
                    <a:pt x="168" y="206"/>
                  </a:lnTo>
                  <a:lnTo>
                    <a:pt x="170" y="203"/>
                  </a:lnTo>
                  <a:lnTo>
                    <a:pt x="173" y="199"/>
                  </a:lnTo>
                  <a:lnTo>
                    <a:pt x="175" y="194"/>
                  </a:lnTo>
                  <a:lnTo>
                    <a:pt x="175" y="194"/>
                  </a:lnTo>
                  <a:lnTo>
                    <a:pt x="175" y="194"/>
                  </a:lnTo>
                  <a:lnTo>
                    <a:pt x="177" y="192"/>
                  </a:lnTo>
                  <a:lnTo>
                    <a:pt x="177" y="192"/>
                  </a:lnTo>
                  <a:lnTo>
                    <a:pt x="180" y="192"/>
                  </a:lnTo>
                  <a:lnTo>
                    <a:pt x="182" y="192"/>
                  </a:lnTo>
                  <a:lnTo>
                    <a:pt x="182" y="194"/>
                  </a:lnTo>
                  <a:lnTo>
                    <a:pt x="182" y="194"/>
                  </a:lnTo>
                  <a:lnTo>
                    <a:pt x="184" y="196"/>
                  </a:lnTo>
                  <a:lnTo>
                    <a:pt x="184" y="196"/>
                  </a:lnTo>
                  <a:lnTo>
                    <a:pt x="187" y="199"/>
                  </a:lnTo>
                  <a:lnTo>
                    <a:pt x="187" y="199"/>
                  </a:lnTo>
                  <a:lnTo>
                    <a:pt x="191" y="196"/>
                  </a:lnTo>
                  <a:lnTo>
                    <a:pt x="194" y="194"/>
                  </a:lnTo>
                  <a:lnTo>
                    <a:pt x="198" y="194"/>
                  </a:lnTo>
                  <a:lnTo>
                    <a:pt x="201" y="194"/>
                  </a:lnTo>
                  <a:lnTo>
                    <a:pt x="206" y="192"/>
                  </a:lnTo>
                  <a:lnTo>
                    <a:pt x="206" y="192"/>
                  </a:lnTo>
                  <a:lnTo>
                    <a:pt x="206" y="187"/>
                  </a:lnTo>
                  <a:lnTo>
                    <a:pt x="208" y="184"/>
                  </a:lnTo>
                  <a:lnTo>
                    <a:pt x="208" y="182"/>
                  </a:lnTo>
                  <a:lnTo>
                    <a:pt x="208" y="180"/>
                  </a:lnTo>
                  <a:lnTo>
                    <a:pt x="210" y="177"/>
                  </a:lnTo>
                  <a:lnTo>
                    <a:pt x="210" y="175"/>
                  </a:lnTo>
                  <a:lnTo>
                    <a:pt x="215" y="173"/>
                  </a:lnTo>
                  <a:lnTo>
                    <a:pt x="220" y="170"/>
                  </a:lnTo>
                  <a:lnTo>
                    <a:pt x="220" y="168"/>
                  </a:lnTo>
                  <a:lnTo>
                    <a:pt x="222" y="163"/>
                  </a:lnTo>
                  <a:lnTo>
                    <a:pt x="224" y="158"/>
                  </a:lnTo>
                  <a:lnTo>
                    <a:pt x="224" y="158"/>
                  </a:lnTo>
                  <a:lnTo>
                    <a:pt x="224" y="154"/>
                  </a:lnTo>
                  <a:lnTo>
                    <a:pt x="224" y="151"/>
                  </a:lnTo>
                  <a:lnTo>
                    <a:pt x="227" y="149"/>
                  </a:lnTo>
                  <a:lnTo>
                    <a:pt x="229" y="149"/>
                  </a:lnTo>
                  <a:lnTo>
                    <a:pt x="231" y="147"/>
                  </a:lnTo>
                  <a:lnTo>
                    <a:pt x="234" y="147"/>
                  </a:lnTo>
                  <a:lnTo>
                    <a:pt x="234" y="144"/>
                  </a:lnTo>
                  <a:lnTo>
                    <a:pt x="234" y="144"/>
                  </a:lnTo>
                  <a:lnTo>
                    <a:pt x="231" y="142"/>
                  </a:lnTo>
                  <a:lnTo>
                    <a:pt x="231" y="142"/>
                  </a:lnTo>
                  <a:lnTo>
                    <a:pt x="231" y="140"/>
                  </a:lnTo>
                  <a:lnTo>
                    <a:pt x="234" y="140"/>
                  </a:lnTo>
                  <a:lnTo>
                    <a:pt x="236" y="132"/>
                  </a:lnTo>
                  <a:lnTo>
                    <a:pt x="239" y="130"/>
                  </a:lnTo>
                  <a:lnTo>
                    <a:pt x="239" y="130"/>
                  </a:lnTo>
                  <a:lnTo>
                    <a:pt x="241" y="130"/>
                  </a:lnTo>
                  <a:lnTo>
                    <a:pt x="243" y="128"/>
                  </a:lnTo>
                  <a:lnTo>
                    <a:pt x="243" y="128"/>
                  </a:lnTo>
                  <a:lnTo>
                    <a:pt x="243" y="125"/>
                  </a:lnTo>
                  <a:lnTo>
                    <a:pt x="241" y="125"/>
                  </a:lnTo>
                  <a:lnTo>
                    <a:pt x="241" y="125"/>
                  </a:lnTo>
                  <a:lnTo>
                    <a:pt x="241" y="123"/>
                  </a:lnTo>
                  <a:lnTo>
                    <a:pt x="241" y="118"/>
                  </a:lnTo>
                  <a:lnTo>
                    <a:pt x="241" y="118"/>
                  </a:lnTo>
                  <a:lnTo>
                    <a:pt x="239" y="114"/>
                  </a:lnTo>
                  <a:lnTo>
                    <a:pt x="239" y="111"/>
                  </a:lnTo>
                  <a:lnTo>
                    <a:pt x="239" y="111"/>
                  </a:lnTo>
                  <a:lnTo>
                    <a:pt x="241" y="109"/>
                  </a:lnTo>
                  <a:lnTo>
                    <a:pt x="241" y="109"/>
                  </a:lnTo>
                  <a:lnTo>
                    <a:pt x="248" y="106"/>
                  </a:lnTo>
                  <a:lnTo>
                    <a:pt x="248" y="104"/>
                  </a:lnTo>
                  <a:lnTo>
                    <a:pt x="250" y="104"/>
                  </a:lnTo>
                  <a:lnTo>
                    <a:pt x="250" y="102"/>
                  </a:lnTo>
                  <a:lnTo>
                    <a:pt x="250" y="102"/>
                  </a:lnTo>
                  <a:lnTo>
                    <a:pt x="250" y="102"/>
                  </a:lnTo>
                  <a:lnTo>
                    <a:pt x="248" y="99"/>
                  </a:lnTo>
                  <a:lnTo>
                    <a:pt x="246" y="99"/>
                  </a:lnTo>
                  <a:lnTo>
                    <a:pt x="243" y="97"/>
                  </a:lnTo>
                  <a:lnTo>
                    <a:pt x="241" y="97"/>
                  </a:lnTo>
                  <a:lnTo>
                    <a:pt x="239" y="97"/>
                  </a:lnTo>
                  <a:lnTo>
                    <a:pt x="239" y="97"/>
                  </a:lnTo>
                  <a:lnTo>
                    <a:pt x="236" y="95"/>
                  </a:lnTo>
                  <a:lnTo>
                    <a:pt x="236" y="92"/>
                  </a:lnTo>
                  <a:lnTo>
                    <a:pt x="236" y="92"/>
                  </a:lnTo>
                  <a:lnTo>
                    <a:pt x="236" y="92"/>
                  </a:lnTo>
                  <a:lnTo>
                    <a:pt x="234" y="92"/>
                  </a:lnTo>
                  <a:lnTo>
                    <a:pt x="231" y="92"/>
                  </a:lnTo>
                  <a:lnTo>
                    <a:pt x="231" y="90"/>
                  </a:lnTo>
                  <a:lnTo>
                    <a:pt x="231" y="90"/>
                  </a:lnTo>
                  <a:lnTo>
                    <a:pt x="229" y="88"/>
                  </a:lnTo>
                  <a:lnTo>
                    <a:pt x="229" y="88"/>
                  </a:lnTo>
                  <a:lnTo>
                    <a:pt x="229" y="85"/>
                  </a:lnTo>
                  <a:lnTo>
                    <a:pt x="229" y="85"/>
                  </a:lnTo>
                  <a:lnTo>
                    <a:pt x="227" y="85"/>
                  </a:lnTo>
                  <a:lnTo>
                    <a:pt x="224" y="83"/>
                  </a:lnTo>
                  <a:lnTo>
                    <a:pt x="224" y="83"/>
                  </a:lnTo>
                  <a:lnTo>
                    <a:pt x="222" y="83"/>
                  </a:lnTo>
                  <a:lnTo>
                    <a:pt x="222" y="80"/>
                  </a:lnTo>
                  <a:lnTo>
                    <a:pt x="224" y="80"/>
                  </a:lnTo>
                  <a:lnTo>
                    <a:pt x="224" y="78"/>
                  </a:lnTo>
                  <a:lnTo>
                    <a:pt x="224" y="76"/>
                  </a:lnTo>
                  <a:lnTo>
                    <a:pt x="224" y="76"/>
                  </a:lnTo>
                  <a:lnTo>
                    <a:pt x="224" y="76"/>
                  </a:lnTo>
                  <a:lnTo>
                    <a:pt x="222" y="73"/>
                  </a:lnTo>
                  <a:lnTo>
                    <a:pt x="222" y="73"/>
                  </a:lnTo>
                  <a:lnTo>
                    <a:pt x="222" y="73"/>
                  </a:lnTo>
                  <a:lnTo>
                    <a:pt x="220" y="71"/>
                  </a:lnTo>
                  <a:lnTo>
                    <a:pt x="222" y="69"/>
                  </a:lnTo>
                  <a:lnTo>
                    <a:pt x="222" y="69"/>
                  </a:lnTo>
                  <a:lnTo>
                    <a:pt x="224" y="69"/>
                  </a:lnTo>
                  <a:lnTo>
                    <a:pt x="224" y="66"/>
                  </a:lnTo>
                  <a:lnTo>
                    <a:pt x="224" y="66"/>
                  </a:lnTo>
                  <a:lnTo>
                    <a:pt x="224" y="66"/>
                  </a:lnTo>
                  <a:lnTo>
                    <a:pt x="222" y="66"/>
                  </a:lnTo>
                  <a:lnTo>
                    <a:pt x="220" y="64"/>
                  </a:lnTo>
                  <a:lnTo>
                    <a:pt x="217" y="64"/>
                  </a:lnTo>
                  <a:lnTo>
                    <a:pt x="217" y="64"/>
                  </a:lnTo>
                  <a:lnTo>
                    <a:pt x="217" y="64"/>
                  </a:lnTo>
                  <a:lnTo>
                    <a:pt x="217" y="62"/>
                  </a:lnTo>
                  <a:lnTo>
                    <a:pt x="220" y="62"/>
                  </a:lnTo>
                  <a:lnTo>
                    <a:pt x="217" y="59"/>
                  </a:lnTo>
                  <a:lnTo>
                    <a:pt x="217" y="59"/>
                  </a:lnTo>
                  <a:lnTo>
                    <a:pt x="215" y="59"/>
                  </a:lnTo>
                  <a:lnTo>
                    <a:pt x="215" y="57"/>
                  </a:lnTo>
                  <a:lnTo>
                    <a:pt x="215" y="57"/>
                  </a:lnTo>
                  <a:lnTo>
                    <a:pt x="215" y="54"/>
                  </a:lnTo>
                  <a:lnTo>
                    <a:pt x="215" y="54"/>
                  </a:lnTo>
                  <a:lnTo>
                    <a:pt x="217" y="52"/>
                  </a:lnTo>
                  <a:lnTo>
                    <a:pt x="217" y="50"/>
                  </a:lnTo>
                  <a:lnTo>
                    <a:pt x="220" y="50"/>
                  </a:lnTo>
                  <a:lnTo>
                    <a:pt x="222" y="50"/>
                  </a:lnTo>
                  <a:lnTo>
                    <a:pt x="224" y="50"/>
                  </a:lnTo>
                  <a:lnTo>
                    <a:pt x="227" y="50"/>
                  </a:lnTo>
                  <a:lnTo>
                    <a:pt x="231" y="50"/>
                  </a:lnTo>
                  <a:lnTo>
                    <a:pt x="234" y="52"/>
                  </a:lnTo>
                  <a:lnTo>
                    <a:pt x="236" y="52"/>
                  </a:lnTo>
                  <a:lnTo>
                    <a:pt x="239" y="52"/>
                  </a:lnTo>
                  <a:lnTo>
                    <a:pt x="239" y="52"/>
                  </a:lnTo>
                  <a:lnTo>
                    <a:pt x="243" y="54"/>
                  </a:lnTo>
                  <a:lnTo>
                    <a:pt x="246" y="54"/>
                  </a:lnTo>
                  <a:lnTo>
                    <a:pt x="248" y="54"/>
                  </a:lnTo>
                  <a:lnTo>
                    <a:pt x="250" y="54"/>
                  </a:lnTo>
                  <a:lnTo>
                    <a:pt x="250" y="52"/>
                  </a:lnTo>
                  <a:lnTo>
                    <a:pt x="253" y="52"/>
                  </a:lnTo>
                  <a:lnTo>
                    <a:pt x="255" y="52"/>
                  </a:lnTo>
                  <a:lnTo>
                    <a:pt x="260" y="50"/>
                  </a:lnTo>
                  <a:lnTo>
                    <a:pt x="260" y="50"/>
                  </a:lnTo>
                  <a:lnTo>
                    <a:pt x="262" y="50"/>
                  </a:lnTo>
                  <a:lnTo>
                    <a:pt x="264" y="47"/>
                  </a:lnTo>
                  <a:lnTo>
                    <a:pt x="264" y="47"/>
                  </a:lnTo>
                  <a:lnTo>
                    <a:pt x="264" y="47"/>
                  </a:lnTo>
                  <a:lnTo>
                    <a:pt x="264" y="45"/>
                  </a:lnTo>
                  <a:lnTo>
                    <a:pt x="267" y="45"/>
                  </a:lnTo>
                  <a:lnTo>
                    <a:pt x="269" y="45"/>
                  </a:lnTo>
                  <a:lnTo>
                    <a:pt x="269" y="43"/>
                  </a:lnTo>
                  <a:lnTo>
                    <a:pt x="269" y="43"/>
                  </a:lnTo>
                  <a:lnTo>
                    <a:pt x="267"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0" name="Freeform 266"/>
            <p:cNvSpPr>
              <a:spLocks noEditPoints="1"/>
            </p:cNvSpPr>
            <p:nvPr userDrawn="1"/>
          </p:nvSpPr>
          <p:spPr bwMode="auto">
            <a:xfrm>
              <a:off x="4607" y="2252"/>
              <a:ext cx="139" cy="203"/>
            </a:xfrm>
            <a:custGeom>
              <a:avLst/>
              <a:gdLst>
                <a:gd name="T0" fmla="*/ 121 w 139"/>
                <a:gd name="T1" fmla="*/ 130 h 203"/>
                <a:gd name="T2" fmla="*/ 125 w 139"/>
                <a:gd name="T3" fmla="*/ 123 h 203"/>
                <a:gd name="T4" fmla="*/ 135 w 139"/>
                <a:gd name="T5" fmla="*/ 80 h 203"/>
                <a:gd name="T6" fmla="*/ 125 w 139"/>
                <a:gd name="T7" fmla="*/ 71 h 203"/>
                <a:gd name="T8" fmla="*/ 118 w 139"/>
                <a:gd name="T9" fmla="*/ 61 h 203"/>
                <a:gd name="T10" fmla="*/ 111 w 139"/>
                <a:gd name="T11" fmla="*/ 57 h 203"/>
                <a:gd name="T12" fmla="*/ 95 w 139"/>
                <a:gd name="T13" fmla="*/ 54 h 203"/>
                <a:gd name="T14" fmla="*/ 81 w 139"/>
                <a:gd name="T15" fmla="*/ 43 h 203"/>
                <a:gd name="T16" fmla="*/ 71 w 139"/>
                <a:gd name="T17" fmla="*/ 28 h 203"/>
                <a:gd name="T18" fmla="*/ 66 w 139"/>
                <a:gd name="T19" fmla="*/ 33 h 203"/>
                <a:gd name="T20" fmla="*/ 64 w 139"/>
                <a:gd name="T21" fmla="*/ 31 h 203"/>
                <a:gd name="T22" fmla="*/ 64 w 139"/>
                <a:gd name="T23" fmla="*/ 28 h 203"/>
                <a:gd name="T24" fmla="*/ 62 w 139"/>
                <a:gd name="T25" fmla="*/ 31 h 203"/>
                <a:gd name="T26" fmla="*/ 62 w 139"/>
                <a:gd name="T27" fmla="*/ 35 h 203"/>
                <a:gd name="T28" fmla="*/ 62 w 139"/>
                <a:gd name="T29" fmla="*/ 40 h 203"/>
                <a:gd name="T30" fmla="*/ 64 w 139"/>
                <a:gd name="T31" fmla="*/ 45 h 203"/>
                <a:gd name="T32" fmla="*/ 64 w 139"/>
                <a:gd name="T33" fmla="*/ 47 h 203"/>
                <a:gd name="T34" fmla="*/ 57 w 139"/>
                <a:gd name="T35" fmla="*/ 50 h 203"/>
                <a:gd name="T36" fmla="*/ 57 w 139"/>
                <a:gd name="T37" fmla="*/ 54 h 203"/>
                <a:gd name="T38" fmla="*/ 55 w 139"/>
                <a:gd name="T39" fmla="*/ 66 h 203"/>
                <a:gd name="T40" fmla="*/ 52 w 139"/>
                <a:gd name="T41" fmla="*/ 76 h 203"/>
                <a:gd name="T42" fmla="*/ 59 w 139"/>
                <a:gd name="T43" fmla="*/ 88 h 203"/>
                <a:gd name="T44" fmla="*/ 62 w 139"/>
                <a:gd name="T45" fmla="*/ 95 h 203"/>
                <a:gd name="T46" fmla="*/ 59 w 139"/>
                <a:gd name="T47" fmla="*/ 106 h 203"/>
                <a:gd name="T48" fmla="*/ 57 w 139"/>
                <a:gd name="T49" fmla="*/ 116 h 203"/>
                <a:gd name="T50" fmla="*/ 55 w 139"/>
                <a:gd name="T51" fmla="*/ 125 h 203"/>
                <a:gd name="T52" fmla="*/ 52 w 139"/>
                <a:gd name="T53" fmla="*/ 135 h 203"/>
                <a:gd name="T54" fmla="*/ 38 w 139"/>
                <a:gd name="T55" fmla="*/ 140 h 203"/>
                <a:gd name="T56" fmla="*/ 26 w 139"/>
                <a:gd name="T57" fmla="*/ 144 h 203"/>
                <a:gd name="T58" fmla="*/ 15 w 139"/>
                <a:gd name="T59" fmla="*/ 149 h 203"/>
                <a:gd name="T60" fmla="*/ 3 w 139"/>
                <a:gd name="T61" fmla="*/ 154 h 203"/>
                <a:gd name="T62" fmla="*/ 3 w 139"/>
                <a:gd name="T63" fmla="*/ 161 h 203"/>
                <a:gd name="T64" fmla="*/ 8 w 139"/>
                <a:gd name="T65" fmla="*/ 170 h 203"/>
                <a:gd name="T66" fmla="*/ 10 w 139"/>
                <a:gd name="T67" fmla="*/ 177 h 203"/>
                <a:gd name="T68" fmla="*/ 15 w 139"/>
                <a:gd name="T69" fmla="*/ 187 h 203"/>
                <a:gd name="T70" fmla="*/ 17 w 139"/>
                <a:gd name="T71" fmla="*/ 194 h 203"/>
                <a:gd name="T72" fmla="*/ 24 w 139"/>
                <a:gd name="T73" fmla="*/ 203 h 203"/>
                <a:gd name="T74" fmla="*/ 38 w 139"/>
                <a:gd name="T75" fmla="*/ 199 h 203"/>
                <a:gd name="T76" fmla="*/ 52 w 139"/>
                <a:gd name="T77" fmla="*/ 196 h 203"/>
                <a:gd name="T78" fmla="*/ 62 w 139"/>
                <a:gd name="T79" fmla="*/ 189 h 203"/>
                <a:gd name="T80" fmla="*/ 62 w 139"/>
                <a:gd name="T81" fmla="*/ 184 h 203"/>
                <a:gd name="T82" fmla="*/ 81 w 139"/>
                <a:gd name="T83" fmla="*/ 177 h 203"/>
                <a:gd name="T84" fmla="*/ 90 w 139"/>
                <a:gd name="T85" fmla="*/ 161 h 203"/>
                <a:gd name="T86" fmla="*/ 104 w 139"/>
                <a:gd name="T87" fmla="*/ 156 h 203"/>
                <a:gd name="T88" fmla="*/ 106 w 139"/>
                <a:gd name="T89" fmla="*/ 149 h 203"/>
                <a:gd name="T90" fmla="*/ 104 w 139"/>
                <a:gd name="T91" fmla="*/ 137 h 203"/>
                <a:gd name="T92" fmla="*/ 106 w 139"/>
                <a:gd name="T93" fmla="*/ 125 h 203"/>
                <a:gd name="T94" fmla="*/ 111 w 139"/>
                <a:gd name="T95" fmla="*/ 123 h 203"/>
                <a:gd name="T96" fmla="*/ 116 w 139"/>
                <a:gd name="T97" fmla="*/ 125 h 203"/>
                <a:gd name="T98" fmla="*/ 125 w 139"/>
                <a:gd name="T99" fmla="*/ 106 h 203"/>
                <a:gd name="T100" fmla="*/ 135 w 139"/>
                <a:gd name="T101" fmla="*/ 92 h 203"/>
                <a:gd name="T102" fmla="*/ 139 w 139"/>
                <a:gd name="T103" fmla="*/ 83 h 203"/>
                <a:gd name="T104" fmla="*/ 69 w 139"/>
                <a:gd name="T105" fmla="*/ 24 h 203"/>
                <a:gd name="T106" fmla="*/ 69 w 139"/>
                <a:gd name="T107" fmla="*/ 21 h 203"/>
                <a:gd name="T108" fmla="*/ 66 w 139"/>
                <a:gd name="T109" fmla="*/ 9 h 203"/>
                <a:gd name="T110" fmla="*/ 69 w 139"/>
                <a:gd name="T111" fmla="*/ 14 h 203"/>
                <a:gd name="T112" fmla="*/ 69 w 139"/>
                <a:gd name="T113" fmla="*/ 12 h 203"/>
                <a:gd name="T114" fmla="*/ 69 w 139"/>
                <a:gd name="T115" fmla="*/ 0 h 203"/>
                <a:gd name="T116" fmla="*/ 66 w 139"/>
                <a:gd name="T117" fmla="*/ 2 h 203"/>
                <a:gd name="T118" fmla="*/ 64 w 139"/>
                <a:gd name="T119" fmla="*/ 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203">
                  <a:moveTo>
                    <a:pt x="123" y="123"/>
                  </a:moveTo>
                  <a:lnTo>
                    <a:pt x="121" y="125"/>
                  </a:lnTo>
                  <a:lnTo>
                    <a:pt x="121" y="130"/>
                  </a:lnTo>
                  <a:lnTo>
                    <a:pt x="121" y="130"/>
                  </a:lnTo>
                  <a:lnTo>
                    <a:pt x="121" y="130"/>
                  </a:lnTo>
                  <a:lnTo>
                    <a:pt x="123" y="128"/>
                  </a:lnTo>
                  <a:lnTo>
                    <a:pt x="123" y="125"/>
                  </a:lnTo>
                  <a:lnTo>
                    <a:pt x="125" y="123"/>
                  </a:lnTo>
                  <a:lnTo>
                    <a:pt x="123" y="118"/>
                  </a:lnTo>
                  <a:lnTo>
                    <a:pt x="123" y="123"/>
                  </a:lnTo>
                  <a:close/>
                  <a:moveTo>
                    <a:pt x="137" y="80"/>
                  </a:moveTo>
                  <a:lnTo>
                    <a:pt x="135" y="80"/>
                  </a:lnTo>
                  <a:lnTo>
                    <a:pt x="132" y="78"/>
                  </a:lnTo>
                  <a:lnTo>
                    <a:pt x="130" y="78"/>
                  </a:lnTo>
                  <a:lnTo>
                    <a:pt x="128" y="76"/>
                  </a:lnTo>
                  <a:lnTo>
                    <a:pt x="125" y="71"/>
                  </a:lnTo>
                  <a:lnTo>
                    <a:pt x="123" y="69"/>
                  </a:lnTo>
                  <a:lnTo>
                    <a:pt x="121" y="66"/>
                  </a:lnTo>
                  <a:lnTo>
                    <a:pt x="121" y="64"/>
                  </a:lnTo>
                  <a:lnTo>
                    <a:pt x="118" y="61"/>
                  </a:lnTo>
                  <a:lnTo>
                    <a:pt x="118" y="59"/>
                  </a:lnTo>
                  <a:lnTo>
                    <a:pt x="114" y="57"/>
                  </a:lnTo>
                  <a:lnTo>
                    <a:pt x="111" y="57"/>
                  </a:lnTo>
                  <a:lnTo>
                    <a:pt x="111" y="57"/>
                  </a:lnTo>
                  <a:lnTo>
                    <a:pt x="109" y="57"/>
                  </a:lnTo>
                  <a:lnTo>
                    <a:pt x="104" y="54"/>
                  </a:lnTo>
                  <a:lnTo>
                    <a:pt x="99" y="54"/>
                  </a:lnTo>
                  <a:lnTo>
                    <a:pt x="95" y="54"/>
                  </a:lnTo>
                  <a:lnTo>
                    <a:pt x="88" y="50"/>
                  </a:lnTo>
                  <a:lnTo>
                    <a:pt x="88" y="50"/>
                  </a:lnTo>
                  <a:lnTo>
                    <a:pt x="83" y="45"/>
                  </a:lnTo>
                  <a:lnTo>
                    <a:pt x="81" y="43"/>
                  </a:lnTo>
                  <a:lnTo>
                    <a:pt x="76" y="40"/>
                  </a:lnTo>
                  <a:lnTo>
                    <a:pt x="73" y="33"/>
                  </a:lnTo>
                  <a:lnTo>
                    <a:pt x="71" y="28"/>
                  </a:lnTo>
                  <a:lnTo>
                    <a:pt x="71" y="28"/>
                  </a:lnTo>
                  <a:lnTo>
                    <a:pt x="71" y="28"/>
                  </a:lnTo>
                  <a:lnTo>
                    <a:pt x="69" y="31"/>
                  </a:lnTo>
                  <a:lnTo>
                    <a:pt x="69" y="31"/>
                  </a:lnTo>
                  <a:lnTo>
                    <a:pt x="66" y="33"/>
                  </a:lnTo>
                  <a:lnTo>
                    <a:pt x="66" y="33"/>
                  </a:lnTo>
                  <a:lnTo>
                    <a:pt x="66" y="33"/>
                  </a:lnTo>
                  <a:lnTo>
                    <a:pt x="64" y="33"/>
                  </a:lnTo>
                  <a:lnTo>
                    <a:pt x="64" y="31"/>
                  </a:lnTo>
                  <a:lnTo>
                    <a:pt x="64" y="31"/>
                  </a:lnTo>
                  <a:lnTo>
                    <a:pt x="64" y="31"/>
                  </a:lnTo>
                  <a:lnTo>
                    <a:pt x="64" y="31"/>
                  </a:lnTo>
                  <a:lnTo>
                    <a:pt x="64" y="28"/>
                  </a:lnTo>
                  <a:lnTo>
                    <a:pt x="64" y="28"/>
                  </a:lnTo>
                  <a:lnTo>
                    <a:pt x="64" y="28"/>
                  </a:lnTo>
                  <a:lnTo>
                    <a:pt x="62" y="28"/>
                  </a:lnTo>
                  <a:lnTo>
                    <a:pt x="62" y="31"/>
                  </a:lnTo>
                  <a:lnTo>
                    <a:pt x="62" y="31"/>
                  </a:lnTo>
                  <a:lnTo>
                    <a:pt x="62" y="33"/>
                  </a:lnTo>
                  <a:lnTo>
                    <a:pt x="62" y="35"/>
                  </a:lnTo>
                  <a:lnTo>
                    <a:pt x="62" y="35"/>
                  </a:lnTo>
                  <a:lnTo>
                    <a:pt x="62" y="38"/>
                  </a:lnTo>
                  <a:lnTo>
                    <a:pt x="62" y="38"/>
                  </a:lnTo>
                  <a:lnTo>
                    <a:pt x="62" y="40"/>
                  </a:lnTo>
                  <a:lnTo>
                    <a:pt x="62" y="40"/>
                  </a:lnTo>
                  <a:lnTo>
                    <a:pt x="62" y="43"/>
                  </a:lnTo>
                  <a:lnTo>
                    <a:pt x="62" y="45"/>
                  </a:lnTo>
                  <a:lnTo>
                    <a:pt x="62" y="45"/>
                  </a:lnTo>
                  <a:lnTo>
                    <a:pt x="64" y="45"/>
                  </a:lnTo>
                  <a:lnTo>
                    <a:pt x="66" y="45"/>
                  </a:lnTo>
                  <a:lnTo>
                    <a:pt x="66" y="47"/>
                  </a:lnTo>
                  <a:lnTo>
                    <a:pt x="66" y="47"/>
                  </a:lnTo>
                  <a:lnTo>
                    <a:pt x="64" y="47"/>
                  </a:lnTo>
                  <a:lnTo>
                    <a:pt x="62" y="50"/>
                  </a:lnTo>
                  <a:lnTo>
                    <a:pt x="62" y="50"/>
                  </a:lnTo>
                  <a:lnTo>
                    <a:pt x="57" y="50"/>
                  </a:lnTo>
                  <a:lnTo>
                    <a:pt x="57" y="50"/>
                  </a:lnTo>
                  <a:lnTo>
                    <a:pt x="57" y="52"/>
                  </a:lnTo>
                  <a:lnTo>
                    <a:pt x="57" y="52"/>
                  </a:lnTo>
                  <a:lnTo>
                    <a:pt x="57" y="52"/>
                  </a:lnTo>
                  <a:lnTo>
                    <a:pt x="57" y="54"/>
                  </a:lnTo>
                  <a:lnTo>
                    <a:pt x="57" y="57"/>
                  </a:lnTo>
                  <a:lnTo>
                    <a:pt x="57" y="59"/>
                  </a:lnTo>
                  <a:lnTo>
                    <a:pt x="55" y="61"/>
                  </a:lnTo>
                  <a:lnTo>
                    <a:pt x="55" y="66"/>
                  </a:lnTo>
                  <a:lnTo>
                    <a:pt x="52" y="69"/>
                  </a:lnTo>
                  <a:lnTo>
                    <a:pt x="52" y="71"/>
                  </a:lnTo>
                  <a:lnTo>
                    <a:pt x="52" y="73"/>
                  </a:lnTo>
                  <a:lnTo>
                    <a:pt x="52" y="76"/>
                  </a:lnTo>
                  <a:lnTo>
                    <a:pt x="55" y="78"/>
                  </a:lnTo>
                  <a:lnTo>
                    <a:pt x="57" y="80"/>
                  </a:lnTo>
                  <a:lnTo>
                    <a:pt x="57" y="83"/>
                  </a:lnTo>
                  <a:lnTo>
                    <a:pt x="59" y="88"/>
                  </a:lnTo>
                  <a:lnTo>
                    <a:pt x="62" y="90"/>
                  </a:lnTo>
                  <a:lnTo>
                    <a:pt x="62" y="92"/>
                  </a:lnTo>
                  <a:lnTo>
                    <a:pt x="62" y="95"/>
                  </a:lnTo>
                  <a:lnTo>
                    <a:pt x="62" y="95"/>
                  </a:lnTo>
                  <a:lnTo>
                    <a:pt x="62" y="97"/>
                  </a:lnTo>
                  <a:lnTo>
                    <a:pt x="62" y="99"/>
                  </a:lnTo>
                  <a:lnTo>
                    <a:pt x="59" y="104"/>
                  </a:lnTo>
                  <a:lnTo>
                    <a:pt x="59" y="106"/>
                  </a:lnTo>
                  <a:lnTo>
                    <a:pt x="59" y="109"/>
                  </a:lnTo>
                  <a:lnTo>
                    <a:pt x="57" y="111"/>
                  </a:lnTo>
                  <a:lnTo>
                    <a:pt x="57" y="114"/>
                  </a:lnTo>
                  <a:lnTo>
                    <a:pt x="57" y="116"/>
                  </a:lnTo>
                  <a:lnTo>
                    <a:pt x="57" y="118"/>
                  </a:lnTo>
                  <a:lnTo>
                    <a:pt x="57" y="121"/>
                  </a:lnTo>
                  <a:lnTo>
                    <a:pt x="55" y="123"/>
                  </a:lnTo>
                  <a:lnTo>
                    <a:pt x="55" y="125"/>
                  </a:lnTo>
                  <a:lnTo>
                    <a:pt x="55" y="128"/>
                  </a:lnTo>
                  <a:lnTo>
                    <a:pt x="55" y="130"/>
                  </a:lnTo>
                  <a:lnTo>
                    <a:pt x="52" y="135"/>
                  </a:lnTo>
                  <a:lnTo>
                    <a:pt x="52" y="135"/>
                  </a:lnTo>
                  <a:lnTo>
                    <a:pt x="48" y="135"/>
                  </a:lnTo>
                  <a:lnTo>
                    <a:pt x="45" y="137"/>
                  </a:lnTo>
                  <a:lnTo>
                    <a:pt x="43" y="137"/>
                  </a:lnTo>
                  <a:lnTo>
                    <a:pt x="38" y="140"/>
                  </a:lnTo>
                  <a:lnTo>
                    <a:pt x="36" y="140"/>
                  </a:lnTo>
                  <a:lnTo>
                    <a:pt x="33" y="142"/>
                  </a:lnTo>
                  <a:lnTo>
                    <a:pt x="31" y="142"/>
                  </a:lnTo>
                  <a:lnTo>
                    <a:pt x="26" y="144"/>
                  </a:lnTo>
                  <a:lnTo>
                    <a:pt x="24" y="144"/>
                  </a:lnTo>
                  <a:lnTo>
                    <a:pt x="22" y="147"/>
                  </a:lnTo>
                  <a:lnTo>
                    <a:pt x="17" y="147"/>
                  </a:lnTo>
                  <a:lnTo>
                    <a:pt x="15" y="149"/>
                  </a:lnTo>
                  <a:lnTo>
                    <a:pt x="12" y="149"/>
                  </a:lnTo>
                  <a:lnTo>
                    <a:pt x="8" y="151"/>
                  </a:lnTo>
                  <a:lnTo>
                    <a:pt x="5" y="151"/>
                  </a:lnTo>
                  <a:lnTo>
                    <a:pt x="3" y="154"/>
                  </a:lnTo>
                  <a:lnTo>
                    <a:pt x="0" y="154"/>
                  </a:lnTo>
                  <a:lnTo>
                    <a:pt x="0" y="156"/>
                  </a:lnTo>
                  <a:lnTo>
                    <a:pt x="3" y="158"/>
                  </a:lnTo>
                  <a:lnTo>
                    <a:pt x="3" y="161"/>
                  </a:lnTo>
                  <a:lnTo>
                    <a:pt x="3" y="163"/>
                  </a:lnTo>
                  <a:lnTo>
                    <a:pt x="5" y="166"/>
                  </a:lnTo>
                  <a:lnTo>
                    <a:pt x="5" y="168"/>
                  </a:lnTo>
                  <a:lnTo>
                    <a:pt x="8" y="170"/>
                  </a:lnTo>
                  <a:lnTo>
                    <a:pt x="8" y="173"/>
                  </a:lnTo>
                  <a:lnTo>
                    <a:pt x="8" y="173"/>
                  </a:lnTo>
                  <a:lnTo>
                    <a:pt x="10" y="175"/>
                  </a:lnTo>
                  <a:lnTo>
                    <a:pt x="10" y="177"/>
                  </a:lnTo>
                  <a:lnTo>
                    <a:pt x="12" y="180"/>
                  </a:lnTo>
                  <a:lnTo>
                    <a:pt x="12" y="182"/>
                  </a:lnTo>
                  <a:lnTo>
                    <a:pt x="12" y="184"/>
                  </a:lnTo>
                  <a:lnTo>
                    <a:pt x="15" y="187"/>
                  </a:lnTo>
                  <a:lnTo>
                    <a:pt x="15" y="189"/>
                  </a:lnTo>
                  <a:lnTo>
                    <a:pt x="17" y="192"/>
                  </a:lnTo>
                  <a:lnTo>
                    <a:pt x="17" y="192"/>
                  </a:lnTo>
                  <a:lnTo>
                    <a:pt x="17" y="194"/>
                  </a:lnTo>
                  <a:lnTo>
                    <a:pt x="19" y="196"/>
                  </a:lnTo>
                  <a:lnTo>
                    <a:pt x="22" y="199"/>
                  </a:lnTo>
                  <a:lnTo>
                    <a:pt x="22" y="201"/>
                  </a:lnTo>
                  <a:lnTo>
                    <a:pt x="24" y="203"/>
                  </a:lnTo>
                  <a:lnTo>
                    <a:pt x="26" y="203"/>
                  </a:lnTo>
                  <a:lnTo>
                    <a:pt x="33" y="201"/>
                  </a:lnTo>
                  <a:lnTo>
                    <a:pt x="36" y="201"/>
                  </a:lnTo>
                  <a:lnTo>
                    <a:pt x="38" y="199"/>
                  </a:lnTo>
                  <a:lnTo>
                    <a:pt x="40" y="196"/>
                  </a:lnTo>
                  <a:lnTo>
                    <a:pt x="45" y="196"/>
                  </a:lnTo>
                  <a:lnTo>
                    <a:pt x="50" y="196"/>
                  </a:lnTo>
                  <a:lnTo>
                    <a:pt x="52" y="196"/>
                  </a:lnTo>
                  <a:lnTo>
                    <a:pt x="55" y="199"/>
                  </a:lnTo>
                  <a:lnTo>
                    <a:pt x="59" y="196"/>
                  </a:lnTo>
                  <a:lnTo>
                    <a:pt x="62" y="194"/>
                  </a:lnTo>
                  <a:lnTo>
                    <a:pt x="62" y="189"/>
                  </a:lnTo>
                  <a:lnTo>
                    <a:pt x="62" y="189"/>
                  </a:lnTo>
                  <a:lnTo>
                    <a:pt x="62" y="187"/>
                  </a:lnTo>
                  <a:lnTo>
                    <a:pt x="62" y="187"/>
                  </a:lnTo>
                  <a:lnTo>
                    <a:pt x="62" y="184"/>
                  </a:lnTo>
                  <a:lnTo>
                    <a:pt x="66" y="180"/>
                  </a:lnTo>
                  <a:lnTo>
                    <a:pt x="69" y="177"/>
                  </a:lnTo>
                  <a:lnTo>
                    <a:pt x="76" y="177"/>
                  </a:lnTo>
                  <a:lnTo>
                    <a:pt x="81" y="177"/>
                  </a:lnTo>
                  <a:lnTo>
                    <a:pt x="83" y="175"/>
                  </a:lnTo>
                  <a:lnTo>
                    <a:pt x="85" y="173"/>
                  </a:lnTo>
                  <a:lnTo>
                    <a:pt x="85" y="163"/>
                  </a:lnTo>
                  <a:lnTo>
                    <a:pt x="90" y="161"/>
                  </a:lnTo>
                  <a:lnTo>
                    <a:pt x="92" y="158"/>
                  </a:lnTo>
                  <a:lnTo>
                    <a:pt x="95" y="156"/>
                  </a:lnTo>
                  <a:lnTo>
                    <a:pt x="99" y="156"/>
                  </a:lnTo>
                  <a:lnTo>
                    <a:pt x="104" y="156"/>
                  </a:lnTo>
                  <a:lnTo>
                    <a:pt x="106" y="156"/>
                  </a:lnTo>
                  <a:lnTo>
                    <a:pt x="106" y="154"/>
                  </a:lnTo>
                  <a:lnTo>
                    <a:pt x="106" y="151"/>
                  </a:lnTo>
                  <a:lnTo>
                    <a:pt x="106" y="149"/>
                  </a:lnTo>
                  <a:lnTo>
                    <a:pt x="104" y="147"/>
                  </a:lnTo>
                  <a:lnTo>
                    <a:pt x="104" y="142"/>
                  </a:lnTo>
                  <a:lnTo>
                    <a:pt x="104" y="140"/>
                  </a:lnTo>
                  <a:lnTo>
                    <a:pt x="104" y="137"/>
                  </a:lnTo>
                  <a:lnTo>
                    <a:pt x="104" y="135"/>
                  </a:lnTo>
                  <a:lnTo>
                    <a:pt x="106" y="130"/>
                  </a:lnTo>
                  <a:lnTo>
                    <a:pt x="106" y="128"/>
                  </a:lnTo>
                  <a:lnTo>
                    <a:pt x="106" y="125"/>
                  </a:lnTo>
                  <a:lnTo>
                    <a:pt x="109" y="121"/>
                  </a:lnTo>
                  <a:lnTo>
                    <a:pt x="111" y="121"/>
                  </a:lnTo>
                  <a:lnTo>
                    <a:pt x="111" y="121"/>
                  </a:lnTo>
                  <a:lnTo>
                    <a:pt x="111" y="123"/>
                  </a:lnTo>
                  <a:lnTo>
                    <a:pt x="111" y="125"/>
                  </a:lnTo>
                  <a:lnTo>
                    <a:pt x="114" y="125"/>
                  </a:lnTo>
                  <a:lnTo>
                    <a:pt x="114" y="125"/>
                  </a:lnTo>
                  <a:lnTo>
                    <a:pt x="116" y="125"/>
                  </a:lnTo>
                  <a:lnTo>
                    <a:pt x="118" y="123"/>
                  </a:lnTo>
                  <a:lnTo>
                    <a:pt x="121" y="116"/>
                  </a:lnTo>
                  <a:lnTo>
                    <a:pt x="123" y="111"/>
                  </a:lnTo>
                  <a:lnTo>
                    <a:pt x="125" y="106"/>
                  </a:lnTo>
                  <a:lnTo>
                    <a:pt x="130" y="104"/>
                  </a:lnTo>
                  <a:lnTo>
                    <a:pt x="132" y="102"/>
                  </a:lnTo>
                  <a:lnTo>
                    <a:pt x="132" y="97"/>
                  </a:lnTo>
                  <a:lnTo>
                    <a:pt x="135" y="92"/>
                  </a:lnTo>
                  <a:lnTo>
                    <a:pt x="137" y="90"/>
                  </a:lnTo>
                  <a:lnTo>
                    <a:pt x="137" y="88"/>
                  </a:lnTo>
                  <a:lnTo>
                    <a:pt x="139" y="85"/>
                  </a:lnTo>
                  <a:lnTo>
                    <a:pt x="139" y="83"/>
                  </a:lnTo>
                  <a:lnTo>
                    <a:pt x="137" y="80"/>
                  </a:lnTo>
                  <a:close/>
                  <a:moveTo>
                    <a:pt x="69" y="21"/>
                  </a:moveTo>
                  <a:lnTo>
                    <a:pt x="69" y="21"/>
                  </a:lnTo>
                  <a:lnTo>
                    <a:pt x="69" y="24"/>
                  </a:lnTo>
                  <a:lnTo>
                    <a:pt x="69" y="24"/>
                  </a:lnTo>
                  <a:lnTo>
                    <a:pt x="69" y="24"/>
                  </a:lnTo>
                  <a:lnTo>
                    <a:pt x="69" y="21"/>
                  </a:lnTo>
                  <a:lnTo>
                    <a:pt x="69" y="21"/>
                  </a:lnTo>
                  <a:lnTo>
                    <a:pt x="69" y="21"/>
                  </a:lnTo>
                  <a:close/>
                  <a:moveTo>
                    <a:pt x="66" y="5"/>
                  </a:moveTo>
                  <a:lnTo>
                    <a:pt x="66" y="7"/>
                  </a:lnTo>
                  <a:lnTo>
                    <a:pt x="66" y="9"/>
                  </a:lnTo>
                  <a:lnTo>
                    <a:pt x="66" y="12"/>
                  </a:lnTo>
                  <a:lnTo>
                    <a:pt x="66" y="14"/>
                  </a:lnTo>
                  <a:lnTo>
                    <a:pt x="66" y="14"/>
                  </a:lnTo>
                  <a:lnTo>
                    <a:pt x="69" y="14"/>
                  </a:lnTo>
                  <a:lnTo>
                    <a:pt x="69" y="14"/>
                  </a:lnTo>
                  <a:lnTo>
                    <a:pt x="69" y="14"/>
                  </a:lnTo>
                  <a:lnTo>
                    <a:pt x="69" y="12"/>
                  </a:lnTo>
                  <a:lnTo>
                    <a:pt x="69" y="12"/>
                  </a:lnTo>
                  <a:lnTo>
                    <a:pt x="69" y="12"/>
                  </a:lnTo>
                  <a:lnTo>
                    <a:pt x="69" y="5"/>
                  </a:lnTo>
                  <a:lnTo>
                    <a:pt x="69" y="2"/>
                  </a:lnTo>
                  <a:lnTo>
                    <a:pt x="69" y="0"/>
                  </a:lnTo>
                  <a:lnTo>
                    <a:pt x="69" y="0"/>
                  </a:lnTo>
                  <a:lnTo>
                    <a:pt x="69" y="0"/>
                  </a:lnTo>
                  <a:lnTo>
                    <a:pt x="69" y="0"/>
                  </a:lnTo>
                  <a:lnTo>
                    <a:pt x="66" y="2"/>
                  </a:lnTo>
                  <a:lnTo>
                    <a:pt x="66" y="2"/>
                  </a:lnTo>
                  <a:lnTo>
                    <a:pt x="66" y="2"/>
                  </a:lnTo>
                  <a:lnTo>
                    <a:pt x="64" y="2"/>
                  </a:lnTo>
                  <a:lnTo>
                    <a:pt x="64" y="5"/>
                  </a:lnTo>
                  <a:lnTo>
                    <a:pt x="64" y="5"/>
                  </a:lnTo>
                  <a:lnTo>
                    <a:pt x="66"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1" name="Freeform 267"/>
            <p:cNvSpPr>
              <a:spLocks noEditPoints="1"/>
            </p:cNvSpPr>
            <p:nvPr userDrawn="1"/>
          </p:nvSpPr>
          <p:spPr bwMode="auto">
            <a:xfrm>
              <a:off x="3766" y="1202"/>
              <a:ext cx="358" cy="393"/>
            </a:xfrm>
            <a:custGeom>
              <a:avLst/>
              <a:gdLst>
                <a:gd name="T0" fmla="*/ 59 w 358"/>
                <a:gd name="T1" fmla="*/ 284 h 393"/>
                <a:gd name="T2" fmla="*/ 116 w 358"/>
                <a:gd name="T3" fmla="*/ 241 h 393"/>
                <a:gd name="T4" fmla="*/ 130 w 358"/>
                <a:gd name="T5" fmla="*/ 201 h 393"/>
                <a:gd name="T6" fmla="*/ 141 w 358"/>
                <a:gd name="T7" fmla="*/ 194 h 393"/>
                <a:gd name="T8" fmla="*/ 151 w 358"/>
                <a:gd name="T9" fmla="*/ 199 h 393"/>
                <a:gd name="T10" fmla="*/ 158 w 358"/>
                <a:gd name="T11" fmla="*/ 185 h 393"/>
                <a:gd name="T12" fmla="*/ 179 w 358"/>
                <a:gd name="T13" fmla="*/ 178 h 393"/>
                <a:gd name="T14" fmla="*/ 342 w 358"/>
                <a:gd name="T15" fmla="*/ 173 h 393"/>
                <a:gd name="T16" fmla="*/ 205 w 358"/>
                <a:gd name="T17" fmla="*/ 170 h 393"/>
                <a:gd name="T18" fmla="*/ 186 w 358"/>
                <a:gd name="T19" fmla="*/ 178 h 393"/>
                <a:gd name="T20" fmla="*/ 252 w 358"/>
                <a:gd name="T21" fmla="*/ 163 h 393"/>
                <a:gd name="T22" fmla="*/ 255 w 358"/>
                <a:gd name="T23" fmla="*/ 156 h 393"/>
                <a:gd name="T24" fmla="*/ 342 w 358"/>
                <a:gd name="T25" fmla="*/ 175 h 393"/>
                <a:gd name="T26" fmla="*/ 325 w 358"/>
                <a:gd name="T27" fmla="*/ 156 h 393"/>
                <a:gd name="T28" fmla="*/ 304 w 358"/>
                <a:gd name="T29" fmla="*/ 159 h 393"/>
                <a:gd name="T30" fmla="*/ 283 w 358"/>
                <a:gd name="T31" fmla="*/ 154 h 393"/>
                <a:gd name="T32" fmla="*/ 248 w 358"/>
                <a:gd name="T33" fmla="*/ 163 h 393"/>
                <a:gd name="T34" fmla="*/ 222 w 358"/>
                <a:gd name="T35" fmla="*/ 178 h 393"/>
                <a:gd name="T36" fmla="*/ 193 w 358"/>
                <a:gd name="T37" fmla="*/ 178 h 393"/>
                <a:gd name="T38" fmla="*/ 182 w 358"/>
                <a:gd name="T39" fmla="*/ 199 h 393"/>
                <a:gd name="T40" fmla="*/ 151 w 358"/>
                <a:gd name="T41" fmla="*/ 206 h 393"/>
                <a:gd name="T42" fmla="*/ 139 w 358"/>
                <a:gd name="T43" fmla="*/ 218 h 393"/>
                <a:gd name="T44" fmla="*/ 125 w 358"/>
                <a:gd name="T45" fmla="*/ 237 h 393"/>
                <a:gd name="T46" fmla="*/ 116 w 358"/>
                <a:gd name="T47" fmla="*/ 256 h 393"/>
                <a:gd name="T48" fmla="*/ 75 w 358"/>
                <a:gd name="T49" fmla="*/ 289 h 393"/>
                <a:gd name="T50" fmla="*/ 78 w 358"/>
                <a:gd name="T51" fmla="*/ 291 h 393"/>
                <a:gd name="T52" fmla="*/ 57 w 358"/>
                <a:gd name="T53" fmla="*/ 300 h 393"/>
                <a:gd name="T54" fmla="*/ 31 w 358"/>
                <a:gd name="T55" fmla="*/ 305 h 393"/>
                <a:gd name="T56" fmla="*/ 12 w 358"/>
                <a:gd name="T57" fmla="*/ 317 h 393"/>
                <a:gd name="T58" fmla="*/ 26 w 358"/>
                <a:gd name="T59" fmla="*/ 334 h 393"/>
                <a:gd name="T60" fmla="*/ 9 w 358"/>
                <a:gd name="T61" fmla="*/ 334 h 393"/>
                <a:gd name="T62" fmla="*/ 2 w 358"/>
                <a:gd name="T63" fmla="*/ 362 h 393"/>
                <a:gd name="T64" fmla="*/ 17 w 358"/>
                <a:gd name="T65" fmla="*/ 355 h 393"/>
                <a:gd name="T66" fmla="*/ 24 w 358"/>
                <a:gd name="T67" fmla="*/ 364 h 393"/>
                <a:gd name="T68" fmla="*/ 26 w 358"/>
                <a:gd name="T69" fmla="*/ 390 h 393"/>
                <a:gd name="T70" fmla="*/ 71 w 358"/>
                <a:gd name="T71" fmla="*/ 374 h 393"/>
                <a:gd name="T72" fmla="*/ 97 w 358"/>
                <a:gd name="T73" fmla="*/ 374 h 393"/>
                <a:gd name="T74" fmla="*/ 116 w 358"/>
                <a:gd name="T75" fmla="*/ 334 h 393"/>
                <a:gd name="T76" fmla="*/ 118 w 358"/>
                <a:gd name="T77" fmla="*/ 279 h 393"/>
                <a:gd name="T78" fmla="*/ 156 w 358"/>
                <a:gd name="T79" fmla="*/ 232 h 393"/>
                <a:gd name="T80" fmla="*/ 210 w 358"/>
                <a:gd name="T81" fmla="*/ 199 h 393"/>
                <a:gd name="T82" fmla="*/ 245 w 358"/>
                <a:gd name="T83" fmla="*/ 192 h 393"/>
                <a:gd name="T84" fmla="*/ 292 w 358"/>
                <a:gd name="T85" fmla="*/ 175 h 393"/>
                <a:gd name="T86" fmla="*/ 339 w 358"/>
                <a:gd name="T87" fmla="*/ 182 h 393"/>
                <a:gd name="T88" fmla="*/ 281 w 358"/>
                <a:gd name="T89" fmla="*/ 152 h 393"/>
                <a:gd name="T90" fmla="*/ 226 w 358"/>
                <a:gd name="T91" fmla="*/ 33 h 393"/>
                <a:gd name="T92" fmla="*/ 231 w 358"/>
                <a:gd name="T93" fmla="*/ 43 h 393"/>
                <a:gd name="T94" fmla="*/ 87 w 358"/>
                <a:gd name="T95" fmla="*/ 24 h 393"/>
                <a:gd name="T96" fmla="*/ 106 w 358"/>
                <a:gd name="T97" fmla="*/ 21 h 393"/>
                <a:gd name="T98" fmla="*/ 132 w 358"/>
                <a:gd name="T99" fmla="*/ 26 h 393"/>
                <a:gd name="T100" fmla="*/ 163 w 358"/>
                <a:gd name="T101" fmla="*/ 31 h 393"/>
                <a:gd name="T102" fmla="*/ 149 w 358"/>
                <a:gd name="T103" fmla="*/ 38 h 393"/>
                <a:gd name="T104" fmla="*/ 160 w 358"/>
                <a:gd name="T105" fmla="*/ 59 h 393"/>
                <a:gd name="T106" fmla="*/ 191 w 358"/>
                <a:gd name="T107" fmla="*/ 29 h 393"/>
                <a:gd name="T108" fmla="*/ 182 w 358"/>
                <a:gd name="T109" fmla="*/ 17 h 393"/>
                <a:gd name="T110" fmla="*/ 151 w 358"/>
                <a:gd name="T111" fmla="*/ 7 h 393"/>
                <a:gd name="T112" fmla="*/ 120 w 358"/>
                <a:gd name="T113" fmla="*/ 14 h 393"/>
                <a:gd name="T114" fmla="*/ 87 w 358"/>
                <a:gd name="T115" fmla="*/ 10 h 393"/>
                <a:gd name="T116" fmla="*/ 193 w 358"/>
                <a:gd name="T117" fmla="*/ 12 h 393"/>
                <a:gd name="T118" fmla="*/ 273 w 358"/>
                <a:gd name="T119" fmla="*/ 5 h 393"/>
                <a:gd name="T120" fmla="*/ 222 w 358"/>
                <a:gd name="T121" fmla="*/ 0 h 393"/>
                <a:gd name="T122" fmla="*/ 189 w 358"/>
                <a:gd name="T123" fmla="*/ 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8" h="393">
                  <a:moveTo>
                    <a:pt x="5" y="350"/>
                  </a:moveTo>
                  <a:lnTo>
                    <a:pt x="2" y="348"/>
                  </a:lnTo>
                  <a:lnTo>
                    <a:pt x="2" y="345"/>
                  </a:lnTo>
                  <a:lnTo>
                    <a:pt x="2" y="345"/>
                  </a:lnTo>
                  <a:lnTo>
                    <a:pt x="2" y="348"/>
                  </a:lnTo>
                  <a:lnTo>
                    <a:pt x="2" y="348"/>
                  </a:lnTo>
                  <a:lnTo>
                    <a:pt x="2" y="350"/>
                  </a:lnTo>
                  <a:lnTo>
                    <a:pt x="2" y="350"/>
                  </a:lnTo>
                  <a:lnTo>
                    <a:pt x="2" y="350"/>
                  </a:lnTo>
                  <a:lnTo>
                    <a:pt x="5" y="353"/>
                  </a:lnTo>
                  <a:lnTo>
                    <a:pt x="5" y="350"/>
                  </a:lnTo>
                  <a:close/>
                  <a:moveTo>
                    <a:pt x="2" y="334"/>
                  </a:moveTo>
                  <a:lnTo>
                    <a:pt x="2" y="331"/>
                  </a:lnTo>
                  <a:lnTo>
                    <a:pt x="0" y="331"/>
                  </a:lnTo>
                  <a:lnTo>
                    <a:pt x="0" y="334"/>
                  </a:lnTo>
                  <a:lnTo>
                    <a:pt x="0" y="334"/>
                  </a:lnTo>
                  <a:lnTo>
                    <a:pt x="0" y="334"/>
                  </a:lnTo>
                  <a:lnTo>
                    <a:pt x="2" y="334"/>
                  </a:lnTo>
                  <a:lnTo>
                    <a:pt x="2" y="334"/>
                  </a:lnTo>
                  <a:close/>
                  <a:moveTo>
                    <a:pt x="47" y="291"/>
                  </a:moveTo>
                  <a:lnTo>
                    <a:pt x="47" y="291"/>
                  </a:lnTo>
                  <a:lnTo>
                    <a:pt x="50" y="291"/>
                  </a:lnTo>
                  <a:lnTo>
                    <a:pt x="50" y="291"/>
                  </a:lnTo>
                  <a:lnTo>
                    <a:pt x="50" y="289"/>
                  </a:lnTo>
                  <a:lnTo>
                    <a:pt x="50" y="289"/>
                  </a:lnTo>
                  <a:lnTo>
                    <a:pt x="47" y="289"/>
                  </a:lnTo>
                  <a:lnTo>
                    <a:pt x="45" y="291"/>
                  </a:lnTo>
                  <a:lnTo>
                    <a:pt x="45" y="291"/>
                  </a:lnTo>
                  <a:lnTo>
                    <a:pt x="47" y="291"/>
                  </a:lnTo>
                  <a:close/>
                  <a:moveTo>
                    <a:pt x="54" y="286"/>
                  </a:moveTo>
                  <a:lnTo>
                    <a:pt x="59" y="284"/>
                  </a:lnTo>
                  <a:lnTo>
                    <a:pt x="59" y="284"/>
                  </a:lnTo>
                  <a:lnTo>
                    <a:pt x="59" y="284"/>
                  </a:lnTo>
                  <a:lnTo>
                    <a:pt x="59" y="282"/>
                  </a:lnTo>
                  <a:lnTo>
                    <a:pt x="59" y="282"/>
                  </a:lnTo>
                  <a:lnTo>
                    <a:pt x="59" y="284"/>
                  </a:lnTo>
                  <a:lnTo>
                    <a:pt x="54" y="284"/>
                  </a:lnTo>
                  <a:lnTo>
                    <a:pt x="52" y="284"/>
                  </a:lnTo>
                  <a:lnTo>
                    <a:pt x="54" y="286"/>
                  </a:lnTo>
                  <a:lnTo>
                    <a:pt x="54" y="286"/>
                  </a:lnTo>
                  <a:close/>
                  <a:moveTo>
                    <a:pt x="92" y="260"/>
                  </a:moveTo>
                  <a:lnTo>
                    <a:pt x="90" y="263"/>
                  </a:lnTo>
                  <a:lnTo>
                    <a:pt x="87" y="263"/>
                  </a:lnTo>
                  <a:lnTo>
                    <a:pt x="90" y="263"/>
                  </a:lnTo>
                  <a:lnTo>
                    <a:pt x="92" y="263"/>
                  </a:lnTo>
                  <a:lnTo>
                    <a:pt x="94" y="263"/>
                  </a:lnTo>
                  <a:lnTo>
                    <a:pt x="94" y="263"/>
                  </a:lnTo>
                  <a:lnTo>
                    <a:pt x="94" y="263"/>
                  </a:lnTo>
                  <a:lnTo>
                    <a:pt x="94" y="260"/>
                  </a:lnTo>
                  <a:lnTo>
                    <a:pt x="92" y="260"/>
                  </a:lnTo>
                  <a:close/>
                  <a:moveTo>
                    <a:pt x="101" y="248"/>
                  </a:moveTo>
                  <a:lnTo>
                    <a:pt x="101" y="248"/>
                  </a:lnTo>
                  <a:lnTo>
                    <a:pt x="101" y="248"/>
                  </a:lnTo>
                  <a:lnTo>
                    <a:pt x="104" y="248"/>
                  </a:lnTo>
                  <a:lnTo>
                    <a:pt x="104" y="248"/>
                  </a:lnTo>
                  <a:lnTo>
                    <a:pt x="106" y="248"/>
                  </a:lnTo>
                  <a:lnTo>
                    <a:pt x="106" y="248"/>
                  </a:lnTo>
                  <a:lnTo>
                    <a:pt x="104" y="246"/>
                  </a:lnTo>
                  <a:lnTo>
                    <a:pt x="101" y="248"/>
                  </a:lnTo>
                  <a:close/>
                  <a:moveTo>
                    <a:pt x="116" y="241"/>
                  </a:moveTo>
                  <a:lnTo>
                    <a:pt x="116" y="241"/>
                  </a:lnTo>
                  <a:lnTo>
                    <a:pt x="116" y="241"/>
                  </a:lnTo>
                  <a:lnTo>
                    <a:pt x="113" y="241"/>
                  </a:lnTo>
                  <a:lnTo>
                    <a:pt x="113" y="241"/>
                  </a:lnTo>
                  <a:lnTo>
                    <a:pt x="111" y="241"/>
                  </a:lnTo>
                  <a:lnTo>
                    <a:pt x="111" y="244"/>
                  </a:lnTo>
                  <a:lnTo>
                    <a:pt x="111" y="244"/>
                  </a:lnTo>
                  <a:lnTo>
                    <a:pt x="113" y="244"/>
                  </a:lnTo>
                  <a:lnTo>
                    <a:pt x="116" y="241"/>
                  </a:lnTo>
                  <a:close/>
                  <a:moveTo>
                    <a:pt x="113" y="239"/>
                  </a:moveTo>
                  <a:lnTo>
                    <a:pt x="113" y="239"/>
                  </a:lnTo>
                  <a:lnTo>
                    <a:pt x="113" y="239"/>
                  </a:lnTo>
                  <a:lnTo>
                    <a:pt x="111" y="239"/>
                  </a:lnTo>
                  <a:lnTo>
                    <a:pt x="111" y="239"/>
                  </a:lnTo>
                  <a:lnTo>
                    <a:pt x="111" y="239"/>
                  </a:lnTo>
                  <a:lnTo>
                    <a:pt x="111" y="241"/>
                  </a:lnTo>
                  <a:lnTo>
                    <a:pt x="111" y="241"/>
                  </a:lnTo>
                  <a:lnTo>
                    <a:pt x="111" y="241"/>
                  </a:lnTo>
                  <a:lnTo>
                    <a:pt x="113" y="241"/>
                  </a:lnTo>
                  <a:lnTo>
                    <a:pt x="113" y="239"/>
                  </a:lnTo>
                  <a:close/>
                  <a:moveTo>
                    <a:pt x="120" y="204"/>
                  </a:moveTo>
                  <a:lnTo>
                    <a:pt x="118" y="206"/>
                  </a:lnTo>
                  <a:lnTo>
                    <a:pt x="118" y="206"/>
                  </a:lnTo>
                  <a:lnTo>
                    <a:pt x="116" y="208"/>
                  </a:lnTo>
                  <a:lnTo>
                    <a:pt x="118" y="208"/>
                  </a:lnTo>
                  <a:lnTo>
                    <a:pt x="120" y="206"/>
                  </a:lnTo>
                  <a:lnTo>
                    <a:pt x="120" y="206"/>
                  </a:lnTo>
                  <a:lnTo>
                    <a:pt x="120" y="206"/>
                  </a:lnTo>
                  <a:lnTo>
                    <a:pt x="120" y="204"/>
                  </a:lnTo>
                  <a:lnTo>
                    <a:pt x="120" y="204"/>
                  </a:lnTo>
                  <a:close/>
                  <a:moveTo>
                    <a:pt x="132" y="201"/>
                  </a:moveTo>
                  <a:lnTo>
                    <a:pt x="130" y="201"/>
                  </a:lnTo>
                  <a:lnTo>
                    <a:pt x="130" y="201"/>
                  </a:lnTo>
                  <a:lnTo>
                    <a:pt x="127" y="201"/>
                  </a:lnTo>
                  <a:lnTo>
                    <a:pt x="125" y="201"/>
                  </a:lnTo>
                  <a:lnTo>
                    <a:pt x="125" y="204"/>
                  </a:lnTo>
                  <a:lnTo>
                    <a:pt x="123" y="201"/>
                  </a:lnTo>
                  <a:lnTo>
                    <a:pt x="123" y="204"/>
                  </a:lnTo>
                  <a:lnTo>
                    <a:pt x="123" y="204"/>
                  </a:lnTo>
                  <a:lnTo>
                    <a:pt x="120" y="204"/>
                  </a:lnTo>
                  <a:lnTo>
                    <a:pt x="123" y="206"/>
                  </a:lnTo>
                  <a:lnTo>
                    <a:pt x="123" y="206"/>
                  </a:lnTo>
                  <a:lnTo>
                    <a:pt x="125" y="206"/>
                  </a:lnTo>
                  <a:lnTo>
                    <a:pt x="125" y="204"/>
                  </a:lnTo>
                  <a:lnTo>
                    <a:pt x="125" y="204"/>
                  </a:lnTo>
                  <a:lnTo>
                    <a:pt x="125" y="204"/>
                  </a:lnTo>
                  <a:lnTo>
                    <a:pt x="127" y="204"/>
                  </a:lnTo>
                  <a:lnTo>
                    <a:pt x="127" y="204"/>
                  </a:lnTo>
                  <a:lnTo>
                    <a:pt x="130" y="204"/>
                  </a:lnTo>
                  <a:lnTo>
                    <a:pt x="130" y="204"/>
                  </a:lnTo>
                  <a:lnTo>
                    <a:pt x="130" y="201"/>
                  </a:lnTo>
                  <a:lnTo>
                    <a:pt x="132" y="201"/>
                  </a:lnTo>
                  <a:lnTo>
                    <a:pt x="134" y="201"/>
                  </a:lnTo>
                  <a:lnTo>
                    <a:pt x="134" y="201"/>
                  </a:lnTo>
                  <a:lnTo>
                    <a:pt x="134" y="201"/>
                  </a:lnTo>
                  <a:lnTo>
                    <a:pt x="132" y="201"/>
                  </a:lnTo>
                  <a:close/>
                  <a:moveTo>
                    <a:pt x="141" y="192"/>
                  </a:moveTo>
                  <a:lnTo>
                    <a:pt x="141" y="192"/>
                  </a:lnTo>
                  <a:lnTo>
                    <a:pt x="139" y="192"/>
                  </a:lnTo>
                  <a:lnTo>
                    <a:pt x="139" y="192"/>
                  </a:lnTo>
                  <a:lnTo>
                    <a:pt x="137" y="192"/>
                  </a:lnTo>
                  <a:lnTo>
                    <a:pt x="137" y="194"/>
                  </a:lnTo>
                  <a:lnTo>
                    <a:pt x="139" y="194"/>
                  </a:lnTo>
                  <a:lnTo>
                    <a:pt x="141" y="194"/>
                  </a:lnTo>
                  <a:lnTo>
                    <a:pt x="141" y="194"/>
                  </a:lnTo>
                  <a:lnTo>
                    <a:pt x="144" y="194"/>
                  </a:lnTo>
                  <a:lnTo>
                    <a:pt x="144" y="194"/>
                  </a:lnTo>
                  <a:lnTo>
                    <a:pt x="144" y="194"/>
                  </a:lnTo>
                  <a:lnTo>
                    <a:pt x="146" y="194"/>
                  </a:lnTo>
                  <a:lnTo>
                    <a:pt x="149" y="194"/>
                  </a:lnTo>
                  <a:lnTo>
                    <a:pt x="151" y="194"/>
                  </a:lnTo>
                  <a:lnTo>
                    <a:pt x="151" y="192"/>
                  </a:lnTo>
                  <a:lnTo>
                    <a:pt x="151" y="189"/>
                  </a:lnTo>
                  <a:lnTo>
                    <a:pt x="149" y="189"/>
                  </a:lnTo>
                  <a:lnTo>
                    <a:pt x="149" y="187"/>
                  </a:lnTo>
                  <a:lnTo>
                    <a:pt x="146" y="187"/>
                  </a:lnTo>
                  <a:lnTo>
                    <a:pt x="146" y="187"/>
                  </a:lnTo>
                  <a:lnTo>
                    <a:pt x="146" y="187"/>
                  </a:lnTo>
                  <a:lnTo>
                    <a:pt x="146" y="189"/>
                  </a:lnTo>
                  <a:lnTo>
                    <a:pt x="144" y="189"/>
                  </a:lnTo>
                  <a:lnTo>
                    <a:pt x="144" y="189"/>
                  </a:lnTo>
                  <a:lnTo>
                    <a:pt x="144" y="189"/>
                  </a:lnTo>
                  <a:lnTo>
                    <a:pt x="144" y="192"/>
                  </a:lnTo>
                  <a:lnTo>
                    <a:pt x="141" y="192"/>
                  </a:lnTo>
                  <a:close/>
                  <a:moveTo>
                    <a:pt x="137" y="201"/>
                  </a:moveTo>
                  <a:lnTo>
                    <a:pt x="137" y="201"/>
                  </a:lnTo>
                  <a:lnTo>
                    <a:pt x="141" y="201"/>
                  </a:lnTo>
                  <a:lnTo>
                    <a:pt x="144" y="199"/>
                  </a:lnTo>
                  <a:lnTo>
                    <a:pt x="146" y="201"/>
                  </a:lnTo>
                  <a:lnTo>
                    <a:pt x="146" y="201"/>
                  </a:lnTo>
                  <a:lnTo>
                    <a:pt x="149" y="199"/>
                  </a:lnTo>
                  <a:lnTo>
                    <a:pt x="149" y="199"/>
                  </a:lnTo>
                  <a:lnTo>
                    <a:pt x="151" y="199"/>
                  </a:lnTo>
                  <a:lnTo>
                    <a:pt x="151" y="199"/>
                  </a:lnTo>
                  <a:lnTo>
                    <a:pt x="151" y="199"/>
                  </a:lnTo>
                  <a:lnTo>
                    <a:pt x="156" y="199"/>
                  </a:lnTo>
                  <a:lnTo>
                    <a:pt x="156" y="199"/>
                  </a:lnTo>
                  <a:lnTo>
                    <a:pt x="158" y="199"/>
                  </a:lnTo>
                  <a:lnTo>
                    <a:pt x="158" y="199"/>
                  </a:lnTo>
                  <a:lnTo>
                    <a:pt x="158" y="199"/>
                  </a:lnTo>
                  <a:lnTo>
                    <a:pt x="158" y="199"/>
                  </a:lnTo>
                  <a:lnTo>
                    <a:pt x="160" y="196"/>
                  </a:lnTo>
                  <a:lnTo>
                    <a:pt x="163" y="196"/>
                  </a:lnTo>
                  <a:lnTo>
                    <a:pt x="163" y="194"/>
                  </a:lnTo>
                  <a:lnTo>
                    <a:pt x="167" y="194"/>
                  </a:lnTo>
                  <a:lnTo>
                    <a:pt x="167" y="192"/>
                  </a:lnTo>
                  <a:lnTo>
                    <a:pt x="165" y="192"/>
                  </a:lnTo>
                  <a:lnTo>
                    <a:pt x="165" y="189"/>
                  </a:lnTo>
                  <a:lnTo>
                    <a:pt x="163" y="189"/>
                  </a:lnTo>
                  <a:lnTo>
                    <a:pt x="163" y="189"/>
                  </a:lnTo>
                  <a:lnTo>
                    <a:pt x="163" y="189"/>
                  </a:lnTo>
                  <a:lnTo>
                    <a:pt x="160" y="189"/>
                  </a:lnTo>
                  <a:lnTo>
                    <a:pt x="160" y="192"/>
                  </a:lnTo>
                  <a:lnTo>
                    <a:pt x="160" y="192"/>
                  </a:lnTo>
                  <a:lnTo>
                    <a:pt x="160" y="192"/>
                  </a:lnTo>
                  <a:lnTo>
                    <a:pt x="160" y="194"/>
                  </a:lnTo>
                  <a:lnTo>
                    <a:pt x="158" y="194"/>
                  </a:lnTo>
                  <a:lnTo>
                    <a:pt x="156" y="196"/>
                  </a:lnTo>
                  <a:lnTo>
                    <a:pt x="156" y="194"/>
                  </a:lnTo>
                  <a:lnTo>
                    <a:pt x="156" y="194"/>
                  </a:lnTo>
                  <a:lnTo>
                    <a:pt x="158" y="192"/>
                  </a:lnTo>
                  <a:lnTo>
                    <a:pt x="158" y="192"/>
                  </a:lnTo>
                  <a:lnTo>
                    <a:pt x="158" y="189"/>
                  </a:lnTo>
                  <a:lnTo>
                    <a:pt x="156" y="187"/>
                  </a:lnTo>
                  <a:lnTo>
                    <a:pt x="156" y="187"/>
                  </a:lnTo>
                  <a:lnTo>
                    <a:pt x="158" y="185"/>
                  </a:lnTo>
                  <a:lnTo>
                    <a:pt x="160" y="185"/>
                  </a:lnTo>
                  <a:lnTo>
                    <a:pt x="160" y="182"/>
                  </a:lnTo>
                  <a:lnTo>
                    <a:pt x="160" y="182"/>
                  </a:lnTo>
                  <a:lnTo>
                    <a:pt x="158" y="182"/>
                  </a:lnTo>
                  <a:lnTo>
                    <a:pt x="158" y="182"/>
                  </a:lnTo>
                  <a:lnTo>
                    <a:pt x="156" y="185"/>
                  </a:lnTo>
                  <a:lnTo>
                    <a:pt x="153" y="185"/>
                  </a:lnTo>
                  <a:lnTo>
                    <a:pt x="151" y="187"/>
                  </a:lnTo>
                  <a:lnTo>
                    <a:pt x="151" y="187"/>
                  </a:lnTo>
                  <a:lnTo>
                    <a:pt x="151" y="189"/>
                  </a:lnTo>
                  <a:lnTo>
                    <a:pt x="153" y="189"/>
                  </a:lnTo>
                  <a:lnTo>
                    <a:pt x="153" y="189"/>
                  </a:lnTo>
                  <a:lnTo>
                    <a:pt x="153" y="192"/>
                  </a:lnTo>
                  <a:lnTo>
                    <a:pt x="151" y="194"/>
                  </a:lnTo>
                  <a:lnTo>
                    <a:pt x="146" y="196"/>
                  </a:lnTo>
                  <a:lnTo>
                    <a:pt x="139" y="199"/>
                  </a:lnTo>
                  <a:lnTo>
                    <a:pt x="139" y="199"/>
                  </a:lnTo>
                  <a:lnTo>
                    <a:pt x="137" y="201"/>
                  </a:lnTo>
                  <a:lnTo>
                    <a:pt x="137" y="201"/>
                  </a:lnTo>
                  <a:close/>
                  <a:moveTo>
                    <a:pt x="186" y="182"/>
                  </a:moveTo>
                  <a:lnTo>
                    <a:pt x="186" y="180"/>
                  </a:lnTo>
                  <a:lnTo>
                    <a:pt x="186" y="180"/>
                  </a:lnTo>
                  <a:lnTo>
                    <a:pt x="186" y="178"/>
                  </a:lnTo>
                  <a:lnTo>
                    <a:pt x="184" y="178"/>
                  </a:lnTo>
                  <a:lnTo>
                    <a:pt x="184" y="178"/>
                  </a:lnTo>
                  <a:lnTo>
                    <a:pt x="182" y="178"/>
                  </a:lnTo>
                  <a:lnTo>
                    <a:pt x="182" y="178"/>
                  </a:lnTo>
                  <a:lnTo>
                    <a:pt x="179" y="178"/>
                  </a:lnTo>
                  <a:lnTo>
                    <a:pt x="179" y="178"/>
                  </a:lnTo>
                  <a:lnTo>
                    <a:pt x="179" y="178"/>
                  </a:lnTo>
                  <a:lnTo>
                    <a:pt x="179" y="178"/>
                  </a:lnTo>
                  <a:lnTo>
                    <a:pt x="179" y="178"/>
                  </a:lnTo>
                  <a:lnTo>
                    <a:pt x="177" y="178"/>
                  </a:lnTo>
                  <a:lnTo>
                    <a:pt x="174" y="178"/>
                  </a:lnTo>
                  <a:lnTo>
                    <a:pt x="174" y="180"/>
                  </a:lnTo>
                  <a:lnTo>
                    <a:pt x="177" y="180"/>
                  </a:lnTo>
                  <a:lnTo>
                    <a:pt x="177" y="180"/>
                  </a:lnTo>
                  <a:lnTo>
                    <a:pt x="177" y="180"/>
                  </a:lnTo>
                  <a:lnTo>
                    <a:pt x="172" y="180"/>
                  </a:lnTo>
                  <a:lnTo>
                    <a:pt x="172" y="180"/>
                  </a:lnTo>
                  <a:lnTo>
                    <a:pt x="172" y="182"/>
                  </a:lnTo>
                  <a:lnTo>
                    <a:pt x="172" y="182"/>
                  </a:lnTo>
                  <a:lnTo>
                    <a:pt x="172" y="185"/>
                  </a:lnTo>
                  <a:lnTo>
                    <a:pt x="172" y="185"/>
                  </a:lnTo>
                  <a:lnTo>
                    <a:pt x="170" y="185"/>
                  </a:lnTo>
                  <a:lnTo>
                    <a:pt x="170" y="185"/>
                  </a:lnTo>
                  <a:lnTo>
                    <a:pt x="170" y="187"/>
                  </a:lnTo>
                  <a:lnTo>
                    <a:pt x="172" y="187"/>
                  </a:lnTo>
                  <a:lnTo>
                    <a:pt x="174" y="187"/>
                  </a:lnTo>
                  <a:lnTo>
                    <a:pt x="174" y="187"/>
                  </a:lnTo>
                  <a:lnTo>
                    <a:pt x="174" y="187"/>
                  </a:lnTo>
                  <a:lnTo>
                    <a:pt x="177" y="185"/>
                  </a:lnTo>
                  <a:lnTo>
                    <a:pt x="179" y="185"/>
                  </a:lnTo>
                  <a:lnTo>
                    <a:pt x="179" y="185"/>
                  </a:lnTo>
                  <a:lnTo>
                    <a:pt x="182" y="185"/>
                  </a:lnTo>
                  <a:lnTo>
                    <a:pt x="184" y="185"/>
                  </a:lnTo>
                  <a:lnTo>
                    <a:pt x="184" y="182"/>
                  </a:lnTo>
                  <a:lnTo>
                    <a:pt x="184" y="182"/>
                  </a:lnTo>
                  <a:lnTo>
                    <a:pt x="186" y="182"/>
                  </a:lnTo>
                  <a:close/>
                  <a:moveTo>
                    <a:pt x="344" y="170"/>
                  </a:moveTo>
                  <a:lnTo>
                    <a:pt x="342" y="173"/>
                  </a:lnTo>
                  <a:lnTo>
                    <a:pt x="342" y="173"/>
                  </a:lnTo>
                  <a:lnTo>
                    <a:pt x="342" y="173"/>
                  </a:lnTo>
                  <a:lnTo>
                    <a:pt x="344" y="173"/>
                  </a:lnTo>
                  <a:lnTo>
                    <a:pt x="347" y="173"/>
                  </a:lnTo>
                  <a:lnTo>
                    <a:pt x="347" y="173"/>
                  </a:lnTo>
                  <a:lnTo>
                    <a:pt x="344" y="170"/>
                  </a:lnTo>
                  <a:lnTo>
                    <a:pt x="344" y="170"/>
                  </a:lnTo>
                  <a:close/>
                  <a:moveTo>
                    <a:pt x="219" y="166"/>
                  </a:moveTo>
                  <a:lnTo>
                    <a:pt x="217" y="166"/>
                  </a:lnTo>
                  <a:lnTo>
                    <a:pt x="217" y="168"/>
                  </a:lnTo>
                  <a:lnTo>
                    <a:pt x="217" y="168"/>
                  </a:lnTo>
                  <a:lnTo>
                    <a:pt x="217" y="168"/>
                  </a:lnTo>
                  <a:lnTo>
                    <a:pt x="219" y="168"/>
                  </a:lnTo>
                  <a:lnTo>
                    <a:pt x="219" y="168"/>
                  </a:lnTo>
                  <a:lnTo>
                    <a:pt x="219" y="168"/>
                  </a:lnTo>
                  <a:lnTo>
                    <a:pt x="222" y="168"/>
                  </a:lnTo>
                  <a:lnTo>
                    <a:pt x="222" y="168"/>
                  </a:lnTo>
                  <a:lnTo>
                    <a:pt x="222" y="166"/>
                  </a:lnTo>
                  <a:lnTo>
                    <a:pt x="222" y="166"/>
                  </a:lnTo>
                  <a:lnTo>
                    <a:pt x="219" y="166"/>
                  </a:lnTo>
                  <a:close/>
                  <a:moveTo>
                    <a:pt x="189" y="178"/>
                  </a:moveTo>
                  <a:lnTo>
                    <a:pt x="191" y="178"/>
                  </a:lnTo>
                  <a:lnTo>
                    <a:pt x="196" y="178"/>
                  </a:lnTo>
                  <a:lnTo>
                    <a:pt x="196" y="178"/>
                  </a:lnTo>
                  <a:lnTo>
                    <a:pt x="196" y="175"/>
                  </a:lnTo>
                  <a:lnTo>
                    <a:pt x="198" y="175"/>
                  </a:lnTo>
                  <a:lnTo>
                    <a:pt x="198" y="173"/>
                  </a:lnTo>
                  <a:lnTo>
                    <a:pt x="200" y="173"/>
                  </a:lnTo>
                  <a:lnTo>
                    <a:pt x="200" y="173"/>
                  </a:lnTo>
                  <a:lnTo>
                    <a:pt x="203" y="173"/>
                  </a:lnTo>
                  <a:lnTo>
                    <a:pt x="205" y="170"/>
                  </a:lnTo>
                  <a:lnTo>
                    <a:pt x="205" y="170"/>
                  </a:lnTo>
                  <a:lnTo>
                    <a:pt x="207" y="170"/>
                  </a:lnTo>
                  <a:lnTo>
                    <a:pt x="205" y="168"/>
                  </a:lnTo>
                  <a:lnTo>
                    <a:pt x="205" y="168"/>
                  </a:lnTo>
                  <a:lnTo>
                    <a:pt x="203" y="170"/>
                  </a:lnTo>
                  <a:lnTo>
                    <a:pt x="203" y="170"/>
                  </a:lnTo>
                  <a:lnTo>
                    <a:pt x="200" y="168"/>
                  </a:lnTo>
                  <a:lnTo>
                    <a:pt x="200" y="166"/>
                  </a:lnTo>
                  <a:lnTo>
                    <a:pt x="200" y="166"/>
                  </a:lnTo>
                  <a:lnTo>
                    <a:pt x="200" y="166"/>
                  </a:lnTo>
                  <a:lnTo>
                    <a:pt x="198" y="166"/>
                  </a:lnTo>
                  <a:lnTo>
                    <a:pt x="198" y="168"/>
                  </a:lnTo>
                  <a:lnTo>
                    <a:pt x="198" y="168"/>
                  </a:lnTo>
                  <a:lnTo>
                    <a:pt x="198" y="168"/>
                  </a:lnTo>
                  <a:lnTo>
                    <a:pt x="198" y="168"/>
                  </a:lnTo>
                  <a:lnTo>
                    <a:pt x="196" y="170"/>
                  </a:lnTo>
                  <a:lnTo>
                    <a:pt x="196" y="170"/>
                  </a:lnTo>
                  <a:lnTo>
                    <a:pt x="193" y="173"/>
                  </a:lnTo>
                  <a:lnTo>
                    <a:pt x="193" y="173"/>
                  </a:lnTo>
                  <a:lnTo>
                    <a:pt x="193" y="173"/>
                  </a:lnTo>
                  <a:lnTo>
                    <a:pt x="193" y="173"/>
                  </a:lnTo>
                  <a:lnTo>
                    <a:pt x="193" y="173"/>
                  </a:lnTo>
                  <a:lnTo>
                    <a:pt x="193" y="173"/>
                  </a:lnTo>
                  <a:lnTo>
                    <a:pt x="191" y="173"/>
                  </a:lnTo>
                  <a:lnTo>
                    <a:pt x="191" y="173"/>
                  </a:lnTo>
                  <a:lnTo>
                    <a:pt x="189" y="173"/>
                  </a:lnTo>
                  <a:lnTo>
                    <a:pt x="189" y="175"/>
                  </a:lnTo>
                  <a:lnTo>
                    <a:pt x="189" y="175"/>
                  </a:lnTo>
                  <a:lnTo>
                    <a:pt x="189" y="175"/>
                  </a:lnTo>
                  <a:lnTo>
                    <a:pt x="189" y="175"/>
                  </a:lnTo>
                  <a:lnTo>
                    <a:pt x="186" y="175"/>
                  </a:lnTo>
                  <a:lnTo>
                    <a:pt x="186" y="178"/>
                  </a:lnTo>
                  <a:lnTo>
                    <a:pt x="186" y="178"/>
                  </a:lnTo>
                  <a:lnTo>
                    <a:pt x="189" y="178"/>
                  </a:lnTo>
                  <a:close/>
                  <a:moveTo>
                    <a:pt x="207" y="168"/>
                  </a:moveTo>
                  <a:lnTo>
                    <a:pt x="207" y="168"/>
                  </a:lnTo>
                  <a:lnTo>
                    <a:pt x="210" y="168"/>
                  </a:lnTo>
                  <a:lnTo>
                    <a:pt x="212" y="168"/>
                  </a:lnTo>
                  <a:lnTo>
                    <a:pt x="212" y="168"/>
                  </a:lnTo>
                  <a:lnTo>
                    <a:pt x="212" y="168"/>
                  </a:lnTo>
                  <a:lnTo>
                    <a:pt x="212" y="168"/>
                  </a:lnTo>
                  <a:lnTo>
                    <a:pt x="210" y="166"/>
                  </a:lnTo>
                  <a:lnTo>
                    <a:pt x="210" y="166"/>
                  </a:lnTo>
                  <a:lnTo>
                    <a:pt x="210" y="166"/>
                  </a:lnTo>
                  <a:lnTo>
                    <a:pt x="207" y="166"/>
                  </a:lnTo>
                  <a:lnTo>
                    <a:pt x="207" y="166"/>
                  </a:lnTo>
                  <a:lnTo>
                    <a:pt x="205" y="166"/>
                  </a:lnTo>
                  <a:lnTo>
                    <a:pt x="205" y="166"/>
                  </a:lnTo>
                  <a:lnTo>
                    <a:pt x="207" y="166"/>
                  </a:lnTo>
                  <a:lnTo>
                    <a:pt x="207" y="168"/>
                  </a:lnTo>
                  <a:close/>
                  <a:moveTo>
                    <a:pt x="259" y="161"/>
                  </a:moveTo>
                  <a:lnTo>
                    <a:pt x="259" y="161"/>
                  </a:lnTo>
                  <a:lnTo>
                    <a:pt x="259" y="161"/>
                  </a:lnTo>
                  <a:lnTo>
                    <a:pt x="259" y="159"/>
                  </a:lnTo>
                  <a:lnTo>
                    <a:pt x="257" y="159"/>
                  </a:lnTo>
                  <a:lnTo>
                    <a:pt x="255" y="161"/>
                  </a:lnTo>
                  <a:lnTo>
                    <a:pt x="252" y="161"/>
                  </a:lnTo>
                  <a:lnTo>
                    <a:pt x="250" y="161"/>
                  </a:lnTo>
                  <a:lnTo>
                    <a:pt x="250" y="161"/>
                  </a:lnTo>
                  <a:lnTo>
                    <a:pt x="250" y="163"/>
                  </a:lnTo>
                  <a:lnTo>
                    <a:pt x="250" y="163"/>
                  </a:lnTo>
                  <a:lnTo>
                    <a:pt x="250" y="163"/>
                  </a:lnTo>
                  <a:lnTo>
                    <a:pt x="252" y="163"/>
                  </a:lnTo>
                  <a:lnTo>
                    <a:pt x="252" y="163"/>
                  </a:lnTo>
                  <a:lnTo>
                    <a:pt x="252" y="163"/>
                  </a:lnTo>
                  <a:lnTo>
                    <a:pt x="252" y="166"/>
                  </a:lnTo>
                  <a:lnTo>
                    <a:pt x="255" y="163"/>
                  </a:lnTo>
                  <a:lnTo>
                    <a:pt x="255" y="163"/>
                  </a:lnTo>
                  <a:lnTo>
                    <a:pt x="255" y="163"/>
                  </a:lnTo>
                  <a:lnTo>
                    <a:pt x="259" y="163"/>
                  </a:lnTo>
                  <a:lnTo>
                    <a:pt x="259" y="161"/>
                  </a:lnTo>
                  <a:close/>
                  <a:moveTo>
                    <a:pt x="259" y="161"/>
                  </a:moveTo>
                  <a:lnTo>
                    <a:pt x="262" y="161"/>
                  </a:lnTo>
                  <a:lnTo>
                    <a:pt x="264" y="159"/>
                  </a:lnTo>
                  <a:lnTo>
                    <a:pt x="264" y="159"/>
                  </a:lnTo>
                  <a:lnTo>
                    <a:pt x="264" y="159"/>
                  </a:lnTo>
                  <a:lnTo>
                    <a:pt x="262" y="156"/>
                  </a:lnTo>
                  <a:lnTo>
                    <a:pt x="262" y="156"/>
                  </a:lnTo>
                  <a:lnTo>
                    <a:pt x="262" y="156"/>
                  </a:lnTo>
                  <a:lnTo>
                    <a:pt x="259" y="156"/>
                  </a:lnTo>
                  <a:lnTo>
                    <a:pt x="259" y="159"/>
                  </a:lnTo>
                  <a:lnTo>
                    <a:pt x="259" y="159"/>
                  </a:lnTo>
                  <a:lnTo>
                    <a:pt x="259" y="161"/>
                  </a:lnTo>
                  <a:close/>
                  <a:moveTo>
                    <a:pt x="240" y="161"/>
                  </a:moveTo>
                  <a:lnTo>
                    <a:pt x="243" y="161"/>
                  </a:lnTo>
                  <a:lnTo>
                    <a:pt x="243" y="161"/>
                  </a:lnTo>
                  <a:lnTo>
                    <a:pt x="245" y="161"/>
                  </a:lnTo>
                  <a:lnTo>
                    <a:pt x="245" y="161"/>
                  </a:lnTo>
                  <a:lnTo>
                    <a:pt x="245" y="161"/>
                  </a:lnTo>
                  <a:lnTo>
                    <a:pt x="248" y="161"/>
                  </a:lnTo>
                  <a:lnTo>
                    <a:pt x="250" y="161"/>
                  </a:lnTo>
                  <a:lnTo>
                    <a:pt x="250" y="159"/>
                  </a:lnTo>
                  <a:lnTo>
                    <a:pt x="252" y="159"/>
                  </a:lnTo>
                  <a:lnTo>
                    <a:pt x="255" y="156"/>
                  </a:lnTo>
                  <a:lnTo>
                    <a:pt x="255" y="156"/>
                  </a:lnTo>
                  <a:lnTo>
                    <a:pt x="255" y="156"/>
                  </a:lnTo>
                  <a:lnTo>
                    <a:pt x="257" y="156"/>
                  </a:lnTo>
                  <a:lnTo>
                    <a:pt x="255" y="154"/>
                  </a:lnTo>
                  <a:lnTo>
                    <a:pt x="255" y="156"/>
                  </a:lnTo>
                  <a:lnTo>
                    <a:pt x="252" y="156"/>
                  </a:lnTo>
                  <a:lnTo>
                    <a:pt x="250" y="156"/>
                  </a:lnTo>
                  <a:lnTo>
                    <a:pt x="248" y="156"/>
                  </a:lnTo>
                  <a:lnTo>
                    <a:pt x="245" y="159"/>
                  </a:lnTo>
                  <a:lnTo>
                    <a:pt x="243" y="156"/>
                  </a:lnTo>
                  <a:lnTo>
                    <a:pt x="243" y="159"/>
                  </a:lnTo>
                  <a:lnTo>
                    <a:pt x="240" y="159"/>
                  </a:lnTo>
                  <a:lnTo>
                    <a:pt x="240" y="159"/>
                  </a:lnTo>
                  <a:lnTo>
                    <a:pt x="238" y="159"/>
                  </a:lnTo>
                  <a:lnTo>
                    <a:pt x="238" y="159"/>
                  </a:lnTo>
                  <a:lnTo>
                    <a:pt x="240" y="161"/>
                  </a:lnTo>
                  <a:close/>
                  <a:moveTo>
                    <a:pt x="358" y="175"/>
                  </a:moveTo>
                  <a:lnTo>
                    <a:pt x="358" y="173"/>
                  </a:lnTo>
                  <a:lnTo>
                    <a:pt x="356" y="173"/>
                  </a:lnTo>
                  <a:lnTo>
                    <a:pt x="354" y="173"/>
                  </a:lnTo>
                  <a:lnTo>
                    <a:pt x="351" y="173"/>
                  </a:lnTo>
                  <a:lnTo>
                    <a:pt x="351" y="175"/>
                  </a:lnTo>
                  <a:lnTo>
                    <a:pt x="351" y="175"/>
                  </a:lnTo>
                  <a:lnTo>
                    <a:pt x="351" y="173"/>
                  </a:lnTo>
                  <a:lnTo>
                    <a:pt x="349" y="173"/>
                  </a:lnTo>
                  <a:lnTo>
                    <a:pt x="349" y="173"/>
                  </a:lnTo>
                  <a:lnTo>
                    <a:pt x="349" y="175"/>
                  </a:lnTo>
                  <a:lnTo>
                    <a:pt x="347" y="175"/>
                  </a:lnTo>
                  <a:lnTo>
                    <a:pt x="347" y="175"/>
                  </a:lnTo>
                  <a:lnTo>
                    <a:pt x="344" y="175"/>
                  </a:lnTo>
                  <a:lnTo>
                    <a:pt x="342" y="175"/>
                  </a:lnTo>
                  <a:lnTo>
                    <a:pt x="342" y="173"/>
                  </a:lnTo>
                  <a:lnTo>
                    <a:pt x="342" y="173"/>
                  </a:lnTo>
                  <a:lnTo>
                    <a:pt x="339" y="173"/>
                  </a:lnTo>
                  <a:lnTo>
                    <a:pt x="339" y="170"/>
                  </a:lnTo>
                  <a:lnTo>
                    <a:pt x="339" y="170"/>
                  </a:lnTo>
                  <a:lnTo>
                    <a:pt x="330" y="168"/>
                  </a:lnTo>
                  <a:lnTo>
                    <a:pt x="328" y="168"/>
                  </a:lnTo>
                  <a:lnTo>
                    <a:pt x="344" y="168"/>
                  </a:lnTo>
                  <a:lnTo>
                    <a:pt x="349" y="168"/>
                  </a:lnTo>
                  <a:lnTo>
                    <a:pt x="351" y="166"/>
                  </a:lnTo>
                  <a:lnTo>
                    <a:pt x="356" y="166"/>
                  </a:lnTo>
                  <a:lnTo>
                    <a:pt x="356" y="163"/>
                  </a:lnTo>
                  <a:lnTo>
                    <a:pt x="356" y="163"/>
                  </a:lnTo>
                  <a:lnTo>
                    <a:pt x="351" y="161"/>
                  </a:lnTo>
                  <a:lnTo>
                    <a:pt x="349" y="161"/>
                  </a:lnTo>
                  <a:lnTo>
                    <a:pt x="347" y="161"/>
                  </a:lnTo>
                  <a:lnTo>
                    <a:pt x="347" y="161"/>
                  </a:lnTo>
                  <a:lnTo>
                    <a:pt x="347" y="159"/>
                  </a:lnTo>
                  <a:lnTo>
                    <a:pt x="344" y="156"/>
                  </a:lnTo>
                  <a:lnTo>
                    <a:pt x="342" y="159"/>
                  </a:lnTo>
                  <a:lnTo>
                    <a:pt x="339" y="159"/>
                  </a:lnTo>
                  <a:lnTo>
                    <a:pt x="339" y="159"/>
                  </a:lnTo>
                  <a:lnTo>
                    <a:pt x="339" y="159"/>
                  </a:lnTo>
                  <a:lnTo>
                    <a:pt x="337" y="156"/>
                  </a:lnTo>
                  <a:lnTo>
                    <a:pt x="335" y="156"/>
                  </a:lnTo>
                  <a:lnTo>
                    <a:pt x="335" y="156"/>
                  </a:lnTo>
                  <a:lnTo>
                    <a:pt x="332" y="156"/>
                  </a:lnTo>
                  <a:lnTo>
                    <a:pt x="330" y="154"/>
                  </a:lnTo>
                  <a:lnTo>
                    <a:pt x="328" y="154"/>
                  </a:lnTo>
                  <a:lnTo>
                    <a:pt x="325" y="154"/>
                  </a:lnTo>
                  <a:lnTo>
                    <a:pt x="325" y="156"/>
                  </a:lnTo>
                  <a:lnTo>
                    <a:pt x="323" y="159"/>
                  </a:lnTo>
                  <a:lnTo>
                    <a:pt x="323" y="161"/>
                  </a:lnTo>
                  <a:lnTo>
                    <a:pt x="321" y="161"/>
                  </a:lnTo>
                  <a:lnTo>
                    <a:pt x="321" y="163"/>
                  </a:lnTo>
                  <a:lnTo>
                    <a:pt x="321" y="166"/>
                  </a:lnTo>
                  <a:lnTo>
                    <a:pt x="321" y="166"/>
                  </a:lnTo>
                  <a:lnTo>
                    <a:pt x="321" y="163"/>
                  </a:lnTo>
                  <a:lnTo>
                    <a:pt x="321" y="161"/>
                  </a:lnTo>
                  <a:lnTo>
                    <a:pt x="321" y="159"/>
                  </a:lnTo>
                  <a:lnTo>
                    <a:pt x="321" y="159"/>
                  </a:lnTo>
                  <a:lnTo>
                    <a:pt x="318" y="156"/>
                  </a:lnTo>
                  <a:lnTo>
                    <a:pt x="316" y="159"/>
                  </a:lnTo>
                  <a:lnTo>
                    <a:pt x="316" y="159"/>
                  </a:lnTo>
                  <a:lnTo>
                    <a:pt x="316" y="156"/>
                  </a:lnTo>
                  <a:lnTo>
                    <a:pt x="321" y="156"/>
                  </a:lnTo>
                  <a:lnTo>
                    <a:pt x="321" y="156"/>
                  </a:lnTo>
                  <a:lnTo>
                    <a:pt x="321" y="154"/>
                  </a:lnTo>
                  <a:lnTo>
                    <a:pt x="321" y="152"/>
                  </a:lnTo>
                  <a:lnTo>
                    <a:pt x="318" y="152"/>
                  </a:lnTo>
                  <a:lnTo>
                    <a:pt x="314" y="152"/>
                  </a:lnTo>
                  <a:lnTo>
                    <a:pt x="311" y="152"/>
                  </a:lnTo>
                  <a:lnTo>
                    <a:pt x="311" y="152"/>
                  </a:lnTo>
                  <a:lnTo>
                    <a:pt x="306" y="152"/>
                  </a:lnTo>
                  <a:lnTo>
                    <a:pt x="306" y="154"/>
                  </a:lnTo>
                  <a:lnTo>
                    <a:pt x="306" y="154"/>
                  </a:lnTo>
                  <a:lnTo>
                    <a:pt x="311" y="156"/>
                  </a:lnTo>
                  <a:lnTo>
                    <a:pt x="311" y="156"/>
                  </a:lnTo>
                  <a:lnTo>
                    <a:pt x="306" y="156"/>
                  </a:lnTo>
                  <a:lnTo>
                    <a:pt x="306" y="156"/>
                  </a:lnTo>
                  <a:lnTo>
                    <a:pt x="306" y="159"/>
                  </a:lnTo>
                  <a:lnTo>
                    <a:pt x="304" y="159"/>
                  </a:lnTo>
                  <a:lnTo>
                    <a:pt x="304" y="161"/>
                  </a:lnTo>
                  <a:lnTo>
                    <a:pt x="299" y="163"/>
                  </a:lnTo>
                  <a:lnTo>
                    <a:pt x="299" y="163"/>
                  </a:lnTo>
                  <a:lnTo>
                    <a:pt x="299" y="161"/>
                  </a:lnTo>
                  <a:lnTo>
                    <a:pt x="299" y="161"/>
                  </a:lnTo>
                  <a:lnTo>
                    <a:pt x="299" y="161"/>
                  </a:lnTo>
                  <a:lnTo>
                    <a:pt x="299" y="159"/>
                  </a:lnTo>
                  <a:lnTo>
                    <a:pt x="297" y="159"/>
                  </a:lnTo>
                  <a:lnTo>
                    <a:pt x="299" y="156"/>
                  </a:lnTo>
                  <a:lnTo>
                    <a:pt x="299" y="154"/>
                  </a:lnTo>
                  <a:lnTo>
                    <a:pt x="299" y="154"/>
                  </a:lnTo>
                  <a:lnTo>
                    <a:pt x="297" y="154"/>
                  </a:lnTo>
                  <a:lnTo>
                    <a:pt x="292" y="156"/>
                  </a:lnTo>
                  <a:lnTo>
                    <a:pt x="290" y="159"/>
                  </a:lnTo>
                  <a:lnTo>
                    <a:pt x="283" y="163"/>
                  </a:lnTo>
                  <a:lnTo>
                    <a:pt x="283" y="166"/>
                  </a:lnTo>
                  <a:lnTo>
                    <a:pt x="281" y="168"/>
                  </a:lnTo>
                  <a:lnTo>
                    <a:pt x="278" y="168"/>
                  </a:lnTo>
                  <a:lnTo>
                    <a:pt x="278" y="168"/>
                  </a:lnTo>
                  <a:lnTo>
                    <a:pt x="278" y="166"/>
                  </a:lnTo>
                  <a:lnTo>
                    <a:pt x="281" y="163"/>
                  </a:lnTo>
                  <a:lnTo>
                    <a:pt x="281" y="161"/>
                  </a:lnTo>
                  <a:lnTo>
                    <a:pt x="281" y="161"/>
                  </a:lnTo>
                  <a:lnTo>
                    <a:pt x="283" y="159"/>
                  </a:lnTo>
                  <a:lnTo>
                    <a:pt x="285" y="156"/>
                  </a:lnTo>
                  <a:lnTo>
                    <a:pt x="288" y="156"/>
                  </a:lnTo>
                  <a:lnTo>
                    <a:pt x="288" y="154"/>
                  </a:lnTo>
                  <a:lnTo>
                    <a:pt x="285" y="154"/>
                  </a:lnTo>
                  <a:lnTo>
                    <a:pt x="285" y="154"/>
                  </a:lnTo>
                  <a:lnTo>
                    <a:pt x="283" y="154"/>
                  </a:lnTo>
                  <a:lnTo>
                    <a:pt x="283" y="154"/>
                  </a:lnTo>
                  <a:lnTo>
                    <a:pt x="281" y="154"/>
                  </a:lnTo>
                  <a:lnTo>
                    <a:pt x="281" y="154"/>
                  </a:lnTo>
                  <a:lnTo>
                    <a:pt x="281" y="154"/>
                  </a:lnTo>
                  <a:lnTo>
                    <a:pt x="278" y="154"/>
                  </a:lnTo>
                  <a:lnTo>
                    <a:pt x="276" y="154"/>
                  </a:lnTo>
                  <a:lnTo>
                    <a:pt x="273" y="152"/>
                  </a:lnTo>
                  <a:lnTo>
                    <a:pt x="273" y="152"/>
                  </a:lnTo>
                  <a:lnTo>
                    <a:pt x="271" y="152"/>
                  </a:lnTo>
                  <a:lnTo>
                    <a:pt x="269" y="154"/>
                  </a:lnTo>
                  <a:lnTo>
                    <a:pt x="266" y="156"/>
                  </a:lnTo>
                  <a:lnTo>
                    <a:pt x="266" y="156"/>
                  </a:lnTo>
                  <a:lnTo>
                    <a:pt x="269" y="156"/>
                  </a:lnTo>
                  <a:lnTo>
                    <a:pt x="269" y="156"/>
                  </a:lnTo>
                  <a:lnTo>
                    <a:pt x="269" y="159"/>
                  </a:lnTo>
                  <a:lnTo>
                    <a:pt x="266" y="159"/>
                  </a:lnTo>
                  <a:lnTo>
                    <a:pt x="264" y="161"/>
                  </a:lnTo>
                  <a:lnTo>
                    <a:pt x="262" y="161"/>
                  </a:lnTo>
                  <a:lnTo>
                    <a:pt x="259" y="163"/>
                  </a:lnTo>
                  <a:lnTo>
                    <a:pt x="257" y="166"/>
                  </a:lnTo>
                  <a:lnTo>
                    <a:pt x="255" y="166"/>
                  </a:lnTo>
                  <a:lnTo>
                    <a:pt x="255" y="168"/>
                  </a:lnTo>
                  <a:lnTo>
                    <a:pt x="255" y="168"/>
                  </a:lnTo>
                  <a:lnTo>
                    <a:pt x="257" y="170"/>
                  </a:lnTo>
                  <a:lnTo>
                    <a:pt x="257" y="170"/>
                  </a:lnTo>
                  <a:lnTo>
                    <a:pt x="255" y="170"/>
                  </a:lnTo>
                  <a:lnTo>
                    <a:pt x="255" y="168"/>
                  </a:lnTo>
                  <a:lnTo>
                    <a:pt x="252" y="168"/>
                  </a:lnTo>
                  <a:lnTo>
                    <a:pt x="250" y="166"/>
                  </a:lnTo>
                  <a:lnTo>
                    <a:pt x="250" y="163"/>
                  </a:lnTo>
                  <a:lnTo>
                    <a:pt x="250" y="163"/>
                  </a:lnTo>
                  <a:lnTo>
                    <a:pt x="248" y="163"/>
                  </a:lnTo>
                  <a:lnTo>
                    <a:pt x="243" y="163"/>
                  </a:lnTo>
                  <a:lnTo>
                    <a:pt x="243" y="166"/>
                  </a:lnTo>
                  <a:lnTo>
                    <a:pt x="243" y="166"/>
                  </a:lnTo>
                  <a:lnTo>
                    <a:pt x="240" y="163"/>
                  </a:lnTo>
                  <a:lnTo>
                    <a:pt x="238" y="166"/>
                  </a:lnTo>
                  <a:lnTo>
                    <a:pt x="238" y="166"/>
                  </a:lnTo>
                  <a:lnTo>
                    <a:pt x="236" y="166"/>
                  </a:lnTo>
                  <a:lnTo>
                    <a:pt x="231" y="166"/>
                  </a:lnTo>
                  <a:lnTo>
                    <a:pt x="229" y="166"/>
                  </a:lnTo>
                  <a:lnTo>
                    <a:pt x="229" y="166"/>
                  </a:lnTo>
                  <a:lnTo>
                    <a:pt x="231" y="166"/>
                  </a:lnTo>
                  <a:lnTo>
                    <a:pt x="233" y="168"/>
                  </a:lnTo>
                  <a:lnTo>
                    <a:pt x="236" y="168"/>
                  </a:lnTo>
                  <a:lnTo>
                    <a:pt x="236" y="170"/>
                  </a:lnTo>
                  <a:lnTo>
                    <a:pt x="238" y="173"/>
                  </a:lnTo>
                  <a:lnTo>
                    <a:pt x="238" y="173"/>
                  </a:lnTo>
                  <a:lnTo>
                    <a:pt x="236" y="173"/>
                  </a:lnTo>
                  <a:lnTo>
                    <a:pt x="233" y="170"/>
                  </a:lnTo>
                  <a:lnTo>
                    <a:pt x="231" y="170"/>
                  </a:lnTo>
                  <a:lnTo>
                    <a:pt x="229" y="170"/>
                  </a:lnTo>
                  <a:lnTo>
                    <a:pt x="226" y="173"/>
                  </a:lnTo>
                  <a:lnTo>
                    <a:pt x="226" y="173"/>
                  </a:lnTo>
                  <a:lnTo>
                    <a:pt x="224" y="170"/>
                  </a:lnTo>
                  <a:lnTo>
                    <a:pt x="224" y="170"/>
                  </a:lnTo>
                  <a:lnTo>
                    <a:pt x="219" y="170"/>
                  </a:lnTo>
                  <a:lnTo>
                    <a:pt x="219" y="173"/>
                  </a:lnTo>
                  <a:lnTo>
                    <a:pt x="219" y="175"/>
                  </a:lnTo>
                  <a:lnTo>
                    <a:pt x="219" y="175"/>
                  </a:lnTo>
                  <a:lnTo>
                    <a:pt x="222" y="178"/>
                  </a:lnTo>
                  <a:lnTo>
                    <a:pt x="222" y="178"/>
                  </a:lnTo>
                  <a:lnTo>
                    <a:pt x="222" y="178"/>
                  </a:lnTo>
                  <a:lnTo>
                    <a:pt x="219" y="178"/>
                  </a:lnTo>
                  <a:lnTo>
                    <a:pt x="215" y="180"/>
                  </a:lnTo>
                  <a:lnTo>
                    <a:pt x="215" y="182"/>
                  </a:lnTo>
                  <a:lnTo>
                    <a:pt x="212" y="182"/>
                  </a:lnTo>
                  <a:lnTo>
                    <a:pt x="212" y="182"/>
                  </a:lnTo>
                  <a:lnTo>
                    <a:pt x="217" y="178"/>
                  </a:lnTo>
                  <a:lnTo>
                    <a:pt x="217" y="178"/>
                  </a:lnTo>
                  <a:lnTo>
                    <a:pt x="217" y="175"/>
                  </a:lnTo>
                  <a:lnTo>
                    <a:pt x="217" y="173"/>
                  </a:lnTo>
                  <a:lnTo>
                    <a:pt x="217" y="170"/>
                  </a:lnTo>
                  <a:lnTo>
                    <a:pt x="217" y="170"/>
                  </a:lnTo>
                  <a:lnTo>
                    <a:pt x="215" y="170"/>
                  </a:lnTo>
                  <a:lnTo>
                    <a:pt x="215" y="170"/>
                  </a:lnTo>
                  <a:lnTo>
                    <a:pt x="212" y="173"/>
                  </a:lnTo>
                  <a:lnTo>
                    <a:pt x="212" y="173"/>
                  </a:lnTo>
                  <a:lnTo>
                    <a:pt x="210" y="175"/>
                  </a:lnTo>
                  <a:lnTo>
                    <a:pt x="210" y="178"/>
                  </a:lnTo>
                  <a:lnTo>
                    <a:pt x="207" y="180"/>
                  </a:lnTo>
                  <a:lnTo>
                    <a:pt x="207" y="178"/>
                  </a:lnTo>
                  <a:lnTo>
                    <a:pt x="207" y="178"/>
                  </a:lnTo>
                  <a:lnTo>
                    <a:pt x="207" y="173"/>
                  </a:lnTo>
                  <a:lnTo>
                    <a:pt x="207" y="173"/>
                  </a:lnTo>
                  <a:lnTo>
                    <a:pt x="200" y="175"/>
                  </a:lnTo>
                  <a:lnTo>
                    <a:pt x="198" y="175"/>
                  </a:lnTo>
                  <a:lnTo>
                    <a:pt x="198" y="175"/>
                  </a:lnTo>
                  <a:lnTo>
                    <a:pt x="198" y="178"/>
                  </a:lnTo>
                  <a:lnTo>
                    <a:pt x="198" y="178"/>
                  </a:lnTo>
                  <a:lnTo>
                    <a:pt x="198" y="178"/>
                  </a:lnTo>
                  <a:lnTo>
                    <a:pt x="196" y="178"/>
                  </a:lnTo>
                  <a:lnTo>
                    <a:pt x="193" y="178"/>
                  </a:lnTo>
                  <a:lnTo>
                    <a:pt x="193" y="178"/>
                  </a:lnTo>
                  <a:lnTo>
                    <a:pt x="193" y="180"/>
                  </a:lnTo>
                  <a:lnTo>
                    <a:pt x="196" y="180"/>
                  </a:lnTo>
                  <a:lnTo>
                    <a:pt x="198" y="182"/>
                  </a:lnTo>
                  <a:lnTo>
                    <a:pt x="198" y="182"/>
                  </a:lnTo>
                  <a:lnTo>
                    <a:pt x="193" y="182"/>
                  </a:lnTo>
                  <a:lnTo>
                    <a:pt x="191" y="180"/>
                  </a:lnTo>
                  <a:lnTo>
                    <a:pt x="191" y="180"/>
                  </a:lnTo>
                  <a:lnTo>
                    <a:pt x="189" y="180"/>
                  </a:lnTo>
                  <a:lnTo>
                    <a:pt x="189" y="180"/>
                  </a:lnTo>
                  <a:lnTo>
                    <a:pt x="189" y="180"/>
                  </a:lnTo>
                  <a:lnTo>
                    <a:pt x="186" y="182"/>
                  </a:lnTo>
                  <a:lnTo>
                    <a:pt x="186" y="182"/>
                  </a:lnTo>
                  <a:lnTo>
                    <a:pt x="186" y="185"/>
                  </a:lnTo>
                  <a:lnTo>
                    <a:pt x="186" y="185"/>
                  </a:lnTo>
                  <a:lnTo>
                    <a:pt x="182" y="185"/>
                  </a:lnTo>
                  <a:lnTo>
                    <a:pt x="179" y="187"/>
                  </a:lnTo>
                  <a:lnTo>
                    <a:pt x="179" y="189"/>
                  </a:lnTo>
                  <a:lnTo>
                    <a:pt x="177" y="192"/>
                  </a:lnTo>
                  <a:lnTo>
                    <a:pt x="174" y="192"/>
                  </a:lnTo>
                  <a:lnTo>
                    <a:pt x="172" y="194"/>
                  </a:lnTo>
                  <a:lnTo>
                    <a:pt x="167" y="194"/>
                  </a:lnTo>
                  <a:lnTo>
                    <a:pt x="167" y="194"/>
                  </a:lnTo>
                  <a:lnTo>
                    <a:pt x="167" y="196"/>
                  </a:lnTo>
                  <a:lnTo>
                    <a:pt x="167" y="196"/>
                  </a:lnTo>
                  <a:lnTo>
                    <a:pt x="167" y="196"/>
                  </a:lnTo>
                  <a:lnTo>
                    <a:pt x="177" y="196"/>
                  </a:lnTo>
                  <a:lnTo>
                    <a:pt x="179" y="196"/>
                  </a:lnTo>
                  <a:lnTo>
                    <a:pt x="179" y="196"/>
                  </a:lnTo>
                  <a:lnTo>
                    <a:pt x="179" y="196"/>
                  </a:lnTo>
                  <a:lnTo>
                    <a:pt x="182" y="196"/>
                  </a:lnTo>
                  <a:lnTo>
                    <a:pt x="182" y="199"/>
                  </a:lnTo>
                  <a:lnTo>
                    <a:pt x="179" y="199"/>
                  </a:lnTo>
                  <a:lnTo>
                    <a:pt x="177" y="199"/>
                  </a:lnTo>
                  <a:lnTo>
                    <a:pt x="174" y="199"/>
                  </a:lnTo>
                  <a:lnTo>
                    <a:pt x="172" y="199"/>
                  </a:lnTo>
                  <a:lnTo>
                    <a:pt x="172" y="199"/>
                  </a:lnTo>
                  <a:lnTo>
                    <a:pt x="167" y="199"/>
                  </a:lnTo>
                  <a:lnTo>
                    <a:pt x="165" y="199"/>
                  </a:lnTo>
                  <a:lnTo>
                    <a:pt x="163" y="199"/>
                  </a:lnTo>
                  <a:lnTo>
                    <a:pt x="163" y="201"/>
                  </a:lnTo>
                  <a:lnTo>
                    <a:pt x="163" y="204"/>
                  </a:lnTo>
                  <a:lnTo>
                    <a:pt x="165" y="204"/>
                  </a:lnTo>
                  <a:lnTo>
                    <a:pt x="165" y="204"/>
                  </a:lnTo>
                  <a:lnTo>
                    <a:pt x="165" y="204"/>
                  </a:lnTo>
                  <a:lnTo>
                    <a:pt x="165" y="204"/>
                  </a:lnTo>
                  <a:lnTo>
                    <a:pt x="163" y="206"/>
                  </a:lnTo>
                  <a:lnTo>
                    <a:pt x="165" y="208"/>
                  </a:lnTo>
                  <a:lnTo>
                    <a:pt x="163" y="208"/>
                  </a:lnTo>
                  <a:lnTo>
                    <a:pt x="160" y="206"/>
                  </a:lnTo>
                  <a:lnTo>
                    <a:pt x="160" y="201"/>
                  </a:lnTo>
                  <a:lnTo>
                    <a:pt x="160" y="201"/>
                  </a:lnTo>
                  <a:lnTo>
                    <a:pt x="160" y="201"/>
                  </a:lnTo>
                  <a:lnTo>
                    <a:pt x="158" y="201"/>
                  </a:lnTo>
                  <a:lnTo>
                    <a:pt x="156" y="204"/>
                  </a:lnTo>
                  <a:lnTo>
                    <a:pt x="153" y="204"/>
                  </a:lnTo>
                  <a:lnTo>
                    <a:pt x="151" y="204"/>
                  </a:lnTo>
                  <a:lnTo>
                    <a:pt x="151" y="204"/>
                  </a:lnTo>
                  <a:lnTo>
                    <a:pt x="151" y="206"/>
                  </a:lnTo>
                  <a:lnTo>
                    <a:pt x="153" y="206"/>
                  </a:lnTo>
                  <a:lnTo>
                    <a:pt x="156" y="206"/>
                  </a:lnTo>
                  <a:lnTo>
                    <a:pt x="153" y="206"/>
                  </a:lnTo>
                  <a:lnTo>
                    <a:pt x="151" y="206"/>
                  </a:lnTo>
                  <a:lnTo>
                    <a:pt x="151" y="206"/>
                  </a:lnTo>
                  <a:lnTo>
                    <a:pt x="149" y="206"/>
                  </a:lnTo>
                  <a:lnTo>
                    <a:pt x="146" y="206"/>
                  </a:lnTo>
                  <a:lnTo>
                    <a:pt x="144" y="208"/>
                  </a:lnTo>
                  <a:lnTo>
                    <a:pt x="144" y="211"/>
                  </a:lnTo>
                  <a:lnTo>
                    <a:pt x="144" y="211"/>
                  </a:lnTo>
                  <a:lnTo>
                    <a:pt x="144" y="211"/>
                  </a:lnTo>
                  <a:lnTo>
                    <a:pt x="146" y="211"/>
                  </a:lnTo>
                  <a:lnTo>
                    <a:pt x="151" y="211"/>
                  </a:lnTo>
                  <a:lnTo>
                    <a:pt x="151" y="211"/>
                  </a:lnTo>
                  <a:lnTo>
                    <a:pt x="151" y="211"/>
                  </a:lnTo>
                  <a:lnTo>
                    <a:pt x="149" y="211"/>
                  </a:lnTo>
                  <a:lnTo>
                    <a:pt x="149" y="213"/>
                  </a:lnTo>
                  <a:lnTo>
                    <a:pt x="151" y="213"/>
                  </a:lnTo>
                  <a:lnTo>
                    <a:pt x="153" y="213"/>
                  </a:lnTo>
                  <a:lnTo>
                    <a:pt x="156" y="213"/>
                  </a:lnTo>
                  <a:lnTo>
                    <a:pt x="156" y="213"/>
                  </a:lnTo>
                  <a:lnTo>
                    <a:pt x="153" y="215"/>
                  </a:lnTo>
                  <a:lnTo>
                    <a:pt x="156" y="218"/>
                  </a:lnTo>
                  <a:lnTo>
                    <a:pt x="153" y="218"/>
                  </a:lnTo>
                  <a:lnTo>
                    <a:pt x="153" y="215"/>
                  </a:lnTo>
                  <a:lnTo>
                    <a:pt x="151" y="215"/>
                  </a:lnTo>
                  <a:lnTo>
                    <a:pt x="151" y="215"/>
                  </a:lnTo>
                  <a:lnTo>
                    <a:pt x="149" y="213"/>
                  </a:lnTo>
                  <a:lnTo>
                    <a:pt x="146" y="213"/>
                  </a:lnTo>
                  <a:lnTo>
                    <a:pt x="144" y="215"/>
                  </a:lnTo>
                  <a:lnTo>
                    <a:pt x="141" y="215"/>
                  </a:lnTo>
                  <a:lnTo>
                    <a:pt x="139" y="218"/>
                  </a:lnTo>
                  <a:lnTo>
                    <a:pt x="139" y="218"/>
                  </a:lnTo>
                  <a:lnTo>
                    <a:pt x="139" y="218"/>
                  </a:lnTo>
                  <a:lnTo>
                    <a:pt x="139" y="218"/>
                  </a:lnTo>
                  <a:lnTo>
                    <a:pt x="141" y="218"/>
                  </a:lnTo>
                  <a:lnTo>
                    <a:pt x="144" y="218"/>
                  </a:lnTo>
                  <a:lnTo>
                    <a:pt x="151" y="218"/>
                  </a:lnTo>
                  <a:lnTo>
                    <a:pt x="153" y="220"/>
                  </a:lnTo>
                  <a:lnTo>
                    <a:pt x="153" y="220"/>
                  </a:lnTo>
                  <a:lnTo>
                    <a:pt x="144" y="220"/>
                  </a:lnTo>
                  <a:lnTo>
                    <a:pt x="141" y="220"/>
                  </a:lnTo>
                  <a:lnTo>
                    <a:pt x="139" y="220"/>
                  </a:lnTo>
                  <a:lnTo>
                    <a:pt x="137" y="220"/>
                  </a:lnTo>
                  <a:lnTo>
                    <a:pt x="134" y="222"/>
                  </a:lnTo>
                  <a:lnTo>
                    <a:pt x="134" y="222"/>
                  </a:lnTo>
                  <a:lnTo>
                    <a:pt x="132" y="222"/>
                  </a:lnTo>
                  <a:lnTo>
                    <a:pt x="132" y="225"/>
                  </a:lnTo>
                  <a:lnTo>
                    <a:pt x="130" y="225"/>
                  </a:lnTo>
                  <a:lnTo>
                    <a:pt x="130" y="225"/>
                  </a:lnTo>
                  <a:lnTo>
                    <a:pt x="127" y="225"/>
                  </a:lnTo>
                  <a:lnTo>
                    <a:pt x="130" y="227"/>
                  </a:lnTo>
                  <a:lnTo>
                    <a:pt x="132" y="227"/>
                  </a:lnTo>
                  <a:lnTo>
                    <a:pt x="132" y="227"/>
                  </a:lnTo>
                  <a:lnTo>
                    <a:pt x="130" y="227"/>
                  </a:lnTo>
                  <a:lnTo>
                    <a:pt x="127" y="227"/>
                  </a:lnTo>
                  <a:lnTo>
                    <a:pt x="127" y="227"/>
                  </a:lnTo>
                  <a:lnTo>
                    <a:pt x="125" y="230"/>
                  </a:lnTo>
                  <a:lnTo>
                    <a:pt x="123" y="230"/>
                  </a:lnTo>
                  <a:lnTo>
                    <a:pt x="123" y="230"/>
                  </a:lnTo>
                  <a:lnTo>
                    <a:pt x="123" y="232"/>
                  </a:lnTo>
                  <a:lnTo>
                    <a:pt x="120" y="232"/>
                  </a:lnTo>
                  <a:lnTo>
                    <a:pt x="120" y="234"/>
                  </a:lnTo>
                  <a:lnTo>
                    <a:pt x="120" y="237"/>
                  </a:lnTo>
                  <a:lnTo>
                    <a:pt x="125" y="237"/>
                  </a:lnTo>
                  <a:lnTo>
                    <a:pt x="125" y="237"/>
                  </a:lnTo>
                  <a:lnTo>
                    <a:pt x="125" y="237"/>
                  </a:lnTo>
                  <a:lnTo>
                    <a:pt x="130" y="237"/>
                  </a:lnTo>
                  <a:lnTo>
                    <a:pt x="132" y="237"/>
                  </a:lnTo>
                  <a:lnTo>
                    <a:pt x="134" y="237"/>
                  </a:lnTo>
                  <a:lnTo>
                    <a:pt x="132" y="237"/>
                  </a:lnTo>
                  <a:lnTo>
                    <a:pt x="130" y="237"/>
                  </a:lnTo>
                  <a:lnTo>
                    <a:pt x="130" y="239"/>
                  </a:lnTo>
                  <a:lnTo>
                    <a:pt x="125" y="239"/>
                  </a:lnTo>
                  <a:lnTo>
                    <a:pt x="116" y="239"/>
                  </a:lnTo>
                  <a:lnTo>
                    <a:pt x="116" y="241"/>
                  </a:lnTo>
                  <a:lnTo>
                    <a:pt x="118" y="241"/>
                  </a:lnTo>
                  <a:lnTo>
                    <a:pt x="120" y="244"/>
                  </a:lnTo>
                  <a:lnTo>
                    <a:pt x="118" y="244"/>
                  </a:lnTo>
                  <a:lnTo>
                    <a:pt x="116" y="244"/>
                  </a:lnTo>
                  <a:lnTo>
                    <a:pt x="116" y="244"/>
                  </a:lnTo>
                  <a:lnTo>
                    <a:pt x="113" y="246"/>
                  </a:lnTo>
                  <a:lnTo>
                    <a:pt x="111" y="248"/>
                  </a:lnTo>
                  <a:lnTo>
                    <a:pt x="108" y="251"/>
                  </a:lnTo>
                  <a:lnTo>
                    <a:pt x="108" y="251"/>
                  </a:lnTo>
                  <a:lnTo>
                    <a:pt x="106" y="253"/>
                  </a:lnTo>
                  <a:lnTo>
                    <a:pt x="106" y="256"/>
                  </a:lnTo>
                  <a:lnTo>
                    <a:pt x="108" y="256"/>
                  </a:lnTo>
                  <a:lnTo>
                    <a:pt x="108" y="256"/>
                  </a:lnTo>
                  <a:lnTo>
                    <a:pt x="111" y="256"/>
                  </a:lnTo>
                  <a:lnTo>
                    <a:pt x="111" y="256"/>
                  </a:lnTo>
                  <a:lnTo>
                    <a:pt x="111" y="258"/>
                  </a:lnTo>
                  <a:lnTo>
                    <a:pt x="113" y="256"/>
                  </a:lnTo>
                  <a:lnTo>
                    <a:pt x="116" y="256"/>
                  </a:lnTo>
                  <a:lnTo>
                    <a:pt x="118" y="256"/>
                  </a:lnTo>
                  <a:lnTo>
                    <a:pt x="118" y="253"/>
                  </a:lnTo>
                  <a:lnTo>
                    <a:pt x="116" y="256"/>
                  </a:lnTo>
                  <a:lnTo>
                    <a:pt x="113" y="258"/>
                  </a:lnTo>
                  <a:lnTo>
                    <a:pt x="111" y="258"/>
                  </a:lnTo>
                  <a:lnTo>
                    <a:pt x="108" y="258"/>
                  </a:lnTo>
                  <a:lnTo>
                    <a:pt x="108" y="258"/>
                  </a:lnTo>
                  <a:lnTo>
                    <a:pt x="99" y="260"/>
                  </a:lnTo>
                  <a:lnTo>
                    <a:pt x="97" y="263"/>
                  </a:lnTo>
                  <a:lnTo>
                    <a:pt x="97" y="263"/>
                  </a:lnTo>
                  <a:lnTo>
                    <a:pt x="97" y="265"/>
                  </a:lnTo>
                  <a:lnTo>
                    <a:pt x="97" y="265"/>
                  </a:lnTo>
                  <a:lnTo>
                    <a:pt x="99" y="263"/>
                  </a:lnTo>
                  <a:lnTo>
                    <a:pt x="101" y="263"/>
                  </a:lnTo>
                  <a:lnTo>
                    <a:pt x="99" y="265"/>
                  </a:lnTo>
                  <a:lnTo>
                    <a:pt x="97" y="265"/>
                  </a:lnTo>
                  <a:lnTo>
                    <a:pt x="94" y="267"/>
                  </a:lnTo>
                  <a:lnTo>
                    <a:pt x="92" y="267"/>
                  </a:lnTo>
                  <a:lnTo>
                    <a:pt x="90" y="267"/>
                  </a:lnTo>
                  <a:lnTo>
                    <a:pt x="90" y="270"/>
                  </a:lnTo>
                  <a:lnTo>
                    <a:pt x="85" y="272"/>
                  </a:lnTo>
                  <a:lnTo>
                    <a:pt x="80" y="274"/>
                  </a:lnTo>
                  <a:lnTo>
                    <a:pt x="78" y="277"/>
                  </a:lnTo>
                  <a:lnTo>
                    <a:pt x="75" y="279"/>
                  </a:lnTo>
                  <a:lnTo>
                    <a:pt x="75" y="282"/>
                  </a:lnTo>
                  <a:lnTo>
                    <a:pt x="73" y="282"/>
                  </a:lnTo>
                  <a:lnTo>
                    <a:pt x="71" y="284"/>
                  </a:lnTo>
                  <a:lnTo>
                    <a:pt x="71" y="284"/>
                  </a:lnTo>
                  <a:lnTo>
                    <a:pt x="71" y="284"/>
                  </a:lnTo>
                  <a:lnTo>
                    <a:pt x="73" y="284"/>
                  </a:lnTo>
                  <a:lnTo>
                    <a:pt x="73" y="284"/>
                  </a:lnTo>
                  <a:lnTo>
                    <a:pt x="75" y="286"/>
                  </a:lnTo>
                  <a:lnTo>
                    <a:pt x="75" y="286"/>
                  </a:lnTo>
                  <a:lnTo>
                    <a:pt x="75" y="289"/>
                  </a:lnTo>
                  <a:lnTo>
                    <a:pt x="78" y="289"/>
                  </a:lnTo>
                  <a:lnTo>
                    <a:pt x="83" y="286"/>
                  </a:lnTo>
                  <a:lnTo>
                    <a:pt x="90" y="284"/>
                  </a:lnTo>
                  <a:lnTo>
                    <a:pt x="92" y="282"/>
                  </a:lnTo>
                  <a:lnTo>
                    <a:pt x="92" y="282"/>
                  </a:lnTo>
                  <a:lnTo>
                    <a:pt x="90" y="282"/>
                  </a:lnTo>
                  <a:lnTo>
                    <a:pt x="92" y="279"/>
                  </a:lnTo>
                  <a:lnTo>
                    <a:pt x="94" y="279"/>
                  </a:lnTo>
                  <a:lnTo>
                    <a:pt x="97" y="277"/>
                  </a:lnTo>
                  <a:lnTo>
                    <a:pt x="97" y="279"/>
                  </a:lnTo>
                  <a:lnTo>
                    <a:pt x="97" y="279"/>
                  </a:lnTo>
                  <a:lnTo>
                    <a:pt x="97" y="279"/>
                  </a:lnTo>
                  <a:lnTo>
                    <a:pt x="94" y="282"/>
                  </a:lnTo>
                  <a:lnTo>
                    <a:pt x="94" y="282"/>
                  </a:lnTo>
                  <a:lnTo>
                    <a:pt x="97" y="282"/>
                  </a:lnTo>
                  <a:lnTo>
                    <a:pt x="97" y="282"/>
                  </a:lnTo>
                  <a:lnTo>
                    <a:pt x="97" y="282"/>
                  </a:lnTo>
                  <a:lnTo>
                    <a:pt x="94" y="284"/>
                  </a:lnTo>
                  <a:lnTo>
                    <a:pt x="92" y="284"/>
                  </a:lnTo>
                  <a:lnTo>
                    <a:pt x="90" y="284"/>
                  </a:lnTo>
                  <a:lnTo>
                    <a:pt x="87" y="286"/>
                  </a:lnTo>
                  <a:lnTo>
                    <a:pt x="87" y="286"/>
                  </a:lnTo>
                  <a:lnTo>
                    <a:pt x="87" y="286"/>
                  </a:lnTo>
                  <a:lnTo>
                    <a:pt x="87" y="289"/>
                  </a:lnTo>
                  <a:lnTo>
                    <a:pt x="87" y="289"/>
                  </a:lnTo>
                  <a:lnTo>
                    <a:pt x="87" y="289"/>
                  </a:lnTo>
                  <a:lnTo>
                    <a:pt x="85" y="289"/>
                  </a:lnTo>
                  <a:lnTo>
                    <a:pt x="83" y="289"/>
                  </a:lnTo>
                  <a:lnTo>
                    <a:pt x="80" y="289"/>
                  </a:lnTo>
                  <a:lnTo>
                    <a:pt x="78" y="289"/>
                  </a:lnTo>
                  <a:lnTo>
                    <a:pt x="78" y="291"/>
                  </a:lnTo>
                  <a:lnTo>
                    <a:pt x="75" y="291"/>
                  </a:lnTo>
                  <a:lnTo>
                    <a:pt x="75" y="289"/>
                  </a:lnTo>
                  <a:lnTo>
                    <a:pt x="75" y="289"/>
                  </a:lnTo>
                  <a:lnTo>
                    <a:pt x="75" y="289"/>
                  </a:lnTo>
                  <a:lnTo>
                    <a:pt x="73" y="286"/>
                  </a:lnTo>
                  <a:lnTo>
                    <a:pt x="71" y="286"/>
                  </a:lnTo>
                  <a:lnTo>
                    <a:pt x="71" y="286"/>
                  </a:lnTo>
                  <a:lnTo>
                    <a:pt x="68" y="286"/>
                  </a:lnTo>
                  <a:lnTo>
                    <a:pt x="64" y="289"/>
                  </a:lnTo>
                  <a:lnTo>
                    <a:pt x="64" y="289"/>
                  </a:lnTo>
                  <a:lnTo>
                    <a:pt x="64" y="289"/>
                  </a:lnTo>
                  <a:lnTo>
                    <a:pt x="66" y="286"/>
                  </a:lnTo>
                  <a:lnTo>
                    <a:pt x="64" y="286"/>
                  </a:lnTo>
                  <a:lnTo>
                    <a:pt x="61" y="286"/>
                  </a:lnTo>
                  <a:lnTo>
                    <a:pt x="59" y="286"/>
                  </a:lnTo>
                  <a:lnTo>
                    <a:pt x="57" y="286"/>
                  </a:lnTo>
                  <a:lnTo>
                    <a:pt x="54" y="289"/>
                  </a:lnTo>
                  <a:lnTo>
                    <a:pt x="54" y="289"/>
                  </a:lnTo>
                  <a:lnTo>
                    <a:pt x="54" y="289"/>
                  </a:lnTo>
                  <a:lnTo>
                    <a:pt x="54" y="289"/>
                  </a:lnTo>
                  <a:lnTo>
                    <a:pt x="57" y="289"/>
                  </a:lnTo>
                  <a:lnTo>
                    <a:pt x="57" y="291"/>
                  </a:lnTo>
                  <a:lnTo>
                    <a:pt x="57" y="291"/>
                  </a:lnTo>
                  <a:lnTo>
                    <a:pt x="57" y="291"/>
                  </a:lnTo>
                  <a:lnTo>
                    <a:pt x="52" y="293"/>
                  </a:lnTo>
                  <a:lnTo>
                    <a:pt x="52" y="293"/>
                  </a:lnTo>
                  <a:lnTo>
                    <a:pt x="50" y="296"/>
                  </a:lnTo>
                  <a:lnTo>
                    <a:pt x="52" y="296"/>
                  </a:lnTo>
                  <a:lnTo>
                    <a:pt x="52" y="298"/>
                  </a:lnTo>
                  <a:lnTo>
                    <a:pt x="57" y="300"/>
                  </a:lnTo>
                  <a:lnTo>
                    <a:pt x="57" y="300"/>
                  </a:lnTo>
                  <a:lnTo>
                    <a:pt x="52" y="298"/>
                  </a:lnTo>
                  <a:lnTo>
                    <a:pt x="52" y="298"/>
                  </a:lnTo>
                  <a:lnTo>
                    <a:pt x="50" y="296"/>
                  </a:lnTo>
                  <a:lnTo>
                    <a:pt x="47" y="296"/>
                  </a:lnTo>
                  <a:lnTo>
                    <a:pt x="45" y="296"/>
                  </a:lnTo>
                  <a:lnTo>
                    <a:pt x="42" y="296"/>
                  </a:lnTo>
                  <a:lnTo>
                    <a:pt x="42" y="296"/>
                  </a:lnTo>
                  <a:lnTo>
                    <a:pt x="40" y="298"/>
                  </a:lnTo>
                  <a:lnTo>
                    <a:pt x="33" y="298"/>
                  </a:lnTo>
                  <a:lnTo>
                    <a:pt x="33" y="298"/>
                  </a:lnTo>
                  <a:lnTo>
                    <a:pt x="33" y="300"/>
                  </a:lnTo>
                  <a:lnTo>
                    <a:pt x="31" y="303"/>
                  </a:lnTo>
                  <a:lnTo>
                    <a:pt x="31" y="303"/>
                  </a:lnTo>
                  <a:lnTo>
                    <a:pt x="31" y="303"/>
                  </a:lnTo>
                  <a:lnTo>
                    <a:pt x="33" y="303"/>
                  </a:lnTo>
                  <a:lnTo>
                    <a:pt x="35" y="303"/>
                  </a:lnTo>
                  <a:lnTo>
                    <a:pt x="38" y="303"/>
                  </a:lnTo>
                  <a:lnTo>
                    <a:pt x="40" y="303"/>
                  </a:lnTo>
                  <a:lnTo>
                    <a:pt x="50" y="303"/>
                  </a:lnTo>
                  <a:lnTo>
                    <a:pt x="50" y="303"/>
                  </a:lnTo>
                  <a:lnTo>
                    <a:pt x="45" y="303"/>
                  </a:lnTo>
                  <a:lnTo>
                    <a:pt x="40" y="303"/>
                  </a:lnTo>
                  <a:lnTo>
                    <a:pt x="40" y="305"/>
                  </a:lnTo>
                  <a:lnTo>
                    <a:pt x="40" y="305"/>
                  </a:lnTo>
                  <a:lnTo>
                    <a:pt x="42" y="305"/>
                  </a:lnTo>
                  <a:lnTo>
                    <a:pt x="42" y="305"/>
                  </a:lnTo>
                  <a:lnTo>
                    <a:pt x="42" y="305"/>
                  </a:lnTo>
                  <a:lnTo>
                    <a:pt x="40" y="308"/>
                  </a:lnTo>
                  <a:lnTo>
                    <a:pt x="38" y="305"/>
                  </a:lnTo>
                  <a:lnTo>
                    <a:pt x="33" y="305"/>
                  </a:lnTo>
                  <a:lnTo>
                    <a:pt x="31" y="305"/>
                  </a:lnTo>
                  <a:lnTo>
                    <a:pt x="28" y="305"/>
                  </a:lnTo>
                  <a:lnTo>
                    <a:pt x="26" y="305"/>
                  </a:lnTo>
                  <a:lnTo>
                    <a:pt x="24" y="305"/>
                  </a:lnTo>
                  <a:lnTo>
                    <a:pt x="24" y="305"/>
                  </a:lnTo>
                  <a:lnTo>
                    <a:pt x="21" y="308"/>
                  </a:lnTo>
                  <a:lnTo>
                    <a:pt x="21" y="308"/>
                  </a:lnTo>
                  <a:lnTo>
                    <a:pt x="21" y="308"/>
                  </a:lnTo>
                  <a:lnTo>
                    <a:pt x="21" y="310"/>
                  </a:lnTo>
                  <a:lnTo>
                    <a:pt x="24" y="310"/>
                  </a:lnTo>
                  <a:lnTo>
                    <a:pt x="26" y="308"/>
                  </a:lnTo>
                  <a:lnTo>
                    <a:pt x="28" y="308"/>
                  </a:lnTo>
                  <a:lnTo>
                    <a:pt x="28" y="308"/>
                  </a:lnTo>
                  <a:lnTo>
                    <a:pt x="28" y="310"/>
                  </a:lnTo>
                  <a:lnTo>
                    <a:pt x="21" y="310"/>
                  </a:lnTo>
                  <a:lnTo>
                    <a:pt x="19" y="310"/>
                  </a:lnTo>
                  <a:lnTo>
                    <a:pt x="19" y="310"/>
                  </a:lnTo>
                  <a:lnTo>
                    <a:pt x="19" y="310"/>
                  </a:lnTo>
                  <a:lnTo>
                    <a:pt x="17" y="310"/>
                  </a:lnTo>
                  <a:lnTo>
                    <a:pt x="17" y="310"/>
                  </a:lnTo>
                  <a:lnTo>
                    <a:pt x="14" y="310"/>
                  </a:lnTo>
                  <a:lnTo>
                    <a:pt x="12" y="310"/>
                  </a:lnTo>
                  <a:lnTo>
                    <a:pt x="12" y="312"/>
                  </a:lnTo>
                  <a:lnTo>
                    <a:pt x="9" y="312"/>
                  </a:lnTo>
                  <a:lnTo>
                    <a:pt x="9" y="315"/>
                  </a:lnTo>
                  <a:lnTo>
                    <a:pt x="9" y="315"/>
                  </a:lnTo>
                  <a:lnTo>
                    <a:pt x="7" y="312"/>
                  </a:lnTo>
                  <a:lnTo>
                    <a:pt x="7" y="315"/>
                  </a:lnTo>
                  <a:lnTo>
                    <a:pt x="5" y="317"/>
                  </a:lnTo>
                  <a:lnTo>
                    <a:pt x="7" y="317"/>
                  </a:lnTo>
                  <a:lnTo>
                    <a:pt x="7" y="317"/>
                  </a:lnTo>
                  <a:lnTo>
                    <a:pt x="12" y="317"/>
                  </a:lnTo>
                  <a:lnTo>
                    <a:pt x="14" y="317"/>
                  </a:lnTo>
                  <a:lnTo>
                    <a:pt x="21" y="319"/>
                  </a:lnTo>
                  <a:lnTo>
                    <a:pt x="24" y="319"/>
                  </a:lnTo>
                  <a:lnTo>
                    <a:pt x="28" y="319"/>
                  </a:lnTo>
                  <a:lnTo>
                    <a:pt x="28" y="319"/>
                  </a:lnTo>
                  <a:lnTo>
                    <a:pt x="26" y="319"/>
                  </a:lnTo>
                  <a:lnTo>
                    <a:pt x="19" y="322"/>
                  </a:lnTo>
                  <a:lnTo>
                    <a:pt x="14" y="319"/>
                  </a:lnTo>
                  <a:lnTo>
                    <a:pt x="9" y="319"/>
                  </a:lnTo>
                  <a:lnTo>
                    <a:pt x="5" y="319"/>
                  </a:lnTo>
                  <a:lnTo>
                    <a:pt x="5" y="319"/>
                  </a:lnTo>
                  <a:lnTo>
                    <a:pt x="2" y="319"/>
                  </a:lnTo>
                  <a:lnTo>
                    <a:pt x="2" y="319"/>
                  </a:lnTo>
                  <a:lnTo>
                    <a:pt x="2" y="322"/>
                  </a:lnTo>
                  <a:lnTo>
                    <a:pt x="2" y="324"/>
                  </a:lnTo>
                  <a:lnTo>
                    <a:pt x="5" y="324"/>
                  </a:lnTo>
                  <a:lnTo>
                    <a:pt x="7" y="326"/>
                  </a:lnTo>
                  <a:lnTo>
                    <a:pt x="7" y="326"/>
                  </a:lnTo>
                  <a:lnTo>
                    <a:pt x="9" y="326"/>
                  </a:lnTo>
                  <a:lnTo>
                    <a:pt x="7" y="326"/>
                  </a:lnTo>
                  <a:lnTo>
                    <a:pt x="7" y="326"/>
                  </a:lnTo>
                  <a:lnTo>
                    <a:pt x="2" y="326"/>
                  </a:lnTo>
                  <a:lnTo>
                    <a:pt x="2" y="329"/>
                  </a:lnTo>
                  <a:lnTo>
                    <a:pt x="5" y="331"/>
                  </a:lnTo>
                  <a:lnTo>
                    <a:pt x="5" y="331"/>
                  </a:lnTo>
                  <a:lnTo>
                    <a:pt x="7" y="334"/>
                  </a:lnTo>
                  <a:lnTo>
                    <a:pt x="9" y="334"/>
                  </a:lnTo>
                  <a:lnTo>
                    <a:pt x="12" y="334"/>
                  </a:lnTo>
                  <a:lnTo>
                    <a:pt x="19" y="334"/>
                  </a:lnTo>
                  <a:lnTo>
                    <a:pt x="24" y="334"/>
                  </a:lnTo>
                  <a:lnTo>
                    <a:pt x="26" y="334"/>
                  </a:lnTo>
                  <a:lnTo>
                    <a:pt x="26" y="331"/>
                  </a:lnTo>
                  <a:lnTo>
                    <a:pt x="26" y="331"/>
                  </a:lnTo>
                  <a:lnTo>
                    <a:pt x="26" y="331"/>
                  </a:lnTo>
                  <a:lnTo>
                    <a:pt x="26" y="331"/>
                  </a:lnTo>
                  <a:lnTo>
                    <a:pt x="28" y="331"/>
                  </a:lnTo>
                  <a:lnTo>
                    <a:pt x="31" y="331"/>
                  </a:lnTo>
                  <a:lnTo>
                    <a:pt x="31" y="334"/>
                  </a:lnTo>
                  <a:lnTo>
                    <a:pt x="35" y="334"/>
                  </a:lnTo>
                  <a:lnTo>
                    <a:pt x="38" y="331"/>
                  </a:lnTo>
                  <a:lnTo>
                    <a:pt x="38" y="331"/>
                  </a:lnTo>
                  <a:lnTo>
                    <a:pt x="38" y="331"/>
                  </a:lnTo>
                  <a:lnTo>
                    <a:pt x="38" y="329"/>
                  </a:lnTo>
                  <a:lnTo>
                    <a:pt x="40" y="326"/>
                  </a:lnTo>
                  <a:lnTo>
                    <a:pt x="40" y="329"/>
                  </a:lnTo>
                  <a:lnTo>
                    <a:pt x="38" y="331"/>
                  </a:lnTo>
                  <a:lnTo>
                    <a:pt x="38" y="331"/>
                  </a:lnTo>
                  <a:lnTo>
                    <a:pt x="42" y="331"/>
                  </a:lnTo>
                  <a:lnTo>
                    <a:pt x="40" y="334"/>
                  </a:lnTo>
                  <a:lnTo>
                    <a:pt x="33" y="334"/>
                  </a:lnTo>
                  <a:lnTo>
                    <a:pt x="33" y="336"/>
                  </a:lnTo>
                  <a:lnTo>
                    <a:pt x="33" y="336"/>
                  </a:lnTo>
                  <a:lnTo>
                    <a:pt x="33" y="336"/>
                  </a:lnTo>
                  <a:lnTo>
                    <a:pt x="33" y="336"/>
                  </a:lnTo>
                  <a:lnTo>
                    <a:pt x="33" y="334"/>
                  </a:lnTo>
                  <a:lnTo>
                    <a:pt x="31" y="334"/>
                  </a:lnTo>
                  <a:lnTo>
                    <a:pt x="28" y="334"/>
                  </a:lnTo>
                  <a:lnTo>
                    <a:pt x="26" y="334"/>
                  </a:lnTo>
                  <a:lnTo>
                    <a:pt x="24" y="334"/>
                  </a:lnTo>
                  <a:lnTo>
                    <a:pt x="21" y="334"/>
                  </a:lnTo>
                  <a:lnTo>
                    <a:pt x="17" y="334"/>
                  </a:lnTo>
                  <a:lnTo>
                    <a:pt x="9" y="334"/>
                  </a:lnTo>
                  <a:lnTo>
                    <a:pt x="7" y="336"/>
                  </a:lnTo>
                  <a:lnTo>
                    <a:pt x="5" y="336"/>
                  </a:lnTo>
                  <a:lnTo>
                    <a:pt x="5" y="334"/>
                  </a:lnTo>
                  <a:lnTo>
                    <a:pt x="2" y="336"/>
                  </a:lnTo>
                  <a:lnTo>
                    <a:pt x="2" y="336"/>
                  </a:lnTo>
                  <a:lnTo>
                    <a:pt x="2" y="338"/>
                  </a:lnTo>
                  <a:lnTo>
                    <a:pt x="2" y="341"/>
                  </a:lnTo>
                  <a:lnTo>
                    <a:pt x="5" y="343"/>
                  </a:lnTo>
                  <a:lnTo>
                    <a:pt x="7" y="343"/>
                  </a:lnTo>
                  <a:lnTo>
                    <a:pt x="9" y="343"/>
                  </a:lnTo>
                  <a:lnTo>
                    <a:pt x="12" y="341"/>
                  </a:lnTo>
                  <a:lnTo>
                    <a:pt x="12" y="341"/>
                  </a:lnTo>
                  <a:lnTo>
                    <a:pt x="12" y="343"/>
                  </a:lnTo>
                  <a:lnTo>
                    <a:pt x="5" y="345"/>
                  </a:lnTo>
                  <a:lnTo>
                    <a:pt x="5" y="345"/>
                  </a:lnTo>
                  <a:lnTo>
                    <a:pt x="5" y="350"/>
                  </a:lnTo>
                  <a:lnTo>
                    <a:pt x="7" y="350"/>
                  </a:lnTo>
                  <a:lnTo>
                    <a:pt x="9" y="353"/>
                  </a:lnTo>
                  <a:lnTo>
                    <a:pt x="12" y="353"/>
                  </a:lnTo>
                  <a:lnTo>
                    <a:pt x="12" y="353"/>
                  </a:lnTo>
                  <a:lnTo>
                    <a:pt x="12" y="353"/>
                  </a:lnTo>
                  <a:lnTo>
                    <a:pt x="9" y="355"/>
                  </a:lnTo>
                  <a:lnTo>
                    <a:pt x="7" y="355"/>
                  </a:lnTo>
                  <a:lnTo>
                    <a:pt x="7" y="353"/>
                  </a:lnTo>
                  <a:lnTo>
                    <a:pt x="5" y="353"/>
                  </a:lnTo>
                  <a:lnTo>
                    <a:pt x="5" y="355"/>
                  </a:lnTo>
                  <a:lnTo>
                    <a:pt x="5" y="355"/>
                  </a:lnTo>
                  <a:lnTo>
                    <a:pt x="5" y="357"/>
                  </a:lnTo>
                  <a:lnTo>
                    <a:pt x="5" y="357"/>
                  </a:lnTo>
                  <a:lnTo>
                    <a:pt x="2" y="360"/>
                  </a:lnTo>
                  <a:lnTo>
                    <a:pt x="2" y="362"/>
                  </a:lnTo>
                  <a:lnTo>
                    <a:pt x="5" y="362"/>
                  </a:lnTo>
                  <a:lnTo>
                    <a:pt x="5" y="362"/>
                  </a:lnTo>
                  <a:lnTo>
                    <a:pt x="5" y="362"/>
                  </a:lnTo>
                  <a:lnTo>
                    <a:pt x="5" y="360"/>
                  </a:lnTo>
                  <a:lnTo>
                    <a:pt x="7" y="360"/>
                  </a:lnTo>
                  <a:lnTo>
                    <a:pt x="9" y="360"/>
                  </a:lnTo>
                  <a:lnTo>
                    <a:pt x="9" y="357"/>
                  </a:lnTo>
                  <a:lnTo>
                    <a:pt x="12" y="355"/>
                  </a:lnTo>
                  <a:lnTo>
                    <a:pt x="14" y="355"/>
                  </a:lnTo>
                  <a:lnTo>
                    <a:pt x="14" y="355"/>
                  </a:lnTo>
                  <a:lnTo>
                    <a:pt x="17" y="353"/>
                  </a:lnTo>
                  <a:lnTo>
                    <a:pt x="17" y="350"/>
                  </a:lnTo>
                  <a:lnTo>
                    <a:pt x="19" y="350"/>
                  </a:lnTo>
                  <a:lnTo>
                    <a:pt x="19" y="348"/>
                  </a:lnTo>
                  <a:lnTo>
                    <a:pt x="24" y="348"/>
                  </a:lnTo>
                  <a:lnTo>
                    <a:pt x="28" y="345"/>
                  </a:lnTo>
                  <a:lnTo>
                    <a:pt x="33" y="345"/>
                  </a:lnTo>
                  <a:lnTo>
                    <a:pt x="31" y="345"/>
                  </a:lnTo>
                  <a:lnTo>
                    <a:pt x="28" y="345"/>
                  </a:lnTo>
                  <a:lnTo>
                    <a:pt x="28" y="348"/>
                  </a:lnTo>
                  <a:lnTo>
                    <a:pt x="26" y="348"/>
                  </a:lnTo>
                  <a:lnTo>
                    <a:pt x="26" y="353"/>
                  </a:lnTo>
                  <a:lnTo>
                    <a:pt x="26" y="350"/>
                  </a:lnTo>
                  <a:lnTo>
                    <a:pt x="26" y="348"/>
                  </a:lnTo>
                  <a:lnTo>
                    <a:pt x="26" y="348"/>
                  </a:lnTo>
                  <a:lnTo>
                    <a:pt x="24" y="348"/>
                  </a:lnTo>
                  <a:lnTo>
                    <a:pt x="19" y="350"/>
                  </a:lnTo>
                  <a:lnTo>
                    <a:pt x="19" y="353"/>
                  </a:lnTo>
                  <a:lnTo>
                    <a:pt x="19" y="353"/>
                  </a:lnTo>
                  <a:lnTo>
                    <a:pt x="19" y="353"/>
                  </a:lnTo>
                  <a:lnTo>
                    <a:pt x="17" y="355"/>
                  </a:lnTo>
                  <a:lnTo>
                    <a:pt x="14" y="357"/>
                  </a:lnTo>
                  <a:lnTo>
                    <a:pt x="12" y="357"/>
                  </a:lnTo>
                  <a:lnTo>
                    <a:pt x="14" y="360"/>
                  </a:lnTo>
                  <a:lnTo>
                    <a:pt x="14" y="360"/>
                  </a:lnTo>
                  <a:lnTo>
                    <a:pt x="17" y="360"/>
                  </a:lnTo>
                  <a:lnTo>
                    <a:pt x="19" y="360"/>
                  </a:lnTo>
                  <a:lnTo>
                    <a:pt x="21" y="357"/>
                  </a:lnTo>
                  <a:lnTo>
                    <a:pt x="21" y="360"/>
                  </a:lnTo>
                  <a:lnTo>
                    <a:pt x="17" y="360"/>
                  </a:lnTo>
                  <a:lnTo>
                    <a:pt x="14" y="360"/>
                  </a:lnTo>
                  <a:lnTo>
                    <a:pt x="14" y="362"/>
                  </a:lnTo>
                  <a:lnTo>
                    <a:pt x="9" y="362"/>
                  </a:lnTo>
                  <a:lnTo>
                    <a:pt x="9" y="360"/>
                  </a:lnTo>
                  <a:lnTo>
                    <a:pt x="9" y="360"/>
                  </a:lnTo>
                  <a:lnTo>
                    <a:pt x="7" y="362"/>
                  </a:lnTo>
                  <a:lnTo>
                    <a:pt x="7" y="362"/>
                  </a:lnTo>
                  <a:lnTo>
                    <a:pt x="5" y="364"/>
                  </a:lnTo>
                  <a:lnTo>
                    <a:pt x="5" y="367"/>
                  </a:lnTo>
                  <a:lnTo>
                    <a:pt x="2" y="369"/>
                  </a:lnTo>
                  <a:lnTo>
                    <a:pt x="5" y="371"/>
                  </a:lnTo>
                  <a:lnTo>
                    <a:pt x="7" y="371"/>
                  </a:lnTo>
                  <a:lnTo>
                    <a:pt x="9" y="371"/>
                  </a:lnTo>
                  <a:lnTo>
                    <a:pt x="9" y="369"/>
                  </a:lnTo>
                  <a:lnTo>
                    <a:pt x="12" y="369"/>
                  </a:lnTo>
                  <a:lnTo>
                    <a:pt x="12" y="369"/>
                  </a:lnTo>
                  <a:lnTo>
                    <a:pt x="14" y="367"/>
                  </a:lnTo>
                  <a:lnTo>
                    <a:pt x="17" y="367"/>
                  </a:lnTo>
                  <a:lnTo>
                    <a:pt x="19" y="364"/>
                  </a:lnTo>
                  <a:lnTo>
                    <a:pt x="21" y="364"/>
                  </a:lnTo>
                  <a:lnTo>
                    <a:pt x="24" y="364"/>
                  </a:lnTo>
                  <a:lnTo>
                    <a:pt x="24" y="364"/>
                  </a:lnTo>
                  <a:lnTo>
                    <a:pt x="21" y="364"/>
                  </a:lnTo>
                  <a:lnTo>
                    <a:pt x="19" y="367"/>
                  </a:lnTo>
                  <a:lnTo>
                    <a:pt x="17" y="367"/>
                  </a:lnTo>
                  <a:lnTo>
                    <a:pt x="17" y="369"/>
                  </a:lnTo>
                  <a:lnTo>
                    <a:pt x="17" y="369"/>
                  </a:lnTo>
                  <a:lnTo>
                    <a:pt x="17" y="371"/>
                  </a:lnTo>
                  <a:lnTo>
                    <a:pt x="17" y="371"/>
                  </a:lnTo>
                  <a:lnTo>
                    <a:pt x="14" y="371"/>
                  </a:lnTo>
                  <a:lnTo>
                    <a:pt x="14" y="374"/>
                  </a:lnTo>
                  <a:lnTo>
                    <a:pt x="17" y="374"/>
                  </a:lnTo>
                  <a:lnTo>
                    <a:pt x="19" y="376"/>
                  </a:lnTo>
                  <a:lnTo>
                    <a:pt x="21" y="374"/>
                  </a:lnTo>
                  <a:lnTo>
                    <a:pt x="21" y="374"/>
                  </a:lnTo>
                  <a:lnTo>
                    <a:pt x="19" y="376"/>
                  </a:lnTo>
                  <a:lnTo>
                    <a:pt x="19" y="376"/>
                  </a:lnTo>
                  <a:lnTo>
                    <a:pt x="19" y="376"/>
                  </a:lnTo>
                  <a:lnTo>
                    <a:pt x="14" y="376"/>
                  </a:lnTo>
                  <a:lnTo>
                    <a:pt x="9" y="374"/>
                  </a:lnTo>
                  <a:lnTo>
                    <a:pt x="9" y="376"/>
                  </a:lnTo>
                  <a:lnTo>
                    <a:pt x="9" y="379"/>
                  </a:lnTo>
                  <a:lnTo>
                    <a:pt x="9" y="381"/>
                  </a:lnTo>
                  <a:lnTo>
                    <a:pt x="9" y="381"/>
                  </a:lnTo>
                  <a:lnTo>
                    <a:pt x="12" y="383"/>
                  </a:lnTo>
                  <a:lnTo>
                    <a:pt x="17" y="386"/>
                  </a:lnTo>
                  <a:lnTo>
                    <a:pt x="17" y="386"/>
                  </a:lnTo>
                  <a:lnTo>
                    <a:pt x="21" y="388"/>
                  </a:lnTo>
                  <a:lnTo>
                    <a:pt x="24" y="388"/>
                  </a:lnTo>
                  <a:lnTo>
                    <a:pt x="26" y="388"/>
                  </a:lnTo>
                  <a:lnTo>
                    <a:pt x="26" y="388"/>
                  </a:lnTo>
                  <a:lnTo>
                    <a:pt x="26" y="390"/>
                  </a:lnTo>
                  <a:lnTo>
                    <a:pt x="26" y="390"/>
                  </a:lnTo>
                  <a:lnTo>
                    <a:pt x="26" y="390"/>
                  </a:lnTo>
                  <a:lnTo>
                    <a:pt x="24" y="393"/>
                  </a:lnTo>
                  <a:lnTo>
                    <a:pt x="24" y="393"/>
                  </a:lnTo>
                  <a:lnTo>
                    <a:pt x="26" y="393"/>
                  </a:lnTo>
                  <a:lnTo>
                    <a:pt x="28" y="393"/>
                  </a:lnTo>
                  <a:lnTo>
                    <a:pt x="28" y="390"/>
                  </a:lnTo>
                  <a:lnTo>
                    <a:pt x="28" y="390"/>
                  </a:lnTo>
                  <a:lnTo>
                    <a:pt x="28" y="390"/>
                  </a:lnTo>
                  <a:lnTo>
                    <a:pt x="31" y="390"/>
                  </a:lnTo>
                  <a:lnTo>
                    <a:pt x="28" y="393"/>
                  </a:lnTo>
                  <a:lnTo>
                    <a:pt x="28" y="393"/>
                  </a:lnTo>
                  <a:lnTo>
                    <a:pt x="28" y="393"/>
                  </a:lnTo>
                  <a:lnTo>
                    <a:pt x="31" y="393"/>
                  </a:lnTo>
                  <a:lnTo>
                    <a:pt x="33" y="393"/>
                  </a:lnTo>
                  <a:lnTo>
                    <a:pt x="38" y="393"/>
                  </a:lnTo>
                  <a:lnTo>
                    <a:pt x="45" y="393"/>
                  </a:lnTo>
                  <a:lnTo>
                    <a:pt x="47" y="390"/>
                  </a:lnTo>
                  <a:lnTo>
                    <a:pt x="50" y="390"/>
                  </a:lnTo>
                  <a:lnTo>
                    <a:pt x="52" y="390"/>
                  </a:lnTo>
                  <a:lnTo>
                    <a:pt x="54" y="388"/>
                  </a:lnTo>
                  <a:lnTo>
                    <a:pt x="59" y="383"/>
                  </a:lnTo>
                  <a:lnTo>
                    <a:pt x="64" y="381"/>
                  </a:lnTo>
                  <a:lnTo>
                    <a:pt x="64" y="381"/>
                  </a:lnTo>
                  <a:lnTo>
                    <a:pt x="64" y="379"/>
                  </a:lnTo>
                  <a:lnTo>
                    <a:pt x="66" y="379"/>
                  </a:lnTo>
                  <a:lnTo>
                    <a:pt x="66" y="379"/>
                  </a:lnTo>
                  <a:lnTo>
                    <a:pt x="66" y="376"/>
                  </a:lnTo>
                  <a:lnTo>
                    <a:pt x="68" y="376"/>
                  </a:lnTo>
                  <a:lnTo>
                    <a:pt x="71" y="376"/>
                  </a:lnTo>
                  <a:lnTo>
                    <a:pt x="71" y="376"/>
                  </a:lnTo>
                  <a:lnTo>
                    <a:pt x="71" y="374"/>
                  </a:lnTo>
                  <a:lnTo>
                    <a:pt x="71" y="374"/>
                  </a:lnTo>
                  <a:lnTo>
                    <a:pt x="71" y="371"/>
                  </a:lnTo>
                  <a:lnTo>
                    <a:pt x="71" y="371"/>
                  </a:lnTo>
                  <a:lnTo>
                    <a:pt x="73" y="374"/>
                  </a:lnTo>
                  <a:lnTo>
                    <a:pt x="73" y="376"/>
                  </a:lnTo>
                  <a:lnTo>
                    <a:pt x="75" y="376"/>
                  </a:lnTo>
                  <a:lnTo>
                    <a:pt x="78" y="374"/>
                  </a:lnTo>
                  <a:lnTo>
                    <a:pt x="78" y="374"/>
                  </a:lnTo>
                  <a:lnTo>
                    <a:pt x="80" y="374"/>
                  </a:lnTo>
                  <a:lnTo>
                    <a:pt x="80" y="374"/>
                  </a:lnTo>
                  <a:lnTo>
                    <a:pt x="83" y="369"/>
                  </a:lnTo>
                  <a:lnTo>
                    <a:pt x="83" y="367"/>
                  </a:lnTo>
                  <a:lnTo>
                    <a:pt x="83" y="367"/>
                  </a:lnTo>
                  <a:lnTo>
                    <a:pt x="83" y="367"/>
                  </a:lnTo>
                  <a:lnTo>
                    <a:pt x="83" y="364"/>
                  </a:lnTo>
                  <a:lnTo>
                    <a:pt x="85" y="364"/>
                  </a:lnTo>
                  <a:lnTo>
                    <a:pt x="85" y="362"/>
                  </a:lnTo>
                  <a:lnTo>
                    <a:pt x="85" y="362"/>
                  </a:lnTo>
                  <a:lnTo>
                    <a:pt x="85" y="360"/>
                  </a:lnTo>
                  <a:lnTo>
                    <a:pt x="85" y="362"/>
                  </a:lnTo>
                  <a:lnTo>
                    <a:pt x="85" y="362"/>
                  </a:lnTo>
                  <a:lnTo>
                    <a:pt x="85" y="367"/>
                  </a:lnTo>
                  <a:lnTo>
                    <a:pt x="85" y="367"/>
                  </a:lnTo>
                  <a:lnTo>
                    <a:pt x="87" y="369"/>
                  </a:lnTo>
                  <a:lnTo>
                    <a:pt x="90" y="371"/>
                  </a:lnTo>
                  <a:lnTo>
                    <a:pt x="90" y="371"/>
                  </a:lnTo>
                  <a:lnTo>
                    <a:pt x="92" y="371"/>
                  </a:lnTo>
                  <a:lnTo>
                    <a:pt x="92" y="371"/>
                  </a:lnTo>
                  <a:lnTo>
                    <a:pt x="94" y="371"/>
                  </a:lnTo>
                  <a:lnTo>
                    <a:pt x="97" y="371"/>
                  </a:lnTo>
                  <a:lnTo>
                    <a:pt x="97" y="374"/>
                  </a:lnTo>
                  <a:lnTo>
                    <a:pt x="97" y="374"/>
                  </a:lnTo>
                  <a:lnTo>
                    <a:pt x="99" y="376"/>
                  </a:lnTo>
                  <a:lnTo>
                    <a:pt x="99" y="376"/>
                  </a:lnTo>
                  <a:lnTo>
                    <a:pt x="101" y="376"/>
                  </a:lnTo>
                  <a:lnTo>
                    <a:pt x="101" y="374"/>
                  </a:lnTo>
                  <a:lnTo>
                    <a:pt x="101" y="371"/>
                  </a:lnTo>
                  <a:lnTo>
                    <a:pt x="104" y="369"/>
                  </a:lnTo>
                  <a:lnTo>
                    <a:pt x="101" y="367"/>
                  </a:lnTo>
                  <a:lnTo>
                    <a:pt x="101" y="364"/>
                  </a:lnTo>
                  <a:lnTo>
                    <a:pt x="101" y="362"/>
                  </a:lnTo>
                  <a:lnTo>
                    <a:pt x="104" y="362"/>
                  </a:lnTo>
                  <a:lnTo>
                    <a:pt x="104" y="360"/>
                  </a:lnTo>
                  <a:lnTo>
                    <a:pt x="106" y="357"/>
                  </a:lnTo>
                  <a:lnTo>
                    <a:pt x="106" y="357"/>
                  </a:lnTo>
                  <a:lnTo>
                    <a:pt x="106" y="357"/>
                  </a:lnTo>
                  <a:lnTo>
                    <a:pt x="108" y="357"/>
                  </a:lnTo>
                  <a:lnTo>
                    <a:pt x="111" y="355"/>
                  </a:lnTo>
                  <a:lnTo>
                    <a:pt x="113" y="355"/>
                  </a:lnTo>
                  <a:lnTo>
                    <a:pt x="113" y="353"/>
                  </a:lnTo>
                  <a:lnTo>
                    <a:pt x="113" y="350"/>
                  </a:lnTo>
                  <a:lnTo>
                    <a:pt x="113" y="350"/>
                  </a:lnTo>
                  <a:lnTo>
                    <a:pt x="113" y="348"/>
                  </a:lnTo>
                  <a:lnTo>
                    <a:pt x="116" y="345"/>
                  </a:lnTo>
                  <a:lnTo>
                    <a:pt x="113" y="345"/>
                  </a:lnTo>
                  <a:lnTo>
                    <a:pt x="113" y="341"/>
                  </a:lnTo>
                  <a:lnTo>
                    <a:pt x="111" y="338"/>
                  </a:lnTo>
                  <a:lnTo>
                    <a:pt x="111" y="336"/>
                  </a:lnTo>
                  <a:lnTo>
                    <a:pt x="111" y="336"/>
                  </a:lnTo>
                  <a:lnTo>
                    <a:pt x="113" y="336"/>
                  </a:lnTo>
                  <a:lnTo>
                    <a:pt x="116" y="336"/>
                  </a:lnTo>
                  <a:lnTo>
                    <a:pt x="116" y="334"/>
                  </a:lnTo>
                  <a:lnTo>
                    <a:pt x="116" y="334"/>
                  </a:lnTo>
                  <a:lnTo>
                    <a:pt x="118" y="334"/>
                  </a:lnTo>
                  <a:lnTo>
                    <a:pt x="118" y="331"/>
                  </a:lnTo>
                  <a:lnTo>
                    <a:pt x="118" y="331"/>
                  </a:lnTo>
                  <a:lnTo>
                    <a:pt x="118" y="329"/>
                  </a:lnTo>
                  <a:lnTo>
                    <a:pt x="118" y="326"/>
                  </a:lnTo>
                  <a:lnTo>
                    <a:pt x="116" y="326"/>
                  </a:lnTo>
                  <a:lnTo>
                    <a:pt x="113" y="324"/>
                  </a:lnTo>
                  <a:lnTo>
                    <a:pt x="111" y="324"/>
                  </a:lnTo>
                  <a:lnTo>
                    <a:pt x="108" y="322"/>
                  </a:lnTo>
                  <a:lnTo>
                    <a:pt x="108" y="317"/>
                  </a:lnTo>
                  <a:lnTo>
                    <a:pt x="111" y="315"/>
                  </a:lnTo>
                  <a:lnTo>
                    <a:pt x="111" y="312"/>
                  </a:lnTo>
                  <a:lnTo>
                    <a:pt x="111" y="312"/>
                  </a:lnTo>
                  <a:lnTo>
                    <a:pt x="108" y="305"/>
                  </a:lnTo>
                  <a:lnTo>
                    <a:pt x="108" y="305"/>
                  </a:lnTo>
                  <a:lnTo>
                    <a:pt x="108" y="303"/>
                  </a:lnTo>
                  <a:lnTo>
                    <a:pt x="108" y="300"/>
                  </a:lnTo>
                  <a:lnTo>
                    <a:pt x="108" y="298"/>
                  </a:lnTo>
                  <a:lnTo>
                    <a:pt x="108" y="298"/>
                  </a:lnTo>
                  <a:lnTo>
                    <a:pt x="108" y="298"/>
                  </a:lnTo>
                  <a:lnTo>
                    <a:pt x="108" y="296"/>
                  </a:lnTo>
                  <a:lnTo>
                    <a:pt x="108" y="296"/>
                  </a:lnTo>
                  <a:lnTo>
                    <a:pt x="106" y="293"/>
                  </a:lnTo>
                  <a:lnTo>
                    <a:pt x="108" y="289"/>
                  </a:lnTo>
                  <a:lnTo>
                    <a:pt x="108" y="286"/>
                  </a:lnTo>
                  <a:lnTo>
                    <a:pt x="111" y="284"/>
                  </a:lnTo>
                  <a:lnTo>
                    <a:pt x="113" y="282"/>
                  </a:lnTo>
                  <a:lnTo>
                    <a:pt x="116" y="279"/>
                  </a:lnTo>
                  <a:lnTo>
                    <a:pt x="116" y="279"/>
                  </a:lnTo>
                  <a:lnTo>
                    <a:pt x="118" y="279"/>
                  </a:lnTo>
                  <a:lnTo>
                    <a:pt x="120" y="277"/>
                  </a:lnTo>
                  <a:lnTo>
                    <a:pt x="123" y="277"/>
                  </a:lnTo>
                  <a:lnTo>
                    <a:pt x="125" y="277"/>
                  </a:lnTo>
                  <a:lnTo>
                    <a:pt x="130" y="279"/>
                  </a:lnTo>
                  <a:lnTo>
                    <a:pt x="134" y="279"/>
                  </a:lnTo>
                  <a:lnTo>
                    <a:pt x="134" y="279"/>
                  </a:lnTo>
                  <a:lnTo>
                    <a:pt x="134" y="277"/>
                  </a:lnTo>
                  <a:lnTo>
                    <a:pt x="137" y="277"/>
                  </a:lnTo>
                  <a:lnTo>
                    <a:pt x="137" y="274"/>
                  </a:lnTo>
                  <a:lnTo>
                    <a:pt x="137" y="272"/>
                  </a:lnTo>
                  <a:lnTo>
                    <a:pt x="134" y="270"/>
                  </a:lnTo>
                  <a:lnTo>
                    <a:pt x="132" y="270"/>
                  </a:lnTo>
                  <a:lnTo>
                    <a:pt x="130" y="267"/>
                  </a:lnTo>
                  <a:lnTo>
                    <a:pt x="132" y="265"/>
                  </a:lnTo>
                  <a:lnTo>
                    <a:pt x="134" y="260"/>
                  </a:lnTo>
                  <a:lnTo>
                    <a:pt x="139" y="258"/>
                  </a:lnTo>
                  <a:lnTo>
                    <a:pt x="139" y="256"/>
                  </a:lnTo>
                  <a:lnTo>
                    <a:pt x="141" y="256"/>
                  </a:lnTo>
                  <a:lnTo>
                    <a:pt x="141" y="248"/>
                  </a:lnTo>
                  <a:lnTo>
                    <a:pt x="141" y="246"/>
                  </a:lnTo>
                  <a:lnTo>
                    <a:pt x="141" y="246"/>
                  </a:lnTo>
                  <a:lnTo>
                    <a:pt x="141" y="244"/>
                  </a:lnTo>
                  <a:lnTo>
                    <a:pt x="141" y="244"/>
                  </a:lnTo>
                  <a:lnTo>
                    <a:pt x="141" y="239"/>
                  </a:lnTo>
                  <a:lnTo>
                    <a:pt x="146" y="239"/>
                  </a:lnTo>
                  <a:lnTo>
                    <a:pt x="149" y="239"/>
                  </a:lnTo>
                  <a:lnTo>
                    <a:pt x="149" y="239"/>
                  </a:lnTo>
                  <a:lnTo>
                    <a:pt x="153" y="237"/>
                  </a:lnTo>
                  <a:lnTo>
                    <a:pt x="153" y="237"/>
                  </a:lnTo>
                  <a:lnTo>
                    <a:pt x="153" y="232"/>
                  </a:lnTo>
                  <a:lnTo>
                    <a:pt x="156" y="232"/>
                  </a:lnTo>
                  <a:lnTo>
                    <a:pt x="158" y="227"/>
                  </a:lnTo>
                  <a:lnTo>
                    <a:pt x="163" y="225"/>
                  </a:lnTo>
                  <a:lnTo>
                    <a:pt x="165" y="222"/>
                  </a:lnTo>
                  <a:lnTo>
                    <a:pt x="165" y="222"/>
                  </a:lnTo>
                  <a:lnTo>
                    <a:pt x="167" y="220"/>
                  </a:lnTo>
                  <a:lnTo>
                    <a:pt x="165" y="218"/>
                  </a:lnTo>
                  <a:lnTo>
                    <a:pt x="165" y="218"/>
                  </a:lnTo>
                  <a:lnTo>
                    <a:pt x="163" y="215"/>
                  </a:lnTo>
                  <a:lnTo>
                    <a:pt x="163" y="215"/>
                  </a:lnTo>
                  <a:lnTo>
                    <a:pt x="165" y="213"/>
                  </a:lnTo>
                  <a:lnTo>
                    <a:pt x="167" y="213"/>
                  </a:lnTo>
                  <a:lnTo>
                    <a:pt x="167" y="213"/>
                  </a:lnTo>
                  <a:lnTo>
                    <a:pt x="167" y="213"/>
                  </a:lnTo>
                  <a:lnTo>
                    <a:pt x="170" y="208"/>
                  </a:lnTo>
                  <a:lnTo>
                    <a:pt x="177" y="206"/>
                  </a:lnTo>
                  <a:lnTo>
                    <a:pt x="177" y="204"/>
                  </a:lnTo>
                  <a:lnTo>
                    <a:pt x="182" y="204"/>
                  </a:lnTo>
                  <a:lnTo>
                    <a:pt x="186" y="206"/>
                  </a:lnTo>
                  <a:lnTo>
                    <a:pt x="189" y="204"/>
                  </a:lnTo>
                  <a:lnTo>
                    <a:pt x="189" y="204"/>
                  </a:lnTo>
                  <a:lnTo>
                    <a:pt x="189" y="201"/>
                  </a:lnTo>
                  <a:lnTo>
                    <a:pt x="189" y="199"/>
                  </a:lnTo>
                  <a:lnTo>
                    <a:pt x="189" y="196"/>
                  </a:lnTo>
                  <a:lnTo>
                    <a:pt x="189" y="196"/>
                  </a:lnTo>
                  <a:lnTo>
                    <a:pt x="191" y="196"/>
                  </a:lnTo>
                  <a:lnTo>
                    <a:pt x="191" y="194"/>
                  </a:lnTo>
                  <a:lnTo>
                    <a:pt x="198" y="196"/>
                  </a:lnTo>
                  <a:lnTo>
                    <a:pt x="198" y="196"/>
                  </a:lnTo>
                  <a:lnTo>
                    <a:pt x="200" y="196"/>
                  </a:lnTo>
                  <a:lnTo>
                    <a:pt x="203" y="196"/>
                  </a:lnTo>
                  <a:lnTo>
                    <a:pt x="210" y="199"/>
                  </a:lnTo>
                  <a:lnTo>
                    <a:pt x="212" y="199"/>
                  </a:lnTo>
                  <a:lnTo>
                    <a:pt x="215" y="199"/>
                  </a:lnTo>
                  <a:lnTo>
                    <a:pt x="215" y="199"/>
                  </a:lnTo>
                  <a:lnTo>
                    <a:pt x="217" y="196"/>
                  </a:lnTo>
                  <a:lnTo>
                    <a:pt x="212" y="196"/>
                  </a:lnTo>
                  <a:lnTo>
                    <a:pt x="215" y="194"/>
                  </a:lnTo>
                  <a:lnTo>
                    <a:pt x="217" y="194"/>
                  </a:lnTo>
                  <a:lnTo>
                    <a:pt x="217" y="192"/>
                  </a:lnTo>
                  <a:lnTo>
                    <a:pt x="217" y="189"/>
                  </a:lnTo>
                  <a:lnTo>
                    <a:pt x="217" y="189"/>
                  </a:lnTo>
                  <a:lnTo>
                    <a:pt x="217" y="189"/>
                  </a:lnTo>
                  <a:lnTo>
                    <a:pt x="215" y="187"/>
                  </a:lnTo>
                  <a:lnTo>
                    <a:pt x="219" y="187"/>
                  </a:lnTo>
                  <a:lnTo>
                    <a:pt x="222" y="187"/>
                  </a:lnTo>
                  <a:lnTo>
                    <a:pt x="222" y="187"/>
                  </a:lnTo>
                  <a:lnTo>
                    <a:pt x="224" y="187"/>
                  </a:lnTo>
                  <a:lnTo>
                    <a:pt x="226" y="187"/>
                  </a:lnTo>
                  <a:lnTo>
                    <a:pt x="229" y="187"/>
                  </a:lnTo>
                  <a:lnTo>
                    <a:pt x="229" y="187"/>
                  </a:lnTo>
                  <a:lnTo>
                    <a:pt x="226" y="185"/>
                  </a:lnTo>
                  <a:lnTo>
                    <a:pt x="226" y="185"/>
                  </a:lnTo>
                  <a:lnTo>
                    <a:pt x="229" y="182"/>
                  </a:lnTo>
                  <a:lnTo>
                    <a:pt x="229" y="182"/>
                  </a:lnTo>
                  <a:lnTo>
                    <a:pt x="233" y="182"/>
                  </a:lnTo>
                  <a:lnTo>
                    <a:pt x="233" y="182"/>
                  </a:lnTo>
                  <a:lnTo>
                    <a:pt x="233" y="182"/>
                  </a:lnTo>
                  <a:lnTo>
                    <a:pt x="238" y="185"/>
                  </a:lnTo>
                  <a:lnTo>
                    <a:pt x="240" y="187"/>
                  </a:lnTo>
                  <a:lnTo>
                    <a:pt x="240" y="187"/>
                  </a:lnTo>
                  <a:lnTo>
                    <a:pt x="245" y="189"/>
                  </a:lnTo>
                  <a:lnTo>
                    <a:pt x="245" y="192"/>
                  </a:lnTo>
                  <a:lnTo>
                    <a:pt x="245" y="192"/>
                  </a:lnTo>
                  <a:lnTo>
                    <a:pt x="248" y="192"/>
                  </a:lnTo>
                  <a:lnTo>
                    <a:pt x="252" y="192"/>
                  </a:lnTo>
                  <a:lnTo>
                    <a:pt x="255" y="194"/>
                  </a:lnTo>
                  <a:lnTo>
                    <a:pt x="257" y="194"/>
                  </a:lnTo>
                  <a:lnTo>
                    <a:pt x="259" y="194"/>
                  </a:lnTo>
                  <a:lnTo>
                    <a:pt x="259" y="194"/>
                  </a:lnTo>
                  <a:lnTo>
                    <a:pt x="264" y="192"/>
                  </a:lnTo>
                  <a:lnTo>
                    <a:pt x="264" y="192"/>
                  </a:lnTo>
                  <a:lnTo>
                    <a:pt x="266" y="192"/>
                  </a:lnTo>
                  <a:lnTo>
                    <a:pt x="266" y="192"/>
                  </a:lnTo>
                  <a:lnTo>
                    <a:pt x="269" y="192"/>
                  </a:lnTo>
                  <a:lnTo>
                    <a:pt x="271" y="192"/>
                  </a:lnTo>
                  <a:lnTo>
                    <a:pt x="273" y="194"/>
                  </a:lnTo>
                  <a:lnTo>
                    <a:pt x="278" y="194"/>
                  </a:lnTo>
                  <a:lnTo>
                    <a:pt x="278" y="194"/>
                  </a:lnTo>
                  <a:lnTo>
                    <a:pt x="281" y="194"/>
                  </a:lnTo>
                  <a:lnTo>
                    <a:pt x="283" y="194"/>
                  </a:lnTo>
                  <a:lnTo>
                    <a:pt x="283" y="192"/>
                  </a:lnTo>
                  <a:lnTo>
                    <a:pt x="285" y="192"/>
                  </a:lnTo>
                  <a:lnTo>
                    <a:pt x="285" y="189"/>
                  </a:lnTo>
                  <a:lnTo>
                    <a:pt x="288" y="189"/>
                  </a:lnTo>
                  <a:lnTo>
                    <a:pt x="288" y="189"/>
                  </a:lnTo>
                  <a:lnTo>
                    <a:pt x="290" y="189"/>
                  </a:lnTo>
                  <a:lnTo>
                    <a:pt x="290" y="187"/>
                  </a:lnTo>
                  <a:lnTo>
                    <a:pt x="290" y="187"/>
                  </a:lnTo>
                  <a:lnTo>
                    <a:pt x="290" y="182"/>
                  </a:lnTo>
                  <a:lnTo>
                    <a:pt x="290" y="182"/>
                  </a:lnTo>
                  <a:lnTo>
                    <a:pt x="292" y="180"/>
                  </a:lnTo>
                  <a:lnTo>
                    <a:pt x="292" y="178"/>
                  </a:lnTo>
                  <a:lnTo>
                    <a:pt x="292" y="175"/>
                  </a:lnTo>
                  <a:lnTo>
                    <a:pt x="292" y="175"/>
                  </a:lnTo>
                  <a:lnTo>
                    <a:pt x="295" y="175"/>
                  </a:lnTo>
                  <a:lnTo>
                    <a:pt x="297" y="173"/>
                  </a:lnTo>
                  <a:lnTo>
                    <a:pt x="299" y="170"/>
                  </a:lnTo>
                  <a:lnTo>
                    <a:pt x="299" y="170"/>
                  </a:lnTo>
                  <a:lnTo>
                    <a:pt x="302" y="170"/>
                  </a:lnTo>
                  <a:lnTo>
                    <a:pt x="304" y="170"/>
                  </a:lnTo>
                  <a:lnTo>
                    <a:pt x="306" y="170"/>
                  </a:lnTo>
                  <a:lnTo>
                    <a:pt x="306" y="170"/>
                  </a:lnTo>
                  <a:lnTo>
                    <a:pt x="309" y="170"/>
                  </a:lnTo>
                  <a:lnTo>
                    <a:pt x="309" y="170"/>
                  </a:lnTo>
                  <a:lnTo>
                    <a:pt x="314" y="168"/>
                  </a:lnTo>
                  <a:lnTo>
                    <a:pt x="316" y="168"/>
                  </a:lnTo>
                  <a:lnTo>
                    <a:pt x="316" y="168"/>
                  </a:lnTo>
                  <a:lnTo>
                    <a:pt x="318" y="170"/>
                  </a:lnTo>
                  <a:lnTo>
                    <a:pt x="323" y="173"/>
                  </a:lnTo>
                  <a:lnTo>
                    <a:pt x="325" y="173"/>
                  </a:lnTo>
                  <a:lnTo>
                    <a:pt x="330" y="175"/>
                  </a:lnTo>
                  <a:lnTo>
                    <a:pt x="335" y="175"/>
                  </a:lnTo>
                  <a:lnTo>
                    <a:pt x="337" y="180"/>
                  </a:lnTo>
                  <a:lnTo>
                    <a:pt x="337" y="180"/>
                  </a:lnTo>
                  <a:lnTo>
                    <a:pt x="337" y="180"/>
                  </a:lnTo>
                  <a:lnTo>
                    <a:pt x="335" y="182"/>
                  </a:lnTo>
                  <a:lnTo>
                    <a:pt x="332" y="185"/>
                  </a:lnTo>
                  <a:lnTo>
                    <a:pt x="332" y="185"/>
                  </a:lnTo>
                  <a:lnTo>
                    <a:pt x="332" y="187"/>
                  </a:lnTo>
                  <a:lnTo>
                    <a:pt x="335" y="187"/>
                  </a:lnTo>
                  <a:lnTo>
                    <a:pt x="337" y="187"/>
                  </a:lnTo>
                  <a:lnTo>
                    <a:pt x="337" y="187"/>
                  </a:lnTo>
                  <a:lnTo>
                    <a:pt x="337" y="185"/>
                  </a:lnTo>
                  <a:lnTo>
                    <a:pt x="339" y="182"/>
                  </a:lnTo>
                  <a:lnTo>
                    <a:pt x="339" y="182"/>
                  </a:lnTo>
                  <a:lnTo>
                    <a:pt x="344" y="180"/>
                  </a:lnTo>
                  <a:lnTo>
                    <a:pt x="347" y="180"/>
                  </a:lnTo>
                  <a:lnTo>
                    <a:pt x="349" y="180"/>
                  </a:lnTo>
                  <a:lnTo>
                    <a:pt x="349" y="180"/>
                  </a:lnTo>
                  <a:lnTo>
                    <a:pt x="349" y="178"/>
                  </a:lnTo>
                  <a:lnTo>
                    <a:pt x="349" y="178"/>
                  </a:lnTo>
                  <a:lnTo>
                    <a:pt x="349" y="178"/>
                  </a:lnTo>
                  <a:lnTo>
                    <a:pt x="349" y="175"/>
                  </a:lnTo>
                  <a:lnTo>
                    <a:pt x="349" y="175"/>
                  </a:lnTo>
                  <a:lnTo>
                    <a:pt x="349" y="175"/>
                  </a:lnTo>
                  <a:lnTo>
                    <a:pt x="351" y="178"/>
                  </a:lnTo>
                  <a:lnTo>
                    <a:pt x="356" y="178"/>
                  </a:lnTo>
                  <a:lnTo>
                    <a:pt x="358" y="178"/>
                  </a:lnTo>
                  <a:lnTo>
                    <a:pt x="358" y="178"/>
                  </a:lnTo>
                  <a:lnTo>
                    <a:pt x="358" y="178"/>
                  </a:lnTo>
                  <a:lnTo>
                    <a:pt x="358" y="178"/>
                  </a:lnTo>
                  <a:lnTo>
                    <a:pt x="358" y="175"/>
                  </a:lnTo>
                  <a:close/>
                  <a:moveTo>
                    <a:pt x="281" y="152"/>
                  </a:moveTo>
                  <a:lnTo>
                    <a:pt x="283" y="152"/>
                  </a:lnTo>
                  <a:lnTo>
                    <a:pt x="283" y="154"/>
                  </a:lnTo>
                  <a:lnTo>
                    <a:pt x="285" y="154"/>
                  </a:lnTo>
                  <a:lnTo>
                    <a:pt x="288" y="154"/>
                  </a:lnTo>
                  <a:lnTo>
                    <a:pt x="290" y="152"/>
                  </a:lnTo>
                  <a:lnTo>
                    <a:pt x="290" y="152"/>
                  </a:lnTo>
                  <a:lnTo>
                    <a:pt x="292" y="152"/>
                  </a:lnTo>
                  <a:lnTo>
                    <a:pt x="290" y="152"/>
                  </a:lnTo>
                  <a:lnTo>
                    <a:pt x="288" y="152"/>
                  </a:lnTo>
                  <a:lnTo>
                    <a:pt x="288" y="152"/>
                  </a:lnTo>
                  <a:lnTo>
                    <a:pt x="283" y="149"/>
                  </a:lnTo>
                  <a:lnTo>
                    <a:pt x="281" y="152"/>
                  </a:lnTo>
                  <a:lnTo>
                    <a:pt x="281" y="152"/>
                  </a:lnTo>
                  <a:lnTo>
                    <a:pt x="281" y="152"/>
                  </a:lnTo>
                  <a:close/>
                  <a:moveTo>
                    <a:pt x="229" y="47"/>
                  </a:moveTo>
                  <a:lnTo>
                    <a:pt x="231" y="47"/>
                  </a:lnTo>
                  <a:lnTo>
                    <a:pt x="233" y="47"/>
                  </a:lnTo>
                  <a:lnTo>
                    <a:pt x="236" y="47"/>
                  </a:lnTo>
                  <a:lnTo>
                    <a:pt x="236" y="45"/>
                  </a:lnTo>
                  <a:lnTo>
                    <a:pt x="238" y="45"/>
                  </a:lnTo>
                  <a:lnTo>
                    <a:pt x="240" y="45"/>
                  </a:lnTo>
                  <a:lnTo>
                    <a:pt x="243" y="45"/>
                  </a:lnTo>
                  <a:lnTo>
                    <a:pt x="245" y="45"/>
                  </a:lnTo>
                  <a:lnTo>
                    <a:pt x="245" y="45"/>
                  </a:lnTo>
                  <a:lnTo>
                    <a:pt x="248" y="43"/>
                  </a:lnTo>
                  <a:lnTo>
                    <a:pt x="248" y="43"/>
                  </a:lnTo>
                  <a:lnTo>
                    <a:pt x="250" y="40"/>
                  </a:lnTo>
                  <a:lnTo>
                    <a:pt x="257" y="40"/>
                  </a:lnTo>
                  <a:lnTo>
                    <a:pt x="255" y="38"/>
                  </a:lnTo>
                  <a:lnTo>
                    <a:pt x="250" y="38"/>
                  </a:lnTo>
                  <a:lnTo>
                    <a:pt x="245" y="38"/>
                  </a:lnTo>
                  <a:lnTo>
                    <a:pt x="243" y="38"/>
                  </a:lnTo>
                  <a:lnTo>
                    <a:pt x="238" y="38"/>
                  </a:lnTo>
                  <a:lnTo>
                    <a:pt x="236" y="36"/>
                  </a:lnTo>
                  <a:lnTo>
                    <a:pt x="236" y="36"/>
                  </a:lnTo>
                  <a:lnTo>
                    <a:pt x="238" y="33"/>
                  </a:lnTo>
                  <a:lnTo>
                    <a:pt x="240" y="33"/>
                  </a:lnTo>
                  <a:lnTo>
                    <a:pt x="238" y="33"/>
                  </a:lnTo>
                  <a:lnTo>
                    <a:pt x="236" y="33"/>
                  </a:lnTo>
                  <a:lnTo>
                    <a:pt x="233" y="33"/>
                  </a:lnTo>
                  <a:lnTo>
                    <a:pt x="231" y="33"/>
                  </a:lnTo>
                  <a:lnTo>
                    <a:pt x="229" y="33"/>
                  </a:lnTo>
                  <a:lnTo>
                    <a:pt x="226" y="33"/>
                  </a:lnTo>
                  <a:lnTo>
                    <a:pt x="224" y="31"/>
                  </a:lnTo>
                  <a:lnTo>
                    <a:pt x="222" y="29"/>
                  </a:lnTo>
                  <a:lnTo>
                    <a:pt x="219" y="29"/>
                  </a:lnTo>
                  <a:lnTo>
                    <a:pt x="217" y="26"/>
                  </a:lnTo>
                  <a:lnTo>
                    <a:pt x="215" y="26"/>
                  </a:lnTo>
                  <a:lnTo>
                    <a:pt x="210" y="29"/>
                  </a:lnTo>
                  <a:lnTo>
                    <a:pt x="203" y="29"/>
                  </a:lnTo>
                  <a:lnTo>
                    <a:pt x="200" y="29"/>
                  </a:lnTo>
                  <a:lnTo>
                    <a:pt x="203" y="31"/>
                  </a:lnTo>
                  <a:lnTo>
                    <a:pt x="205" y="31"/>
                  </a:lnTo>
                  <a:lnTo>
                    <a:pt x="205" y="31"/>
                  </a:lnTo>
                  <a:lnTo>
                    <a:pt x="207" y="33"/>
                  </a:lnTo>
                  <a:lnTo>
                    <a:pt x="207" y="33"/>
                  </a:lnTo>
                  <a:lnTo>
                    <a:pt x="212" y="36"/>
                  </a:lnTo>
                  <a:lnTo>
                    <a:pt x="212" y="36"/>
                  </a:lnTo>
                  <a:lnTo>
                    <a:pt x="219" y="38"/>
                  </a:lnTo>
                  <a:lnTo>
                    <a:pt x="219" y="38"/>
                  </a:lnTo>
                  <a:lnTo>
                    <a:pt x="217" y="38"/>
                  </a:lnTo>
                  <a:lnTo>
                    <a:pt x="215" y="40"/>
                  </a:lnTo>
                  <a:lnTo>
                    <a:pt x="215" y="40"/>
                  </a:lnTo>
                  <a:lnTo>
                    <a:pt x="215" y="43"/>
                  </a:lnTo>
                  <a:lnTo>
                    <a:pt x="210" y="43"/>
                  </a:lnTo>
                  <a:lnTo>
                    <a:pt x="210" y="45"/>
                  </a:lnTo>
                  <a:lnTo>
                    <a:pt x="212" y="45"/>
                  </a:lnTo>
                  <a:lnTo>
                    <a:pt x="222" y="45"/>
                  </a:lnTo>
                  <a:lnTo>
                    <a:pt x="224" y="45"/>
                  </a:lnTo>
                  <a:lnTo>
                    <a:pt x="226" y="43"/>
                  </a:lnTo>
                  <a:lnTo>
                    <a:pt x="229" y="43"/>
                  </a:lnTo>
                  <a:lnTo>
                    <a:pt x="229" y="43"/>
                  </a:lnTo>
                  <a:lnTo>
                    <a:pt x="231" y="43"/>
                  </a:lnTo>
                  <a:lnTo>
                    <a:pt x="231" y="43"/>
                  </a:lnTo>
                  <a:lnTo>
                    <a:pt x="233" y="43"/>
                  </a:lnTo>
                  <a:lnTo>
                    <a:pt x="231" y="45"/>
                  </a:lnTo>
                  <a:lnTo>
                    <a:pt x="229" y="45"/>
                  </a:lnTo>
                  <a:lnTo>
                    <a:pt x="231" y="45"/>
                  </a:lnTo>
                  <a:lnTo>
                    <a:pt x="229" y="47"/>
                  </a:lnTo>
                  <a:lnTo>
                    <a:pt x="229" y="47"/>
                  </a:lnTo>
                  <a:close/>
                  <a:moveTo>
                    <a:pt x="90" y="26"/>
                  </a:moveTo>
                  <a:lnTo>
                    <a:pt x="90" y="26"/>
                  </a:lnTo>
                  <a:lnTo>
                    <a:pt x="92" y="29"/>
                  </a:lnTo>
                  <a:lnTo>
                    <a:pt x="94" y="29"/>
                  </a:lnTo>
                  <a:lnTo>
                    <a:pt x="97" y="29"/>
                  </a:lnTo>
                  <a:lnTo>
                    <a:pt x="99" y="31"/>
                  </a:lnTo>
                  <a:lnTo>
                    <a:pt x="101" y="31"/>
                  </a:lnTo>
                  <a:lnTo>
                    <a:pt x="104" y="33"/>
                  </a:lnTo>
                  <a:lnTo>
                    <a:pt x="104" y="33"/>
                  </a:lnTo>
                  <a:lnTo>
                    <a:pt x="104" y="31"/>
                  </a:lnTo>
                  <a:lnTo>
                    <a:pt x="101" y="31"/>
                  </a:lnTo>
                  <a:lnTo>
                    <a:pt x="101" y="31"/>
                  </a:lnTo>
                  <a:lnTo>
                    <a:pt x="101" y="29"/>
                  </a:lnTo>
                  <a:lnTo>
                    <a:pt x="99" y="29"/>
                  </a:lnTo>
                  <a:lnTo>
                    <a:pt x="97" y="29"/>
                  </a:lnTo>
                  <a:lnTo>
                    <a:pt x="94" y="29"/>
                  </a:lnTo>
                  <a:lnTo>
                    <a:pt x="94" y="26"/>
                  </a:lnTo>
                  <a:lnTo>
                    <a:pt x="92" y="26"/>
                  </a:lnTo>
                  <a:lnTo>
                    <a:pt x="92" y="26"/>
                  </a:lnTo>
                  <a:lnTo>
                    <a:pt x="92" y="26"/>
                  </a:lnTo>
                  <a:lnTo>
                    <a:pt x="92" y="24"/>
                  </a:lnTo>
                  <a:lnTo>
                    <a:pt x="92" y="24"/>
                  </a:lnTo>
                  <a:lnTo>
                    <a:pt x="90" y="24"/>
                  </a:lnTo>
                  <a:lnTo>
                    <a:pt x="87" y="21"/>
                  </a:lnTo>
                  <a:lnTo>
                    <a:pt x="87" y="24"/>
                  </a:lnTo>
                  <a:lnTo>
                    <a:pt x="87" y="24"/>
                  </a:lnTo>
                  <a:lnTo>
                    <a:pt x="90" y="26"/>
                  </a:lnTo>
                  <a:close/>
                  <a:moveTo>
                    <a:pt x="90" y="12"/>
                  </a:moveTo>
                  <a:lnTo>
                    <a:pt x="90" y="12"/>
                  </a:lnTo>
                  <a:lnTo>
                    <a:pt x="87" y="12"/>
                  </a:lnTo>
                  <a:lnTo>
                    <a:pt x="87" y="12"/>
                  </a:lnTo>
                  <a:lnTo>
                    <a:pt x="87" y="14"/>
                  </a:lnTo>
                  <a:lnTo>
                    <a:pt x="90" y="14"/>
                  </a:lnTo>
                  <a:lnTo>
                    <a:pt x="90" y="14"/>
                  </a:lnTo>
                  <a:lnTo>
                    <a:pt x="90" y="17"/>
                  </a:lnTo>
                  <a:lnTo>
                    <a:pt x="92" y="17"/>
                  </a:lnTo>
                  <a:lnTo>
                    <a:pt x="92" y="17"/>
                  </a:lnTo>
                  <a:lnTo>
                    <a:pt x="94" y="19"/>
                  </a:lnTo>
                  <a:lnTo>
                    <a:pt x="94" y="19"/>
                  </a:lnTo>
                  <a:lnTo>
                    <a:pt x="97" y="19"/>
                  </a:lnTo>
                  <a:lnTo>
                    <a:pt x="99" y="19"/>
                  </a:lnTo>
                  <a:lnTo>
                    <a:pt x="99" y="17"/>
                  </a:lnTo>
                  <a:lnTo>
                    <a:pt x="99" y="17"/>
                  </a:lnTo>
                  <a:lnTo>
                    <a:pt x="104" y="17"/>
                  </a:lnTo>
                  <a:lnTo>
                    <a:pt x="104" y="17"/>
                  </a:lnTo>
                  <a:lnTo>
                    <a:pt x="104" y="17"/>
                  </a:lnTo>
                  <a:lnTo>
                    <a:pt x="101" y="19"/>
                  </a:lnTo>
                  <a:lnTo>
                    <a:pt x="101" y="19"/>
                  </a:lnTo>
                  <a:lnTo>
                    <a:pt x="101" y="19"/>
                  </a:lnTo>
                  <a:lnTo>
                    <a:pt x="104" y="21"/>
                  </a:lnTo>
                  <a:lnTo>
                    <a:pt x="104" y="21"/>
                  </a:lnTo>
                  <a:lnTo>
                    <a:pt x="104" y="21"/>
                  </a:lnTo>
                  <a:lnTo>
                    <a:pt x="106" y="21"/>
                  </a:lnTo>
                  <a:lnTo>
                    <a:pt x="108" y="21"/>
                  </a:lnTo>
                  <a:lnTo>
                    <a:pt x="108" y="21"/>
                  </a:lnTo>
                  <a:lnTo>
                    <a:pt x="106" y="21"/>
                  </a:lnTo>
                  <a:lnTo>
                    <a:pt x="106" y="21"/>
                  </a:lnTo>
                  <a:lnTo>
                    <a:pt x="97" y="21"/>
                  </a:lnTo>
                  <a:lnTo>
                    <a:pt x="97" y="21"/>
                  </a:lnTo>
                  <a:lnTo>
                    <a:pt x="97" y="21"/>
                  </a:lnTo>
                  <a:lnTo>
                    <a:pt x="99" y="24"/>
                  </a:lnTo>
                  <a:lnTo>
                    <a:pt x="101" y="24"/>
                  </a:lnTo>
                  <a:lnTo>
                    <a:pt x="99" y="24"/>
                  </a:lnTo>
                  <a:lnTo>
                    <a:pt x="99" y="24"/>
                  </a:lnTo>
                  <a:lnTo>
                    <a:pt x="101" y="26"/>
                  </a:lnTo>
                  <a:lnTo>
                    <a:pt x="101" y="26"/>
                  </a:lnTo>
                  <a:lnTo>
                    <a:pt x="104" y="26"/>
                  </a:lnTo>
                  <a:lnTo>
                    <a:pt x="104" y="26"/>
                  </a:lnTo>
                  <a:lnTo>
                    <a:pt x="106" y="26"/>
                  </a:lnTo>
                  <a:lnTo>
                    <a:pt x="108" y="29"/>
                  </a:lnTo>
                  <a:lnTo>
                    <a:pt x="111" y="31"/>
                  </a:lnTo>
                  <a:lnTo>
                    <a:pt x="113" y="31"/>
                  </a:lnTo>
                  <a:lnTo>
                    <a:pt x="113" y="31"/>
                  </a:lnTo>
                  <a:lnTo>
                    <a:pt x="113" y="31"/>
                  </a:lnTo>
                  <a:lnTo>
                    <a:pt x="118" y="33"/>
                  </a:lnTo>
                  <a:lnTo>
                    <a:pt x="123" y="33"/>
                  </a:lnTo>
                  <a:lnTo>
                    <a:pt x="125" y="33"/>
                  </a:lnTo>
                  <a:lnTo>
                    <a:pt x="127" y="31"/>
                  </a:lnTo>
                  <a:lnTo>
                    <a:pt x="130" y="31"/>
                  </a:lnTo>
                  <a:lnTo>
                    <a:pt x="132" y="31"/>
                  </a:lnTo>
                  <a:lnTo>
                    <a:pt x="132" y="31"/>
                  </a:lnTo>
                  <a:lnTo>
                    <a:pt x="134" y="31"/>
                  </a:lnTo>
                  <a:lnTo>
                    <a:pt x="134" y="29"/>
                  </a:lnTo>
                  <a:lnTo>
                    <a:pt x="132" y="29"/>
                  </a:lnTo>
                  <a:lnTo>
                    <a:pt x="132" y="29"/>
                  </a:lnTo>
                  <a:lnTo>
                    <a:pt x="132" y="26"/>
                  </a:lnTo>
                  <a:lnTo>
                    <a:pt x="132" y="26"/>
                  </a:lnTo>
                  <a:lnTo>
                    <a:pt x="132" y="26"/>
                  </a:lnTo>
                  <a:lnTo>
                    <a:pt x="134" y="26"/>
                  </a:lnTo>
                  <a:lnTo>
                    <a:pt x="134" y="26"/>
                  </a:lnTo>
                  <a:lnTo>
                    <a:pt x="134" y="26"/>
                  </a:lnTo>
                  <a:lnTo>
                    <a:pt x="137" y="26"/>
                  </a:lnTo>
                  <a:lnTo>
                    <a:pt x="137" y="26"/>
                  </a:lnTo>
                  <a:lnTo>
                    <a:pt x="137" y="26"/>
                  </a:lnTo>
                  <a:lnTo>
                    <a:pt x="139" y="26"/>
                  </a:lnTo>
                  <a:lnTo>
                    <a:pt x="139" y="26"/>
                  </a:lnTo>
                  <a:lnTo>
                    <a:pt x="141" y="26"/>
                  </a:lnTo>
                  <a:lnTo>
                    <a:pt x="141" y="24"/>
                  </a:lnTo>
                  <a:lnTo>
                    <a:pt x="144" y="24"/>
                  </a:lnTo>
                  <a:lnTo>
                    <a:pt x="144" y="26"/>
                  </a:lnTo>
                  <a:lnTo>
                    <a:pt x="144" y="26"/>
                  </a:lnTo>
                  <a:lnTo>
                    <a:pt x="141" y="26"/>
                  </a:lnTo>
                  <a:lnTo>
                    <a:pt x="141" y="26"/>
                  </a:lnTo>
                  <a:lnTo>
                    <a:pt x="141" y="29"/>
                  </a:lnTo>
                  <a:lnTo>
                    <a:pt x="144" y="29"/>
                  </a:lnTo>
                  <a:lnTo>
                    <a:pt x="144" y="29"/>
                  </a:lnTo>
                  <a:lnTo>
                    <a:pt x="146" y="29"/>
                  </a:lnTo>
                  <a:lnTo>
                    <a:pt x="151" y="29"/>
                  </a:lnTo>
                  <a:lnTo>
                    <a:pt x="153" y="29"/>
                  </a:lnTo>
                  <a:lnTo>
                    <a:pt x="156" y="26"/>
                  </a:lnTo>
                  <a:lnTo>
                    <a:pt x="156" y="26"/>
                  </a:lnTo>
                  <a:lnTo>
                    <a:pt x="160" y="26"/>
                  </a:lnTo>
                  <a:lnTo>
                    <a:pt x="158" y="26"/>
                  </a:lnTo>
                  <a:lnTo>
                    <a:pt x="156" y="29"/>
                  </a:lnTo>
                  <a:lnTo>
                    <a:pt x="158" y="29"/>
                  </a:lnTo>
                  <a:lnTo>
                    <a:pt x="160" y="31"/>
                  </a:lnTo>
                  <a:lnTo>
                    <a:pt x="160" y="31"/>
                  </a:lnTo>
                  <a:lnTo>
                    <a:pt x="163" y="31"/>
                  </a:lnTo>
                  <a:lnTo>
                    <a:pt x="165" y="31"/>
                  </a:lnTo>
                  <a:lnTo>
                    <a:pt x="163" y="31"/>
                  </a:lnTo>
                  <a:lnTo>
                    <a:pt x="160" y="31"/>
                  </a:lnTo>
                  <a:lnTo>
                    <a:pt x="153" y="31"/>
                  </a:lnTo>
                  <a:lnTo>
                    <a:pt x="149" y="31"/>
                  </a:lnTo>
                  <a:lnTo>
                    <a:pt x="149" y="31"/>
                  </a:lnTo>
                  <a:lnTo>
                    <a:pt x="146" y="31"/>
                  </a:lnTo>
                  <a:lnTo>
                    <a:pt x="146" y="33"/>
                  </a:lnTo>
                  <a:lnTo>
                    <a:pt x="146" y="33"/>
                  </a:lnTo>
                  <a:lnTo>
                    <a:pt x="146" y="33"/>
                  </a:lnTo>
                  <a:lnTo>
                    <a:pt x="144" y="33"/>
                  </a:lnTo>
                  <a:lnTo>
                    <a:pt x="139" y="33"/>
                  </a:lnTo>
                  <a:lnTo>
                    <a:pt x="130" y="36"/>
                  </a:lnTo>
                  <a:lnTo>
                    <a:pt x="130" y="36"/>
                  </a:lnTo>
                  <a:lnTo>
                    <a:pt x="127" y="36"/>
                  </a:lnTo>
                  <a:lnTo>
                    <a:pt x="127" y="36"/>
                  </a:lnTo>
                  <a:lnTo>
                    <a:pt x="125" y="36"/>
                  </a:lnTo>
                  <a:lnTo>
                    <a:pt x="125" y="36"/>
                  </a:lnTo>
                  <a:lnTo>
                    <a:pt x="123" y="36"/>
                  </a:lnTo>
                  <a:lnTo>
                    <a:pt x="123" y="36"/>
                  </a:lnTo>
                  <a:lnTo>
                    <a:pt x="123" y="38"/>
                  </a:lnTo>
                  <a:lnTo>
                    <a:pt x="125" y="38"/>
                  </a:lnTo>
                  <a:lnTo>
                    <a:pt x="125" y="38"/>
                  </a:lnTo>
                  <a:lnTo>
                    <a:pt x="127" y="40"/>
                  </a:lnTo>
                  <a:lnTo>
                    <a:pt x="127" y="40"/>
                  </a:lnTo>
                  <a:lnTo>
                    <a:pt x="134" y="40"/>
                  </a:lnTo>
                  <a:lnTo>
                    <a:pt x="137" y="40"/>
                  </a:lnTo>
                  <a:lnTo>
                    <a:pt x="141" y="40"/>
                  </a:lnTo>
                  <a:lnTo>
                    <a:pt x="144" y="38"/>
                  </a:lnTo>
                  <a:lnTo>
                    <a:pt x="146" y="38"/>
                  </a:lnTo>
                  <a:lnTo>
                    <a:pt x="149" y="38"/>
                  </a:lnTo>
                  <a:lnTo>
                    <a:pt x="151" y="38"/>
                  </a:lnTo>
                  <a:lnTo>
                    <a:pt x="158" y="38"/>
                  </a:lnTo>
                  <a:lnTo>
                    <a:pt x="160" y="38"/>
                  </a:lnTo>
                  <a:lnTo>
                    <a:pt x="163" y="38"/>
                  </a:lnTo>
                  <a:lnTo>
                    <a:pt x="163" y="38"/>
                  </a:lnTo>
                  <a:lnTo>
                    <a:pt x="163" y="40"/>
                  </a:lnTo>
                  <a:lnTo>
                    <a:pt x="158" y="40"/>
                  </a:lnTo>
                  <a:lnTo>
                    <a:pt x="153" y="40"/>
                  </a:lnTo>
                  <a:lnTo>
                    <a:pt x="139" y="40"/>
                  </a:lnTo>
                  <a:lnTo>
                    <a:pt x="137" y="43"/>
                  </a:lnTo>
                  <a:lnTo>
                    <a:pt x="134" y="43"/>
                  </a:lnTo>
                  <a:lnTo>
                    <a:pt x="134" y="43"/>
                  </a:lnTo>
                  <a:lnTo>
                    <a:pt x="132" y="43"/>
                  </a:lnTo>
                  <a:lnTo>
                    <a:pt x="127" y="43"/>
                  </a:lnTo>
                  <a:lnTo>
                    <a:pt x="127" y="43"/>
                  </a:lnTo>
                  <a:lnTo>
                    <a:pt x="127" y="43"/>
                  </a:lnTo>
                  <a:lnTo>
                    <a:pt x="127" y="45"/>
                  </a:lnTo>
                  <a:lnTo>
                    <a:pt x="127" y="45"/>
                  </a:lnTo>
                  <a:lnTo>
                    <a:pt x="130" y="47"/>
                  </a:lnTo>
                  <a:lnTo>
                    <a:pt x="130" y="47"/>
                  </a:lnTo>
                  <a:lnTo>
                    <a:pt x="132" y="47"/>
                  </a:lnTo>
                  <a:lnTo>
                    <a:pt x="134" y="50"/>
                  </a:lnTo>
                  <a:lnTo>
                    <a:pt x="137" y="50"/>
                  </a:lnTo>
                  <a:lnTo>
                    <a:pt x="141" y="50"/>
                  </a:lnTo>
                  <a:lnTo>
                    <a:pt x="146" y="55"/>
                  </a:lnTo>
                  <a:lnTo>
                    <a:pt x="153" y="55"/>
                  </a:lnTo>
                  <a:lnTo>
                    <a:pt x="153" y="57"/>
                  </a:lnTo>
                  <a:lnTo>
                    <a:pt x="156" y="57"/>
                  </a:lnTo>
                  <a:lnTo>
                    <a:pt x="156" y="57"/>
                  </a:lnTo>
                  <a:lnTo>
                    <a:pt x="158" y="59"/>
                  </a:lnTo>
                  <a:lnTo>
                    <a:pt x="160" y="59"/>
                  </a:lnTo>
                  <a:lnTo>
                    <a:pt x="163" y="59"/>
                  </a:lnTo>
                  <a:lnTo>
                    <a:pt x="165" y="57"/>
                  </a:lnTo>
                  <a:lnTo>
                    <a:pt x="165" y="57"/>
                  </a:lnTo>
                  <a:lnTo>
                    <a:pt x="165" y="55"/>
                  </a:lnTo>
                  <a:lnTo>
                    <a:pt x="165" y="55"/>
                  </a:lnTo>
                  <a:lnTo>
                    <a:pt x="165" y="55"/>
                  </a:lnTo>
                  <a:lnTo>
                    <a:pt x="167" y="52"/>
                  </a:lnTo>
                  <a:lnTo>
                    <a:pt x="167" y="52"/>
                  </a:lnTo>
                  <a:lnTo>
                    <a:pt x="165" y="52"/>
                  </a:lnTo>
                  <a:lnTo>
                    <a:pt x="167" y="50"/>
                  </a:lnTo>
                  <a:lnTo>
                    <a:pt x="170" y="47"/>
                  </a:lnTo>
                  <a:lnTo>
                    <a:pt x="172" y="45"/>
                  </a:lnTo>
                  <a:lnTo>
                    <a:pt x="174" y="45"/>
                  </a:lnTo>
                  <a:lnTo>
                    <a:pt x="177" y="45"/>
                  </a:lnTo>
                  <a:lnTo>
                    <a:pt x="179" y="43"/>
                  </a:lnTo>
                  <a:lnTo>
                    <a:pt x="179" y="43"/>
                  </a:lnTo>
                  <a:lnTo>
                    <a:pt x="179" y="40"/>
                  </a:lnTo>
                  <a:lnTo>
                    <a:pt x="179" y="40"/>
                  </a:lnTo>
                  <a:lnTo>
                    <a:pt x="179" y="38"/>
                  </a:lnTo>
                  <a:lnTo>
                    <a:pt x="179" y="36"/>
                  </a:lnTo>
                  <a:lnTo>
                    <a:pt x="179" y="36"/>
                  </a:lnTo>
                  <a:lnTo>
                    <a:pt x="182" y="36"/>
                  </a:lnTo>
                  <a:lnTo>
                    <a:pt x="184" y="36"/>
                  </a:lnTo>
                  <a:lnTo>
                    <a:pt x="184" y="36"/>
                  </a:lnTo>
                  <a:lnTo>
                    <a:pt x="186" y="36"/>
                  </a:lnTo>
                  <a:lnTo>
                    <a:pt x="186" y="33"/>
                  </a:lnTo>
                  <a:lnTo>
                    <a:pt x="186" y="33"/>
                  </a:lnTo>
                  <a:lnTo>
                    <a:pt x="186" y="33"/>
                  </a:lnTo>
                  <a:lnTo>
                    <a:pt x="186" y="31"/>
                  </a:lnTo>
                  <a:lnTo>
                    <a:pt x="189" y="31"/>
                  </a:lnTo>
                  <a:lnTo>
                    <a:pt x="191" y="29"/>
                  </a:lnTo>
                  <a:lnTo>
                    <a:pt x="193" y="29"/>
                  </a:lnTo>
                  <a:lnTo>
                    <a:pt x="193" y="26"/>
                  </a:lnTo>
                  <a:lnTo>
                    <a:pt x="193" y="26"/>
                  </a:lnTo>
                  <a:lnTo>
                    <a:pt x="196" y="26"/>
                  </a:lnTo>
                  <a:lnTo>
                    <a:pt x="203" y="26"/>
                  </a:lnTo>
                  <a:lnTo>
                    <a:pt x="205" y="26"/>
                  </a:lnTo>
                  <a:lnTo>
                    <a:pt x="210" y="26"/>
                  </a:lnTo>
                  <a:lnTo>
                    <a:pt x="212" y="26"/>
                  </a:lnTo>
                  <a:lnTo>
                    <a:pt x="215" y="24"/>
                  </a:lnTo>
                  <a:lnTo>
                    <a:pt x="215" y="24"/>
                  </a:lnTo>
                  <a:lnTo>
                    <a:pt x="212" y="24"/>
                  </a:lnTo>
                  <a:lnTo>
                    <a:pt x="210" y="24"/>
                  </a:lnTo>
                  <a:lnTo>
                    <a:pt x="205" y="21"/>
                  </a:lnTo>
                  <a:lnTo>
                    <a:pt x="203" y="21"/>
                  </a:lnTo>
                  <a:lnTo>
                    <a:pt x="205" y="19"/>
                  </a:lnTo>
                  <a:lnTo>
                    <a:pt x="205" y="19"/>
                  </a:lnTo>
                  <a:lnTo>
                    <a:pt x="203" y="19"/>
                  </a:lnTo>
                  <a:lnTo>
                    <a:pt x="198" y="19"/>
                  </a:lnTo>
                  <a:lnTo>
                    <a:pt x="198" y="19"/>
                  </a:lnTo>
                  <a:lnTo>
                    <a:pt x="198" y="19"/>
                  </a:lnTo>
                  <a:lnTo>
                    <a:pt x="196" y="19"/>
                  </a:lnTo>
                  <a:lnTo>
                    <a:pt x="193" y="19"/>
                  </a:lnTo>
                  <a:lnTo>
                    <a:pt x="191" y="19"/>
                  </a:lnTo>
                  <a:lnTo>
                    <a:pt x="186" y="19"/>
                  </a:lnTo>
                  <a:lnTo>
                    <a:pt x="184" y="19"/>
                  </a:lnTo>
                  <a:lnTo>
                    <a:pt x="184" y="17"/>
                  </a:lnTo>
                  <a:lnTo>
                    <a:pt x="182" y="17"/>
                  </a:lnTo>
                  <a:lnTo>
                    <a:pt x="182" y="17"/>
                  </a:lnTo>
                  <a:lnTo>
                    <a:pt x="182" y="17"/>
                  </a:lnTo>
                  <a:lnTo>
                    <a:pt x="182" y="17"/>
                  </a:lnTo>
                  <a:lnTo>
                    <a:pt x="182" y="17"/>
                  </a:lnTo>
                  <a:lnTo>
                    <a:pt x="184" y="14"/>
                  </a:lnTo>
                  <a:lnTo>
                    <a:pt x="182" y="14"/>
                  </a:lnTo>
                  <a:lnTo>
                    <a:pt x="182" y="14"/>
                  </a:lnTo>
                  <a:lnTo>
                    <a:pt x="182" y="14"/>
                  </a:lnTo>
                  <a:lnTo>
                    <a:pt x="179" y="12"/>
                  </a:lnTo>
                  <a:lnTo>
                    <a:pt x="177" y="12"/>
                  </a:lnTo>
                  <a:lnTo>
                    <a:pt x="177" y="12"/>
                  </a:lnTo>
                  <a:lnTo>
                    <a:pt x="177" y="12"/>
                  </a:lnTo>
                  <a:lnTo>
                    <a:pt x="172" y="14"/>
                  </a:lnTo>
                  <a:lnTo>
                    <a:pt x="170" y="14"/>
                  </a:lnTo>
                  <a:lnTo>
                    <a:pt x="170" y="14"/>
                  </a:lnTo>
                  <a:lnTo>
                    <a:pt x="170" y="14"/>
                  </a:lnTo>
                  <a:lnTo>
                    <a:pt x="170" y="12"/>
                  </a:lnTo>
                  <a:lnTo>
                    <a:pt x="170" y="12"/>
                  </a:lnTo>
                  <a:lnTo>
                    <a:pt x="172" y="12"/>
                  </a:lnTo>
                  <a:lnTo>
                    <a:pt x="172" y="10"/>
                  </a:lnTo>
                  <a:lnTo>
                    <a:pt x="170" y="10"/>
                  </a:lnTo>
                  <a:lnTo>
                    <a:pt x="170" y="10"/>
                  </a:lnTo>
                  <a:lnTo>
                    <a:pt x="167" y="7"/>
                  </a:lnTo>
                  <a:lnTo>
                    <a:pt x="163" y="7"/>
                  </a:lnTo>
                  <a:lnTo>
                    <a:pt x="160" y="7"/>
                  </a:lnTo>
                  <a:lnTo>
                    <a:pt x="160" y="7"/>
                  </a:lnTo>
                  <a:lnTo>
                    <a:pt x="160" y="7"/>
                  </a:lnTo>
                  <a:lnTo>
                    <a:pt x="158" y="7"/>
                  </a:lnTo>
                  <a:lnTo>
                    <a:pt x="158" y="7"/>
                  </a:lnTo>
                  <a:lnTo>
                    <a:pt x="156" y="7"/>
                  </a:lnTo>
                  <a:lnTo>
                    <a:pt x="153" y="5"/>
                  </a:lnTo>
                  <a:lnTo>
                    <a:pt x="151" y="5"/>
                  </a:lnTo>
                  <a:lnTo>
                    <a:pt x="151" y="7"/>
                  </a:lnTo>
                  <a:lnTo>
                    <a:pt x="151" y="7"/>
                  </a:lnTo>
                  <a:lnTo>
                    <a:pt x="151" y="7"/>
                  </a:lnTo>
                  <a:lnTo>
                    <a:pt x="149" y="10"/>
                  </a:lnTo>
                  <a:lnTo>
                    <a:pt x="149" y="10"/>
                  </a:lnTo>
                  <a:lnTo>
                    <a:pt x="146" y="10"/>
                  </a:lnTo>
                  <a:lnTo>
                    <a:pt x="146" y="12"/>
                  </a:lnTo>
                  <a:lnTo>
                    <a:pt x="149" y="12"/>
                  </a:lnTo>
                  <a:lnTo>
                    <a:pt x="149" y="14"/>
                  </a:lnTo>
                  <a:lnTo>
                    <a:pt x="151" y="17"/>
                  </a:lnTo>
                  <a:lnTo>
                    <a:pt x="153" y="19"/>
                  </a:lnTo>
                  <a:lnTo>
                    <a:pt x="153" y="21"/>
                  </a:lnTo>
                  <a:lnTo>
                    <a:pt x="153" y="21"/>
                  </a:lnTo>
                  <a:lnTo>
                    <a:pt x="149" y="19"/>
                  </a:lnTo>
                  <a:lnTo>
                    <a:pt x="146" y="19"/>
                  </a:lnTo>
                  <a:lnTo>
                    <a:pt x="146" y="17"/>
                  </a:lnTo>
                  <a:lnTo>
                    <a:pt x="144" y="14"/>
                  </a:lnTo>
                  <a:lnTo>
                    <a:pt x="141" y="12"/>
                  </a:lnTo>
                  <a:lnTo>
                    <a:pt x="139" y="12"/>
                  </a:lnTo>
                  <a:lnTo>
                    <a:pt x="137" y="10"/>
                  </a:lnTo>
                  <a:lnTo>
                    <a:pt x="132" y="10"/>
                  </a:lnTo>
                  <a:lnTo>
                    <a:pt x="130" y="10"/>
                  </a:lnTo>
                  <a:lnTo>
                    <a:pt x="127" y="12"/>
                  </a:lnTo>
                  <a:lnTo>
                    <a:pt x="127" y="12"/>
                  </a:lnTo>
                  <a:lnTo>
                    <a:pt x="127" y="12"/>
                  </a:lnTo>
                  <a:lnTo>
                    <a:pt x="127" y="14"/>
                  </a:lnTo>
                  <a:lnTo>
                    <a:pt x="127" y="14"/>
                  </a:lnTo>
                  <a:lnTo>
                    <a:pt x="127" y="14"/>
                  </a:lnTo>
                  <a:lnTo>
                    <a:pt x="127" y="17"/>
                  </a:lnTo>
                  <a:lnTo>
                    <a:pt x="125" y="17"/>
                  </a:lnTo>
                  <a:lnTo>
                    <a:pt x="125" y="14"/>
                  </a:lnTo>
                  <a:lnTo>
                    <a:pt x="123" y="14"/>
                  </a:lnTo>
                  <a:lnTo>
                    <a:pt x="123" y="14"/>
                  </a:lnTo>
                  <a:lnTo>
                    <a:pt x="120" y="14"/>
                  </a:lnTo>
                  <a:lnTo>
                    <a:pt x="120" y="14"/>
                  </a:lnTo>
                  <a:lnTo>
                    <a:pt x="118" y="12"/>
                  </a:lnTo>
                  <a:lnTo>
                    <a:pt x="118" y="12"/>
                  </a:lnTo>
                  <a:lnTo>
                    <a:pt x="108" y="12"/>
                  </a:lnTo>
                  <a:lnTo>
                    <a:pt x="116" y="12"/>
                  </a:lnTo>
                  <a:lnTo>
                    <a:pt x="123" y="10"/>
                  </a:lnTo>
                  <a:lnTo>
                    <a:pt x="125" y="10"/>
                  </a:lnTo>
                  <a:lnTo>
                    <a:pt x="125" y="10"/>
                  </a:lnTo>
                  <a:lnTo>
                    <a:pt x="125" y="10"/>
                  </a:lnTo>
                  <a:lnTo>
                    <a:pt x="125" y="10"/>
                  </a:lnTo>
                  <a:lnTo>
                    <a:pt x="123" y="7"/>
                  </a:lnTo>
                  <a:lnTo>
                    <a:pt x="116" y="10"/>
                  </a:lnTo>
                  <a:lnTo>
                    <a:pt x="111" y="10"/>
                  </a:lnTo>
                  <a:lnTo>
                    <a:pt x="111" y="10"/>
                  </a:lnTo>
                  <a:lnTo>
                    <a:pt x="106" y="10"/>
                  </a:lnTo>
                  <a:lnTo>
                    <a:pt x="106" y="10"/>
                  </a:lnTo>
                  <a:lnTo>
                    <a:pt x="106" y="10"/>
                  </a:lnTo>
                  <a:lnTo>
                    <a:pt x="106" y="10"/>
                  </a:lnTo>
                  <a:lnTo>
                    <a:pt x="106" y="10"/>
                  </a:lnTo>
                  <a:lnTo>
                    <a:pt x="104" y="10"/>
                  </a:lnTo>
                  <a:lnTo>
                    <a:pt x="99" y="10"/>
                  </a:lnTo>
                  <a:lnTo>
                    <a:pt x="94" y="10"/>
                  </a:lnTo>
                  <a:lnTo>
                    <a:pt x="94" y="10"/>
                  </a:lnTo>
                  <a:lnTo>
                    <a:pt x="94" y="10"/>
                  </a:lnTo>
                  <a:lnTo>
                    <a:pt x="92" y="10"/>
                  </a:lnTo>
                  <a:lnTo>
                    <a:pt x="92" y="10"/>
                  </a:lnTo>
                  <a:lnTo>
                    <a:pt x="90" y="10"/>
                  </a:lnTo>
                  <a:lnTo>
                    <a:pt x="90" y="10"/>
                  </a:lnTo>
                  <a:lnTo>
                    <a:pt x="87" y="10"/>
                  </a:lnTo>
                  <a:lnTo>
                    <a:pt x="87" y="10"/>
                  </a:lnTo>
                  <a:lnTo>
                    <a:pt x="87" y="10"/>
                  </a:lnTo>
                  <a:lnTo>
                    <a:pt x="90" y="12"/>
                  </a:lnTo>
                  <a:close/>
                  <a:moveTo>
                    <a:pt x="179" y="3"/>
                  </a:moveTo>
                  <a:lnTo>
                    <a:pt x="177" y="3"/>
                  </a:lnTo>
                  <a:lnTo>
                    <a:pt x="174" y="0"/>
                  </a:lnTo>
                  <a:lnTo>
                    <a:pt x="174" y="3"/>
                  </a:lnTo>
                  <a:lnTo>
                    <a:pt x="174" y="3"/>
                  </a:lnTo>
                  <a:lnTo>
                    <a:pt x="177" y="3"/>
                  </a:lnTo>
                  <a:lnTo>
                    <a:pt x="179" y="3"/>
                  </a:lnTo>
                  <a:close/>
                  <a:moveTo>
                    <a:pt x="177" y="5"/>
                  </a:moveTo>
                  <a:lnTo>
                    <a:pt x="182" y="5"/>
                  </a:lnTo>
                  <a:lnTo>
                    <a:pt x="182" y="7"/>
                  </a:lnTo>
                  <a:lnTo>
                    <a:pt x="179" y="7"/>
                  </a:lnTo>
                  <a:lnTo>
                    <a:pt x="174" y="7"/>
                  </a:lnTo>
                  <a:lnTo>
                    <a:pt x="174" y="7"/>
                  </a:lnTo>
                  <a:lnTo>
                    <a:pt x="177" y="7"/>
                  </a:lnTo>
                  <a:lnTo>
                    <a:pt x="177" y="10"/>
                  </a:lnTo>
                  <a:lnTo>
                    <a:pt x="182" y="10"/>
                  </a:lnTo>
                  <a:lnTo>
                    <a:pt x="184" y="10"/>
                  </a:lnTo>
                  <a:lnTo>
                    <a:pt x="189" y="10"/>
                  </a:lnTo>
                  <a:lnTo>
                    <a:pt x="191" y="10"/>
                  </a:lnTo>
                  <a:lnTo>
                    <a:pt x="196" y="10"/>
                  </a:lnTo>
                  <a:lnTo>
                    <a:pt x="198" y="10"/>
                  </a:lnTo>
                  <a:lnTo>
                    <a:pt x="200" y="10"/>
                  </a:lnTo>
                  <a:lnTo>
                    <a:pt x="205" y="10"/>
                  </a:lnTo>
                  <a:lnTo>
                    <a:pt x="203" y="10"/>
                  </a:lnTo>
                  <a:lnTo>
                    <a:pt x="203" y="12"/>
                  </a:lnTo>
                  <a:lnTo>
                    <a:pt x="203" y="12"/>
                  </a:lnTo>
                  <a:lnTo>
                    <a:pt x="198" y="12"/>
                  </a:lnTo>
                  <a:lnTo>
                    <a:pt x="196" y="12"/>
                  </a:lnTo>
                  <a:lnTo>
                    <a:pt x="193" y="12"/>
                  </a:lnTo>
                  <a:lnTo>
                    <a:pt x="193" y="12"/>
                  </a:lnTo>
                  <a:lnTo>
                    <a:pt x="193" y="12"/>
                  </a:lnTo>
                  <a:lnTo>
                    <a:pt x="196" y="12"/>
                  </a:lnTo>
                  <a:lnTo>
                    <a:pt x="198" y="14"/>
                  </a:lnTo>
                  <a:lnTo>
                    <a:pt x="200" y="14"/>
                  </a:lnTo>
                  <a:lnTo>
                    <a:pt x="205" y="14"/>
                  </a:lnTo>
                  <a:lnTo>
                    <a:pt x="205" y="14"/>
                  </a:lnTo>
                  <a:lnTo>
                    <a:pt x="207" y="14"/>
                  </a:lnTo>
                  <a:lnTo>
                    <a:pt x="219" y="14"/>
                  </a:lnTo>
                  <a:lnTo>
                    <a:pt x="229" y="14"/>
                  </a:lnTo>
                  <a:lnTo>
                    <a:pt x="229" y="17"/>
                  </a:lnTo>
                  <a:lnTo>
                    <a:pt x="229" y="17"/>
                  </a:lnTo>
                  <a:lnTo>
                    <a:pt x="231" y="17"/>
                  </a:lnTo>
                  <a:lnTo>
                    <a:pt x="240" y="19"/>
                  </a:lnTo>
                  <a:lnTo>
                    <a:pt x="243" y="19"/>
                  </a:lnTo>
                  <a:lnTo>
                    <a:pt x="245" y="17"/>
                  </a:lnTo>
                  <a:lnTo>
                    <a:pt x="248" y="17"/>
                  </a:lnTo>
                  <a:lnTo>
                    <a:pt x="248" y="17"/>
                  </a:lnTo>
                  <a:lnTo>
                    <a:pt x="252" y="17"/>
                  </a:lnTo>
                  <a:lnTo>
                    <a:pt x="252" y="17"/>
                  </a:lnTo>
                  <a:lnTo>
                    <a:pt x="257" y="17"/>
                  </a:lnTo>
                  <a:lnTo>
                    <a:pt x="257" y="17"/>
                  </a:lnTo>
                  <a:lnTo>
                    <a:pt x="262" y="14"/>
                  </a:lnTo>
                  <a:lnTo>
                    <a:pt x="264" y="14"/>
                  </a:lnTo>
                  <a:lnTo>
                    <a:pt x="264" y="12"/>
                  </a:lnTo>
                  <a:lnTo>
                    <a:pt x="266" y="12"/>
                  </a:lnTo>
                  <a:lnTo>
                    <a:pt x="269" y="12"/>
                  </a:lnTo>
                  <a:lnTo>
                    <a:pt x="278" y="7"/>
                  </a:lnTo>
                  <a:lnTo>
                    <a:pt x="278" y="7"/>
                  </a:lnTo>
                  <a:lnTo>
                    <a:pt x="278" y="5"/>
                  </a:lnTo>
                  <a:lnTo>
                    <a:pt x="276" y="5"/>
                  </a:lnTo>
                  <a:lnTo>
                    <a:pt x="273" y="5"/>
                  </a:lnTo>
                  <a:lnTo>
                    <a:pt x="269" y="5"/>
                  </a:lnTo>
                  <a:lnTo>
                    <a:pt x="262" y="5"/>
                  </a:lnTo>
                  <a:lnTo>
                    <a:pt x="262" y="5"/>
                  </a:lnTo>
                  <a:lnTo>
                    <a:pt x="259" y="3"/>
                  </a:lnTo>
                  <a:lnTo>
                    <a:pt x="257" y="3"/>
                  </a:lnTo>
                  <a:lnTo>
                    <a:pt x="252" y="3"/>
                  </a:lnTo>
                  <a:lnTo>
                    <a:pt x="250" y="3"/>
                  </a:lnTo>
                  <a:lnTo>
                    <a:pt x="250" y="3"/>
                  </a:lnTo>
                  <a:lnTo>
                    <a:pt x="248" y="3"/>
                  </a:lnTo>
                  <a:lnTo>
                    <a:pt x="248" y="3"/>
                  </a:lnTo>
                  <a:lnTo>
                    <a:pt x="245" y="3"/>
                  </a:lnTo>
                  <a:lnTo>
                    <a:pt x="245" y="0"/>
                  </a:lnTo>
                  <a:lnTo>
                    <a:pt x="243" y="3"/>
                  </a:lnTo>
                  <a:lnTo>
                    <a:pt x="243" y="3"/>
                  </a:lnTo>
                  <a:lnTo>
                    <a:pt x="243" y="3"/>
                  </a:lnTo>
                  <a:lnTo>
                    <a:pt x="240" y="3"/>
                  </a:lnTo>
                  <a:lnTo>
                    <a:pt x="238" y="3"/>
                  </a:lnTo>
                  <a:lnTo>
                    <a:pt x="238" y="3"/>
                  </a:lnTo>
                  <a:lnTo>
                    <a:pt x="233" y="5"/>
                  </a:lnTo>
                  <a:lnTo>
                    <a:pt x="231" y="5"/>
                  </a:lnTo>
                  <a:lnTo>
                    <a:pt x="231" y="3"/>
                  </a:lnTo>
                  <a:lnTo>
                    <a:pt x="231" y="0"/>
                  </a:lnTo>
                  <a:lnTo>
                    <a:pt x="233" y="0"/>
                  </a:lnTo>
                  <a:lnTo>
                    <a:pt x="231" y="0"/>
                  </a:lnTo>
                  <a:lnTo>
                    <a:pt x="229" y="0"/>
                  </a:lnTo>
                  <a:lnTo>
                    <a:pt x="229" y="0"/>
                  </a:lnTo>
                  <a:lnTo>
                    <a:pt x="226" y="0"/>
                  </a:lnTo>
                  <a:lnTo>
                    <a:pt x="226" y="0"/>
                  </a:lnTo>
                  <a:lnTo>
                    <a:pt x="224" y="0"/>
                  </a:lnTo>
                  <a:lnTo>
                    <a:pt x="222" y="0"/>
                  </a:lnTo>
                  <a:lnTo>
                    <a:pt x="222" y="0"/>
                  </a:lnTo>
                  <a:lnTo>
                    <a:pt x="224" y="3"/>
                  </a:lnTo>
                  <a:lnTo>
                    <a:pt x="224" y="3"/>
                  </a:lnTo>
                  <a:lnTo>
                    <a:pt x="222" y="5"/>
                  </a:lnTo>
                  <a:lnTo>
                    <a:pt x="222" y="5"/>
                  </a:lnTo>
                  <a:lnTo>
                    <a:pt x="222" y="5"/>
                  </a:lnTo>
                  <a:lnTo>
                    <a:pt x="217" y="5"/>
                  </a:lnTo>
                  <a:lnTo>
                    <a:pt x="215" y="5"/>
                  </a:lnTo>
                  <a:lnTo>
                    <a:pt x="215" y="5"/>
                  </a:lnTo>
                  <a:lnTo>
                    <a:pt x="215" y="3"/>
                  </a:lnTo>
                  <a:lnTo>
                    <a:pt x="212" y="3"/>
                  </a:lnTo>
                  <a:lnTo>
                    <a:pt x="207" y="3"/>
                  </a:lnTo>
                  <a:lnTo>
                    <a:pt x="205" y="3"/>
                  </a:lnTo>
                  <a:lnTo>
                    <a:pt x="203" y="3"/>
                  </a:lnTo>
                  <a:lnTo>
                    <a:pt x="200" y="0"/>
                  </a:lnTo>
                  <a:lnTo>
                    <a:pt x="198" y="0"/>
                  </a:lnTo>
                  <a:lnTo>
                    <a:pt x="196" y="0"/>
                  </a:lnTo>
                  <a:lnTo>
                    <a:pt x="193" y="0"/>
                  </a:lnTo>
                  <a:lnTo>
                    <a:pt x="191" y="0"/>
                  </a:lnTo>
                  <a:lnTo>
                    <a:pt x="191" y="0"/>
                  </a:lnTo>
                  <a:lnTo>
                    <a:pt x="191" y="0"/>
                  </a:lnTo>
                  <a:lnTo>
                    <a:pt x="191" y="3"/>
                  </a:lnTo>
                  <a:lnTo>
                    <a:pt x="193" y="3"/>
                  </a:lnTo>
                  <a:lnTo>
                    <a:pt x="193" y="3"/>
                  </a:lnTo>
                  <a:lnTo>
                    <a:pt x="191" y="3"/>
                  </a:lnTo>
                  <a:lnTo>
                    <a:pt x="191" y="3"/>
                  </a:lnTo>
                  <a:lnTo>
                    <a:pt x="186" y="3"/>
                  </a:lnTo>
                  <a:lnTo>
                    <a:pt x="186" y="3"/>
                  </a:lnTo>
                  <a:lnTo>
                    <a:pt x="186" y="3"/>
                  </a:lnTo>
                  <a:lnTo>
                    <a:pt x="184" y="3"/>
                  </a:lnTo>
                  <a:lnTo>
                    <a:pt x="186" y="3"/>
                  </a:lnTo>
                  <a:lnTo>
                    <a:pt x="189" y="5"/>
                  </a:lnTo>
                  <a:lnTo>
                    <a:pt x="189" y="5"/>
                  </a:lnTo>
                  <a:lnTo>
                    <a:pt x="189" y="5"/>
                  </a:lnTo>
                  <a:lnTo>
                    <a:pt x="186" y="5"/>
                  </a:lnTo>
                  <a:lnTo>
                    <a:pt x="184" y="5"/>
                  </a:lnTo>
                  <a:lnTo>
                    <a:pt x="182" y="3"/>
                  </a:lnTo>
                  <a:lnTo>
                    <a:pt x="172" y="5"/>
                  </a:lnTo>
                  <a:lnTo>
                    <a:pt x="172" y="5"/>
                  </a:lnTo>
                  <a:lnTo>
                    <a:pt x="174" y="5"/>
                  </a:lnTo>
                  <a:lnTo>
                    <a:pt x="177"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2" name="Freeform 268"/>
            <p:cNvSpPr>
              <a:spLocks noEditPoints="1"/>
            </p:cNvSpPr>
            <p:nvPr userDrawn="1"/>
          </p:nvSpPr>
          <p:spPr bwMode="auto">
            <a:xfrm>
              <a:off x="5800" y="1902"/>
              <a:ext cx="82" cy="109"/>
            </a:xfrm>
            <a:custGeom>
              <a:avLst/>
              <a:gdLst>
                <a:gd name="T0" fmla="*/ 14 w 82"/>
                <a:gd name="T1" fmla="*/ 69 h 109"/>
                <a:gd name="T2" fmla="*/ 82 w 82"/>
                <a:gd name="T3" fmla="*/ 14 h 109"/>
                <a:gd name="T4" fmla="*/ 78 w 82"/>
                <a:gd name="T5" fmla="*/ 10 h 109"/>
                <a:gd name="T6" fmla="*/ 71 w 82"/>
                <a:gd name="T7" fmla="*/ 5 h 109"/>
                <a:gd name="T8" fmla="*/ 66 w 82"/>
                <a:gd name="T9" fmla="*/ 0 h 109"/>
                <a:gd name="T10" fmla="*/ 61 w 82"/>
                <a:gd name="T11" fmla="*/ 0 h 109"/>
                <a:gd name="T12" fmla="*/ 64 w 82"/>
                <a:gd name="T13" fmla="*/ 10 h 109"/>
                <a:gd name="T14" fmla="*/ 64 w 82"/>
                <a:gd name="T15" fmla="*/ 12 h 109"/>
                <a:gd name="T16" fmla="*/ 59 w 82"/>
                <a:gd name="T17" fmla="*/ 12 h 109"/>
                <a:gd name="T18" fmla="*/ 57 w 82"/>
                <a:gd name="T19" fmla="*/ 17 h 109"/>
                <a:gd name="T20" fmla="*/ 52 w 82"/>
                <a:gd name="T21" fmla="*/ 19 h 109"/>
                <a:gd name="T22" fmla="*/ 42 w 82"/>
                <a:gd name="T23" fmla="*/ 21 h 109"/>
                <a:gd name="T24" fmla="*/ 47 w 82"/>
                <a:gd name="T25" fmla="*/ 26 h 109"/>
                <a:gd name="T26" fmla="*/ 49 w 82"/>
                <a:gd name="T27" fmla="*/ 31 h 109"/>
                <a:gd name="T28" fmla="*/ 45 w 82"/>
                <a:gd name="T29" fmla="*/ 31 h 109"/>
                <a:gd name="T30" fmla="*/ 33 w 82"/>
                <a:gd name="T31" fmla="*/ 31 h 109"/>
                <a:gd name="T32" fmla="*/ 28 w 82"/>
                <a:gd name="T33" fmla="*/ 26 h 109"/>
                <a:gd name="T34" fmla="*/ 24 w 82"/>
                <a:gd name="T35" fmla="*/ 26 h 109"/>
                <a:gd name="T36" fmla="*/ 21 w 82"/>
                <a:gd name="T37" fmla="*/ 28 h 109"/>
                <a:gd name="T38" fmla="*/ 21 w 82"/>
                <a:gd name="T39" fmla="*/ 33 h 109"/>
                <a:gd name="T40" fmla="*/ 19 w 82"/>
                <a:gd name="T41" fmla="*/ 40 h 109"/>
                <a:gd name="T42" fmla="*/ 14 w 82"/>
                <a:gd name="T43" fmla="*/ 45 h 109"/>
                <a:gd name="T44" fmla="*/ 12 w 82"/>
                <a:gd name="T45" fmla="*/ 47 h 109"/>
                <a:gd name="T46" fmla="*/ 7 w 82"/>
                <a:gd name="T47" fmla="*/ 52 h 109"/>
                <a:gd name="T48" fmla="*/ 2 w 82"/>
                <a:gd name="T49" fmla="*/ 54 h 109"/>
                <a:gd name="T50" fmla="*/ 0 w 82"/>
                <a:gd name="T51" fmla="*/ 62 h 109"/>
                <a:gd name="T52" fmla="*/ 9 w 82"/>
                <a:gd name="T53" fmla="*/ 69 h 109"/>
                <a:gd name="T54" fmla="*/ 16 w 82"/>
                <a:gd name="T55" fmla="*/ 69 h 109"/>
                <a:gd name="T56" fmla="*/ 24 w 82"/>
                <a:gd name="T57" fmla="*/ 76 h 109"/>
                <a:gd name="T58" fmla="*/ 31 w 82"/>
                <a:gd name="T59" fmla="*/ 88 h 109"/>
                <a:gd name="T60" fmla="*/ 26 w 82"/>
                <a:gd name="T61" fmla="*/ 90 h 109"/>
                <a:gd name="T62" fmla="*/ 24 w 82"/>
                <a:gd name="T63" fmla="*/ 99 h 109"/>
                <a:gd name="T64" fmla="*/ 33 w 82"/>
                <a:gd name="T65" fmla="*/ 102 h 109"/>
                <a:gd name="T66" fmla="*/ 33 w 82"/>
                <a:gd name="T67" fmla="*/ 104 h 109"/>
                <a:gd name="T68" fmla="*/ 40 w 82"/>
                <a:gd name="T69" fmla="*/ 109 h 109"/>
                <a:gd name="T70" fmla="*/ 47 w 82"/>
                <a:gd name="T71" fmla="*/ 104 h 109"/>
                <a:gd name="T72" fmla="*/ 54 w 82"/>
                <a:gd name="T73" fmla="*/ 104 h 109"/>
                <a:gd name="T74" fmla="*/ 61 w 82"/>
                <a:gd name="T75" fmla="*/ 106 h 109"/>
                <a:gd name="T76" fmla="*/ 61 w 82"/>
                <a:gd name="T77" fmla="*/ 97 h 109"/>
                <a:gd name="T78" fmla="*/ 71 w 82"/>
                <a:gd name="T79" fmla="*/ 95 h 109"/>
                <a:gd name="T80" fmla="*/ 80 w 82"/>
                <a:gd name="T81" fmla="*/ 95 h 109"/>
                <a:gd name="T82" fmla="*/ 82 w 82"/>
                <a:gd name="T83" fmla="*/ 90 h 109"/>
                <a:gd name="T84" fmla="*/ 73 w 82"/>
                <a:gd name="T85" fmla="*/ 83 h 109"/>
                <a:gd name="T86" fmla="*/ 59 w 82"/>
                <a:gd name="T87" fmla="*/ 76 h 109"/>
                <a:gd name="T88" fmla="*/ 59 w 82"/>
                <a:gd name="T89" fmla="*/ 71 h 109"/>
                <a:gd name="T90" fmla="*/ 61 w 82"/>
                <a:gd name="T91" fmla="*/ 59 h 109"/>
                <a:gd name="T92" fmla="*/ 71 w 82"/>
                <a:gd name="T93" fmla="*/ 57 h 109"/>
                <a:gd name="T94" fmla="*/ 75 w 82"/>
                <a:gd name="T95" fmla="*/ 47 h 109"/>
                <a:gd name="T96" fmla="*/ 78 w 82"/>
                <a:gd name="T97" fmla="*/ 36 h 109"/>
                <a:gd name="T98" fmla="*/ 75 w 82"/>
                <a:gd name="T99" fmla="*/ 24 h 109"/>
                <a:gd name="T100" fmla="*/ 78 w 82"/>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 h="109">
                  <a:moveTo>
                    <a:pt x="12" y="69"/>
                  </a:moveTo>
                  <a:lnTo>
                    <a:pt x="12" y="69"/>
                  </a:lnTo>
                  <a:lnTo>
                    <a:pt x="12" y="71"/>
                  </a:lnTo>
                  <a:lnTo>
                    <a:pt x="14" y="69"/>
                  </a:lnTo>
                  <a:lnTo>
                    <a:pt x="14" y="69"/>
                  </a:lnTo>
                  <a:lnTo>
                    <a:pt x="12" y="69"/>
                  </a:lnTo>
                  <a:close/>
                  <a:moveTo>
                    <a:pt x="80" y="14"/>
                  </a:moveTo>
                  <a:lnTo>
                    <a:pt x="80" y="14"/>
                  </a:lnTo>
                  <a:lnTo>
                    <a:pt x="82" y="14"/>
                  </a:lnTo>
                  <a:lnTo>
                    <a:pt x="82" y="14"/>
                  </a:lnTo>
                  <a:lnTo>
                    <a:pt x="82" y="14"/>
                  </a:lnTo>
                  <a:lnTo>
                    <a:pt x="82" y="12"/>
                  </a:lnTo>
                  <a:lnTo>
                    <a:pt x="80" y="12"/>
                  </a:lnTo>
                  <a:lnTo>
                    <a:pt x="78" y="10"/>
                  </a:lnTo>
                  <a:lnTo>
                    <a:pt x="78" y="10"/>
                  </a:lnTo>
                  <a:lnTo>
                    <a:pt x="78" y="10"/>
                  </a:lnTo>
                  <a:lnTo>
                    <a:pt x="75" y="7"/>
                  </a:lnTo>
                  <a:lnTo>
                    <a:pt x="73" y="7"/>
                  </a:lnTo>
                  <a:lnTo>
                    <a:pt x="73" y="7"/>
                  </a:lnTo>
                  <a:lnTo>
                    <a:pt x="71" y="5"/>
                  </a:lnTo>
                  <a:lnTo>
                    <a:pt x="68" y="2"/>
                  </a:lnTo>
                  <a:lnTo>
                    <a:pt x="68" y="2"/>
                  </a:lnTo>
                  <a:lnTo>
                    <a:pt x="66" y="2"/>
                  </a:lnTo>
                  <a:lnTo>
                    <a:pt x="66" y="0"/>
                  </a:lnTo>
                  <a:lnTo>
                    <a:pt x="66" y="0"/>
                  </a:lnTo>
                  <a:lnTo>
                    <a:pt x="64" y="0"/>
                  </a:lnTo>
                  <a:lnTo>
                    <a:pt x="64" y="0"/>
                  </a:lnTo>
                  <a:lnTo>
                    <a:pt x="64" y="0"/>
                  </a:lnTo>
                  <a:lnTo>
                    <a:pt x="61" y="0"/>
                  </a:lnTo>
                  <a:lnTo>
                    <a:pt x="61" y="0"/>
                  </a:lnTo>
                  <a:lnTo>
                    <a:pt x="61" y="2"/>
                  </a:lnTo>
                  <a:lnTo>
                    <a:pt x="61" y="5"/>
                  </a:lnTo>
                  <a:lnTo>
                    <a:pt x="64" y="5"/>
                  </a:lnTo>
                  <a:lnTo>
                    <a:pt x="64" y="7"/>
                  </a:lnTo>
                  <a:lnTo>
                    <a:pt x="64" y="10"/>
                  </a:lnTo>
                  <a:lnTo>
                    <a:pt x="64" y="12"/>
                  </a:lnTo>
                  <a:lnTo>
                    <a:pt x="64" y="12"/>
                  </a:lnTo>
                  <a:lnTo>
                    <a:pt x="64" y="12"/>
                  </a:lnTo>
                  <a:lnTo>
                    <a:pt x="64" y="12"/>
                  </a:lnTo>
                  <a:lnTo>
                    <a:pt x="64" y="12"/>
                  </a:lnTo>
                  <a:lnTo>
                    <a:pt x="61" y="12"/>
                  </a:lnTo>
                  <a:lnTo>
                    <a:pt x="61" y="12"/>
                  </a:lnTo>
                  <a:lnTo>
                    <a:pt x="59" y="12"/>
                  </a:lnTo>
                  <a:lnTo>
                    <a:pt x="59" y="12"/>
                  </a:lnTo>
                  <a:lnTo>
                    <a:pt x="59" y="12"/>
                  </a:lnTo>
                  <a:lnTo>
                    <a:pt x="59" y="14"/>
                  </a:lnTo>
                  <a:lnTo>
                    <a:pt x="59" y="14"/>
                  </a:lnTo>
                  <a:lnTo>
                    <a:pt x="59" y="17"/>
                  </a:lnTo>
                  <a:lnTo>
                    <a:pt x="59" y="17"/>
                  </a:lnTo>
                  <a:lnTo>
                    <a:pt x="57" y="17"/>
                  </a:lnTo>
                  <a:lnTo>
                    <a:pt x="57" y="19"/>
                  </a:lnTo>
                  <a:lnTo>
                    <a:pt x="57" y="19"/>
                  </a:lnTo>
                  <a:lnTo>
                    <a:pt x="54" y="19"/>
                  </a:lnTo>
                  <a:lnTo>
                    <a:pt x="54" y="19"/>
                  </a:lnTo>
                  <a:lnTo>
                    <a:pt x="52" y="19"/>
                  </a:lnTo>
                  <a:lnTo>
                    <a:pt x="47" y="19"/>
                  </a:lnTo>
                  <a:lnTo>
                    <a:pt x="45" y="19"/>
                  </a:lnTo>
                  <a:lnTo>
                    <a:pt x="42" y="19"/>
                  </a:lnTo>
                  <a:lnTo>
                    <a:pt x="42" y="21"/>
                  </a:lnTo>
                  <a:lnTo>
                    <a:pt x="42" y="21"/>
                  </a:lnTo>
                  <a:lnTo>
                    <a:pt x="42" y="21"/>
                  </a:lnTo>
                  <a:lnTo>
                    <a:pt x="42" y="24"/>
                  </a:lnTo>
                  <a:lnTo>
                    <a:pt x="45" y="24"/>
                  </a:lnTo>
                  <a:lnTo>
                    <a:pt x="45" y="26"/>
                  </a:lnTo>
                  <a:lnTo>
                    <a:pt x="47" y="26"/>
                  </a:lnTo>
                  <a:lnTo>
                    <a:pt x="49" y="28"/>
                  </a:lnTo>
                  <a:lnTo>
                    <a:pt x="49" y="28"/>
                  </a:lnTo>
                  <a:lnTo>
                    <a:pt x="49" y="28"/>
                  </a:lnTo>
                  <a:lnTo>
                    <a:pt x="49" y="31"/>
                  </a:lnTo>
                  <a:lnTo>
                    <a:pt x="49" y="31"/>
                  </a:lnTo>
                  <a:lnTo>
                    <a:pt x="49" y="33"/>
                  </a:lnTo>
                  <a:lnTo>
                    <a:pt x="49" y="33"/>
                  </a:lnTo>
                  <a:lnTo>
                    <a:pt x="47" y="33"/>
                  </a:lnTo>
                  <a:lnTo>
                    <a:pt x="47" y="31"/>
                  </a:lnTo>
                  <a:lnTo>
                    <a:pt x="45" y="31"/>
                  </a:lnTo>
                  <a:lnTo>
                    <a:pt x="42" y="31"/>
                  </a:lnTo>
                  <a:lnTo>
                    <a:pt x="40" y="31"/>
                  </a:lnTo>
                  <a:lnTo>
                    <a:pt x="38" y="31"/>
                  </a:lnTo>
                  <a:lnTo>
                    <a:pt x="38" y="31"/>
                  </a:lnTo>
                  <a:lnTo>
                    <a:pt x="33" y="31"/>
                  </a:lnTo>
                  <a:lnTo>
                    <a:pt x="33" y="31"/>
                  </a:lnTo>
                  <a:lnTo>
                    <a:pt x="31" y="28"/>
                  </a:lnTo>
                  <a:lnTo>
                    <a:pt x="31" y="28"/>
                  </a:lnTo>
                  <a:lnTo>
                    <a:pt x="28" y="28"/>
                  </a:lnTo>
                  <a:lnTo>
                    <a:pt x="28" y="26"/>
                  </a:lnTo>
                  <a:lnTo>
                    <a:pt x="26" y="26"/>
                  </a:lnTo>
                  <a:lnTo>
                    <a:pt x="26" y="26"/>
                  </a:lnTo>
                  <a:lnTo>
                    <a:pt x="24" y="24"/>
                  </a:lnTo>
                  <a:lnTo>
                    <a:pt x="24" y="26"/>
                  </a:lnTo>
                  <a:lnTo>
                    <a:pt x="24" y="26"/>
                  </a:lnTo>
                  <a:lnTo>
                    <a:pt x="24" y="26"/>
                  </a:lnTo>
                  <a:lnTo>
                    <a:pt x="21" y="26"/>
                  </a:lnTo>
                  <a:lnTo>
                    <a:pt x="21" y="26"/>
                  </a:lnTo>
                  <a:lnTo>
                    <a:pt x="21" y="28"/>
                  </a:lnTo>
                  <a:lnTo>
                    <a:pt x="21" y="28"/>
                  </a:lnTo>
                  <a:lnTo>
                    <a:pt x="21" y="31"/>
                  </a:lnTo>
                  <a:lnTo>
                    <a:pt x="21" y="33"/>
                  </a:lnTo>
                  <a:lnTo>
                    <a:pt x="21" y="33"/>
                  </a:lnTo>
                  <a:lnTo>
                    <a:pt x="21" y="33"/>
                  </a:lnTo>
                  <a:lnTo>
                    <a:pt x="21" y="33"/>
                  </a:lnTo>
                  <a:lnTo>
                    <a:pt x="21" y="36"/>
                  </a:lnTo>
                  <a:lnTo>
                    <a:pt x="21" y="38"/>
                  </a:lnTo>
                  <a:lnTo>
                    <a:pt x="19" y="40"/>
                  </a:lnTo>
                  <a:lnTo>
                    <a:pt x="19" y="40"/>
                  </a:lnTo>
                  <a:lnTo>
                    <a:pt x="19" y="40"/>
                  </a:lnTo>
                  <a:lnTo>
                    <a:pt x="19" y="43"/>
                  </a:lnTo>
                  <a:lnTo>
                    <a:pt x="16" y="43"/>
                  </a:lnTo>
                  <a:lnTo>
                    <a:pt x="14" y="43"/>
                  </a:lnTo>
                  <a:lnTo>
                    <a:pt x="14" y="43"/>
                  </a:lnTo>
                  <a:lnTo>
                    <a:pt x="14" y="45"/>
                  </a:lnTo>
                  <a:lnTo>
                    <a:pt x="14" y="45"/>
                  </a:lnTo>
                  <a:lnTo>
                    <a:pt x="14" y="45"/>
                  </a:lnTo>
                  <a:lnTo>
                    <a:pt x="14" y="45"/>
                  </a:lnTo>
                  <a:lnTo>
                    <a:pt x="12" y="45"/>
                  </a:lnTo>
                  <a:lnTo>
                    <a:pt x="12" y="47"/>
                  </a:lnTo>
                  <a:lnTo>
                    <a:pt x="9" y="47"/>
                  </a:lnTo>
                  <a:lnTo>
                    <a:pt x="7" y="50"/>
                  </a:lnTo>
                  <a:lnTo>
                    <a:pt x="7" y="50"/>
                  </a:lnTo>
                  <a:lnTo>
                    <a:pt x="7" y="50"/>
                  </a:lnTo>
                  <a:lnTo>
                    <a:pt x="7" y="52"/>
                  </a:lnTo>
                  <a:lnTo>
                    <a:pt x="7" y="52"/>
                  </a:lnTo>
                  <a:lnTo>
                    <a:pt x="5" y="52"/>
                  </a:lnTo>
                  <a:lnTo>
                    <a:pt x="5" y="52"/>
                  </a:lnTo>
                  <a:lnTo>
                    <a:pt x="2" y="54"/>
                  </a:lnTo>
                  <a:lnTo>
                    <a:pt x="2" y="54"/>
                  </a:lnTo>
                  <a:lnTo>
                    <a:pt x="0" y="57"/>
                  </a:lnTo>
                  <a:lnTo>
                    <a:pt x="0" y="59"/>
                  </a:lnTo>
                  <a:lnTo>
                    <a:pt x="0" y="62"/>
                  </a:lnTo>
                  <a:lnTo>
                    <a:pt x="0" y="59"/>
                  </a:lnTo>
                  <a:lnTo>
                    <a:pt x="0" y="62"/>
                  </a:lnTo>
                  <a:lnTo>
                    <a:pt x="2" y="64"/>
                  </a:lnTo>
                  <a:lnTo>
                    <a:pt x="5" y="64"/>
                  </a:lnTo>
                  <a:lnTo>
                    <a:pt x="7" y="66"/>
                  </a:lnTo>
                  <a:lnTo>
                    <a:pt x="9" y="69"/>
                  </a:lnTo>
                  <a:lnTo>
                    <a:pt x="9" y="69"/>
                  </a:lnTo>
                  <a:lnTo>
                    <a:pt x="9" y="66"/>
                  </a:lnTo>
                  <a:lnTo>
                    <a:pt x="9" y="66"/>
                  </a:lnTo>
                  <a:lnTo>
                    <a:pt x="9" y="64"/>
                  </a:lnTo>
                  <a:lnTo>
                    <a:pt x="12" y="66"/>
                  </a:lnTo>
                  <a:lnTo>
                    <a:pt x="16" y="69"/>
                  </a:lnTo>
                  <a:lnTo>
                    <a:pt x="19" y="69"/>
                  </a:lnTo>
                  <a:lnTo>
                    <a:pt x="21" y="71"/>
                  </a:lnTo>
                  <a:lnTo>
                    <a:pt x="24" y="71"/>
                  </a:lnTo>
                  <a:lnTo>
                    <a:pt x="24" y="73"/>
                  </a:lnTo>
                  <a:lnTo>
                    <a:pt x="24" y="76"/>
                  </a:lnTo>
                  <a:lnTo>
                    <a:pt x="24" y="83"/>
                  </a:lnTo>
                  <a:lnTo>
                    <a:pt x="26" y="85"/>
                  </a:lnTo>
                  <a:lnTo>
                    <a:pt x="28" y="88"/>
                  </a:lnTo>
                  <a:lnTo>
                    <a:pt x="31" y="88"/>
                  </a:lnTo>
                  <a:lnTo>
                    <a:pt x="31" y="88"/>
                  </a:lnTo>
                  <a:lnTo>
                    <a:pt x="33" y="88"/>
                  </a:lnTo>
                  <a:lnTo>
                    <a:pt x="33" y="88"/>
                  </a:lnTo>
                  <a:lnTo>
                    <a:pt x="31" y="88"/>
                  </a:lnTo>
                  <a:lnTo>
                    <a:pt x="28" y="88"/>
                  </a:lnTo>
                  <a:lnTo>
                    <a:pt x="26" y="90"/>
                  </a:lnTo>
                  <a:lnTo>
                    <a:pt x="26" y="92"/>
                  </a:lnTo>
                  <a:lnTo>
                    <a:pt x="24" y="95"/>
                  </a:lnTo>
                  <a:lnTo>
                    <a:pt x="26" y="97"/>
                  </a:lnTo>
                  <a:lnTo>
                    <a:pt x="26" y="97"/>
                  </a:lnTo>
                  <a:lnTo>
                    <a:pt x="24" y="99"/>
                  </a:lnTo>
                  <a:lnTo>
                    <a:pt x="26" y="99"/>
                  </a:lnTo>
                  <a:lnTo>
                    <a:pt x="26" y="99"/>
                  </a:lnTo>
                  <a:lnTo>
                    <a:pt x="28" y="102"/>
                  </a:lnTo>
                  <a:lnTo>
                    <a:pt x="31" y="99"/>
                  </a:lnTo>
                  <a:lnTo>
                    <a:pt x="33" y="102"/>
                  </a:lnTo>
                  <a:lnTo>
                    <a:pt x="33" y="102"/>
                  </a:lnTo>
                  <a:lnTo>
                    <a:pt x="33" y="102"/>
                  </a:lnTo>
                  <a:lnTo>
                    <a:pt x="31" y="104"/>
                  </a:lnTo>
                  <a:lnTo>
                    <a:pt x="31" y="104"/>
                  </a:lnTo>
                  <a:lnTo>
                    <a:pt x="33" y="104"/>
                  </a:lnTo>
                  <a:lnTo>
                    <a:pt x="35" y="106"/>
                  </a:lnTo>
                  <a:lnTo>
                    <a:pt x="38" y="109"/>
                  </a:lnTo>
                  <a:lnTo>
                    <a:pt x="38" y="109"/>
                  </a:lnTo>
                  <a:lnTo>
                    <a:pt x="40" y="109"/>
                  </a:lnTo>
                  <a:lnTo>
                    <a:pt x="40" y="109"/>
                  </a:lnTo>
                  <a:lnTo>
                    <a:pt x="42" y="106"/>
                  </a:lnTo>
                  <a:lnTo>
                    <a:pt x="42" y="104"/>
                  </a:lnTo>
                  <a:lnTo>
                    <a:pt x="42" y="104"/>
                  </a:lnTo>
                  <a:lnTo>
                    <a:pt x="42" y="102"/>
                  </a:lnTo>
                  <a:lnTo>
                    <a:pt x="47" y="104"/>
                  </a:lnTo>
                  <a:lnTo>
                    <a:pt x="49" y="104"/>
                  </a:lnTo>
                  <a:lnTo>
                    <a:pt x="52" y="109"/>
                  </a:lnTo>
                  <a:lnTo>
                    <a:pt x="52" y="106"/>
                  </a:lnTo>
                  <a:lnTo>
                    <a:pt x="52" y="106"/>
                  </a:lnTo>
                  <a:lnTo>
                    <a:pt x="54" y="104"/>
                  </a:lnTo>
                  <a:lnTo>
                    <a:pt x="59" y="106"/>
                  </a:lnTo>
                  <a:lnTo>
                    <a:pt x="59" y="106"/>
                  </a:lnTo>
                  <a:lnTo>
                    <a:pt x="59" y="106"/>
                  </a:lnTo>
                  <a:lnTo>
                    <a:pt x="61" y="106"/>
                  </a:lnTo>
                  <a:lnTo>
                    <a:pt x="61" y="106"/>
                  </a:lnTo>
                  <a:lnTo>
                    <a:pt x="59" y="104"/>
                  </a:lnTo>
                  <a:lnTo>
                    <a:pt x="61" y="102"/>
                  </a:lnTo>
                  <a:lnTo>
                    <a:pt x="61" y="99"/>
                  </a:lnTo>
                  <a:lnTo>
                    <a:pt x="61" y="99"/>
                  </a:lnTo>
                  <a:lnTo>
                    <a:pt x="61" y="97"/>
                  </a:lnTo>
                  <a:lnTo>
                    <a:pt x="64" y="97"/>
                  </a:lnTo>
                  <a:lnTo>
                    <a:pt x="64" y="97"/>
                  </a:lnTo>
                  <a:lnTo>
                    <a:pt x="66" y="95"/>
                  </a:lnTo>
                  <a:lnTo>
                    <a:pt x="71" y="97"/>
                  </a:lnTo>
                  <a:lnTo>
                    <a:pt x="71" y="95"/>
                  </a:lnTo>
                  <a:lnTo>
                    <a:pt x="73" y="95"/>
                  </a:lnTo>
                  <a:lnTo>
                    <a:pt x="75" y="97"/>
                  </a:lnTo>
                  <a:lnTo>
                    <a:pt x="78" y="97"/>
                  </a:lnTo>
                  <a:lnTo>
                    <a:pt x="80" y="95"/>
                  </a:lnTo>
                  <a:lnTo>
                    <a:pt x="80" y="95"/>
                  </a:lnTo>
                  <a:lnTo>
                    <a:pt x="80" y="95"/>
                  </a:lnTo>
                  <a:lnTo>
                    <a:pt x="82" y="95"/>
                  </a:lnTo>
                  <a:lnTo>
                    <a:pt x="82" y="92"/>
                  </a:lnTo>
                  <a:lnTo>
                    <a:pt x="82" y="90"/>
                  </a:lnTo>
                  <a:lnTo>
                    <a:pt x="82" y="90"/>
                  </a:lnTo>
                  <a:lnTo>
                    <a:pt x="80" y="88"/>
                  </a:lnTo>
                  <a:lnTo>
                    <a:pt x="78" y="88"/>
                  </a:lnTo>
                  <a:lnTo>
                    <a:pt x="78" y="85"/>
                  </a:lnTo>
                  <a:lnTo>
                    <a:pt x="75" y="85"/>
                  </a:lnTo>
                  <a:lnTo>
                    <a:pt x="73" y="83"/>
                  </a:lnTo>
                  <a:lnTo>
                    <a:pt x="68" y="78"/>
                  </a:lnTo>
                  <a:lnTo>
                    <a:pt x="66" y="78"/>
                  </a:lnTo>
                  <a:lnTo>
                    <a:pt x="64" y="78"/>
                  </a:lnTo>
                  <a:lnTo>
                    <a:pt x="61" y="78"/>
                  </a:lnTo>
                  <a:lnTo>
                    <a:pt x="59" y="76"/>
                  </a:lnTo>
                  <a:lnTo>
                    <a:pt x="59" y="76"/>
                  </a:lnTo>
                  <a:lnTo>
                    <a:pt x="59" y="73"/>
                  </a:lnTo>
                  <a:lnTo>
                    <a:pt x="59" y="73"/>
                  </a:lnTo>
                  <a:lnTo>
                    <a:pt x="61" y="73"/>
                  </a:lnTo>
                  <a:lnTo>
                    <a:pt x="59" y="71"/>
                  </a:lnTo>
                  <a:lnTo>
                    <a:pt x="59" y="69"/>
                  </a:lnTo>
                  <a:lnTo>
                    <a:pt x="57" y="66"/>
                  </a:lnTo>
                  <a:lnTo>
                    <a:pt x="57" y="64"/>
                  </a:lnTo>
                  <a:lnTo>
                    <a:pt x="61" y="62"/>
                  </a:lnTo>
                  <a:lnTo>
                    <a:pt x="61" y="59"/>
                  </a:lnTo>
                  <a:lnTo>
                    <a:pt x="64" y="62"/>
                  </a:lnTo>
                  <a:lnTo>
                    <a:pt x="66" y="62"/>
                  </a:lnTo>
                  <a:lnTo>
                    <a:pt x="68" y="59"/>
                  </a:lnTo>
                  <a:lnTo>
                    <a:pt x="71" y="59"/>
                  </a:lnTo>
                  <a:lnTo>
                    <a:pt x="71" y="57"/>
                  </a:lnTo>
                  <a:lnTo>
                    <a:pt x="71" y="54"/>
                  </a:lnTo>
                  <a:lnTo>
                    <a:pt x="73" y="54"/>
                  </a:lnTo>
                  <a:lnTo>
                    <a:pt x="73" y="52"/>
                  </a:lnTo>
                  <a:lnTo>
                    <a:pt x="75" y="52"/>
                  </a:lnTo>
                  <a:lnTo>
                    <a:pt x="75" y="47"/>
                  </a:lnTo>
                  <a:lnTo>
                    <a:pt x="78" y="47"/>
                  </a:lnTo>
                  <a:lnTo>
                    <a:pt x="82" y="43"/>
                  </a:lnTo>
                  <a:lnTo>
                    <a:pt x="82" y="43"/>
                  </a:lnTo>
                  <a:lnTo>
                    <a:pt x="80" y="38"/>
                  </a:lnTo>
                  <a:lnTo>
                    <a:pt x="78" y="36"/>
                  </a:lnTo>
                  <a:lnTo>
                    <a:pt x="78" y="33"/>
                  </a:lnTo>
                  <a:lnTo>
                    <a:pt x="75" y="31"/>
                  </a:lnTo>
                  <a:lnTo>
                    <a:pt x="73" y="28"/>
                  </a:lnTo>
                  <a:lnTo>
                    <a:pt x="73" y="26"/>
                  </a:lnTo>
                  <a:lnTo>
                    <a:pt x="75" y="24"/>
                  </a:lnTo>
                  <a:lnTo>
                    <a:pt x="75" y="21"/>
                  </a:lnTo>
                  <a:lnTo>
                    <a:pt x="75" y="21"/>
                  </a:lnTo>
                  <a:lnTo>
                    <a:pt x="75" y="19"/>
                  </a:lnTo>
                  <a:lnTo>
                    <a:pt x="78" y="19"/>
                  </a:lnTo>
                  <a:lnTo>
                    <a:pt x="78" y="17"/>
                  </a:lnTo>
                  <a:lnTo>
                    <a:pt x="78" y="17"/>
                  </a:lnTo>
                  <a:lnTo>
                    <a:pt x="80"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3" name="Freeform 269"/>
            <p:cNvSpPr>
              <a:spLocks/>
            </p:cNvSpPr>
            <p:nvPr userDrawn="1"/>
          </p:nvSpPr>
          <p:spPr bwMode="auto">
            <a:xfrm>
              <a:off x="6667" y="3420"/>
              <a:ext cx="0" cy="2"/>
            </a:xfrm>
            <a:custGeom>
              <a:avLst/>
              <a:gdLst>
                <a:gd name="T0" fmla="*/ 0 h 2"/>
                <a:gd name="T1" fmla="*/ 0 h 2"/>
                <a:gd name="T2" fmla="*/ 0 h 2"/>
                <a:gd name="T3" fmla="*/ 0 h 2"/>
                <a:gd name="T4" fmla="*/ 0 h 2"/>
                <a:gd name="T5" fmla="*/ 0 h 2"/>
                <a:gd name="T6" fmla="*/ 0 h 2"/>
                <a:gd name="T7" fmla="*/ 0 h 2"/>
                <a:gd name="T8" fmla="*/ 0 h 2"/>
                <a:gd name="T9" fmla="*/ 0 h 2"/>
                <a:gd name="T10" fmla="*/ 2 h 2"/>
                <a:gd name="T11" fmla="*/ 2 h 2"/>
                <a:gd name="T12" fmla="*/ 2 h 2"/>
                <a:gd name="T13" fmla="*/ 2 h 2"/>
                <a:gd name="T14" fmla="*/ 2 h 2"/>
                <a:gd name="T15" fmla="*/ 2 h 2"/>
                <a:gd name="T16" fmla="*/ 2 h 2"/>
                <a:gd name="T17" fmla="*/ 2 h 2"/>
                <a:gd name="T18" fmla="*/ 2 h 2"/>
                <a:gd name="T19" fmla="*/ 2 h 2"/>
                <a:gd name="T20" fmla="*/ 2 h 2"/>
                <a:gd name="T21" fmla="*/ 2 h 2"/>
                <a:gd name="T22" fmla="*/ 2 h 2"/>
                <a:gd name="T23" fmla="*/ 0 h 2"/>
                <a:gd name="T24" fmla="*/ 0 h 2"/>
                <a:gd name="T25"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Lst>
              <a:rect l="0" t="0" r="r" b="b"/>
              <a:pathLst>
                <a:path h="2">
                  <a:moveTo>
                    <a:pt x="0" y="0"/>
                  </a:move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4" name="Freeform 270"/>
            <p:cNvSpPr>
              <a:spLocks noEditPoints="1"/>
            </p:cNvSpPr>
            <p:nvPr userDrawn="1"/>
          </p:nvSpPr>
          <p:spPr bwMode="auto">
            <a:xfrm>
              <a:off x="3702" y="2514"/>
              <a:ext cx="222" cy="204"/>
            </a:xfrm>
            <a:custGeom>
              <a:avLst/>
              <a:gdLst>
                <a:gd name="T0" fmla="*/ 85 w 222"/>
                <a:gd name="T1" fmla="*/ 199 h 204"/>
                <a:gd name="T2" fmla="*/ 217 w 222"/>
                <a:gd name="T3" fmla="*/ 34 h 204"/>
                <a:gd name="T4" fmla="*/ 213 w 222"/>
                <a:gd name="T5" fmla="*/ 26 h 204"/>
                <a:gd name="T6" fmla="*/ 198 w 222"/>
                <a:gd name="T7" fmla="*/ 5 h 204"/>
                <a:gd name="T8" fmla="*/ 184 w 222"/>
                <a:gd name="T9" fmla="*/ 15 h 204"/>
                <a:gd name="T10" fmla="*/ 165 w 222"/>
                <a:gd name="T11" fmla="*/ 12 h 204"/>
                <a:gd name="T12" fmla="*/ 137 w 222"/>
                <a:gd name="T13" fmla="*/ 15 h 204"/>
                <a:gd name="T14" fmla="*/ 109 w 222"/>
                <a:gd name="T15" fmla="*/ 17 h 204"/>
                <a:gd name="T16" fmla="*/ 88 w 222"/>
                <a:gd name="T17" fmla="*/ 17 h 204"/>
                <a:gd name="T18" fmla="*/ 78 w 222"/>
                <a:gd name="T19" fmla="*/ 19 h 204"/>
                <a:gd name="T20" fmla="*/ 69 w 222"/>
                <a:gd name="T21" fmla="*/ 5 h 204"/>
                <a:gd name="T22" fmla="*/ 52 w 222"/>
                <a:gd name="T23" fmla="*/ 0 h 204"/>
                <a:gd name="T24" fmla="*/ 36 w 222"/>
                <a:gd name="T25" fmla="*/ 5 h 204"/>
                <a:gd name="T26" fmla="*/ 26 w 222"/>
                <a:gd name="T27" fmla="*/ 22 h 204"/>
                <a:gd name="T28" fmla="*/ 19 w 222"/>
                <a:gd name="T29" fmla="*/ 38 h 204"/>
                <a:gd name="T30" fmla="*/ 19 w 222"/>
                <a:gd name="T31" fmla="*/ 45 h 204"/>
                <a:gd name="T32" fmla="*/ 19 w 222"/>
                <a:gd name="T33" fmla="*/ 57 h 204"/>
                <a:gd name="T34" fmla="*/ 22 w 222"/>
                <a:gd name="T35" fmla="*/ 67 h 204"/>
                <a:gd name="T36" fmla="*/ 19 w 222"/>
                <a:gd name="T37" fmla="*/ 74 h 204"/>
                <a:gd name="T38" fmla="*/ 19 w 222"/>
                <a:gd name="T39" fmla="*/ 83 h 204"/>
                <a:gd name="T40" fmla="*/ 12 w 222"/>
                <a:gd name="T41" fmla="*/ 90 h 204"/>
                <a:gd name="T42" fmla="*/ 7 w 222"/>
                <a:gd name="T43" fmla="*/ 102 h 204"/>
                <a:gd name="T44" fmla="*/ 0 w 222"/>
                <a:gd name="T45" fmla="*/ 116 h 204"/>
                <a:gd name="T46" fmla="*/ 3 w 222"/>
                <a:gd name="T47" fmla="*/ 133 h 204"/>
                <a:gd name="T48" fmla="*/ 3 w 222"/>
                <a:gd name="T49" fmla="*/ 142 h 204"/>
                <a:gd name="T50" fmla="*/ 3 w 222"/>
                <a:gd name="T51" fmla="*/ 152 h 204"/>
                <a:gd name="T52" fmla="*/ 12 w 222"/>
                <a:gd name="T53" fmla="*/ 159 h 204"/>
                <a:gd name="T54" fmla="*/ 17 w 222"/>
                <a:gd name="T55" fmla="*/ 157 h 204"/>
                <a:gd name="T56" fmla="*/ 40 w 222"/>
                <a:gd name="T57" fmla="*/ 166 h 204"/>
                <a:gd name="T58" fmla="*/ 50 w 222"/>
                <a:gd name="T59" fmla="*/ 175 h 204"/>
                <a:gd name="T60" fmla="*/ 52 w 222"/>
                <a:gd name="T61" fmla="*/ 175 h 204"/>
                <a:gd name="T62" fmla="*/ 50 w 222"/>
                <a:gd name="T63" fmla="*/ 180 h 204"/>
                <a:gd name="T64" fmla="*/ 50 w 222"/>
                <a:gd name="T65" fmla="*/ 183 h 204"/>
                <a:gd name="T66" fmla="*/ 50 w 222"/>
                <a:gd name="T67" fmla="*/ 185 h 204"/>
                <a:gd name="T68" fmla="*/ 62 w 222"/>
                <a:gd name="T69" fmla="*/ 201 h 204"/>
                <a:gd name="T70" fmla="*/ 66 w 222"/>
                <a:gd name="T71" fmla="*/ 199 h 204"/>
                <a:gd name="T72" fmla="*/ 71 w 222"/>
                <a:gd name="T73" fmla="*/ 201 h 204"/>
                <a:gd name="T74" fmla="*/ 76 w 222"/>
                <a:gd name="T75" fmla="*/ 201 h 204"/>
                <a:gd name="T76" fmla="*/ 76 w 222"/>
                <a:gd name="T77" fmla="*/ 194 h 204"/>
                <a:gd name="T78" fmla="*/ 81 w 222"/>
                <a:gd name="T79" fmla="*/ 201 h 204"/>
                <a:gd name="T80" fmla="*/ 85 w 222"/>
                <a:gd name="T81" fmla="*/ 197 h 204"/>
                <a:gd name="T82" fmla="*/ 92 w 222"/>
                <a:gd name="T83" fmla="*/ 197 h 204"/>
                <a:gd name="T84" fmla="*/ 104 w 222"/>
                <a:gd name="T85" fmla="*/ 190 h 204"/>
                <a:gd name="T86" fmla="*/ 109 w 222"/>
                <a:gd name="T87" fmla="*/ 194 h 204"/>
                <a:gd name="T88" fmla="*/ 116 w 222"/>
                <a:gd name="T89" fmla="*/ 178 h 204"/>
                <a:gd name="T90" fmla="*/ 125 w 222"/>
                <a:gd name="T91" fmla="*/ 161 h 204"/>
                <a:gd name="T92" fmla="*/ 132 w 222"/>
                <a:gd name="T93" fmla="*/ 152 h 204"/>
                <a:gd name="T94" fmla="*/ 139 w 222"/>
                <a:gd name="T95" fmla="*/ 147 h 204"/>
                <a:gd name="T96" fmla="*/ 147 w 222"/>
                <a:gd name="T97" fmla="*/ 145 h 204"/>
                <a:gd name="T98" fmla="*/ 156 w 222"/>
                <a:gd name="T99" fmla="*/ 152 h 204"/>
                <a:gd name="T100" fmla="*/ 161 w 222"/>
                <a:gd name="T101" fmla="*/ 157 h 204"/>
                <a:gd name="T102" fmla="*/ 165 w 222"/>
                <a:gd name="T103" fmla="*/ 149 h 204"/>
                <a:gd name="T104" fmla="*/ 170 w 222"/>
                <a:gd name="T105" fmla="*/ 140 h 204"/>
                <a:gd name="T106" fmla="*/ 177 w 222"/>
                <a:gd name="T107" fmla="*/ 126 h 204"/>
                <a:gd name="T108" fmla="*/ 187 w 222"/>
                <a:gd name="T109" fmla="*/ 112 h 204"/>
                <a:gd name="T110" fmla="*/ 189 w 222"/>
                <a:gd name="T111" fmla="*/ 97 h 204"/>
                <a:gd name="T112" fmla="*/ 196 w 222"/>
                <a:gd name="T113" fmla="*/ 86 h 204"/>
                <a:gd name="T114" fmla="*/ 203 w 222"/>
                <a:gd name="T115" fmla="*/ 69 h 204"/>
                <a:gd name="T116" fmla="*/ 215 w 222"/>
                <a:gd name="T117" fmla="*/ 55 h 204"/>
                <a:gd name="T118" fmla="*/ 222 w 222"/>
                <a:gd name="T119" fmla="*/ 4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204">
                  <a:moveTo>
                    <a:pt x="85" y="199"/>
                  </a:moveTo>
                  <a:lnTo>
                    <a:pt x="83" y="201"/>
                  </a:lnTo>
                  <a:lnTo>
                    <a:pt x="85" y="201"/>
                  </a:lnTo>
                  <a:lnTo>
                    <a:pt x="88" y="201"/>
                  </a:lnTo>
                  <a:lnTo>
                    <a:pt x="88" y="199"/>
                  </a:lnTo>
                  <a:lnTo>
                    <a:pt x="85" y="199"/>
                  </a:lnTo>
                  <a:lnTo>
                    <a:pt x="85" y="199"/>
                  </a:lnTo>
                  <a:close/>
                  <a:moveTo>
                    <a:pt x="222" y="38"/>
                  </a:moveTo>
                  <a:lnTo>
                    <a:pt x="222" y="36"/>
                  </a:lnTo>
                  <a:lnTo>
                    <a:pt x="222" y="36"/>
                  </a:lnTo>
                  <a:lnTo>
                    <a:pt x="220" y="34"/>
                  </a:lnTo>
                  <a:lnTo>
                    <a:pt x="217" y="34"/>
                  </a:lnTo>
                  <a:lnTo>
                    <a:pt x="215" y="34"/>
                  </a:lnTo>
                  <a:lnTo>
                    <a:pt x="215" y="31"/>
                  </a:lnTo>
                  <a:lnTo>
                    <a:pt x="215" y="31"/>
                  </a:lnTo>
                  <a:lnTo>
                    <a:pt x="215" y="31"/>
                  </a:lnTo>
                  <a:lnTo>
                    <a:pt x="215" y="29"/>
                  </a:lnTo>
                  <a:lnTo>
                    <a:pt x="213" y="26"/>
                  </a:lnTo>
                  <a:lnTo>
                    <a:pt x="213" y="17"/>
                  </a:lnTo>
                  <a:lnTo>
                    <a:pt x="210" y="15"/>
                  </a:lnTo>
                  <a:lnTo>
                    <a:pt x="205" y="10"/>
                  </a:lnTo>
                  <a:lnTo>
                    <a:pt x="203" y="5"/>
                  </a:lnTo>
                  <a:lnTo>
                    <a:pt x="201" y="5"/>
                  </a:lnTo>
                  <a:lnTo>
                    <a:pt x="198" y="5"/>
                  </a:lnTo>
                  <a:lnTo>
                    <a:pt x="196" y="8"/>
                  </a:lnTo>
                  <a:lnTo>
                    <a:pt x="194" y="8"/>
                  </a:lnTo>
                  <a:lnTo>
                    <a:pt x="189" y="10"/>
                  </a:lnTo>
                  <a:lnTo>
                    <a:pt x="187" y="12"/>
                  </a:lnTo>
                  <a:lnTo>
                    <a:pt x="187" y="12"/>
                  </a:lnTo>
                  <a:lnTo>
                    <a:pt x="184" y="15"/>
                  </a:lnTo>
                  <a:lnTo>
                    <a:pt x="182" y="17"/>
                  </a:lnTo>
                  <a:lnTo>
                    <a:pt x="180" y="17"/>
                  </a:lnTo>
                  <a:lnTo>
                    <a:pt x="175" y="17"/>
                  </a:lnTo>
                  <a:lnTo>
                    <a:pt x="172" y="15"/>
                  </a:lnTo>
                  <a:lnTo>
                    <a:pt x="168" y="12"/>
                  </a:lnTo>
                  <a:lnTo>
                    <a:pt x="165" y="12"/>
                  </a:lnTo>
                  <a:lnTo>
                    <a:pt x="163" y="12"/>
                  </a:lnTo>
                  <a:lnTo>
                    <a:pt x="154" y="12"/>
                  </a:lnTo>
                  <a:lnTo>
                    <a:pt x="147" y="12"/>
                  </a:lnTo>
                  <a:lnTo>
                    <a:pt x="142" y="12"/>
                  </a:lnTo>
                  <a:lnTo>
                    <a:pt x="139" y="15"/>
                  </a:lnTo>
                  <a:lnTo>
                    <a:pt x="137" y="15"/>
                  </a:lnTo>
                  <a:lnTo>
                    <a:pt x="135" y="17"/>
                  </a:lnTo>
                  <a:lnTo>
                    <a:pt x="130" y="24"/>
                  </a:lnTo>
                  <a:lnTo>
                    <a:pt x="123" y="24"/>
                  </a:lnTo>
                  <a:lnTo>
                    <a:pt x="118" y="22"/>
                  </a:lnTo>
                  <a:lnTo>
                    <a:pt x="114" y="22"/>
                  </a:lnTo>
                  <a:lnTo>
                    <a:pt x="109" y="17"/>
                  </a:lnTo>
                  <a:lnTo>
                    <a:pt x="102" y="12"/>
                  </a:lnTo>
                  <a:lnTo>
                    <a:pt x="99" y="12"/>
                  </a:lnTo>
                  <a:lnTo>
                    <a:pt x="97" y="12"/>
                  </a:lnTo>
                  <a:lnTo>
                    <a:pt x="97" y="12"/>
                  </a:lnTo>
                  <a:lnTo>
                    <a:pt x="88" y="17"/>
                  </a:lnTo>
                  <a:lnTo>
                    <a:pt x="88" y="17"/>
                  </a:lnTo>
                  <a:lnTo>
                    <a:pt x="85" y="17"/>
                  </a:lnTo>
                  <a:lnTo>
                    <a:pt x="83" y="19"/>
                  </a:lnTo>
                  <a:lnTo>
                    <a:pt x="83" y="19"/>
                  </a:lnTo>
                  <a:lnTo>
                    <a:pt x="81" y="19"/>
                  </a:lnTo>
                  <a:lnTo>
                    <a:pt x="81" y="19"/>
                  </a:lnTo>
                  <a:lnTo>
                    <a:pt x="78" y="19"/>
                  </a:lnTo>
                  <a:lnTo>
                    <a:pt x="78" y="17"/>
                  </a:lnTo>
                  <a:lnTo>
                    <a:pt x="73" y="12"/>
                  </a:lnTo>
                  <a:lnTo>
                    <a:pt x="73" y="10"/>
                  </a:lnTo>
                  <a:lnTo>
                    <a:pt x="73" y="10"/>
                  </a:lnTo>
                  <a:lnTo>
                    <a:pt x="71" y="8"/>
                  </a:lnTo>
                  <a:lnTo>
                    <a:pt x="69" y="5"/>
                  </a:lnTo>
                  <a:lnTo>
                    <a:pt x="69" y="5"/>
                  </a:lnTo>
                  <a:lnTo>
                    <a:pt x="66" y="5"/>
                  </a:lnTo>
                  <a:lnTo>
                    <a:pt x="59" y="3"/>
                  </a:lnTo>
                  <a:lnTo>
                    <a:pt x="55" y="0"/>
                  </a:lnTo>
                  <a:lnTo>
                    <a:pt x="52" y="0"/>
                  </a:lnTo>
                  <a:lnTo>
                    <a:pt x="52" y="0"/>
                  </a:lnTo>
                  <a:lnTo>
                    <a:pt x="50" y="3"/>
                  </a:lnTo>
                  <a:lnTo>
                    <a:pt x="48" y="3"/>
                  </a:lnTo>
                  <a:lnTo>
                    <a:pt x="43" y="3"/>
                  </a:lnTo>
                  <a:lnTo>
                    <a:pt x="40" y="3"/>
                  </a:lnTo>
                  <a:lnTo>
                    <a:pt x="38" y="3"/>
                  </a:lnTo>
                  <a:lnTo>
                    <a:pt x="36" y="5"/>
                  </a:lnTo>
                  <a:lnTo>
                    <a:pt x="33" y="5"/>
                  </a:lnTo>
                  <a:lnTo>
                    <a:pt x="31" y="8"/>
                  </a:lnTo>
                  <a:lnTo>
                    <a:pt x="29" y="10"/>
                  </a:lnTo>
                  <a:lnTo>
                    <a:pt x="29" y="10"/>
                  </a:lnTo>
                  <a:lnTo>
                    <a:pt x="29" y="17"/>
                  </a:lnTo>
                  <a:lnTo>
                    <a:pt x="26" y="22"/>
                  </a:lnTo>
                  <a:lnTo>
                    <a:pt x="24" y="24"/>
                  </a:lnTo>
                  <a:lnTo>
                    <a:pt x="22" y="26"/>
                  </a:lnTo>
                  <a:lnTo>
                    <a:pt x="19" y="29"/>
                  </a:lnTo>
                  <a:lnTo>
                    <a:pt x="19" y="31"/>
                  </a:lnTo>
                  <a:lnTo>
                    <a:pt x="19" y="36"/>
                  </a:lnTo>
                  <a:lnTo>
                    <a:pt x="19" y="38"/>
                  </a:lnTo>
                  <a:lnTo>
                    <a:pt x="19" y="41"/>
                  </a:lnTo>
                  <a:lnTo>
                    <a:pt x="19" y="43"/>
                  </a:lnTo>
                  <a:lnTo>
                    <a:pt x="19" y="43"/>
                  </a:lnTo>
                  <a:lnTo>
                    <a:pt x="19" y="43"/>
                  </a:lnTo>
                  <a:lnTo>
                    <a:pt x="19" y="45"/>
                  </a:lnTo>
                  <a:lnTo>
                    <a:pt x="19" y="45"/>
                  </a:lnTo>
                  <a:lnTo>
                    <a:pt x="19" y="45"/>
                  </a:lnTo>
                  <a:lnTo>
                    <a:pt x="19" y="48"/>
                  </a:lnTo>
                  <a:lnTo>
                    <a:pt x="17" y="48"/>
                  </a:lnTo>
                  <a:lnTo>
                    <a:pt x="17" y="50"/>
                  </a:lnTo>
                  <a:lnTo>
                    <a:pt x="17" y="52"/>
                  </a:lnTo>
                  <a:lnTo>
                    <a:pt x="19" y="57"/>
                  </a:lnTo>
                  <a:lnTo>
                    <a:pt x="19" y="57"/>
                  </a:lnTo>
                  <a:lnTo>
                    <a:pt x="19" y="60"/>
                  </a:lnTo>
                  <a:lnTo>
                    <a:pt x="22" y="60"/>
                  </a:lnTo>
                  <a:lnTo>
                    <a:pt x="22" y="62"/>
                  </a:lnTo>
                  <a:lnTo>
                    <a:pt x="22" y="64"/>
                  </a:lnTo>
                  <a:lnTo>
                    <a:pt x="22" y="67"/>
                  </a:lnTo>
                  <a:lnTo>
                    <a:pt x="22" y="69"/>
                  </a:lnTo>
                  <a:lnTo>
                    <a:pt x="22" y="69"/>
                  </a:lnTo>
                  <a:lnTo>
                    <a:pt x="22" y="74"/>
                  </a:lnTo>
                  <a:lnTo>
                    <a:pt x="22" y="74"/>
                  </a:lnTo>
                  <a:lnTo>
                    <a:pt x="22" y="74"/>
                  </a:lnTo>
                  <a:lnTo>
                    <a:pt x="19" y="74"/>
                  </a:lnTo>
                  <a:lnTo>
                    <a:pt x="19" y="74"/>
                  </a:lnTo>
                  <a:lnTo>
                    <a:pt x="19" y="76"/>
                  </a:lnTo>
                  <a:lnTo>
                    <a:pt x="17" y="76"/>
                  </a:lnTo>
                  <a:lnTo>
                    <a:pt x="17" y="76"/>
                  </a:lnTo>
                  <a:lnTo>
                    <a:pt x="19" y="79"/>
                  </a:lnTo>
                  <a:lnTo>
                    <a:pt x="19" y="83"/>
                  </a:lnTo>
                  <a:lnTo>
                    <a:pt x="17" y="86"/>
                  </a:lnTo>
                  <a:lnTo>
                    <a:pt x="17" y="86"/>
                  </a:lnTo>
                  <a:lnTo>
                    <a:pt x="15" y="86"/>
                  </a:lnTo>
                  <a:lnTo>
                    <a:pt x="15" y="86"/>
                  </a:lnTo>
                  <a:lnTo>
                    <a:pt x="12" y="88"/>
                  </a:lnTo>
                  <a:lnTo>
                    <a:pt x="12" y="90"/>
                  </a:lnTo>
                  <a:lnTo>
                    <a:pt x="12" y="93"/>
                  </a:lnTo>
                  <a:lnTo>
                    <a:pt x="10" y="93"/>
                  </a:lnTo>
                  <a:lnTo>
                    <a:pt x="10" y="95"/>
                  </a:lnTo>
                  <a:lnTo>
                    <a:pt x="10" y="97"/>
                  </a:lnTo>
                  <a:lnTo>
                    <a:pt x="10" y="100"/>
                  </a:lnTo>
                  <a:lnTo>
                    <a:pt x="7" y="102"/>
                  </a:lnTo>
                  <a:lnTo>
                    <a:pt x="5" y="102"/>
                  </a:lnTo>
                  <a:lnTo>
                    <a:pt x="3" y="102"/>
                  </a:lnTo>
                  <a:lnTo>
                    <a:pt x="3" y="109"/>
                  </a:lnTo>
                  <a:lnTo>
                    <a:pt x="3" y="112"/>
                  </a:lnTo>
                  <a:lnTo>
                    <a:pt x="3" y="116"/>
                  </a:lnTo>
                  <a:lnTo>
                    <a:pt x="0" y="116"/>
                  </a:lnTo>
                  <a:lnTo>
                    <a:pt x="3" y="119"/>
                  </a:lnTo>
                  <a:lnTo>
                    <a:pt x="0" y="123"/>
                  </a:lnTo>
                  <a:lnTo>
                    <a:pt x="0" y="128"/>
                  </a:lnTo>
                  <a:lnTo>
                    <a:pt x="0" y="128"/>
                  </a:lnTo>
                  <a:lnTo>
                    <a:pt x="3" y="131"/>
                  </a:lnTo>
                  <a:lnTo>
                    <a:pt x="3" y="133"/>
                  </a:lnTo>
                  <a:lnTo>
                    <a:pt x="3" y="135"/>
                  </a:lnTo>
                  <a:lnTo>
                    <a:pt x="3" y="135"/>
                  </a:lnTo>
                  <a:lnTo>
                    <a:pt x="3" y="138"/>
                  </a:lnTo>
                  <a:lnTo>
                    <a:pt x="3" y="138"/>
                  </a:lnTo>
                  <a:lnTo>
                    <a:pt x="3" y="138"/>
                  </a:lnTo>
                  <a:lnTo>
                    <a:pt x="3" y="142"/>
                  </a:lnTo>
                  <a:lnTo>
                    <a:pt x="3" y="145"/>
                  </a:lnTo>
                  <a:lnTo>
                    <a:pt x="3" y="145"/>
                  </a:lnTo>
                  <a:lnTo>
                    <a:pt x="3" y="147"/>
                  </a:lnTo>
                  <a:lnTo>
                    <a:pt x="3" y="149"/>
                  </a:lnTo>
                  <a:lnTo>
                    <a:pt x="3" y="152"/>
                  </a:lnTo>
                  <a:lnTo>
                    <a:pt x="3" y="152"/>
                  </a:lnTo>
                  <a:lnTo>
                    <a:pt x="3" y="154"/>
                  </a:lnTo>
                  <a:lnTo>
                    <a:pt x="3" y="154"/>
                  </a:lnTo>
                  <a:lnTo>
                    <a:pt x="0" y="159"/>
                  </a:lnTo>
                  <a:lnTo>
                    <a:pt x="0" y="159"/>
                  </a:lnTo>
                  <a:lnTo>
                    <a:pt x="3" y="159"/>
                  </a:lnTo>
                  <a:lnTo>
                    <a:pt x="12" y="159"/>
                  </a:lnTo>
                  <a:lnTo>
                    <a:pt x="15" y="157"/>
                  </a:lnTo>
                  <a:lnTo>
                    <a:pt x="17" y="157"/>
                  </a:lnTo>
                  <a:lnTo>
                    <a:pt x="19" y="154"/>
                  </a:lnTo>
                  <a:lnTo>
                    <a:pt x="22" y="154"/>
                  </a:lnTo>
                  <a:lnTo>
                    <a:pt x="17" y="157"/>
                  </a:lnTo>
                  <a:lnTo>
                    <a:pt x="17" y="157"/>
                  </a:lnTo>
                  <a:lnTo>
                    <a:pt x="15" y="159"/>
                  </a:lnTo>
                  <a:lnTo>
                    <a:pt x="17" y="159"/>
                  </a:lnTo>
                  <a:lnTo>
                    <a:pt x="29" y="159"/>
                  </a:lnTo>
                  <a:lnTo>
                    <a:pt x="33" y="159"/>
                  </a:lnTo>
                  <a:lnTo>
                    <a:pt x="38" y="164"/>
                  </a:lnTo>
                  <a:lnTo>
                    <a:pt x="40" y="166"/>
                  </a:lnTo>
                  <a:lnTo>
                    <a:pt x="45" y="171"/>
                  </a:lnTo>
                  <a:lnTo>
                    <a:pt x="45" y="173"/>
                  </a:lnTo>
                  <a:lnTo>
                    <a:pt x="45" y="173"/>
                  </a:lnTo>
                  <a:lnTo>
                    <a:pt x="45" y="175"/>
                  </a:lnTo>
                  <a:lnTo>
                    <a:pt x="48" y="175"/>
                  </a:lnTo>
                  <a:lnTo>
                    <a:pt x="50" y="175"/>
                  </a:lnTo>
                  <a:lnTo>
                    <a:pt x="50" y="173"/>
                  </a:lnTo>
                  <a:lnTo>
                    <a:pt x="50" y="173"/>
                  </a:lnTo>
                  <a:lnTo>
                    <a:pt x="50" y="175"/>
                  </a:lnTo>
                  <a:lnTo>
                    <a:pt x="50" y="175"/>
                  </a:lnTo>
                  <a:lnTo>
                    <a:pt x="52" y="175"/>
                  </a:lnTo>
                  <a:lnTo>
                    <a:pt x="52" y="175"/>
                  </a:lnTo>
                  <a:lnTo>
                    <a:pt x="52" y="175"/>
                  </a:lnTo>
                  <a:lnTo>
                    <a:pt x="50" y="175"/>
                  </a:lnTo>
                  <a:lnTo>
                    <a:pt x="48" y="175"/>
                  </a:lnTo>
                  <a:lnTo>
                    <a:pt x="48" y="178"/>
                  </a:lnTo>
                  <a:lnTo>
                    <a:pt x="48" y="178"/>
                  </a:lnTo>
                  <a:lnTo>
                    <a:pt x="50" y="180"/>
                  </a:lnTo>
                  <a:lnTo>
                    <a:pt x="55" y="178"/>
                  </a:lnTo>
                  <a:lnTo>
                    <a:pt x="55" y="180"/>
                  </a:lnTo>
                  <a:lnTo>
                    <a:pt x="52" y="180"/>
                  </a:lnTo>
                  <a:lnTo>
                    <a:pt x="52" y="180"/>
                  </a:lnTo>
                  <a:lnTo>
                    <a:pt x="50" y="180"/>
                  </a:lnTo>
                  <a:lnTo>
                    <a:pt x="50" y="183"/>
                  </a:lnTo>
                  <a:lnTo>
                    <a:pt x="50" y="185"/>
                  </a:lnTo>
                  <a:lnTo>
                    <a:pt x="52" y="185"/>
                  </a:lnTo>
                  <a:lnTo>
                    <a:pt x="52" y="185"/>
                  </a:lnTo>
                  <a:lnTo>
                    <a:pt x="52" y="185"/>
                  </a:lnTo>
                  <a:lnTo>
                    <a:pt x="52" y="185"/>
                  </a:lnTo>
                  <a:lnTo>
                    <a:pt x="50" y="185"/>
                  </a:lnTo>
                  <a:lnTo>
                    <a:pt x="52" y="190"/>
                  </a:lnTo>
                  <a:lnTo>
                    <a:pt x="52" y="192"/>
                  </a:lnTo>
                  <a:lnTo>
                    <a:pt x="55" y="194"/>
                  </a:lnTo>
                  <a:lnTo>
                    <a:pt x="55" y="197"/>
                  </a:lnTo>
                  <a:lnTo>
                    <a:pt x="59" y="199"/>
                  </a:lnTo>
                  <a:lnTo>
                    <a:pt x="62" y="201"/>
                  </a:lnTo>
                  <a:lnTo>
                    <a:pt x="62" y="201"/>
                  </a:lnTo>
                  <a:lnTo>
                    <a:pt x="64" y="204"/>
                  </a:lnTo>
                  <a:lnTo>
                    <a:pt x="66" y="204"/>
                  </a:lnTo>
                  <a:lnTo>
                    <a:pt x="66" y="204"/>
                  </a:lnTo>
                  <a:lnTo>
                    <a:pt x="66" y="201"/>
                  </a:lnTo>
                  <a:lnTo>
                    <a:pt x="66" y="199"/>
                  </a:lnTo>
                  <a:lnTo>
                    <a:pt x="66" y="201"/>
                  </a:lnTo>
                  <a:lnTo>
                    <a:pt x="66" y="201"/>
                  </a:lnTo>
                  <a:lnTo>
                    <a:pt x="66" y="204"/>
                  </a:lnTo>
                  <a:lnTo>
                    <a:pt x="69" y="204"/>
                  </a:lnTo>
                  <a:lnTo>
                    <a:pt x="71" y="201"/>
                  </a:lnTo>
                  <a:lnTo>
                    <a:pt x="71" y="201"/>
                  </a:lnTo>
                  <a:lnTo>
                    <a:pt x="73" y="201"/>
                  </a:lnTo>
                  <a:lnTo>
                    <a:pt x="73" y="199"/>
                  </a:lnTo>
                  <a:lnTo>
                    <a:pt x="73" y="199"/>
                  </a:lnTo>
                  <a:lnTo>
                    <a:pt x="73" y="201"/>
                  </a:lnTo>
                  <a:lnTo>
                    <a:pt x="73" y="201"/>
                  </a:lnTo>
                  <a:lnTo>
                    <a:pt x="76" y="201"/>
                  </a:lnTo>
                  <a:lnTo>
                    <a:pt x="76" y="201"/>
                  </a:lnTo>
                  <a:lnTo>
                    <a:pt x="78" y="201"/>
                  </a:lnTo>
                  <a:lnTo>
                    <a:pt x="78" y="199"/>
                  </a:lnTo>
                  <a:lnTo>
                    <a:pt x="78" y="197"/>
                  </a:lnTo>
                  <a:lnTo>
                    <a:pt x="78" y="194"/>
                  </a:lnTo>
                  <a:lnTo>
                    <a:pt x="76" y="194"/>
                  </a:lnTo>
                  <a:lnTo>
                    <a:pt x="78" y="194"/>
                  </a:lnTo>
                  <a:lnTo>
                    <a:pt x="78" y="197"/>
                  </a:lnTo>
                  <a:lnTo>
                    <a:pt x="78" y="199"/>
                  </a:lnTo>
                  <a:lnTo>
                    <a:pt x="78" y="199"/>
                  </a:lnTo>
                  <a:lnTo>
                    <a:pt x="81" y="201"/>
                  </a:lnTo>
                  <a:lnTo>
                    <a:pt x="81" y="201"/>
                  </a:lnTo>
                  <a:lnTo>
                    <a:pt x="83" y="199"/>
                  </a:lnTo>
                  <a:lnTo>
                    <a:pt x="83" y="197"/>
                  </a:lnTo>
                  <a:lnTo>
                    <a:pt x="83" y="194"/>
                  </a:lnTo>
                  <a:lnTo>
                    <a:pt x="83" y="194"/>
                  </a:lnTo>
                  <a:lnTo>
                    <a:pt x="83" y="194"/>
                  </a:lnTo>
                  <a:lnTo>
                    <a:pt x="85" y="197"/>
                  </a:lnTo>
                  <a:lnTo>
                    <a:pt x="85" y="197"/>
                  </a:lnTo>
                  <a:lnTo>
                    <a:pt x="90" y="197"/>
                  </a:lnTo>
                  <a:lnTo>
                    <a:pt x="90" y="197"/>
                  </a:lnTo>
                  <a:lnTo>
                    <a:pt x="90" y="197"/>
                  </a:lnTo>
                  <a:lnTo>
                    <a:pt x="90" y="194"/>
                  </a:lnTo>
                  <a:lnTo>
                    <a:pt x="92" y="197"/>
                  </a:lnTo>
                  <a:lnTo>
                    <a:pt x="92" y="199"/>
                  </a:lnTo>
                  <a:lnTo>
                    <a:pt x="97" y="199"/>
                  </a:lnTo>
                  <a:lnTo>
                    <a:pt x="99" y="197"/>
                  </a:lnTo>
                  <a:lnTo>
                    <a:pt x="104" y="197"/>
                  </a:lnTo>
                  <a:lnTo>
                    <a:pt x="106" y="194"/>
                  </a:lnTo>
                  <a:lnTo>
                    <a:pt x="104" y="190"/>
                  </a:lnTo>
                  <a:lnTo>
                    <a:pt x="104" y="190"/>
                  </a:lnTo>
                  <a:lnTo>
                    <a:pt x="106" y="192"/>
                  </a:lnTo>
                  <a:lnTo>
                    <a:pt x="106" y="192"/>
                  </a:lnTo>
                  <a:lnTo>
                    <a:pt x="106" y="194"/>
                  </a:lnTo>
                  <a:lnTo>
                    <a:pt x="109" y="194"/>
                  </a:lnTo>
                  <a:lnTo>
                    <a:pt x="109" y="194"/>
                  </a:lnTo>
                  <a:lnTo>
                    <a:pt x="109" y="194"/>
                  </a:lnTo>
                  <a:lnTo>
                    <a:pt x="111" y="192"/>
                  </a:lnTo>
                  <a:lnTo>
                    <a:pt x="111" y="190"/>
                  </a:lnTo>
                  <a:lnTo>
                    <a:pt x="114" y="187"/>
                  </a:lnTo>
                  <a:lnTo>
                    <a:pt x="114" y="185"/>
                  </a:lnTo>
                  <a:lnTo>
                    <a:pt x="116" y="178"/>
                  </a:lnTo>
                  <a:lnTo>
                    <a:pt x="116" y="175"/>
                  </a:lnTo>
                  <a:lnTo>
                    <a:pt x="116" y="171"/>
                  </a:lnTo>
                  <a:lnTo>
                    <a:pt x="118" y="168"/>
                  </a:lnTo>
                  <a:lnTo>
                    <a:pt x="118" y="166"/>
                  </a:lnTo>
                  <a:lnTo>
                    <a:pt x="123" y="164"/>
                  </a:lnTo>
                  <a:lnTo>
                    <a:pt x="125" y="161"/>
                  </a:lnTo>
                  <a:lnTo>
                    <a:pt x="125" y="159"/>
                  </a:lnTo>
                  <a:lnTo>
                    <a:pt x="128" y="159"/>
                  </a:lnTo>
                  <a:lnTo>
                    <a:pt x="128" y="157"/>
                  </a:lnTo>
                  <a:lnTo>
                    <a:pt x="130" y="157"/>
                  </a:lnTo>
                  <a:lnTo>
                    <a:pt x="132" y="154"/>
                  </a:lnTo>
                  <a:lnTo>
                    <a:pt x="132" y="152"/>
                  </a:lnTo>
                  <a:lnTo>
                    <a:pt x="132" y="149"/>
                  </a:lnTo>
                  <a:lnTo>
                    <a:pt x="135" y="149"/>
                  </a:lnTo>
                  <a:lnTo>
                    <a:pt x="137" y="147"/>
                  </a:lnTo>
                  <a:lnTo>
                    <a:pt x="139" y="147"/>
                  </a:lnTo>
                  <a:lnTo>
                    <a:pt x="139" y="147"/>
                  </a:lnTo>
                  <a:lnTo>
                    <a:pt x="139" y="147"/>
                  </a:lnTo>
                  <a:lnTo>
                    <a:pt x="139" y="147"/>
                  </a:lnTo>
                  <a:lnTo>
                    <a:pt x="142" y="149"/>
                  </a:lnTo>
                  <a:lnTo>
                    <a:pt x="144" y="149"/>
                  </a:lnTo>
                  <a:lnTo>
                    <a:pt x="147" y="149"/>
                  </a:lnTo>
                  <a:lnTo>
                    <a:pt x="147" y="147"/>
                  </a:lnTo>
                  <a:lnTo>
                    <a:pt x="147" y="145"/>
                  </a:lnTo>
                  <a:lnTo>
                    <a:pt x="147" y="145"/>
                  </a:lnTo>
                  <a:lnTo>
                    <a:pt x="149" y="145"/>
                  </a:lnTo>
                  <a:lnTo>
                    <a:pt x="151" y="147"/>
                  </a:lnTo>
                  <a:lnTo>
                    <a:pt x="154" y="149"/>
                  </a:lnTo>
                  <a:lnTo>
                    <a:pt x="154" y="152"/>
                  </a:lnTo>
                  <a:lnTo>
                    <a:pt x="156" y="152"/>
                  </a:lnTo>
                  <a:lnTo>
                    <a:pt x="156" y="152"/>
                  </a:lnTo>
                  <a:lnTo>
                    <a:pt x="156" y="157"/>
                  </a:lnTo>
                  <a:lnTo>
                    <a:pt x="158" y="157"/>
                  </a:lnTo>
                  <a:lnTo>
                    <a:pt x="158" y="159"/>
                  </a:lnTo>
                  <a:lnTo>
                    <a:pt x="161" y="157"/>
                  </a:lnTo>
                  <a:lnTo>
                    <a:pt x="161" y="157"/>
                  </a:lnTo>
                  <a:lnTo>
                    <a:pt x="163" y="157"/>
                  </a:lnTo>
                  <a:lnTo>
                    <a:pt x="163" y="154"/>
                  </a:lnTo>
                  <a:lnTo>
                    <a:pt x="165" y="154"/>
                  </a:lnTo>
                  <a:lnTo>
                    <a:pt x="165" y="152"/>
                  </a:lnTo>
                  <a:lnTo>
                    <a:pt x="165" y="149"/>
                  </a:lnTo>
                  <a:lnTo>
                    <a:pt x="165" y="149"/>
                  </a:lnTo>
                  <a:lnTo>
                    <a:pt x="168" y="147"/>
                  </a:lnTo>
                  <a:lnTo>
                    <a:pt x="170" y="145"/>
                  </a:lnTo>
                  <a:lnTo>
                    <a:pt x="170" y="142"/>
                  </a:lnTo>
                  <a:lnTo>
                    <a:pt x="170" y="142"/>
                  </a:lnTo>
                  <a:lnTo>
                    <a:pt x="170" y="142"/>
                  </a:lnTo>
                  <a:lnTo>
                    <a:pt x="170" y="140"/>
                  </a:lnTo>
                  <a:lnTo>
                    <a:pt x="170" y="138"/>
                  </a:lnTo>
                  <a:lnTo>
                    <a:pt x="170" y="138"/>
                  </a:lnTo>
                  <a:lnTo>
                    <a:pt x="175" y="133"/>
                  </a:lnTo>
                  <a:lnTo>
                    <a:pt x="175" y="133"/>
                  </a:lnTo>
                  <a:lnTo>
                    <a:pt x="175" y="131"/>
                  </a:lnTo>
                  <a:lnTo>
                    <a:pt x="177" y="126"/>
                  </a:lnTo>
                  <a:lnTo>
                    <a:pt x="177" y="121"/>
                  </a:lnTo>
                  <a:lnTo>
                    <a:pt x="177" y="119"/>
                  </a:lnTo>
                  <a:lnTo>
                    <a:pt x="180" y="116"/>
                  </a:lnTo>
                  <a:lnTo>
                    <a:pt x="182" y="112"/>
                  </a:lnTo>
                  <a:lnTo>
                    <a:pt x="184" y="112"/>
                  </a:lnTo>
                  <a:lnTo>
                    <a:pt x="187" y="112"/>
                  </a:lnTo>
                  <a:lnTo>
                    <a:pt x="187" y="109"/>
                  </a:lnTo>
                  <a:lnTo>
                    <a:pt x="189" y="107"/>
                  </a:lnTo>
                  <a:lnTo>
                    <a:pt x="189" y="107"/>
                  </a:lnTo>
                  <a:lnTo>
                    <a:pt x="189" y="105"/>
                  </a:lnTo>
                  <a:lnTo>
                    <a:pt x="189" y="100"/>
                  </a:lnTo>
                  <a:lnTo>
                    <a:pt x="189" y="97"/>
                  </a:lnTo>
                  <a:lnTo>
                    <a:pt x="191" y="95"/>
                  </a:lnTo>
                  <a:lnTo>
                    <a:pt x="194" y="93"/>
                  </a:lnTo>
                  <a:lnTo>
                    <a:pt x="196" y="93"/>
                  </a:lnTo>
                  <a:lnTo>
                    <a:pt x="196" y="93"/>
                  </a:lnTo>
                  <a:lnTo>
                    <a:pt x="196" y="90"/>
                  </a:lnTo>
                  <a:lnTo>
                    <a:pt x="196" y="86"/>
                  </a:lnTo>
                  <a:lnTo>
                    <a:pt x="196" y="83"/>
                  </a:lnTo>
                  <a:lnTo>
                    <a:pt x="196" y="83"/>
                  </a:lnTo>
                  <a:lnTo>
                    <a:pt x="198" y="81"/>
                  </a:lnTo>
                  <a:lnTo>
                    <a:pt x="201" y="79"/>
                  </a:lnTo>
                  <a:lnTo>
                    <a:pt x="201" y="74"/>
                  </a:lnTo>
                  <a:lnTo>
                    <a:pt x="203" y="69"/>
                  </a:lnTo>
                  <a:lnTo>
                    <a:pt x="205" y="64"/>
                  </a:lnTo>
                  <a:lnTo>
                    <a:pt x="208" y="60"/>
                  </a:lnTo>
                  <a:lnTo>
                    <a:pt x="210" y="57"/>
                  </a:lnTo>
                  <a:lnTo>
                    <a:pt x="213" y="57"/>
                  </a:lnTo>
                  <a:lnTo>
                    <a:pt x="213" y="57"/>
                  </a:lnTo>
                  <a:lnTo>
                    <a:pt x="215" y="55"/>
                  </a:lnTo>
                  <a:lnTo>
                    <a:pt x="217" y="52"/>
                  </a:lnTo>
                  <a:lnTo>
                    <a:pt x="220" y="52"/>
                  </a:lnTo>
                  <a:lnTo>
                    <a:pt x="222" y="50"/>
                  </a:lnTo>
                  <a:lnTo>
                    <a:pt x="222" y="50"/>
                  </a:lnTo>
                  <a:lnTo>
                    <a:pt x="222" y="50"/>
                  </a:lnTo>
                  <a:lnTo>
                    <a:pt x="222" y="45"/>
                  </a:lnTo>
                  <a:lnTo>
                    <a:pt x="222" y="43"/>
                  </a:lnTo>
                  <a:lnTo>
                    <a:pt x="222" y="41"/>
                  </a:lnTo>
                  <a:lnTo>
                    <a:pt x="222" y="38"/>
                  </a:lnTo>
                  <a:lnTo>
                    <a:pt x="222" y="3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5" name="Freeform 271"/>
            <p:cNvSpPr>
              <a:spLocks/>
            </p:cNvSpPr>
            <p:nvPr userDrawn="1"/>
          </p:nvSpPr>
          <p:spPr bwMode="auto">
            <a:xfrm>
              <a:off x="3658" y="2311"/>
              <a:ext cx="290" cy="251"/>
            </a:xfrm>
            <a:custGeom>
              <a:avLst/>
              <a:gdLst>
                <a:gd name="T0" fmla="*/ 282 w 290"/>
                <a:gd name="T1" fmla="*/ 57 h 251"/>
                <a:gd name="T2" fmla="*/ 275 w 290"/>
                <a:gd name="T3" fmla="*/ 43 h 251"/>
                <a:gd name="T4" fmla="*/ 271 w 290"/>
                <a:gd name="T5" fmla="*/ 12 h 251"/>
                <a:gd name="T6" fmla="*/ 259 w 290"/>
                <a:gd name="T7" fmla="*/ 19 h 251"/>
                <a:gd name="T8" fmla="*/ 245 w 290"/>
                <a:gd name="T9" fmla="*/ 7 h 251"/>
                <a:gd name="T10" fmla="*/ 207 w 290"/>
                <a:gd name="T11" fmla="*/ 7 h 251"/>
                <a:gd name="T12" fmla="*/ 169 w 290"/>
                <a:gd name="T13" fmla="*/ 33 h 251"/>
                <a:gd name="T14" fmla="*/ 134 w 290"/>
                <a:gd name="T15" fmla="*/ 57 h 251"/>
                <a:gd name="T16" fmla="*/ 117 w 290"/>
                <a:gd name="T17" fmla="*/ 73 h 251"/>
                <a:gd name="T18" fmla="*/ 103 w 290"/>
                <a:gd name="T19" fmla="*/ 88 h 251"/>
                <a:gd name="T20" fmla="*/ 80 w 290"/>
                <a:gd name="T21" fmla="*/ 92 h 251"/>
                <a:gd name="T22" fmla="*/ 75 w 290"/>
                <a:gd name="T23" fmla="*/ 109 h 251"/>
                <a:gd name="T24" fmla="*/ 75 w 290"/>
                <a:gd name="T25" fmla="*/ 133 h 251"/>
                <a:gd name="T26" fmla="*/ 75 w 290"/>
                <a:gd name="T27" fmla="*/ 147 h 251"/>
                <a:gd name="T28" fmla="*/ 70 w 290"/>
                <a:gd name="T29" fmla="*/ 161 h 251"/>
                <a:gd name="T30" fmla="*/ 68 w 290"/>
                <a:gd name="T31" fmla="*/ 166 h 251"/>
                <a:gd name="T32" fmla="*/ 61 w 290"/>
                <a:gd name="T33" fmla="*/ 173 h 251"/>
                <a:gd name="T34" fmla="*/ 51 w 290"/>
                <a:gd name="T35" fmla="*/ 170 h 251"/>
                <a:gd name="T36" fmla="*/ 35 w 290"/>
                <a:gd name="T37" fmla="*/ 173 h 251"/>
                <a:gd name="T38" fmla="*/ 18 w 290"/>
                <a:gd name="T39" fmla="*/ 177 h 251"/>
                <a:gd name="T40" fmla="*/ 4 w 290"/>
                <a:gd name="T41" fmla="*/ 180 h 251"/>
                <a:gd name="T42" fmla="*/ 0 w 290"/>
                <a:gd name="T43" fmla="*/ 182 h 251"/>
                <a:gd name="T44" fmla="*/ 2 w 290"/>
                <a:gd name="T45" fmla="*/ 192 h 251"/>
                <a:gd name="T46" fmla="*/ 4 w 290"/>
                <a:gd name="T47" fmla="*/ 199 h 251"/>
                <a:gd name="T48" fmla="*/ 9 w 290"/>
                <a:gd name="T49" fmla="*/ 208 h 251"/>
                <a:gd name="T50" fmla="*/ 14 w 290"/>
                <a:gd name="T51" fmla="*/ 211 h 251"/>
                <a:gd name="T52" fmla="*/ 16 w 290"/>
                <a:gd name="T53" fmla="*/ 213 h 251"/>
                <a:gd name="T54" fmla="*/ 14 w 290"/>
                <a:gd name="T55" fmla="*/ 215 h 251"/>
                <a:gd name="T56" fmla="*/ 14 w 290"/>
                <a:gd name="T57" fmla="*/ 222 h 251"/>
                <a:gd name="T58" fmla="*/ 26 w 290"/>
                <a:gd name="T59" fmla="*/ 229 h 251"/>
                <a:gd name="T60" fmla="*/ 33 w 290"/>
                <a:gd name="T61" fmla="*/ 229 h 251"/>
                <a:gd name="T62" fmla="*/ 35 w 290"/>
                <a:gd name="T63" fmla="*/ 229 h 251"/>
                <a:gd name="T64" fmla="*/ 37 w 290"/>
                <a:gd name="T65" fmla="*/ 234 h 251"/>
                <a:gd name="T66" fmla="*/ 35 w 290"/>
                <a:gd name="T67" fmla="*/ 237 h 251"/>
                <a:gd name="T68" fmla="*/ 40 w 290"/>
                <a:gd name="T69" fmla="*/ 246 h 251"/>
                <a:gd name="T70" fmla="*/ 42 w 290"/>
                <a:gd name="T71" fmla="*/ 239 h 251"/>
                <a:gd name="T72" fmla="*/ 47 w 290"/>
                <a:gd name="T73" fmla="*/ 237 h 251"/>
                <a:gd name="T74" fmla="*/ 54 w 290"/>
                <a:gd name="T75" fmla="*/ 241 h 251"/>
                <a:gd name="T76" fmla="*/ 61 w 290"/>
                <a:gd name="T77" fmla="*/ 246 h 251"/>
                <a:gd name="T78" fmla="*/ 63 w 290"/>
                <a:gd name="T79" fmla="*/ 248 h 251"/>
                <a:gd name="T80" fmla="*/ 63 w 290"/>
                <a:gd name="T81" fmla="*/ 246 h 251"/>
                <a:gd name="T82" fmla="*/ 63 w 290"/>
                <a:gd name="T83" fmla="*/ 234 h 251"/>
                <a:gd name="T84" fmla="*/ 70 w 290"/>
                <a:gd name="T85" fmla="*/ 225 h 251"/>
                <a:gd name="T86" fmla="*/ 75 w 290"/>
                <a:gd name="T87" fmla="*/ 211 h 251"/>
                <a:gd name="T88" fmla="*/ 84 w 290"/>
                <a:gd name="T89" fmla="*/ 206 h 251"/>
                <a:gd name="T90" fmla="*/ 96 w 290"/>
                <a:gd name="T91" fmla="*/ 203 h 251"/>
                <a:gd name="T92" fmla="*/ 110 w 290"/>
                <a:gd name="T93" fmla="*/ 208 h 251"/>
                <a:gd name="T94" fmla="*/ 117 w 290"/>
                <a:gd name="T95" fmla="*/ 213 h 251"/>
                <a:gd name="T96" fmla="*/ 122 w 290"/>
                <a:gd name="T97" fmla="*/ 222 h 251"/>
                <a:gd name="T98" fmla="*/ 127 w 290"/>
                <a:gd name="T99" fmla="*/ 222 h 251"/>
                <a:gd name="T100" fmla="*/ 141 w 290"/>
                <a:gd name="T101" fmla="*/ 215 h 251"/>
                <a:gd name="T102" fmla="*/ 153 w 290"/>
                <a:gd name="T103" fmla="*/ 220 h 251"/>
                <a:gd name="T104" fmla="*/ 174 w 290"/>
                <a:gd name="T105" fmla="*/ 227 h 251"/>
                <a:gd name="T106" fmla="*/ 186 w 290"/>
                <a:gd name="T107" fmla="*/ 215 h 251"/>
                <a:gd name="T108" fmla="*/ 209 w 290"/>
                <a:gd name="T109" fmla="*/ 215 h 251"/>
                <a:gd name="T110" fmla="*/ 224 w 290"/>
                <a:gd name="T111" fmla="*/ 220 h 251"/>
                <a:gd name="T112" fmla="*/ 231 w 290"/>
                <a:gd name="T113" fmla="*/ 215 h 251"/>
                <a:gd name="T114" fmla="*/ 242 w 290"/>
                <a:gd name="T115" fmla="*/ 208 h 251"/>
                <a:gd name="T116" fmla="*/ 245 w 290"/>
                <a:gd name="T117" fmla="*/ 194 h 251"/>
                <a:gd name="T118" fmla="*/ 259 w 290"/>
                <a:gd name="T119" fmla="*/ 170 h 251"/>
                <a:gd name="T120" fmla="*/ 282 w 290"/>
                <a:gd name="T121" fmla="*/ 140 h 251"/>
                <a:gd name="T122" fmla="*/ 285 w 290"/>
                <a:gd name="T123" fmla="*/ 99 h 251"/>
                <a:gd name="T124" fmla="*/ 287 w 290"/>
                <a:gd name="T125" fmla="*/ 7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0" h="251">
                  <a:moveTo>
                    <a:pt x="290" y="66"/>
                  </a:moveTo>
                  <a:lnTo>
                    <a:pt x="285" y="59"/>
                  </a:lnTo>
                  <a:lnTo>
                    <a:pt x="282" y="59"/>
                  </a:lnTo>
                  <a:lnTo>
                    <a:pt x="282" y="57"/>
                  </a:lnTo>
                  <a:lnTo>
                    <a:pt x="282" y="55"/>
                  </a:lnTo>
                  <a:lnTo>
                    <a:pt x="278" y="45"/>
                  </a:lnTo>
                  <a:lnTo>
                    <a:pt x="275" y="43"/>
                  </a:lnTo>
                  <a:lnTo>
                    <a:pt x="275" y="43"/>
                  </a:lnTo>
                  <a:lnTo>
                    <a:pt x="275" y="40"/>
                  </a:lnTo>
                  <a:lnTo>
                    <a:pt x="275" y="33"/>
                  </a:lnTo>
                  <a:lnTo>
                    <a:pt x="273" y="24"/>
                  </a:lnTo>
                  <a:lnTo>
                    <a:pt x="271" y="12"/>
                  </a:lnTo>
                  <a:lnTo>
                    <a:pt x="271" y="12"/>
                  </a:lnTo>
                  <a:lnTo>
                    <a:pt x="264" y="17"/>
                  </a:lnTo>
                  <a:lnTo>
                    <a:pt x="259" y="19"/>
                  </a:lnTo>
                  <a:lnTo>
                    <a:pt x="259" y="19"/>
                  </a:lnTo>
                  <a:lnTo>
                    <a:pt x="257" y="19"/>
                  </a:lnTo>
                  <a:lnTo>
                    <a:pt x="252" y="14"/>
                  </a:lnTo>
                  <a:lnTo>
                    <a:pt x="247" y="10"/>
                  </a:lnTo>
                  <a:lnTo>
                    <a:pt x="245" y="7"/>
                  </a:lnTo>
                  <a:lnTo>
                    <a:pt x="235" y="5"/>
                  </a:lnTo>
                  <a:lnTo>
                    <a:pt x="226" y="2"/>
                  </a:lnTo>
                  <a:lnTo>
                    <a:pt x="216" y="0"/>
                  </a:lnTo>
                  <a:lnTo>
                    <a:pt x="207" y="7"/>
                  </a:lnTo>
                  <a:lnTo>
                    <a:pt x="198" y="14"/>
                  </a:lnTo>
                  <a:lnTo>
                    <a:pt x="188" y="19"/>
                  </a:lnTo>
                  <a:lnTo>
                    <a:pt x="179" y="26"/>
                  </a:lnTo>
                  <a:lnTo>
                    <a:pt x="169" y="33"/>
                  </a:lnTo>
                  <a:lnTo>
                    <a:pt x="160" y="38"/>
                  </a:lnTo>
                  <a:lnTo>
                    <a:pt x="150" y="45"/>
                  </a:lnTo>
                  <a:lnTo>
                    <a:pt x="141" y="52"/>
                  </a:lnTo>
                  <a:lnTo>
                    <a:pt x="134" y="57"/>
                  </a:lnTo>
                  <a:lnTo>
                    <a:pt x="132" y="59"/>
                  </a:lnTo>
                  <a:lnTo>
                    <a:pt x="127" y="64"/>
                  </a:lnTo>
                  <a:lnTo>
                    <a:pt x="122" y="69"/>
                  </a:lnTo>
                  <a:lnTo>
                    <a:pt x="117" y="73"/>
                  </a:lnTo>
                  <a:lnTo>
                    <a:pt x="113" y="78"/>
                  </a:lnTo>
                  <a:lnTo>
                    <a:pt x="110" y="81"/>
                  </a:lnTo>
                  <a:lnTo>
                    <a:pt x="106" y="85"/>
                  </a:lnTo>
                  <a:lnTo>
                    <a:pt x="103" y="88"/>
                  </a:lnTo>
                  <a:lnTo>
                    <a:pt x="96" y="88"/>
                  </a:lnTo>
                  <a:lnTo>
                    <a:pt x="89" y="90"/>
                  </a:lnTo>
                  <a:lnTo>
                    <a:pt x="84" y="90"/>
                  </a:lnTo>
                  <a:lnTo>
                    <a:pt x="80" y="92"/>
                  </a:lnTo>
                  <a:lnTo>
                    <a:pt x="75" y="92"/>
                  </a:lnTo>
                  <a:lnTo>
                    <a:pt x="75" y="97"/>
                  </a:lnTo>
                  <a:lnTo>
                    <a:pt x="75" y="102"/>
                  </a:lnTo>
                  <a:lnTo>
                    <a:pt x="75" y="109"/>
                  </a:lnTo>
                  <a:lnTo>
                    <a:pt x="75" y="114"/>
                  </a:lnTo>
                  <a:lnTo>
                    <a:pt x="75" y="121"/>
                  </a:lnTo>
                  <a:lnTo>
                    <a:pt x="75" y="125"/>
                  </a:lnTo>
                  <a:lnTo>
                    <a:pt x="75" y="133"/>
                  </a:lnTo>
                  <a:lnTo>
                    <a:pt x="75" y="137"/>
                  </a:lnTo>
                  <a:lnTo>
                    <a:pt x="75" y="140"/>
                  </a:lnTo>
                  <a:lnTo>
                    <a:pt x="75" y="142"/>
                  </a:lnTo>
                  <a:lnTo>
                    <a:pt x="75" y="147"/>
                  </a:lnTo>
                  <a:lnTo>
                    <a:pt x="73" y="151"/>
                  </a:lnTo>
                  <a:lnTo>
                    <a:pt x="70" y="154"/>
                  </a:lnTo>
                  <a:lnTo>
                    <a:pt x="70" y="159"/>
                  </a:lnTo>
                  <a:lnTo>
                    <a:pt x="70" y="161"/>
                  </a:lnTo>
                  <a:lnTo>
                    <a:pt x="68" y="161"/>
                  </a:lnTo>
                  <a:lnTo>
                    <a:pt x="68" y="163"/>
                  </a:lnTo>
                  <a:lnTo>
                    <a:pt x="68" y="163"/>
                  </a:lnTo>
                  <a:lnTo>
                    <a:pt x="68" y="166"/>
                  </a:lnTo>
                  <a:lnTo>
                    <a:pt x="68" y="166"/>
                  </a:lnTo>
                  <a:lnTo>
                    <a:pt x="66" y="166"/>
                  </a:lnTo>
                  <a:lnTo>
                    <a:pt x="61" y="170"/>
                  </a:lnTo>
                  <a:lnTo>
                    <a:pt x="61" y="173"/>
                  </a:lnTo>
                  <a:lnTo>
                    <a:pt x="59" y="173"/>
                  </a:lnTo>
                  <a:lnTo>
                    <a:pt x="54" y="170"/>
                  </a:lnTo>
                  <a:lnTo>
                    <a:pt x="54" y="170"/>
                  </a:lnTo>
                  <a:lnTo>
                    <a:pt x="51" y="170"/>
                  </a:lnTo>
                  <a:lnTo>
                    <a:pt x="51" y="173"/>
                  </a:lnTo>
                  <a:lnTo>
                    <a:pt x="47" y="173"/>
                  </a:lnTo>
                  <a:lnTo>
                    <a:pt x="42" y="173"/>
                  </a:lnTo>
                  <a:lnTo>
                    <a:pt x="35" y="173"/>
                  </a:lnTo>
                  <a:lnTo>
                    <a:pt x="30" y="173"/>
                  </a:lnTo>
                  <a:lnTo>
                    <a:pt x="26" y="175"/>
                  </a:lnTo>
                  <a:lnTo>
                    <a:pt x="21" y="175"/>
                  </a:lnTo>
                  <a:lnTo>
                    <a:pt x="18" y="177"/>
                  </a:lnTo>
                  <a:lnTo>
                    <a:pt x="14" y="180"/>
                  </a:lnTo>
                  <a:lnTo>
                    <a:pt x="14" y="180"/>
                  </a:lnTo>
                  <a:lnTo>
                    <a:pt x="9" y="182"/>
                  </a:lnTo>
                  <a:lnTo>
                    <a:pt x="4" y="180"/>
                  </a:lnTo>
                  <a:lnTo>
                    <a:pt x="2" y="180"/>
                  </a:lnTo>
                  <a:lnTo>
                    <a:pt x="2" y="180"/>
                  </a:lnTo>
                  <a:lnTo>
                    <a:pt x="0" y="182"/>
                  </a:lnTo>
                  <a:lnTo>
                    <a:pt x="0" y="182"/>
                  </a:lnTo>
                  <a:lnTo>
                    <a:pt x="0" y="185"/>
                  </a:lnTo>
                  <a:lnTo>
                    <a:pt x="0" y="187"/>
                  </a:lnTo>
                  <a:lnTo>
                    <a:pt x="0" y="192"/>
                  </a:lnTo>
                  <a:lnTo>
                    <a:pt x="2" y="192"/>
                  </a:lnTo>
                  <a:lnTo>
                    <a:pt x="2" y="194"/>
                  </a:lnTo>
                  <a:lnTo>
                    <a:pt x="4" y="196"/>
                  </a:lnTo>
                  <a:lnTo>
                    <a:pt x="2" y="199"/>
                  </a:lnTo>
                  <a:lnTo>
                    <a:pt x="4" y="199"/>
                  </a:lnTo>
                  <a:lnTo>
                    <a:pt x="4" y="201"/>
                  </a:lnTo>
                  <a:lnTo>
                    <a:pt x="7" y="203"/>
                  </a:lnTo>
                  <a:lnTo>
                    <a:pt x="7" y="208"/>
                  </a:lnTo>
                  <a:lnTo>
                    <a:pt x="9" y="208"/>
                  </a:lnTo>
                  <a:lnTo>
                    <a:pt x="11" y="208"/>
                  </a:lnTo>
                  <a:lnTo>
                    <a:pt x="11" y="208"/>
                  </a:lnTo>
                  <a:lnTo>
                    <a:pt x="11" y="208"/>
                  </a:lnTo>
                  <a:lnTo>
                    <a:pt x="14" y="211"/>
                  </a:lnTo>
                  <a:lnTo>
                    <a:pt x="14" y="211"/>
                  </a:lnTo>
                  <a:lnTo>
                    <a:pt x="14" y="211"/>
                  </a:lnTo>
                  <a:lnTo>
                    <a:pt x="16" y="213"/>
                  </a:lnTo>
                  <a:lnTo>
                    <a:pt x="16" y="213"/>
                  </a:lnTo>
                  <a:lnTo>
                    <a:pt x="18" y="215"/>
                  </a:lnTo>
                  <a:lnTo>
                    <a:pt x="18" y="215"/>
                  </a:lnTo>
                  <a:lnTo>
                    <a:pt x="16" y="215"/>
                  </a:lnTo>
                  <a:lnTo>
                    <a:pt x="14" y="215"/>
                  </a:lnTo>
                  <a:lnTo>
                    <a:pt x="14" y="215"/>
                  </a:lnTo>
                  <a:lnTo>
                    <a:pt x="14" y="218"/>
                  </a:lnTo>
                  <a:lnTo>
                    <a:pt x="14" y="222"/>
                  </a:lnTo>
                  <a:lnTo>
                    <a:pt x="14" y="222"/>
                  </a:lnTo>
                  <a:lnTo>
                    <a:pt x="16" y="222"/>
                  </a:lnTo>
                  <a:lnTo>
                    <a:pt x="21" y="225"/>
                  </a:lnTo>
                  <a:lnTo>
                    <a:pt x="23" y="229"/>
                  </a:lnTo>
                  <a:lnTo>
                    <a:pt x="26" y="229"/>
                  </a:lnTo>
                  <a:lnTo>
                    <a:pt x="28" y="229"/>
                  </a:lnTo>
                  <a:lnTo>
                    <a:pt x="30" y="229"/>
                  </a:lnTo>
                  <a:lnTo>
                    <a:pt x="30" y="229"/>
                  </a:lnTo>
                  <a:lnTo>
                    <a:pt x="33" y="229"/>
                  </a:lnTo>
                  <a:lnTo>
                    <a:pt x="33" y="227"/>
                  </a:lnTo>
                  <a:lnTo>
                    <a:pt x="35" y="229"/>
                  </a:lnTo>
                  <a:lnTo>
                    <a:pt x="35" y="229"/>
                  </a:lnTo>
                  <a:lnTo>
                    <a:pt x="35" y="229"/>
                  </a:lnTo>
                  <a:lnTo>
                    <a:pt x="37" y="232"/>
                  </a:lnTo>
                  <a:lnTo>
                    <a:pt x="37" y="234"/>
                  </a:lnTo>
                  <a:lnTo>
                    <a:pt x="37" y="234"/>
                  </a:lnTo>
                  <a:lnTo>
                    <a:pt x="37" y="234"/>
                  </a:lnTo>
                  <a:lnTo>
                    <a:pt x="35" y="234"/>
                  </a:lnTo>
                  <a:lnTo>
                    <a:pt x="35" y="237"/>
                  </a:lnTo>
                  <a:lnTo>
                    <a:pt x="35" y="237"/>
                  </a:lnTo>
                  <a:lnTo>
                    <a:pt x="35" y="237"/>
                  </a:lnTo>
                  <a:lnTo>
                    <a:pt x="35" y="237"/>
                  </a:lnTo>
                  <a:lnTo>
                    <a:pt x="37" y="241"/>
                  </a:lnTo>
                  <a:lnTo>
                    <a:pt x="40" y="244"/>
                  </a:lnTo>
                  <a:lnTo>
                    <a:pt x="40" y="246"/>
                  </a:lnTo>
                  <a:lnTo>
                    <a:pt x="40" y="244"/>
                  </a:lnTo>
                  <a:lnTo>
                    <a:pt x="40" y="239"/>
                  </a:lnTo>
                  <a:lnTo>
                    <a:pt x="40" y="239"/>
                  </a:lnTo>
                  <a:lnTo>
                    <a:pt x="42" y="239"/>
                  </a:lnTo>
                  <a:lnTo>
                    <a:pt x="44" y="237"/>
                  </a:lnTo>
                  <a:lnTo>
                    <a:pt x="44" y="237"/>
                  </a:lnTo>
                  <a:lnTo>
                    <a:pt x="47" y="237"/>
                  </a:lnTo>
                  <a:lnTo>
                    <a:pt x="47" y="237"/>
                  </a:lnTo>
                  <a:lnTo>
                    <a:pt x="49" y="234"/>
                  </a:lnTo>
                  <a:lnTo>
                    <a:pt x="49" y="237"/>
                  </a:lnTo>
                  <a:lnTo>
                    <a:pt x="49" y="237"/>
                  </a:lnTo>
                  <a:lnTo>
                    <a:pt x="54" y="241"/>
                  </a:lnTo>
                  <a:lnTo>
                    <a:pt x="56" y="244"/>
                  </a:lnTo>
                  <a:lnTo>
                    <a:pt x="56" y="246"/>
                  </a:lnTo>
                  <a:lnTo>
                    <a:pt x="59" y="246"/>
                  </a:lnTo>
                  <a:lnTo>
                    <a:pt x="61" y="246"/>
                  </a:lnTo>
                  <a:lnTo>
                    <a:pt x="61" y="248"/>
                  </a:lnTo>
                  <a:lnTo>
                    <a:pt x="63" y="251"/>
                  </a:lnTo>
                  <a:lnTo>
                    <a:pt x="63" y="248"/>
                  </a:lnTo>
                  <a:lnTo>
                    <a:pt x="63" y="248"/>
                  </a:lnTo>
                  <a:lnTo>
                    <a:pt x="63" y="248"/>
                  </a:lnTo>
                  <a:lnTo>
                    <a:pt x="63" y="246"/>
                  </a:lnTo>
                  <a:lnTo>
                    <a:pt x="63" y="246"/>
                  </a:lnTo>
                  <a:lnTo>
                    <a:pt x="63" y="246"/>
                  </a:lnTo>
                  <a:lnTo>
                    <a:pt x="63" y="244"/>
                  </a:lnTo>
                  <a:lnTo>
                    <a:pt x="63" y="241"/>
                  </a:lnTo>
                  <a:lnTo>
                    <a:pt x="63" y="239"/>
                  </a:lnTo>
                  <a:lnTo>
                    <a:pt x="63" y="234"/>
                  </a:lnTo>
                  <a:lnTo>
                    <a:pt x="63" y="232"/>
                  </a:lnTo>
                  <a:lnTo>
                    <a:pt x="66" y="229"/>
                  </a:lnTo>
                  <a:lnTo>
                    <a:pt x="68" y="227"/>
                  </a:lnTo>
                  <a:lnTo>
                    <a:pt x="70" y="225"/>
                  </a:lnTo>
                  <a:lnTo>
                    <a:pt x="73" y="220"/>
                  </a:lnTo>
                  <a:lnTo>
                    <a:pt x="73" y="213"/>
                  </a:lnTo>
                  <a:lnTo>
                    <a:pt x="73" y="213"/>
                  </a:lnTo>
                  <a:lnTo>
                    <a:pt x="75" y="211"/>
                  </a:lnTo>
                  <a:lnTo>
                    <a:pt x="77" y="208"/>
                  </a:lnTo>
                  <a:lnTo>
                    <a:pt x="80" y="208"/>
                  </a:lnTo>
                  <a:lnTo>
                    <a:pt x="82" y="206"/>
                  </a:lnTo>
                  <a:lnTo>
                    <a:pt x="84" y="206"/>
                  </a:lnTo>
                  <a:lnTo>
                    <a:pt x="87" y="206"/>
                  </a:lnTo>
                  <a:lnTo>
                    <a:pt x="92" y="206"/>
                  </a:lnTo>
                  <a:lnTo>
                    <a:pt x="94" y="206"/>
                  </a:lnTo>
                  <a:lnTo>
                    <a:pt x="96" y="203"/>
                  </a:lnTo>
                  <a:lnTo>
                    <a:pt x="96" y="203"/>
                  </a:lnTo>
                  <a:lnTo>
                    <a:pt x="99" y="203"/>
                  </a:lnTo>
                  <a:lnTo>
                    <a:pt x="103" y="206"/>
                  </a:lnTo>
                  <a:lnTo>
                    <a:pt x="110" y="208"/>
                  </a:lnTo>
                  <a:lnTo>
                    <a:pt x="113" y="208"/>
                  </a:lnTo>
                  <a:lnTo>
                    <a:pt x="113" y="208"/>
                  </a:lnTo>
                  <a:lnTo>
                    <a:pt x="115" y="211"/>
                  </a:lnTo>
                  <a:lnTo>
                    <a:pt x="117" y="213"/>
                  </a:lnTo>
                  <a:lnTo>
                    <a:pt x="117" y="213"/>
                  </a:lnTo>
                  <a:lnTo>
                    <a:pt x="117" y="215"/>
                  </a:lnTo>
                  <a:lnTo>
                    <a:pt x="122" y="220"/>
                  </a:lnTo>
                  <a:lnTo>
                    <a:pt x="122" y="222"/>
                  </a:lnTo>
                  <a:lnTo>
                    <a:pt x="125" y="222"/>
                  </a:lnTo>
                  <a:lnTo>
                    <a:pt x="125" y="222"/>
                  </a:lnTo>
                  <a:lnTo>
                    <a:pt x="127" y="222"/>
                  </a:lnTo>
                  <a:lnTo>
                    <a:pt x="127" y="222"/>
                  </a:lnTo>
                  <a:lnTo>
                    <a:pt x="129" y="220"/>
                  </a:lnTo>
                  <a:lnTo>
                    <a:pt x="132" y="220"/>
                  </a:lnTo>
                  <a:lnTo>
                    <a:pt x="132" y="220"/>
                  </a:lnTo>
                  <a:lnTo>
                    <a:pt x="141" y="215"/>
                  </a:lnTo>
                  <a:lnTo>
                    <a:pt x="141" y="215"/>
                  </a:lnTo>
                  <a:lnTo>
                    <a:pt x="143" y="215"/>
                  </a:lnTo>
                  <a:lnTo>
                    <a:pt x="146" y="215"/>
                  </a:lnTo>
                  <a:lnTo>
                    <a:pt x="153" y="220"/>
                  </a:lnTo>
                  <a:lnTo>
                    <a:pt x="158" y="225"/>
                  </a:lnTo>
                  <a:lnTo>
                    <a:pt x="162" y="225"/>
                  </a:lnTo>
                  <a:lnTo>
                    <a:pt x="167" y="227"/>
                  </a:lnTo>
                  <a:lnTo>
                    <a:pt x="174" y="227"/>
                  </a:lnTo>
                  <a:lnTo>
                    <a:pt x="179" y="220"/>
                  </a:lnTo>
                  <a:lnTo>
                    <a:pt x="181" y="218"/>
                  </a:lnTo>
                  <a:lnTo>
                    <a:pt x="183" y="218"/>
                  </a:lnTo>
                  <a:lnTo>
                    <a:pt x="186" y="215"/>
                  </a:lnTo>
                  <a:lnTo>
                    <a:pt x="191" y="215"/>
                  </a:lnTo>
                  <a:lnTo>
                    <a:pt x="198" y="215"/>
                  </a:lnTo>
                  <a:lnTo>
                    <a:pt x="207" y="215"/>
                  </a:lnTo>
                  <a:lnTo>
                    <a:pt x="209" y="215"/>
                  </a:lnTo>
                  <a:lnTo>
                    <a:pt x="212" y="215"/>
                  </a:lnTo>
                  <a:lnTo>
                    <a:pt x="216" y="218"/>
                  </a:lnTo>
                  <a:lnTo>
                    <a:pt x="219" y="220"/>
                  </a:lnTo>
                  <a:lnTo>
                    <a:pt x="224" y="220"/>
                  </a:lnTo>
                  <a:lnTo>
                    <a:pt x="226" y="220"/>
                  </a:lnTo>
                  <a:lnTo>
                    <a:pt x="228" y="218"/>
                  </a:lnTo>
                  <a:lnTo>
                    <a:pt x="231" y="215"/>
                  </a:lnTo>
                  <a:lnTo>
                    <a:pt x="231" y="215"/>
                  </a:lnTo>
                  <a:lnTo>
                    <a:pt x="233" y="213"/>
                  </a:lnTo>
                  <a:lnTo>
                    <a:pt x="238" y="211"/>
                  </a:lnTo>
                  <a:lnTo>
                    <a:pt x="240" y="211"/>
                  </a:lnTo>
                  <a:lnTo>
                    <a:pt x="242" y="208"/>
                  </a:lnTo>
                  <a:lnTo>
                    <a:pt x="245" y="208"/>
                  </a:lnTo>
                  <a:lnTo>
                    <a:pt x="247" y="208"/>
                  </a:lnTo>
                  <a:lnTo>
                    <a:pt x="245" y="199"/>
                  </a:lnTo>
                  <a:lnTo>
                    <a:pt x="245" y="194"/>
                  </a:lnTo>
                  <a:lnTo>
                    <a:pt x="245" y="192"/>
                  </a:lnTo>
                  <a:lnTo>
                    <a:pt x="247" y="187"/>
                  </a:lnTo>
                  <a:lnTo>
                    <a:pt x="252" y="180"/>
                  </a:lnTo>
                  <a:lnTo>
                    <a:pt x="259" y="170"/>
                  </a:lnTo>
                  <a:lnTo>
                    <a:pt x="261" y="163"/>
                  </a:lnTo>
                  <a:lnTo>
                    <a:pt x="268" y="156"/>
                  </a:lnTo>
                  <a:lnTo>
                    <a:pt x="278" y="147"/>
                  </a:lnTo>
                  <a:lnTo>
                    <a:pt x="282" y="140"/>
                  </a:lnTo>
                  <a:lnTo>
                    <a:pt x="282" y="130"/>
                  </a:lnTo>
                  <a:lnTo>
                    <a:pt x="282" y="118"/>
                  </a:lnTo>
                  <a:lnTo>
                    <a:pt x="282" y="109"/>
                  </a:lnTo>
                  <a:lnTo>
                    <a:pt x="285" y="99"/>
                  </a:lnTo>
                  <a:lnTo>
                    <a:pt x="285" y="92"/>
                  </a:lnTo>
                  <a:lnTo>
                    <a:pt x="285" y="85"/>
                  </a:lnTo>
                  <a:lnTo>
                    <a:pt x="285" y="76"/>
                  </a:lnTo>
                  <a:lnTo>
                    <a:pt x="287" y="76"/>
                  </a:lnTo>
                  <a:lnTo>
                    <a:pt x="290" y="69"/>
                  </a:lnTo>
                  <a:lnTo>
                    <a:pt x="290" y="66"/>
                  </a:lnTo>
                  <a:lnTo>
                    <a:pt x="290" y="6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6" name="Freeform 272"/>
            <p:cNvSpPr>
              <a:spLocks/>
            </p:cNvSpPr>
            <p:nvPr userDrawn="1"/>
          </p:nvSpPr>
          <p:spPr bwMode="auto">
            <a:xfrm>
              <a:off x="2036" y="2491"/>
              <a:ext cx="87" cy="90"/>
            </a:xfrm>
            <a:custGeom>
              <a:avLst/>
              <a:gdLst>
                <a:gd name="T0" fmla="*/ 80 w 87"/>
                <a:gd name="T1" fmla="*/ 2 h 90"/>
                <a:gd name="T2" fmla="*/ 78 w 87"/>
                <a:gd name="T3" fmla="*/ 2 h 90"/>
                <a:gd name="T4" fmla="*/ 71 w 87"/>
                <a:gd name="T5" fmla="*/ 5 h 90"/>
                <a:gd name="T6" fmla="*/ 71 w 87"/>
                <a:gd name="T7" fmla="*/ 7 h 90"/>
                <a:gd name="T8" fmla="*/ 69 w 87"/>
                <a:gd name="T9" fmla="*/ 5 h 90"/>
                <a:gd name="T10" fmla="*/ 66 w 87"/>
                <a:gd name="T11" fmla="*/ 7 h 90"/>
                <a:gd name="T12" fmla="*/ 64 w 87"/>
                <a:gd name="T13" fmla="*/ 7 h 90"/>
                <a:gd name="T14" fmla="*/ 59 w 87"/>
                <a:gd name="T15" fmla="*/ 7 h 90"/>
                <a:gd name="T16" fmla="*/ 54 w 87"/>
                <a:gd name="T17" fmla="*/ 5 h 90"/>
                <a:gd name="T18" fmla="*/ 52 w 87"/>
                <a:gd name="T19" fmla="*/ 9 h 90"/>
                <a:gd name="T20" fmla="*/ 50 w 87"/>
                <a:gd name="T21" fmla="*/ 9 h 90"/>
                <a:gd name="T22" fmla="*/ 50 w 87"/>
                <a:gd name="T23" fmla="*/ 14 h 90"/>
                <a:gd name="T24" fmla="*/ 45 w 87"/>
                <a:gd name="T25" fmla="*/ 16 h 90"/>
                <a:gd name="T26" fmla="*/ 40 w 87"/>
                <a:gd name="T27" fmla="*/ 21 h 90"/>
                <a:gd name="T28" fmla="*/ 38 w 87"/>
                <a:gd name="T29" fmla="*/ 23 h 90"/>
                <a:gd name="T30" fmla="*/ 33 w 87"/>
                <a:gd name="T31" fmla="*/ 21 h 90"/>
                <a:gd name="T32" fmla="*/ 31 w 87"/>
                <a:gd name="T33" fmla="*/ 21 h 90"/>
                <a:gd name="T34" fmla="*/ 26 w 87"/>
                <a:gd name="T35" fmla="*/ 26 h 90"/>
                <a:gd name="T36" fmla="*/ 19 w 87"/>
                <a:gd name="T37" fmla="*/ 26 h 90"/>
                <a:gd name="T38" fmla="*/ 19 w 87"/>
                <a:gd name="T39" fmla="*/ 33 h 90"/>
                <a:gd name="T40" fmla="*/ 17 w 87"/>
                <a:gd name="T41" fmla="*/ 35 h 90"/>
                <a:gd name="T42" fmla="*/ 14 w 87"/>
                <a:gd name="T43" fmla="*/ 38 h 90"/>
                <a:gd name="T44" fmla="*/ 12 w 87"/>
                <a:gd name="T45" fmla="*/ 42 h 90"/>
                <a:gd name="T46" fmla="*/ 7 w 87"/>
                <a:gd name="T47" fmla="*/ 42 h 90"/>
                <a:gd name="T48" fmla="*/ 5 w 87"/>
                <a:gd name="T49" fmla="*/ 42 h 90"/>
                <a:gd name="T50" fmla="*/ 0 w 87"/>
                <a:gd name="T51" fmla="*/ 42 h 90"/>
                <a:gd name="T52" fmla="*/ 10 w 87"/>
                <a:gd name="T53" fmla="*/ 52 h 90"/>
                <a:gd name="T54" fmla="*/ 17 w 87"/>
                <a:gd name="T55" fmla="*/ 59 h 90"/>
                <a:gd name="T56" fmla="*/ 28 w 87"/>
                <a:gd name="T57" fmla="*/ 78 h 90"/>
                <a:gd name="T58" fmla="*/ 33 w 87"/>
                <a:gd name="T59" fmla="*/ 83 h 90"/>
                <a:gd name="T60" fmla="*/ 33 w 87"/>
                <a:gd name="T61" fmla="*/ 83 h 90"/>
                <a:gd name="T62" fmla="*/ 36 w 87"/>
                <a:gd name="T63" fmla="*/ 80 h 90"/>
                <a:gd name="T64" fmla="*/ 43 w 87"/>
                <a:gd name="T65" fmla="*/ 83 h 90"/>
                <a:gd name="T66" fmla="*/ 52 w 87"/>
                <a:gd name="T67" fmla="*/ 83 h 90"/>
                <a:gd name="T68" fmla="*/ 57 w 87"/>
                <a:gd name="T69" fmla="*/ 85 h 90"/>
                <a:gd name="T70" fmla="*/ 61 w 87"/>
                <a:gd name="T71" fmla="*/ 87 h 90"/>
                <a:gd name="T72" fmla="*/ 61 w 87"/>
                <a:gd name="T73" fmla="*/ 90 h 90"/>
                <a:gd name="T74" fmla="*/ 69 w 87"/>
                <a:gd name="T75" fmla="*/ 90 h 90"/>
                <a:gd name="T76" fmla="*/ 71 w 87"/>
                <a:gd name="T77" fmla="*/ 85 h 90"/>
                <a:gd name="T78" fmla="*/ 69 w 87"/>
                <a:gd name="T79" fmla="*/ 78 h 90"/>
                <a:gd name="T80" fmla="*/ 69 w 87"/>
                <a:gd name="T81" fmla="*/ 73 h 90"/>
                <a:gd name="T82" fmla="*/ 73 w 87"/>
                <a:gd name="T83" fmla="*/ 68 h 90"/>
                <a:gd name="T84" fmla="*/ 71 w 87"/>
                <a:gd name="T85" fmla="*/ 66 h 90"/>
                <a:gd name="T86" fmla="*/ 71 w 87"/>
                <a:gd name="T87" fmla="*/ 66 h 90"/>
                <a:gd name="T88" fmla="*/ 71 w 87"/>
                <a:gd name="T89" fmla="*/ 61 h 90"/>
                <a:gd name="T90" fmla="*/ 73 w 87"/>
                <a:gd name="T91" fmla="*/ 59 h 90"/>
                <a:gd name="T92" fmla="*/ 73 w 87"/>
                <a:gd name="T93" fmla="*/ 54 h 90"/>
                <a:gd name="T94" fmla="*/ 73 w 87"/>
                <a:gd name="T95" fmla="*/ 52 h 90"/>
                <a:gd name="T96" fmla="*/ 76 w 87"/>
                <a:gd name="T97" fmla="*/ 49 h 90"/>
                <a:gd name="T98" fmla="*/ 73 w 87"/>
                <a:gd name="T99" fmla="*/ 54 h 90"/>
                <a:gd name="T100" fmla="*/ 76 w 87"/>
                <a:gd name="T101" fmla="*/ 54 h 90"/>
                <a:gd name="T102" fmla="*/ 78 w 87"/>
                <a:gd name="T103" fmla="*/ 42 h 90"/>
                <a:gd name="T104" fmla="*/ 80 w 87"/>
                <a:gd name="T105" fmla="*/ 21 h 90"/>
                <a:gd name="T106" fmla="*/ 85 w 87"/>
                <a:gd name="T107" fmla="*/ 16 h 90"/>
                <a:gd name="T108" fmla="*/ 85 w 87"/>
                <a:gd name="T109" fmla="*/ 5 h 90"/>
                <a:gd name="T110" fmla="*/ 83 w 87"/>
                <a:gd name="T111" fmla="*/ 2 h 90"/>
                <a:gd name="T112" fmla="*/ 85 w 87"/>
                <a:gd name="T113" fmla="*/ 5 h 90"/>
                <a:gd name="T114" fmla="*/ 87 w 87"/>
                <a:gd name="T11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90">
                  <a:moveTo>
                    <a:pt x="83" y="0"/>
                  </a:moveTo>
                  <a:lnTo>
                    <a:pt x="80" y="0"/>
                  </a:lnTo>
                  <a:lnTo>
                    <a:pt x="80" y="2"/>
                  </a:lnTo>
                  <a:lnTo>
                    <a:pt x="78" y="2"/>
                  </a:lnTo>
                  <a:lnTo>
                    <a:pt x="78" y="2"/>
                  </a:lnTo>
                  <a:lnTo>
                    <a:pt x="78" y="2"/>
                  </a:lnTo>
                  <a:lnTo>
                    <a:pt x="76" y="5"/>
                  </a:lnTo>
                  <a:lnTo>
                    <a:pt x="73" y="5"/>
                  </a:lnTo>
                  <a:lnTo>
                    <a:pt x="71" y="5"/>
                  </a:lnTo>
                  <a:lnTo>
                    <a:pt x="71" y="5"/>
                  </a:lnTo>
                  <a:lnTo>
                    <a:pt x="71" y="5"/>
                  </a:lnTo>
                  <a:lnTo>
                    <a:pt x="71" y="7"/>
                  </a:lnTo>
                  <a:lnTo>
                    <a:pt x="69" y="7"/>
                  </a:lnTo>
                  <a:lnTo>
                    <a:pt x="69" y="7"/>
                  </a:lnTo>
                  <a:lnTo>
                    <a:pt x="69" y="5"/>
                  </a:lnTo>
                  <a:lnTo>
                    <a:pt x="66" y="5"/>
                  </a:lnTo>
                  <a:lnTo>
                    <a:pt x="66" y="7"/>
                  </a:lnTo>
                  <a:lnTo>
                    <a:pt x="66" y="7"/>
                  </a:lnTo>
                  <a:lnTo>
                    <a:pt x="66" y="7"/>
                  </a:lnTo>
                  <a:lnTo>
                    <a:pt x="64" y="7"/>
                  </a:lnTo>
                  <a:lnTo>
                    <a:pt x="64" y="7"/>
                  </a:lnTo>
                  <a:lnTo>
                    <a:pt x="61" y="7"/>
                  </a:lnTo>
                  <a:lnTo>
                    <a:pt x="59" y="7"/>
                  </a:lnTo>
                  <a:lnTo>
                    <a:pt x="59" y="7"/>
                  </a:lnTo>
                  <a:lnTo>
                    <a:pt x="57" y="5"/>
                  </a:lnTo>
                  <a:lnTo>
                    <a:pt x="57" y="5"/>
                  </a:lnTo>
                  <a:lnTo>
                    <a:pt x="54" y="5"/>
                  </a:lnTo>
                  <a:lnTo>
                    <a:pt x="52" y="7"/>
                  </a:lnTo>
                  <a:lnTo>
                    <a:pt x="52" y="7"/>
                  </a:lnTo>
                  <a:lnTo>
                    <a:pt x="52" y="9"/>
                  </a:lnTo>
                  <a:lnTo>
                    <a:pt x="52" y="9"/>
                  </a:lnTo>
                  <a:lnTo>
                    <a:pt x="52" y="9"/>
                  </a:lnTo>
                  <a:lnTo>
                    <a:pt x="50" y="9"/>
                  </a:lnTo>
                  <a:lnTo>
                    <a:pt x="50" y="12"/>
                  </a:lnTo>
                  <a:lnTo>
                    <a:pt x="50" y="14"/>
                  </a:lnTo>
                  <a:lnTo>
                    <a:pt x="50" y="14"/>
                  </a:lnTo>
                  <a:lnTo>
                    <a:pt x="50" y="14"/>
                  </a:lnTo>
                  <a:lnTo>
                    <a:pt x="47" y="14"/>
                  </a:lnTo>
                  <a:lnTo>
                    <a:pt x="45" y="16"/>
                  </a:lnTo>
                  <a:lnTo>
                    <a:pt x="43" y="19"/>
                  </a:lnTo>
                  <a:lnTo>
                    <a:pt x="40" y="21"/>
                  </a:lnTo>
                  <a:lnTo>
                    <a:pt x="40" y="21"/>
                  </a:lnTo>
                  <a:lnTo>
                    <a:pt x="38" y="23"/>
                  </a:lnTo>
                  <a:lnTo>
                    <a:pt x="38" y="23"/>
                  </a:lnTo>
                  <a:lnTo>
                    <a:pt x="38" y="23"/>
                  </a:lnTo>
                  <a:lnTo>
                    <a:pt x="38" y="23"/>
                  </a:lnTo>
                  <a:lnTo>
                    <a:pt x="38" y="23"/>
                  </a:lnTo>
                  <a:lnTo>
                    <a:pt x="33" y="21"/>
                  </a:lnTo>
                  <a:lnTo>
                    <a:pt x="33" y="21"/>
                  </a:lnTo>
                  <a:lnTo>
                    <a:pt x="31" y="21"/>
                  </a:lnTo>
                  <a:lnTo>
                    <a:pt x="31" y="21"/>
                  </a:lnTo>
                  <a:lnTo>
                    <a:pt x="28" y="23"/>
                  </a:lnTo>
                  <a:lnTo>
                    <a:pt x="26" y="26"/>
                  </a:lnTo>
                  <a:lnTo>
                    <a:pt x="26" y="26"/>
                  </a:lnTo>
                  <a:lnTo>
                    <a:pt x="21" y="26"/>
                  </a:lnTo>
                  <a:lnTo>
                    <a:pt x="19" y="26"/>
                  </a:lnTo>
                  <a:lnTo>
                    <a:pt x="19" y="26"/>
                  </a:lnTo>
                  <a:lnTo>
                    <a:pt x="19" y="28"/>
                  </a:lnTo>
                  <a:lnTo>
                    <a:pt x="19" y="28"/>
                  </a:lnTo>
                  <a:lnTo>
                    <a:pt x="19" y="33"/>
                  </a:lnTo>
                  <a:lnTo>
                    <a:pt x="19" y="35"/>
                  </a:lnTo>
                  <a:lnTo>
                    <a:pt x="19" y="35"/>
                  </a:lnTo>
                  <a:lnTo>
                    <a:pt x="17" y="35"/>
                  </a:lnTo>
                  <a:lnTo>
                    <a:pt x="17" y="38"/>
                  </a:lnTo>
                  <a:lnTo>
                    <a:pt x="14" y="38"/>
                  </a:lnTo>
                  <a:lnTo>
                    <a:pt x="14" y="38"/>
                  </a:lnTo>
                  <a:lnTo>
                    <a:pt x="14" y="40"/>
                  </a:lnTo>
                  <a:lnTo>
                    <a:pt x="14" y="40"/>
                  </a:lnTo>
                  <a:lnTo>
                    <a:pt x="12" y="42"/>
                  </a:lnTo>
                  <a:lnTo>
                    <a:pt x="12" y="42"/>
                  </a:lnTo>
                  <a:lnTo>
                    <a:pt x="7" y="42"/>
                  </a:lnTo>
                  <a:lnTo>
                    <a:pt x="7" y="42"/>
                  </a:lnTo>
                  <a:lnTo>
                    <a:pt x="5" y="45"/>
                  </a:lnTo>
                  <a:lnTo>
                    <a:pt x="5" y="45"/>
                  </a:lnTo>
                  <a:lnTo>
                    <a:pt x="5" y="42"/>
                  </a:lnTo>
                  <a:lnTo>
                    <a:pt x="3" y="42"/>
                  </a:lnTo>
                  <a:lnTo>
                    <a:pt x="3" y="42"/>
                  </a:lnTo>
                  <a:lnTo>
                    <a:pt x="0" y="42"/>
                  </a:lnTo>
                  <a:lnTo>
                    <a:pt x="0" y="45"/>
                  </a:lnTo>
                  <a:lnTo>
                    <a:pt x="5" y="47"/>
                  </a:lnTo>
                  <a:lnTo>
                    <a:pt x="10" y="52"/>
                  </a:lnTo>
                  <a:lnTo>
                    <a:pt x="10" y="54"/>
                  </a:lnTo>
                  <a:lnTo>
                    <a:pt x="14" y="59"/>
                  </a:lnTo>
                  <a:lnTo>
                    <a:pt x="17" y="59"/>
                  </a:lnTo>
                  <a:lnTo>
                    <a:pt x="17" y="64"/>
                  </a:lnTo>
                  <a:lnTo>
                    <a:pt x="21" y="68"/>
                  </a:lnTo>
                  <a:lnTo>
                    <a:pt x="28" y="78"/>
                  </a:lnTo>
                  <a:lnTo>
                    <a:pt x="31" y="80"/>
                  </a:lnTo>
                  <a:lnTo>
                    <a:pt x="33" y="83"/>
                  </a:lnTo>
                  <a:lnTo>
                    <a:pt x="33" y="83"/>
                  </a:lnTo>
                  <a:lnTo>
                    <a:pt x="33" y="83"/>
                  </a:lnTo>
                  <a:lnTo>
                    <a:pt x="33" y="83"/>
                  </a:lnTo>
                  <a:lnTo>
                    <a:pt x="33" y="83"/>
                  </a:lnTo>
                  <a:lnTo>
                    <a:pt x="36" y="80"/>
                  </a:lnTo>
                  <a:lnTo>
                    <a:pt x="36" y="80"/>
                  </a:lnTo>
                  <a:lnTo>
                    <a:pt x="36" y="80"/>
                  </a:lnTo>
                  <a:lnTo>
                    <a:pt x="36" y="80"/>
                  </a:lnTo>
                  <a:lnTo>
                    <a:pt x="40" y="83"/>
                  </a:lnTo>
                  <a:lnTo>
                    <a:pt x="43" y="83"/>
                  </a:lnTo>
                  <a:lnTo>
                    <a:pt x="47" y="85"/>
                  </a:lnTo>
                  <a:lnTo>
                    <a:pt x="50" y="85"/>
                  </a:lnTo>
                  <a:lnTo>
                    <a:pt x="52" y="83"/>
                  </a:lnTo>
                  <a:lnTo>
                    <a:pt x="52" y="83"/>
                  </a:lnTo>
                  <a:lnTo>
                    <a:pt x="57" y="85"/>
                  </a:lnTo>
                  <a:lnTo>
                    <a:pt x="57" y="85"/>
                  </a:lnTo>
                  <a:lnTo>
                    <a:pt x="59" y="85"/>
                  </a:lnTo>
                  <a:lnTo>
                    <a:pt x="59" y="87"/>
                  </a:lnTo>
                  <a:lnTo>
                    <a:pt x="61" y="87"/>
                  </a:lnTo>
                  <a:lnTo>
                    <a:pt x="61" y="90"/>
                  </a:lnTo>
                  <a:lnTo>
                    <a:pt x="61" y="90"/>
                  </a:lnTo>
                  <a:lnTo>
                    <a:pt x="61" y="90"/>
                  </a:lnTo>
                  <a:lnTo>
                    <a:pt x="66" y="90"/>
                  </a:lnTo>
                  <a:lnTo>
                    <a:pt x="69" y="90"/>
                  </a:lnTo>
                  <a:lnTo>
                    <a:pt x="69" y="90"/>
                  </a:lnTo>
                  <a:lnTo>
                    <a:pt x="71" y="87"/>
                  </a:lnTo>
                  <a:lnTo>
                    <a:pt x="71" y="87"/>
                  </a:lnTo>
                  <a:lnTo>
                    <a:pt x="71" y="85"/>
                  </a:lnTo>
                  <a:lnTo>
                    <a:pt x="69" y="85"/>
                  </a:lnTo>
                  <a:lnTo>
                    <a:pt x="69" y="83"/>
                  </a:lnTo>
                  <a:lnTo>
                    <a:pt x="69" y="78"/>
                  </a:lnTo>
                  <a:lnTo>
                    <a:pt x="69" y="78"/>
                  </a:lnTo>
                  <a:lnTo>
                    <a:pt x="69" y="75"/>
                  </a:lnTo>
                  <a:lnTo>
                    <a:pt x="69" y="73"/>
                  </a:lnTo>
                  <a:lnTo>
                    <a:pt x="71" y="73"/>
                  </a:lnTo>
                  <a:lnTo>
                    <a:pt x="73" y="71"/>
                  </a:lnTo>
                  <a:lnTo>
                    <a:pt x="73" y="68"/>
                  </a:lnTo>
                  <a:lnTo>
                    <a:pt x="71" y="66"/>
                  </a:lnTo>
                  <a:lnTo>
                    <a:pt x="71" y="66"/>
                  </a:lnTo>
                  <a:lnTo>
                    <a:pt x="71" y="66"/>
                  </a:lnTo>
                  <a:lnTo>
                    <a:pt x="69" y="66"/>
                  </a:lnTo>
                  <a:lnTo>
                    <a:pt x="69" y="66"/>
                  </a:lnTo>
                  <a:lnTo>
                    <a:pt x="71" y="66"/>
                  </a:lnTo>
                  <a:lnTo>
                    <a:pt x="71" y="64"/>
                  </a:lnTo>
                  <a:lnTo>
                    <a:pt x="71" y="61"/>
                  </a:lnTo>
                  <a:lnTo>
                    <a:pt x="71" y="61"/>
                  </a:lnTo>
                  <a:lnTo>
                    <a:pt x="71" y="64"/>
                  </a:lnTo>
                  <a:lnTo>
                    <a:pt x="73" y="64"/>
                  </a:lnTo>
                  <a:lnTo>
                    <a:pt x="73" y="59"/>
                  </a:lnTo>
                  <a:lnTo>
                    <a:pt x="73" y="57"/>
                  </a:lnTo>
                  <a:lnTo>
                    <a:pt x="73" y="57"/>
                  </a:lnTo>
                  <a:lnTo>
                    <a:pt x="73" y="54"/>
                  </a:lnTo>
                  <a:lnTo>
                    <a:pt x="71" y="52"/>
                  </a:lnTo>
                  <a:lnTo>
                    <a:pt x="73" y="52"/>
                  </a:lnTo>
                  <a:lnTo>
                    <a:pt x="73" y="52"/>
                  </a:lnTo>
                  <a:lnTo>
                    <a:pt x="76" y="49"/>
                  </a:lnTo>
                  <a:lnTo>
                    <a:pt x="76" y="49"/>
                  </a:lnTo>
                  <a:lnTo>
                    <a:pt x="76" y="49"/>
                  </a:lnTo>
                  <a:lnTo>
                    <a:pt x="76" y="52"/>
                  </a:lnTo>
                  <a:lnTo>
                    <a:pt x="73" y="52"/>
                  </a:lnTo>
                  <a:lnTo>
                    <a:pt x="73" y="54"/>
                  </a:lnTo>
                  <a:lnTo>
                    <a:pt x="76" y="54"/>
                  </a:lnTo>
                  <a:lnTo>
                    <a:pt x="76" y="54"/>
                  </a:lnTo>
                  <a:lnTo>
                    <a:pt x="76" y="54"/>
                  </a:lnTo>
                  <a:lnTo>
                    <a:pt x="76" y="52"/>
                  </a:lnTo>
                  <a:lnTo>
                    <a:pt x="76" y="52"/>
                  </a:lnTo>
                  <a:lnTo>
                    <a:pt x="78" y="42"/>
                  </a:lnTo>
                  <a:lnTo>
                    <a:pt x="78" y="35"/>
                  </a:lnTo>
                  <a:lnTo>
                    <a:pt x="80" y="26"/>
                  </a:lnTo>
                  <a:lnTo>
                    <a:pt x="80" y="21"/>
                  </a:lnTo>
                  <a:lnTo>
                    <a:pt x="83" y="21"/>
                  </a:lnTo>
                  <a:lnTo>
                    <a:pt x="85" y="19"/>
                  </a:lnTo>
                  <a:lnTo>
                    <a:pt x="85" y="16"/>
                  </a:lnTo>
                  <a:lnTo>
                    <a:pt x="85" y="14"/>
                  </a:lnTo>
                  <a:lnTo>
                    <a:pt x="85" y="5"/>
                  </a:lnTo>
                  <a:lnTo>
                    <a:pt x="85" y="5"/>
                  </a:lnTo>
                  <a:lnTo>
                    <a:pt x="83" y="5"/>
                  </a:lnTo>
                  <a:lnTo>
                    <a:pt x="83" y="5"/>
                  </a:lnTo>
                  <a:lnTo>
                    <a:pt x="83" y="2"/>
                  </a:lnTo>
                  <a:lnTo>
                    <a:pt x="85" y="2"/>
                  </a:lnTo>
                  <a:lnTo>
                    <a:pt x="85" y="2"/>
                  </a:lnTo>
                  <a:lnTo>
                    <a:pt x="85" y="5"/>
                  </a:lnTo>
                  <a:lnTo>
                    <a:pt x="85" y="5"/>
                  </a:lnTo>
                  <a:lnTo>
                    <a:pt x="87" y="2"/>
                  </a:lnTo>
                  <a:lnTo>
                    <a:pt x="87" y="0"/>
                  </a:lnTo>
                  <a:lnTo>
                    <a:pt x="87" y="0"/>
                  </a:lnTo>
                  <a:lnTo>
                    <a:pt x="8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7" name="Freeform 273"/>
            <p:cNvSpPr>
              <a:spLocks noEditPoints="1"/>
            </p:cNvSpPr>
            <p:nvPr userDrawn="1"/>
          </p:nvSpPr>
          <p:spPr bwMode="auto">
            <a:xfrm>
              <a:off x="6429" y="3534"/>
              <a:ext cx="330" cy="269"/>
            </a:xfrm>
            <a:custGeom>
              <a:avLst/>
              <a:gdLst>
                <a:gd name="T0" fmla="*/ 3 w 330"/>
                <a:gd name="T1" fmla="*/ 267 h 269"/>
                <a:gd name="T2" fmla="*/ 14 w 330"/>
                <a:gd name="T3" fmla="*/ 262 h 269"/>
                <a:gd name="T4" fmla="*/ 12 w 330"/>
                <a:gd name="T5" fmla="*/ 234 h 269"/>
                <a:gd name="T6" fmla="*/ 318 w 330"/>
                <a:gd name="T7" fmla="*/ 208 h 269"/>
                <a:gd name="T8" fmla="*/ 321 w 330"/>
                <a:gd name="T9" fmla="*/ 198 h 269"/>
                <a:gd name="T10" fmla="*/ 323 w 330"/>
                <a:gd name="T11" fmla="*/ 198 h 269"/>
                <a:gd name="T12" fmla="*/ 321 w 330"/>
                <a:gd name="T13" fmla="*/ 196 h 269"/>
                <a:gd name="T14" fmla="*/ 210 w 330"/>
                <a:gd name="T15" fmla="*/ 139 h 269"/>
                <a:gd name="T16" fmla="*/ 203 w 330"/>
                <a:gd name="T17" fmla="*/ 141 h 269"/>
                <a:gd name="T18" fmla="*/ 203 w 330"/>
                <a:gd name="T19" fmla="*/ 139 h 269"/>
                <a:gd name="T20" fmla="*/ 189 w 330"/>
                <a:gd name="T21" fmla="*/ 134 h 269"/>
                <a:gd name="T22" fmla="*/ 172 w 330"/>
                <a:gd name="T23" fmla="*/ 144 h 269"/>
                <a:gd name="T24" fmla="*/ 139 w 330"/>
                <a:gd name="T25" fmla="*/ 167 h 269"/>
                <a:gd name="T26" fmla="*/ 130 w 330"/>
                <a:gd name="T27" fmla="*/ 175 h 269"/>
                <a:gd name="T28" fmla="*/ 113 w 330"/>
                <a:gd name="T29" fmla="*/ 182 h 269"/>
                <a:gd name="T30" fmla="*/ 102 w 330"/>
                <a:gd name="T31" fmla="*/ 189 h 269"/>
                <a:gd name="T32" fmla="*/ 80 w 330"/>
                <a:gd name="T33" fmla="*/ 198 h 269"/>
                <a:gd name="T34" fmla="*/ 50 w 330"/>
                <a:gd name="T35" fmla="*/ 212 h 269"/>
                <a:gd name="T36" fmla="*/ 38 w 330"/>
                <a:gd name="T37" fmla="*/ 217 h 269"/>
                <a:gd name="T38" fmla="*/ 26 w 330"/>
                <a:gd name="T39" fmla="*/ 229 h 269"/>
                <a:gd name="T40" fmla="*/ 14 w 330"/>
                <a:gd name="T41" fmla="*/ 234 h 269"/>
                <a:gd name="T42" fmla="*/ 5 w 330"/>
                <a:gd name="T43" fmla="*/ 243 h 269"/>
                <a:gd name="T44" fmla="*/ 10 w 330"/>
                <a:gd name="T45" fmla="*/ 248 h 269"/>
                <a:gd name="T46" fmla="*/ 26 w 330"/>
                <a:gd name="T47" fmla="*/ 250 h 269"/>
                <a:gd name="T48" fmla="*/ 36 w 330"/>
                <a:gd name="T49" fmla="*/ 255 h 269"/>
                <a:gd name="T50" fmla="*/ 76 w 330"/>
                <a:gd name="T51" fmla="*/ 241 h 269"/>
                <a:gd name="T52" fmla="*/ 97 w 330"/>
                <a:gd name="T53" fmla="*/ 219 h 269"/>
                <a:gd name="T54" fmla="*/ 118 w 330"/>
                <a:gd name="T55" fmla="*/ 203 h 269"/>
                <a:gd name="T56" fmla="*/ 135 w 330"/>
                <a:gd name="T57" fmla="*/ 196 h 269"/>
                <a:gd name="T58" fmla="*/ 142 w 330"/>
                <a:gd name="T59" fmla="*/ 196 h 269"/>
                <a:gd name="T60" fmla="*/ 146 w 330"/>
                <a:gd name="T61" fmla="*/ 191 h 269"/>
                <a:gd name="T62" fmla="*/ 153 w 330"/>
                <a:gd name="T63" fmla="*/ 184 h 269"/>
                <a:gd name="T64" fmla="*/ 194 w 330"/>
                <a:gd name="T65" fmla="*/ 160 h 269"/>
                <a:gd name="T66" fmla="*/ 205 w 330"/>
                <a:gd name="T67" fmla="*/ 146 h 269"/>
                <a:gd name="T68" fmla="*/ 297 w 330"/>
                <a:gd name="T69" fmla="*/ 42 h 269"/>
                <a:gd name="T70" fmla="*/ 328 w 330"/>
                <a:gd name="T71" fmla="*/ 68 h 269"/>
                <a:gd name="T72" fmla="*/ 297 w 330"/>
                <a:gd name="T73" fmla="*/ 75 h 269"/>
                <a:gd name="T74" fmla="*/ 292 w 330"/>
                <a:gd name="T75" fmla="*/ 61 h 269"/>
                <a:gd name="T76" fmla="*/ 290 w 330"/>
                <a:gd name="T77" fmla="*/ 47 h 269"/>
                <a:gd name="T78" fmla="*/ 283 w 330"/>
                <a:gd name="T79" fmla="*/ 56 h 269"/>
                <a:gd name="T80" fmla="*/ 281 w 330"/>
                <a:gd name="T81" fmla="*/ 47 h 269"/>
                <a:gd name="T82" fmla="*/ 285 w 330"/>
                <a:gd name="T83" fmla="*/ 28 h 269"/>
                <a:gd name="T84" fmla="*/ 285 w 330"/>
                <a:gd name="T85" fmla="*/ 18 h 269"/>
                <a:gd name="T86" fmla="*/ 278 w 330"/>
                <a:gd name="T87" fmla="*/ 9 h 269"/>
                <a:gd name="T88" fmla="*/ 271 w 330"/>
                <a:gd name="T89" fmla="*/ 0 h 269"/>
                <a:gd name="T90" fmla="*/ 269 w 330"/>
                <a:gd name="T91" fmla="*/ 21 h 269"/>
                <a:gd name="T92" fmla="*/ 269 w 330"/>
                <a:gd name="T93" fmla="*/ 23 h 269"/>
                <a:gd name="T94" fmla="*/ 274 w 330"/>
                <a:gd name="T95" fmla="*/ 35 h 269"/>
                <a:gd name="T96" fmla="*/ 276 w 330"/>
                <a:gd name="T97" fmla="*/ 44 h 269"/>
                <a:gd name="T98" fmla="*/ 274 w 330"/>
                <a:gd name="T99" fmla="*/ 54 h 269"/>
                <a:gd name="T100" fmla="*/ 269 w 330"/>
                <a:gd name="T101" fmla="*/ 63 h 269"/>
                <a:gd name="T102" fmla="*/ 257 w 330"/>
                <a:gd name="T103" fmla="*/ 82 h 269"/>
                <a:gd name="T104" fmla="*/ 229 w 330"/>
                <a:gd name="T105" fmla="*/ 104 h 269"/>
                <a:gd name="T106" fmla="*/ 238 w 330"/>
                <a:gd name="T107" fmla="*/ 118 h 269"/>
                <a:gd name="T108" fmla="*/ 212 w 330"/>
                <a:gd name="T109" fmla="*/ 146 h 269"/>
                <a:gd name="T110" fmla="*/ 219 w 330"/>
                <a:gd name="T111" fmla="*/ 146 h 269"/>
                <a:gd name="T112" fmla="*/ 248 w 330"/>
                <a:gd name="T113" fmla="*/ 137 h 269"/>
                <a:gd name="T114" fmla="*/ 278 w 330"/>
                <a:gd name="T115" fmla="*/ 108 h 269"/>
                <a:gd name="T116" fmla="*/ 300 w 330"/>
                <a:gd name="T117" fmla="*/ 104 h 269"/>
                <a:gd name="T118" fmla="*/ 325 w 330"/>
                <a:gd name="T119" fmla="*/ 7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0" h="269">
                  <a:moveTo>
                    <a:pt x="17" y="262"/>
                  </a:moveTo>
                  <a:lnTo>
                    <a:pt x="17" y="260"/>
                  </a:lnTo>
                  <a:lnTo>
                    <a:pt x="17" y="257"/>
                  </a:lnTo>
                  <a:lnTo>
                    <a:pt x="14" y="257"/>
                  </a:lnTo>
                  <a:lnTo>
                    <a:pt x="12" y="260"/>
                  </a:lnTo>
                  <a:lnTo>
                    <a:pt x="10" y="262"/>
                  </a:lnTo>
                  <a:lnTo>
                    <a:pt x="10" y="262"/>
                  </a:lnTo>
                  <a:lnTo>
                    <a:pt x="7" y="264"/>
                  </a:lnTo>
                  <a:lnTo>
                    <a:pt x="7" y="264"/>
                  </a:lnTo>
                  <a:lnTo>
                    <a:pt x="5" y="264"/>
                  </a:lnTo>
                  <a:lnTo>
                    <a:pt x="5" y="267"/>
                  </a:lnTo>
                  <a:lnTo>
                    <a:pt x="3" y="267"/>
                  </a:lnTo>
                  <a:lnTo>
                    <a:pt x="0" y="269"/>
                  </a:lnTo>
                  <a:lnTo>
                    <a:pt x="0" y="269"/>
                  </a:lnTo>
                  <a:lnTo>
                    <a:pt x="3" y="269"/>
                  </a:lnTo>
                  <a:lnTo>
                    <a:pt x="7" y="267"/>
                  </a:lnTo>
                  <a:lnTo>
                    <a:pt x="7" y="267"/>
                  </a:lnTo>
                  <a:lnTo>
                    <a:pt x="7" y="267"/>
                  </a:lnTo>
                  <a:lnTo>
                    <a:pt x="12" y="267"/>
                  </a:lnTo>
                  <a:lnTo>
                    <a:pt x="14" y="264"/>
                  </a:lnTo>
                  <a:lnTo>
                    <a:pt x="14" y="264"/>
                  </a:lnTo>
                  <a:lnTo>
                    <a:pt x="17" y="264"/>
                  </a:lnTo>
                  <a:lnTo>
                    <a:pt x="17" y="262"/>
                  </a:lnTo>
                  <a:lnTo>
                    <a:pt x="14" y="262"/>
                  </a:lnTo>
                  <a:lnTo>
                    <a:pt x="14" y="262"/>
                  </a:lnTo>
                  <a:lnTo>
                    <a:pt x="14" y="262"/>
                  </a:lnTo>
                  <a:lnTo>
                    <a:pt x="14" y="262"/>
                  </a:lnTo>
                  <a:lnTo>
                    <a:pt x="17" y="262"/>
                  </a:lnTo>
                  <a:close/>
                  <a:moveTo>
                    <a:pt x="10" y="236"/>
                  </a:moveTo>
                  <a:lnTo>
                    <a:pt x="10" y="236"/>
                  </a:lnTo>
                  <a:lnTo>
                    <a:pt x="12" y="236"/>
                  </a:lnTo>
                  <a:lnTo>
                    <a:pt x="12" y="236"/>
                  </a:lnTo>
                  <a:lnTo>
                    <a:pt x="12" y="236"/>
                  </a:lnTo>
                  <a:lnTo>
                    <a:pt x="14" y="236"/>
                  </a:lnTo>
                  <a:lnTo>
                    <a:pt x="14" y="236"/>
                  </a:lnTo>
                  <a:lnTo>
                    <a:pt x="12" y="234"/>
                  </a:lnTo>
                  <a:lnTo>
                    <a:pt x="10" y="236"/>
                  </a:lnTo>
                  <a:lnTo>
                    <a:pt x="10" y="236"/>
                  </a:lnTo>
                  <a:lnTo>
                    <a:pt x="10" y="236"/>
                  </a:lnTo>
                  <a:lnTo>
                    <a:pt x="10" y="236"/>
                  </a:lnTo>
                  <a:close/>
                  <a:moveTo>
                    <a:pt x="24" y="229"/>
                  </a:moveTo>
                  <a:lnTo>
                    <a:pt x="24" y="227"/>
                  </a:lnTo>
                  <a:lnTo>
                    <a:pt x="24" y="227"/>
                  </a:lnTo>
                  <a:lnTo>
                    <a:pt x="21" y="227"/>
                  </a:lnTo>
                  <a:lnTo>
                    <a:pt x="21" y="229"/>
                  </a:lnTo>
                  <a:lnTo>
                    <a:pt x="24" y="229"/>
                  </a:lnTo>
                  <a:close/>
                  <a:moveTo>
                    <a:pt x="321" y="205"/>
                  </a:moveTo>
                  <a:lnTo>
                    <a:pt x="318" y="208"/>
                  </a:lnTo>
                  <a:lnTo>
                    <a:pt x="321" y="208"/>
                  </a:lnTo>
                  <a:lnTo>
                    <a:pt x="321" y="205"/>
                  </a:lnTo>
                  <a:lnTo>
                    <a:pt x="321" y="205"/>
                  </a:lnTo>
                  <a:lnTo>
                    <a:pt x="321" y="205"/>
                  </a:lnTo>
                  <a:lnTo>
                    <a:pt x="321" y="205"/>
                  </a:lnTo>
                  <a:close/>
                  <a:moveTo>
                    <a:pt x="321" y="196"/>
                  </a:moveTo>
                  <a:lnTo>
                    <a:pt x="318" y="196"/>
                  </a:lnTo>
                  <a:lnTo>
                    <a:pt x="316" y="196"/>
                  </a:lnTo>
                  <a:lnTo>
                    <a:pt x="318" y="196"/>
                  </a:lnTo>
                  <a:lnTo>
                    <a:pt x="321" y="196"/>
                  </a:lnTo>
                  <a:lnTo>
                    <a:pt x="321" y="198"/>
                  </a:lnTo>
                  <a:lnTo>
                    <a:pt x="321" y="198"/>
                  </a:lnTo>
                  <a:lnTo>
                    <a:pt x="318" y="198"/>
                  </a:lnTo>
                  <a:lnTo>
                    <a:pt x="318" y="201"/>
                  </a:lnTo>
                  <a:lnTo>
                    <a:pt x="316" y="201"/>
                  </a:lnTo>
                  <a:lnTo>
                    <a:pt x="316" y="203"/>
                  </a:lnTo>
                  <a:lnTo>
                    <a:pt x="316" y="203"/>
                  </a:lnTo>
                  <a:lnTo>
                    <a:pt x="318" y="203"/>
                  </a:lnTo>
                  <a:lnTo>
                    <a:pt x="318" y="201"/>
                  </a:lnTo>
                  <a:lnTo>
                    <a:pt x="321" y="201"/>
                  </a:lnTo>
                  <a:lnTo>
                    <a:pt x="323" y="201"/>
                  </a:lnTo>
                  <a:lnTo>
                    <a:pt x="323" y="198"/>
                  </a:lnTo>
                  <a:lnTo>
                    <a:pt x="321" y="198"/>
                  </a:lnTo>
                  <a:lnTo>
                    <a:pt x="323" y="198"/>
                  </a:lnTo>
                  <a:lnTo>
                    <a:pt x="323" y="196"/>
                  </a:lnTo>
                  <a:lnTo>
                    <a:pt x="323" y="196"/>
                  </a:lnTo>
                  <a:lnTo>
                    <a:pt x="323" y="196"/>
                  </a:lnTo>
                  <a:lnTo>
                    <a:pt x="323" y="196"/>
                  </a:lnTo>
                  <a:lnTo>
                    <a:pt x="325" y="196"/>
                  </a:lnTo>
                  <a:lnTo>
                    <a:pt x="325" y="196"/>
                  </a:lnTo>
                  <a:lnTo>
                    <a:pt x="323" y="198"/>
                  </a:lnTo>
                  <a:lnTo>
                    <a:pt x="328" y="196"/>
                  </a:lnTo>
                  <a:lnTo>
                    <a:pt x="328" y="196"/>
                  </a:lnTo>
                  <a:lnTo>
                    <a:pt x="330" y="196"/>
                  </a:lnTo>
                  <a:lnTo>
                    <a:pt x="323" y="193"/>
                  </a:lnTo>
                  <a:lnTo>
                    <a:pt x="321" y="196"/>
                  </a:lnTo>
                  <a:close/>
                  <a:moveTo>
                    <a:pt x="210" y="134"/>
                  </a:moveTo>
                  <a:lnTo>
                    <a:pt x="210" y="132"/>
                  </a:lnTo>
                  <a:lnTo>
                    <a:pt x="210" y="134"/>
                  </a:lnTo>
                  <a:lnTo>
                    <a:pt x="208" y="134"/>
                  </a:lnTo>
                  <a:lnTo>
                    <a:pt x="208" y="134"/>
                  </a:lnTo>
                  <a:lnTo>
                    <a:pt x="205" y="137"/>
                  </a:lnTo>
                  <a:lnTo>
                    <a:pt x="205" y="137"/>
                  </a:lnTo>
                  <a:lnTo>
                    <a:pt x="208" y="137"/>
                  </a:lnTo>
                  <a:lnTo>
                    <a:pt x="210" y="134"/>
                  </a:lnTo>
                  <a:close/>
                  <a:moveTo>
                    <a:pt x="208" y="141"/>
                  </a:moveTo>
                  <a:lnTo>
                    <a:pt x="208" y="141"/>
                  </a:lnTo>
                  <a:lnTo>
                    <a:pt x="210" y="139"/>
                  </a:lnTo>
                  <a:lnTo>
                    <a:pt x="212" y="139"/>
                  </a:lnTo>
                  <a:lnTo>
                    <a:pt x="210" y="139"/>
                  </a:lnTo>
                  <a:lnTo>
                    <a:pt x="210" y="139"/>
                  </a:lnTo>
                  <a:lnTo>
                    <a:pt x="210" y="139"/>
                  </a:lnTo>
                  <a:lnTo>
                    <a:pt x="210" y="139"/>
                  </a:lnTo>
                  <a:lnTo>
                    <a:pt x="208" y="139"/>
                  </a:lnTo>
                  <a:lnTo>
                    <a:pt x="208" y="139"/>
                  </a:lnTo>
                  <a:lnTo>
                    <a:pt x="205" y="139"/>
                  </a:lnTo>
                  <a:lnTo>
                    <a:pt x="205" y="139"/>
                  </a:lnTo>
                  <a:lnTo>
                    <a:pt x="205" y="141"/>
                  </a:lnTo>
                  <a:lnTo>
                    <a:pt x="203" y="141"/>
                  </a:lnTo>
                  <a:lnTo>
                    <a:pt x="203" y="141"/>
                  </a:lnTo>
                  <a:lnTo>
                    <a:pt x="201" y="144"/>
                  </a:lnTo>
                  <a:lnTo>
                    <a:pt x="198" y="144"/>
                  </a:lnTo>
                  <a:lnTo>
                    <a:pt x="201" y="144"/>
                  </a:lnTo>
                  <a:lnTo>
                    <a:pt x="203" y="141"/>
                  </a:lnTo>
                  <a:lnTo>
                    <a:pt x="205" y="139"/>
                  </a:lnTo>
                  <a:lnTo>
                    <a:pt x="205" y="139"/>
                  </a:lnTo>
                  <a:lnTo>
                    <a:pt x="205" y="139"/>
                  </a:lnTo>
                  <a:lnTo>
                    <a:pt x="205" y="139"/>
                  </a:lnTo>
                  <a:lnTo>
                    <a:pt x="208" y="137"/>
                  </a:lnTo>
                  <a:lnTo>
                    <a:pt x="208" y="137"/>
                  </a:lnTo>
                  <a:lnTo>
                    <a:pt x="205" y="137"/>
                  </a:lnTo>
                  <a:lnTo>
                    <a:pt x="203" y="139"/>
                  </a:lnTo>
                  <a:lnTo>
                    <a:pt x="203" y="139"/>
                  </a:lnTo>
                  <a:lnTo>
                    <a:pt x="198" y="141"/>
                  </a:lnTo>
                  <a:lnTo>
                    <a:pt x="196" y="141"/>
                  </a:lnTo>
                  <a:lnTo>
                    <a:pt x="194" y="144"/>
                  </a:lnTo>
                  <a:lnTo>
                    <a:pt x="189" y="144"/>
                  </a:lnTo>
                  <a:lnTo>
                    <a:pt x="189" y="144"/>
                  </a:lnTo>
                  <a:lnTo>
                    <a:pt x="189" y="141"/>
                  </a:lnTo>
                  <a:lnTo>
                    <a:pt x="189" y="141"/>
                  </a:lnTo>
                  <a:lnTo>
                    <a:pt x="191" y="137"/>
                  </a:lnTo>
                  <a:lnTo>
                    <a:pt x="191" y="134"/>
                  </a:lnTo>
                  <a:lnTo>
                    <a:pt x="191" y="134"/>
                  </a:lnTo>
                  <a:lnTo>
                    <a:pt x="189" y="134"/>
                  </a:lnTo>
                  <a:lnTo>
                    <a:pt x="189" y="132"/>
                  </a:lnTo>
                  <a:lnTo>
                    <a:pt x="189" y="132"/>
                  </a:lnTo>
                  <a:lnTo>
                    <a:pt x="191" y="130"/>
                  </a:lnTo>
                  <a:lnTo>
                    <a:pt x="191" y="130"/>
                  </a:lnTo>
                  <a:lnTo>
                    <a:pt x="196" y="130"/>
                  </a:lnTo>
                  <a:lnTo>
                    <a:pt x="194" y="127"/>
                  </a:lnTo>
                  <a:lnTo>
                    <a:pt x="191" y="127"/>
                  </a:lnTo>
                  <a:lnTo>
                    <a:pt x="191" y="130"/>
                  </a:lnTo>
                  <a:lnTo>
                    <a:pt x="186" y="132"/>
                  </a:lnTo>
                  <a:lnTo>
                    <a:pt x="182" y="134"/>
                  </a:lnTo>
                  <a:lnTo>
                    <a:pt x="177" y="137"/>
                  </a:lnTo>
                  <a:lnTo>
                    <a:pt x="172" y="144"/>
                  </a:lnTo>
                  <a:lnTo>
                    <a:pt x="165" y="149"/>
                  </a:lnTo>
                  <a:lnTo>
                    <a:pt x="163" y="151"/>
                  </a:lnTo>
                  <a:lnTo>
                    <a:pt x="161" y="153"/>
                  </a:lnTo>
                  <a:lnTo>
                    <a:pt x="158" y="153"/>
                  </a:lnTo>
                  <a:lnTo>
                    <a:pt x="156" y="153"/>
                  </a:lnTo>
                  <a:lnTo>
                    <a:pt x="153" y="153"/>
                  </a:lnTo>
                  <a:lnTo>
                    <a:pt x="153" y="156"/>
                  </a:lnTo>
                  <a:lnTo>
                    <a:pt x="149" y="158"/>
                  </a:lnTo>
                  <a:lnTo>
                    <a:pt x="146" y="160"/>
                  </a:lnTo>
                  <a:lnTo>
                    <a:pt x="144" y="163"/>
                  </a:lnTo>
                  <a:lnTo>
                    <a:pt x="142" y="165"/>
                  </a:lnTo>
                  <a:lnTo>
                    <a:pt x="139" y="167"/>
                  </a:lnTo>
                  <a:lnTo>
                    <a:pt x="139" y="167"/>
                  </a:lnTo>
                  <a:lnTo>
                    <a:pt x="139" y="170"/>
                  </a:lnTo>
                  <a:lnTo>
                    <a:pt x="139" y="170"/>
                  </a:lnTo>
                  <a:lnTo>
                    <a:pt x="137" y="170"/>
                  </a:lnTo>
                  <a:lnTo>
                    <a:pt x="137" y="170"/>
                  </a:lnTo>
                  <a:lnTo>
                    <a:pt x="130" y="175"/>
                  </a:lnTo>
                  <a:lnTo>
                    <a:pt x="130" y="175"/>
                  </a:lnTo>
                  <a:lnTo>
                    <a:pt x="128" y="177"/>
                  </a:lnTo>
                  <a:lnTo>
                    <a:pt x="128" y="177"/>
                  </a:lnTo>
                  <a:lnTo>
                    <a:pt x="130" y="177"/>
                  </a:lnTo>
                  <a:lnTo>
                    <a:pt x="130" y="175"/>
                  </a:lnTo>
                  <a:lnTo>
                    <a:pt x="130" y="175"/>
                  </a:lnTo>
                  <a:lnTo>
                    <a:pt x="125" y="177"/>
                  </a:lnTo>
                  <a:lnTo>
                    <a:pt x="123" y="179"/>
                  </a:lnTo>
                  <a:lnTo>
                    <a:pt x="120" y="179"/>
                  </a:lnTo>
                  <a:lnTo>
                    <a:pt x="120" y="179"/>
                  </a:lnTo>
                  <a:lnTo>
                    <a:pt x="120" y="179"/>
                  </a:lnTo>
                  <a:lnTo>
                    <a:pt x="120" y="179"/>
                  </a:lnTo>
                  <a:lnTo>
                    <a:pt x="118" y="179"/>
                  </a:lnTo>
                  <a:lnTo>
                    <a:pt x="118" y="182"/>
                  </a:lnTo>
                  <a:lnTo>
                    <a:pt x="118" y="182"/>
                  </a:lnTo>
                  <a:lnTo>
                    <a:pt x="118" y="182"/>
                  </a:lnTo>
                  <a:lnTo>
                    <a:pt x="116" y="179"/>
                  </a:lnTo>
                  <a:lnTo>
                    <a:pt x="113" y="182"/>
                  </a:lnTo>
                  <a:lnTo>
                    <a:pt x="113" y="182"/>
                  </a:lnTo>
                  <a:lnTo>
                    <a:pt x="113" y="182"/>
                  </a:lnTo>
                  <a:lnTo>
                    <a:pt x="113" y="184"/>
                  </a:lnTo>
                  <a:lnTo>
                    <a:pt x="113" y="182"/>
                  </a:lnTo>
                  <a:lnTo>
                    <a:pt x="111" y="182"/>
                  </a:lnTo>
                  <a:lnTo>
                    <a:pt x="111" y="184"/>
                  </a:lnTo>
                  <a:lnTo>
                    <a:pt x="109" y="184"/>
                  </a:lnTo>
                  <a:lnTo>
                    <a:pt x="109" y="184"/>
                  </a:lnTo>
                  <a:lnTo>
                    <a:pt x="106" y="184"/>
                  </a:lnTo>
                  <a:lnTo>
                    <a:pt x="104" y="186"/>
                  </a:lnTo>
                  <a:lnTo>
                    <a:pt x="99" y="189"/>
                  </a:lnTo>
                  <a:lnTo>
                    <a:pt x="102" y="189"/>
                  </a:lnTo>
                  <a:lnTo>
                    <a:pt x="99" y="189"/>
                  </a:lnTo>
                  <a:lnTo>
                    <a:pt x="99" y="189"/>
                  </a:lnTo>
                  <a:lnTo>
                    <a:pt x="99" y="189"/>
                  </a:lnTo>
                  <a:lnTo>
                    <a:pt x="97" y="191"/>
                  </a:lnTo>
                  <a:lnTo>
                    <a:pt x="97" y="191"/>
                  </a:lnTo>
                  <a:lnTo>
                    <a:pt x="95" y="191"/>
                  </a:lnTo>
                  <a:lnTo>
                    <a:pt x="92" y="193"/>
                  </a:lnTo>
                  <a:lnTo>
                    <a:pt x="87" y="193"/>
                  </a:lnTo>
                  <a:lnTo>
                    <a:pt x="83" y="196"/>
                  </a:lnTo>
                  <a:lnTo>
                    <a:pt x="83" y="196"/>
                  </a:lnTo>
                  <a:lnTo>
                    <a:pt x="80" y="198"/>
                  </a:lnTo>
                  <a:lnTo>
                    <a:pt x="80" y="198"/>
                  </a:lnTo>
                  <a:lnTo>
                    <a:pt x="80" y="198"/>
                  </a:lnTo>
                  <a:lnTo>
                    <a:pt x="78" y="198"/>
                  </a:lnTo>
                  <a:lnTo>
                    <a:pt x="73" y="201"/>
                  </a:lnTo>
                  <a:lnTo>
                    <a:pt x="73" y="201"/>
                  </a:lnTo>
                  <a:lnTo>
                    <a:pt x="71" y="201"/>
                  </a:lnTo>
                  <a:lnTo>
                    <a:pt x="66" y="201"/>
                  </a:lnTo>
                  <a:lnTo>
                    <a:pt x="64" y="203"/>
                  </a:lnTo>
                  <a:lnTo>
                    <a:pt x="59" y="205"/>
                  </a:lnTo>
                  <a:lnTo>
                    <a:pt x="54" y="208"/>
                  </a:lnTo>
                  <a:lnTo>
                    <a:pt x="50" y="210"/>
                  </a:lnTo>
                  <a:lnTo>
                    <a:pt x="47" y="212"/>
                  </a:lnTo>
                  <a:lnTo>
                    <a:pt x="50" y="212"/>
                  </a:lnTo>
                  <a:lnTo>
                    <a:pt x="47" y="215"/>
                  </a:lnTo>
                  <a:lnTo>
                    <a:pt x="47" y="212"/>
                  </a:lnTo>
                  <a:lnTo>
                    <a:pt x="47" y="212"/>
                  </a:lnTo>
                  <a:lnTo>
                    <a:pt x="45" y="212"/>
                  </a:lnTo>
                  <a:lnTo>
                    <a:pt x="40" y="215"/>
                  </a:lnTo>
                  <a:lnTo>
                    <a:pt x="40" y="215"/>
                  </a:lnTo>
                  <a:lnTo>
                    <a:pt x="38" y="217"/>
                  </a:lnTo>
                  <a:lnTo>
                    <a:pt x="38" y="217"/>
                  </a:lnTo>
                  <a:lnTo>
                    <a:pt x="38" y="217"/>
                  </a:lnTo>
                  <a:lnTo>
                    <a:pt x="38" y="219"/>
                  </a:lnTo>
                  <a:lnTo>
                    <a:pt x="36" y="219"/>
                  </a:lnTo>
                  <a:lnTo>
                    <a:pt x="38" y="217"/>
                  </a:lnTo>
                  <a:lnTo>
                    <a:pt x="31" y="219"/>
                  </a:lnTo>
                  <a:lnTo>
                    <a:pt x="31" y="219"/>
                  </a:lnTo>
                  <a:lnTo>
                    <a:pt x="31" y="224"/>
                  </a:lnTo>
                  <a:lnTo>
                    <a:pt x="31" y="224"/>
                  </a:lnTo>
                  <a:lnTo>
                    <a:pt x="29" y="224"/>
                  </a:lnTo>
                  <a:lnTo>
                    <a:pt x="29" y="224"/>
                  </a:lnTo>
                  <a:lnTo>
                    <a:pt x="26" y="224"/>
                  </a:lnTo>
                  <a:lnTo>
                    <a:pt x="26" y="227"/>
                  </a:lnTo>
                  <a:lnTo>
                    <a:pt x="24" y="227"/>
                  </a:lnTo>
                  <a:lnTo>
                    <a:pt x="26" y="227"/>
                  </a:lnTo>
                  <a:lnTo>
                    <a:pt x="26" y="229"/>
                  </a:lnTo>
                  <a:lnTo>
                    <a:pt x="26" y="229"/>
                  </a:lnTo>
                  <a:lnTo>
                    <a:pt x="26" y="229"/>
                  </a:lnTo>
                  <a:lnTo>
                    <a:pt x="24" y="229"/>
                  </a:lnTo>
                  <a:lnTo>
                    <a:pt x="24" y="229"/>
                  </a:lnTo>
                  <a:lnTo>
                    <a:pt x="24" y="231"/>
                  </a:lnTo>
                  <a:lnTo>
                    <a:pt x="21" y="229"/>
                  </a:lnTo>
                  <a:lnTo>
                    <a:pt x="21" y="229"/>
                  </a:lnTo>
                  <a:lnTo>
                    <a:pt x="21" y="229"/>
                  </a:lnTo>
                  <a:lnTo>
                    <a:pt x="19" y="229"/>
                  </a:lnTo>
                  <a:lnTo>
                    <a:pt x="19" y="231"/>
                  </a:lnTo>
                  <a:lnTo>
                    <a:pt x="17" y="231"/>
                  </a:lnTo>
                  <a:lnTo>
                    <a:pt x="17" y="231"/>
                  </a:lnTo>
                  <a:lnTo>
                    <a:pt x="14" y="234"/>
                  </a:lnTo>
                  <a:lnTo>
                    <a:pt x="17" y="234"/>
                  </a:lnTo>
                  <a:lnTo>
                    <a:pt x="19" y="234"/>
                  </a:lnTo>
                  <a:lnTo>
                    <a:pt x="14" y="234"/>
                  </a:lnTo>
                  <a:lnTo>
                    <a:pt x="14" y="236"/>
                  </a:lnTo>
                  <a:lnTo>
                    <a:pt x="14" y="236"/>
                  </a:lnTo>
                  <a:lnTo>
                    <a:pt x="17" y="236"/>
                  </a:lnTo>
                  <a:lnTo>
                    <a:pt x="14" y="238"/>
                  </a:lnTo>
                  <a:lnTo>
                    <a:pt x="12" y="238"/>
                  </a:lnTo>
                  <a:lnTo>
                    <a:pt x="7" y="238"/>
                  </a:lnTo>
                  <a:lnTo>
                    <a:pt x="7" y="238"/>
                  </a:lnTo>
                  <a:lnTo>
                    <a:pt x="5" y="241"/>
                  </a:lnTo>
                  <a:lnTo>
                    <a:pt x="5" y="243"/>
                  </a:lnTo>
                  <a:lnTo>
                    <a:pt x="7" y="241"/>
                  </a:lnTo>
                  <a:lnTo>
                    <a:pt x="10" y="241"/>
                  </a:lnTo>
                  <a:lnTo>
                    <a:pt x="10" y="241"/>
                  </a:lnTo>
                  <a:lnTo>
                    <a:pt x="7" y="243"/>
                  </a:lnTo>
                  <a:lnTo>
                    <a:pt x="5" y="243"/>
                  </a:lnTo>
                  <a:lnTo>
                    <a:pt x="7" y="243"/>
                  </a:lnTo>
                  <a:lnTo>
                    <a:pt x="10" y="243"/>
                  </a:lnTo>
                  <a:lnTo>
                    <a:pt x="12" y="241"/>
                  </a:lnTo>
                  <a:lnTo>
                    <a:pt x="5" y="245"/>
                  </a:lnTo>
                  <a:lnTo>
                    <a:pt x="5" y="248"/>
                  </a:lnTo>
                  <a:lnTo>
                    <a:pt x="5" y="248"/>
                  </a:lnTo>
                  <a:lnTo>
                    <a:pt x="10" y="248"/>
                  </a:lnTo>
                  <a:lnTo>
                    <a:pt x="14" y="248"/>
                  </a:lnTo>
                  <a:lnTo>
                    <a:pt x="14" y="248"/>
                  </a:lnTo>
                  <a:lnTo>
                    <a:pt x="17" y="245"/>
                  </a:lnTo>
                  <a:lnTo>
                    <a:pt x="19" y="245"/>
                  </a:lnTo>
                  <a:lnTo>
                    <a:pt x="19" y="248"/>
                  </a:lnTo>
                  <a:lnTo>
                    <a:pt x="21" y="248"/>
                  </a:lnTo>
                  <a:lnTo>
                    <a:pt x="19" y="250"/>
                  </a:lnTo>
                  <a:lnTo>
                    <a:pt x="21" y="250"/>
                  </a:lnTo>
                  <a:lnTo>
                    <a:pt x="24" y="250"/>
                  </a:lnTo>
                  <a:lnTo>
                    <a:pt x="26" y="250"/>
                  </a:lnTo>
                  <a:lnTo>
                    <a:pt x="26" y="250"/>
                  </a:lnTo>
                  <a:lnTo>
                    <a:pt x="26" y="250"/>
                  </a:lnTo>
                  <a:lnTo>
                    <a:pt x="26" y="253"/>
                  </a:lnTo>
                  <a:lnTo>
                    <a:pt x="26" y="253"/>
                  </a:lnTo>
                  <a:lnTo>
                    <a:pt x="26" y="255"/>
                  </a:lnTo>
                  <a:lnTo>
                    <a:pt x="26" y="255"/>
                  </a:lnTo>
                  <a:lnTo>
                    <a:pt x="26" y="255"/>
                  </a:lnTo>
                  <a:lnTo>
                    <a:pt x="26" y="255"/>
                  </a:lnTo>
                  <a:lnTo>
                    <a:pt x="29" y="255"/>
                  </a:lnTo>
                  <a:lnTo>
                    <a:pt x="29" y="255"/>
                  </a:lnTo>
                  <a:lnTo>
                    <a:pt x="33" y="255"/>
                  </a:lnTo>
                  <a:lnTo>
                    <a:pt x="33" y="255"/>
                  </a:lnTo>
                  <a:lnTo>
                    <a:pt x="36" y="255"/>
                  </a:lnTo>
                  <a:lnTo>
                    <a:pt x="36" y="255"/>
                  </a:lnTo>
                  <a:lnTo>
                    <a:pt x="40" y="255"/>
                  </a:lnTo>
                  <a:lnTo>
                    <a:pt x="47" y="255"/>
                  </a:lnTo>
                  <a:lnTo>
                    <a:pt x="50" y="253"/>
                  </a:lnTo>
                  <a:lnTo>
                    <a:pt x="50" y="253"/>
                  </a:lnTo>
                  <a:lnTo>
                    <a:pt x="54" y="250"/>
                  </a:lnTo>
                  <a:lnTo>
                    <a:pt x="62" y="245"/>
                  </a:lnTo>
                  <a:lnTo>
                    <a:pt x="64" y="245"/>
                  </a:lnTo>
                  <a:lnTo>
                    <a:pt x="69" y="243"/>
                  </a:lnTo>
                  <a:lnTo>
                    <a:pt x="69" y="241"/>
                  </a:lnTo>
                  <a:lnTo>
                    <a:pt x="76" y="241"/>
                  </a:lnTo>
                  <a:lnTo>
                    <a:pt x="76" y="241"/>
                  </a:lnTo>
                  <a:lnTo>
                    <a:pt x="76" y="241"/>
                  </a:lnTo>
                  <a:lnTo>
                    <a:pt x="78" y="238"/>
                  </a:lnTo>
                  <a:lnTo>
                    <a:pt x="78" y="238"/>
                  </a:lnTo>
                  <a:lnTo>
                    <a:pt x="78" y="238"/>
                  </a:lnTo>
                  <a:lnTo>
                    <a:pt x="78" y="236"/>
                  </a:lnTo>
                  <a:lnTo>
                    <a:pt x="78" y="236"/>
                  </a:lnTo>
                  <a:lnTo>
                    <a:pt x="83" y="234"/>
                  </a:lnTo>
                  <a:lnTo>
                    <a:pt x="87" y="229"/>
                  </a:lnTo>
                  <a:lnTo>
                    <a:pt x="90" y="227"/>
                  </a:lnTo>
                  <a:lnTo>
                    <a:pt x="92" y="224"/>
                  </a:lnTo>
                  <a:lnTo>
                    <a:pt x="95" y="222"/>
                  </a:lnTo>
                  <a:lnTo>
                    <a:pt x="97" y="219"/>
                  </a:lnTo>
                  <a:lnTo>
                    <a:pt x="97" y="219"/>
                  </a:lnTo>
                  <a:lnTo>
                    <a:pt x="97" y="219"/>
                  </a:lnTo>
                  <a:lnTo>
                    <a:pt x="99" y="219"/>
                  </a:lnTo>
                  <a:lnTo>
                    <a:pt x="102" y="215"/>
                  </a:lnTo>
                  <a:lnTo>
                    <a:pt x="104" y="212"/>
                  </a:lnTo>
                  <a:lnTo>
                    <a:pt x="106" y="210"/>
                  </a:lnTo>
                  <a:lnTo>
                    <a:pt x="111" y="205"/>
                  </a:lnTo>
                  <a:lnTo>
                    <a:pt x="111" y="205"/>
                  </a:lnTo>
                  <a:lnTo>
                    <a:pt x="111" y="205"/>
                  </a:lnTo>
                  <a:lnTo>
                    <a:pt x="113" y="205"/>
                  </a:lnTo>
                  <a:lnTo>
                    <a:pt x="113" y="205"/>
                  </a:lnTo>
                  <a:lnTo>
                    <a:pt x="116" y="203"/>
                  </a:lnTo>
                  <a:lnTo>
                    <a:pt x="118" y="203"/>
                  </a:lnTo>
                  <a:lnTo>
                    <a:pt x="120" y="203"/>
                  </a:lnTo>
                  <a:lnTo>
                    <a:pt x="120" y="203"/>
                  </a:lnTo>
                  <a:lnTo>
                    <a:pt x="123" y="201"/>
                  </a:lnTo>
                  <a:lnTo>
                    <a:pt x="125" y="201"/>
                  </a:lnTo>
                  <a:lnTo>
                    <a:pt x="128" y="201"/>
                  </a:lnTo>
                  <a:lnTo>
                    <a:pt x="130" y="198"/>
                  </a:lnTo>
                  <a:lnTo>
                    <a:pt x="132" y="198"/>
                  </a:lnTo>
                  <a:lnTo>
                    <a:pt x="132" y="196"/>
                  </a:lnTo>
                  <a:lnTo>
                    <a:pt x="132" y="196"/>
                  </a:lnTo>
                  <a:lnTo>
                    <a:pt x="132" y="193"/>
                  </a:lnTo>
                  <a:lnTo>
                    <a:pt x="132" y="196"/>
                  </a:lnTo>
                  <a:lnTo>
                    <a:pt x="135" y="196"/>
                  </a:lnTo>
                  <a:lnTo>
                    <a:pt x="135" y="198"/>
                  </a:lnTo>
                  <a:lnTo>
                    <a:pt x="135" y="198"/>
                  </a:lnTo>
                  <a:lnTo>
                    <a:pt x="137" y="196"/>
                  </a:lnTo>
                  <a:lnTo>
                    <a:pt x="137" y="196"/>
                  </a:lnTo>
                  <a:lnTo>
                    <a:pt x="139" y="196"/>
                  </a:lnTo>
                  <a:lnTo>
                    <a:pt x="139" y="193"/>
                  </a:lnTo>
                  <a:lnTo>
                    <a:pt x="139" y="196"/>
                  </a:lnTo>
                  <a:lnTo>
                    <a:pt x="139" y="196"/>
                  </a:lnTo>
                  <a:lnTo>
                    <a:pt x="137" y="196"/>
                  </a:lnTo>
                  <a:lnTo>
                    <a:pt x="137" y="196"/>
                  </a:lnTo>
                  <a:lnTo>
                    <a:pt x="139" y="196"/>
                  </a:lnTo>
                  <a:lnTo>
                    <a:pt x="142" y="196"/>
                  </a:lnTo>
                  <a:lnTo>
                    <a:pt x="142" y="198"/>
                  </a:lnTo>
                  <a:lnTo>
                    <a:pt x="144" y="198"/>
                  </a:lnTo>
                  <a:lnTo>
                    <a:pt x="146" y="198"/>
                  </a:lnTo>
                  <a:lnTo>
                    <a:pt x="146" y="198"/>
                  </a:lnTo>
                  <a:lnTo>
                    <a:pt x="149" y="196"/>
                  </a:lnTo>
                  <a:lnTo>
                    <a:pt x="149" y="196"/>
                  </a:lnTo>
                  <a:lnTo>
                    <a:pt x="151" y="193"/>
                  </a:lnTo>
                  <a:lnTo>
                    <a:pt x="151" y="193"/>
                  </a:lnTo>
                  <a:lnTo>
                    <a:pt x="149" y="193"/>
                  </a:lnTo>
                  <a:lnTo>
                    <a:pt x="146" y="193"/>
                  </a:lnTo>
                  <a:lnTo>
                    <a:pt x="146" y="191"/>
                  </a:lnTo>
                  <a:lnTo>
                    <a:pt x="146" y="191"/>
                  </a:lnTo>
                  <a:lnTo>
                    <a:pt x="149" y="189"/>
                  </a:lnTo>
                  <a:lnTo>
                    <a:pt x="146" y="189"/>
                  </a:lnTo>
                  <a:lnTo>
                    <a:pt x="144" y="189"/>
                  </a:lnTo>
                  <a:lnTo>
                    <a:pt x="146" y="189"/>
                  </a:lnTo>
                  <a:lnTo>
                    <a:pt x="146" y="189"/>
                  </a:lnTo>
                  <a:lnTo>
                    <a:pt x="149" y="189"/>
                  </a:lnTo>
                  <a:lnTo>
                    <a:pt x="149" y="186"/>
                  </a:lnTo>
                  <a:lnTo>
                    <a:pt x="149" y="186"/>
                  </a:lnTo>
                  <a:lnTo>
                    <a:pt x="149" y="186"/>
                  </a:lnTo>
                  <a:lnTo>
                    <a:pt x="149" y="186"/>
                  </a:lnTo>
                  <a:lnTo>
                    <a:pt x="151" y="184"/>
                  </a:lnTo>
                  <a:lnTo>
                    <a:pt x="153" y="184"/>
                  </a:lnTo>
                  <a:lnTo>
                    <a:pt x="156" y="182"/>
                  </a:lnTo>
                  <a:lnTo>
                    <a:pt x="161" y="182"/>
                  </a:lnTo>
                  <a:lnTo>
                    <a:pt x="161" y="179"/>
                  </a:lnTo>
                  <a:lnTo>
                    <a:pt x="163" y="179"/>
                  </a:lnTo>
                  <a:lnTo>
                    <a:pt x="168" y="177"/>
                  </a:lnTo>
                  <a:lnTo>
                    <a:pt x="177" y="170"/>
                  </a:lnTo>
                  <a:lnTo>
                    <a:pt x="177" y="170"/>
                  </a:lnTo>
                  <a:lnTo>
                    <a:pt x="184" y="165"/>
                  </a:lnTo>
                  <a:lnTo>
                    <a:pt x="186" y="163"/>
                  </a:lnTo>
                  <a:lnTo>
                    <a:pt x="189" y="163"/>
                  </a:lnTo>
                  <a:lnTo>
                    <a:pt x="191" y="160"/>
                  </a:lnTo>
                  <a:lnTo>
                    <a:pt x="194" y="160"/>
                  </a:lnTo>
                  <a:lnTo>
                    <a:pt x="198" y="156"/>
                  </a:lnTo>
                  <a:lnTo>
                    <a:pt x="198" y="156"/>
                  </a:lnTo>
                  <a:lnTo>
                    <a:pt x="201" y="153"/>
                  </a:lnTo>
                  <a:lnTo>
                    <a:pt x="201" y="153"/>
                  </a:lnTo>
                  <a:lnTo>
                    <a:pt x="201" y="153"/>
                  </a:lnTo>
                  <a:lnTo>
                    <a:pt x="198" y="153"/>
                  </a:lnTo>
                  <a:lnTo>
                    <a:pt x="201" y="151"/>
                  </a:lnTo>
                  <a:lnTo>
                    <a:pt x="201" y="149"/>
                  </a:lnTo>
                  <a:lnTo>
                    <a:pt x="201" y="149"/>
                  </a:lnTo>
                  <a:lnTo>
                    <a:pt x="201" y="149"/>
                  </a:lnTo>
                  <a:lnTo>
                    <a:pt x="203" y="146"/>
                  </a:lnTo>
                  <a:lnTo>
                    <a:pt x="205" y="146"/>
                  </a:lnTo>
                  <a:lnTo>
                    <a:pt x="205" y="146"/>
                  </a:lnTo>
                  <a:lnTo>
                    <a:pt x="208" y="144"/>
                  </a:lnTo>
                  <a:lnTo>
                    <a:pt x="210" y="141"/>
                  </a:lnTo>
                  <a:lnTo>
                    <a:pt x="212" y="141"/>
                  </a:lnTo>
                  <a:lnTo>
                    <a:pt x="210" y="141"/>
                  </a:lnTo>
                  <a:lnTo>
                    <a:pt x="205" y="144"/>
                  </a:lnTo>
                  <a:lnTo>
                    <a:pt x="203" y="144"/>
                  </a:lnTo>
                  <a:lnTo>
                    <a:pt x="205" y="144"/>
                  </a:lnTo>
                  <a:lnTo>
                    <a:pt x="208" y="141"/>
                  </a:lnTo>
                  <a:close/>
                  <a:moveTo>
                    <a:pt x="295" y="40"/>
                  </a:moveTo>
                  <a:lnTo>
                    <a:pt x="295" y="40"/>
                  </a:lnTo>
                  <a:lnTo>
                    <a:pt x="297" y="42"/>
                  </a:lnTo>
                  <a:lnTo>
                    <a:pt x="297" y="40"/>
                  </a:lnTo>
                  <a:lnTo>
                    <a:pt x="297" y="37"/>
                  </a:lnTo>
                  <a:lnTo>
                    <a:pt x="297" y="37"/>
                  </a:lnTo>
                  <a:lnTo>
                    <a:pt x="297" y="35"/>
                  </a:lnTo>
                  <a:lnTo>
                    <a:pt x="297" y="35"/>
                  </a:lnTo>
                  <a:lnTo>
                    <a:pt x="297" y="35"/>
                  </a:lnTo>
                  <a:lnTo>
                    <a:pt x="295" y="37"/>
                  </a:lnTo>
                  <a:lnTo>
                    <a:pt x="295" y="40"/>
                  </a:lnTo>
                  <a:lnTo>
                    <a:pt x="295" y="40"/>
                  </a:lnTo>
                  <a:lnTo>
                    <a:pt x="295" y="40"/>
                  </a:lnTo>
                  <a:close/>
                  <a:moveTo>
                    <a:pt x="328" y="68"/>
                  </a:moveTo>
                  <a:lnTo>
                    <a:pt x="328" y="68"/>
                  </a:lnTo>
                  <a:lnTo>
                    <a:pt x="323" y="68"/>
                  </a:lnTo>
                  <a:lnTo>
                    <a:pt x="323" y="68"/>
                  </a:lnTo>
                  <a:lnTo>
                    <a:pt x="321" y="68"/>
                  </a:lnTo>
                  <a:lnTo>
                    <a:pt x="318" y="71"/>
                  </a:lnTo>
                  <a:lnTo>
                    <a:pt x="316" y="71"/>
                  </a:lnTo>
                  <a:lnTo>
                    <a:pt x="314" y="73"/>
                  </a:lnTo>
                  <a:lnTo>
                    <a:pt x="311" y="75"/>
                  </a:lnTo>
                  <a:lnTo>
                    <a:pt x="309" y="75"/>
                  </a:lnTo>
                  <a:lnTo>
                    <a:pt x="307" y="78"/>
                  </a:lnTo>
                  <a:lnTo>
                    <a:pt x="304" y="78"/>
                  </a:lnTo>
                  <a:lnTo>
                    <a:pt x="304" y="78"/>
                  </a:lnTo>
                  <a:lnTo>
                    <a:pt x="297" y="75"/>
                  </a:lnTo>
                  <a:lnTo>
                    <a:pt x="295" y="73"/>
                  </a:lnTo>
                  <a:lnTo>
                    <a:pt x="292" y="71"/>
                  </a:lnTo>
                  <a:lnTo>
                    <a:pt x="292" y="71"/>
                  </a:lnTo>
                  <a:lnTo>
                    <a:pt x="290" y="71"/>
                  </a:lnTo>
                  <a:lnTo>
                    <a:pt x="290" y="71"/>
                  </a:lnTo>
                  <a:lnTo>
                    <a:pt x="288" y="68"/>
                  </a:lnTo>
                  <a:lnTo>
                    <a:pt x="290" y="68"/>
                  </a:lnTo>
                  <a:lnTo>
                    <a:pt x="290" y="68"/>
                  </a:lnTo>
                  <a:lnTo>
                    <a:pt x="290" y="68"/>
                  </a:lnTo>
                  <a:lnTo>
                    <a:pt x="290" y="68"/>
                  </a:lnTo>
                  <a:lnTo>
                    <a:pt x="290" y="66"/>
                  </a:lnTo>
                  <a:lnTo>
                    <a:pt x="292" y="61"/>
                  </a:lnTo>
                  <a:lnTo>
                    <a:pt x="295" y="54"/>
                  </a:lnTo>
                  <a:lnTo>
                    <a:pt x="295" y="54"/>
                  </a:lnTo>
                  <a:lnTo>
                    <a:pt x="295" y="52"/>
                  </a:lnTo>
                  <a:lnTo>
                    <a:pt x="295" y="49"/>
                  </a:lnTo>
                  <a:lnTo>
                    <a:pt x="292" y="49"/>
                  </a:lnTo>
                  <a:lnTo>
                    <a:pt x="292" y="47"/>
                  </a:lnTo>
                  <a:lnTo>
                    <a:pt x="292" y="44"/>
                  </a:lnTo>
                  <a:lnTo>
                    <a:pt x="292" y="44"/>
                  </a:lnTo>
                  <a:lnTo>
                    <a:pt x="292" y="44"/>
                  </a:lnTo>
                  <a:lnTo>
                    <a:pt x="290" y="47"/>
                  </a:lnTo>
                  <a:lnTo>
                    <a:pt x="290" y="47"/>
                  </a:lnTo>
                  <a:lnTo>
                    <a:pt x="290" y="47"/>
                  </a:lnTo>
                  <a:lnTo>
                    <a:pt x="290" y="49"/>
                  </a:lnTo>
                  <a:lnTo>
                    <a:pt x="290" y="49"/>
                  </a:lnTo>
                  <a:lnTo>
                    <a:pt x="290" y="52"/>
                  </a:lnTo>
                  <a:lnTo>
                    <a:pt x="288" y="52"/>
                  </a:lnTo>
                  <a:lnTo>
                    <a:pt x="288" y="56"/>
                  </a:lnTo>
                  <a:lnTo>
                    <a:pt x="285" y="59"/>
                  </a:lnTo>
                  <a:lnTo>
                    <a:pt x="285" y="61"/>
                  </a:lnTo>
                  <a:lnTo>
                    <a:pt x="283" y="61"/>
                  </a:lnTo>
                  <a:lnTo>
                    <a:pt x="283" y="61"/>
                  </a:lnTo>
                  <a:lnTo>
                    <a:pt x="283" y="59"/>
                  </a:lnTo>
                  <a:lnTo>
                    <a:pt x="283" y="56"/>
                  </a:lnTo>
                  <a:lnTo>
                    <a:pt x="283" y="56"/>
                  </a:lnTo>
                  <a:lnTo>
                    <a:pt x="283" y="54"/>
                  </a:lnTo>
                  <a:lnTo>
                    <a:pt x="281" y="54"/>
                  </a:lnTo>
                  <a:lnTo>
                    <a:pt x="281" y="52"/>
                  </a:lnTo>
                  <a:lnTo>
                    <a:pt x="278" y="52"/>
                  </a:lnTo>
                  <a:lnTo>
                    <a:pt x="278" y="54"/>
                  </a:lnTo>
                  <a:lnTo>
                    <a:pt x="278" y="54"/>
                  </a:lnTo>
                  <a:lnTo>
                    <a:pt x="276" y="52"/>
                  </a:lnTo>
                  <a:lnTo>
                    <a:pt x="276" y="52"/>
                  </a:lnTo>
                  <a:lnTo>
                    <a:pt x="276" y="52"/>
                  </a:lnTo>
                  <a:lnTo>
                    <a:pt x="276" y="52"/>
                  </a:lnTo>
                  <a:lnTo>
                    <a:pt x="278" y="47"/>
                  </a:lnTo>
                  <a:lnTo>
                    <a:pt x="281" y="47"/>
                  </a:lnTo>
                  <a:lnTo>
                    <a:pt x="281" y="44"/>
                  </a:lnTo>
                  <a:lnTo>
                    <a:pt x="281" y="44"/>
                  </a:lnTo>
                  <a:lnTo>
                    <a:pt x="283" y="42"/>
                  </a:lnTo>
                  <a:lnTo>
                    <a:pt x="283" y="40"/>
                  </a:lnTo>
                  <a:lnTo>
                    <a:pt x="283" y="35"/>
                  </a:lnTo>
                  <a:lnTo>
                    <a:pt x="283" y="35"/>
                  </a:lnTo>
                  <a:lnTo>
                    <a:pt x="283" y="33"/>
                  </a:lnTo>
                  <a:lnTo>
                    <a:pt x="283" y="30"/>
                  </a:lnTo>
                  <a:lnTo>
                    <a:pt x="283" y="30"/>
                  </a:lnTo>
                  <a:lnTo>
                    <a:pt x="285" y="30"/>
                  </a:lnTo>
                  <a:lnTo>
                    <a:pt x="285" y="30"/>
                  </a:lnTo>
                  <a:lnTo>
                    <a:pt x="285" y="28"/>
                  </a:lnTo>
                  <a:lnTo>
                    <a:pt x="288" y="26"/>
                  </a:lnTo>
                  <a:lnTo>
                    <a:pt x="288" y="26"/>
                  </a:lnTo>
                  <a:lnTo>
                    <a:pt x="288" y="23"/>
                  </a:lnTo>
                  <a:lnTo>
                    <a:pt x="288" y="21"/>
                  </a:lnTo>
                  <a:lnTo>
                    <a:pt x="288" y="21"/>
                  </a:lnTo>
                  <a:lnTo>
                    <a:pt x="288" y="21"/>
                  </a:lnTo>
                  <a:lnTo>
                    <a:pt x="288" y="18"/>
                  </a:lnTo>
                  <a:lnTo>
                    <a:pt x="288" y="18"/>
                  </a:lnTo>
                  <a:lnTo>
                    <a:pt x="288" y="18"/>
                  </a:lnTo>
                  <a:lnTo>
                    <a:pt x="285" y="18"/>
                  </a:lnTo>
                  <a:lnTo>
                    <a:pt x="285" y="18"/>
                  </a:lnTo>
                  <a:lnTo>
                    <a:pt x="285" y="18"/>
                  </a:lnTo>
                  <a:lnTo>
                    <a:pt x="285" y="16"/>
                  </a:lnTo>
                  <a:lnTo>
                    <a:pt x="285" y="16"/>
                  </a:lnTo>
                  <a:lnTo>
                    <a:pt x="285" y="16"/>
                  </a:lnTo>
                  <a:lnTo>
                    <a:pt x="283" y="14"/>
                  </a:lnTo>
                  <a:lnTo>
                    <a:pt x="283" y="14"/>
                  </a:lnTo>
                  <a:lnTo>
                    <a:pt x="281" y="14"/>
                  </a:lnTo>
                  <a:lnTo>
                    <a:pt x="281" y="14"/>
                  </a:lnTo>
                  <a:lnTo>
                    <a:pt x="281" y="14"/>
                  </a:lnTo>
                  <a:lnTo>
                    <a:pt x="281" y="14"/>
                  </a:lnTo>
                  <a:lnTo>
                    <a:pt x="276" y="11"/>
                  </a:lnTo>
                  <a:lnTo>
                    <a:pt x="276" y="11"/>
                  </a:lnTo>
                  <a:lnTo>
                    <a:pt x="278" y="9"/>
                  </a:lnTo>
                  <a:lnTo>
                    <a:pt x="276" y="11"/>
                  </a:lnTo>
                  <a:lnTo>
                    <a:pt x="274" y="11"/>
                  </a:lnTo>
                  <a:lnTo>
                    <a:pt x="274" y="11"/>
                  </a:lnTo>
                  <a:lnTo>
                    <a:pt x="274" y="11"/>
                  </a:lnTo>
                  <a:lnTo>
                    <a:pt x="274" y="11"/>
                  </a:lnTo>
                  <a:lnTo>
                    <a:pt x="274" y="9"/>
                  </a:lnTo>
                  <a:lnTo>
                    <a:pt x="274" y="9"/>
                  </a:lnTo>
                  <a:lnTo>
                    <a:pt x="274" y="4"/>
                  </a:lnTo>
                  <a:lnTo>
                    <a:pt x="271" y="4"/>
                  </a:lnTo>
                  <a:lnTo>
                    <a:pt x="271" y="2"/>
                  </a:lnTo>
                  <a:lnTo>
                    <a:pt x="276" y="0"/>
                  </a:lnTo>
                  <a:lnTo>
                    <a:pt x="271" y="0"/>
                  </a:lnTo>
                  <a:lnTo>
                    <a:pt x="269" y="2"/>
                  </a:lnTo>
                  <a:lnTo>
                    <a:pt x="269" y="4"/>
                  </a:lnTo>
                  <a:lnTo>
                    <a:pt x="271" y="9"/>
                  </a:lnTo>
                  <a:lnTo>
                    <a:pt x="271" y="11"/>
                  </a:lnTo>
                  <a:lnTo>
                    <a:pt x="271" y="14"/>
                  </a:lnTo>
                  <a:lnTo>
                    <a:pt x="269" y="16"/>
                  </a:lnTo>
                  <a:lnTo>
                    <a:pt x="267" y="16"/>
                  </a:lnTo>
                  <a:lnTo>
                    <a:pt x="267" y="18"/>
                  </a:lnTo>
                  <a:lnTo>
                    <a:pt x="269" y="21"/>
                  </a:lnTo>
                  <a:lnTo>
                    <a:pt x="269" y="21"/>
                  </a:lnTo>
                  <a:lnTo>
                    <a:pt x="269" y="21"/>
                  </a:lnTo>
                  <a:lnTo>
                    <a:pt x="269" y="21"/>
                  </a:lnTo>
                  <a:lnTo>
                    <a:pt x="269" y="23"/>
                  </a:lnTo>
                  <a:lnTo>
                    <a:pt x="269" y="23"/>
                  </a:lnTo>
                  <a:lnTo>
                    <a:pt x="269" y="23"/>
                  </a:lnTo>
                  <a:lnTo>
                    <a:pt x="271" y="21"/>
                  </a:lnTo>
                  <a:lnTo>
                    <a:pt x="271" y="21"/>
                  </a:lnTo>
                  <a:lnTo>
                    <a:pt x="274" y="21"/>
                  </a:lnTo>
                  <a:lnTo>
                    <a:pt x="274" y="18"/>
                  </a:lnTo>
                  <a:lnTo>
                    <a:pt x="276" y="18"/>
                  </a:lnTo>
                  <a:lnTo>
                    <a:pt x="274" y="21"/>
                  </a:lnTo>
                  <a:lnTo>
                    <a:pt x="274" y="21"/>
                  </a:lnTo>
                  <a:lnTo>
                    <a:pt x="271" y="23"/>
                  </a:lnTo>
                  <a:lnTo>
                    <a:pt x="269" y="23"/>
                  </a:lnTo>
                  <a:lnTo>
                    <a:pt x="271" y="37"/>
                  </a:lnTo>
                  <a:lnTo>
                    <a:pt x="271" y="40"/>
                  </a:lnTo>
                  <a:lnTo>
                    <a:pt x="269" y="42"/>
                  </a:lnTo>
                  <a:lnTo>
                    <a:pt x="271" y="42"/>
                  </a:lnTo>
                  <a:lnTo>
                    <a:pt x="271" y="42"/>
                  </a:lnTo>
                  <a:lnTo>
                    <a:pt x="271" y="42"/>
                  </a:lnTo>
                  <a:lnTo>
                    <a:pt x="271" y="40"/>
                  </a:lnTo>
                  <a:lnTo>
                    <a:pt x="271" y="37"/>
                  </a:lnTo>
                  <a:lnTo>
                    <a:pt x="271" y="35"/>
                  </a:lnTo>
                  <a:lnTo>
                    <a:pt x="271" y="33"/>
                  </a:lnTo>
                  <a:lnTo>
                    <a:pt x="274" y="33"/>
                  </a:lnTo>
                  <a:lnTo>
                    <a:pt x="274" y="35"/>
                  </a:lnTo>
                  <a:lnTo>
                    <a:pt x="274" y="37"/>
                  </a:lnTo>
                  <a:lnTo>
                    <a:pt x="276" y="40"/>
                  </a:lnTo>
                  <a:lnTo>
                    <a:pt x="276" y="40"/>
                  </a:lnTo>
                  <a:lnTo>
                    <a:pt x="276" y="37"/>
                  </a:lnTo>
                  <a:lnTo>
                    <a:pt x="276" y="37"/>
                  </a:lnTo>
                  <a:lnTo>
                    <a:pt x="276" y="37"/>
                  </a:lnTo>
                  <a:lnTo>
                    <a:pt x="278" y="40"/>
                  </a:lnTo>
                  <a:lnTo>
                    <a:pt x="276" y="40"/>
                  </a:lnTo>
                  <a:lnTo>
                    <a:pt x="276" y="42"/>
                  </a:lnTo>
                  <a:lnTo>
                    <a:pt x="276" y="42"/>
                  </a:lnTo>
                  <a:lnTo>
                    <a:pt x="276" y="42"/>
                  </a:lnTo>
                  <a:lnTo>
                    <a:pt x="276" y="44"/>
                  </a:lnTo>
                  <a:lnTo>
                    <a:pt x="276" y="44"/>
                  </a:lnTo>
                  <a:lnTo>
                    <a:pt x="274" y="47"/>
                  </a:lnTo>
                  <a:lnTo>
                    <a:pt x="274" y="47"/>
                  </a:lnTo>
                  <a:lnTo>
                    <a:pt x="271" y="44"/>
                  </a:lnTo>
                  <a:lnTo>
                    <a:pt x="271" y="44"/>
                  </a:lnTo>
                  <a:lnTo>
                    <a:pt x="271" y="49"/>
                  </a:lnTo>
                  <a:lnTo>
                    <a:pt x="271" y="52"/>
                  </a:lnTo>
                  <a:lnTo>
                    <a:pt x="271" y="54"/>
                  </a:lnTo>
                  <a:lnTo>
                    <a:pt x="271" y="54"/>
                  </a:lnTo>
                  <a:lnTo>
                    <a:pt x="271" y="54"/>
                  </a:lnTo>
                  <a:lnTo>
                    <a:pt x="271" y="56"/>
                  </a:lnTo>
                  <a:lnTo>
                    <a:pt x="274" y="54"/>
                  </a:lnTo>
                  <a:lnTo>
                    <a:pt x="274" y="54"/>
                  </a:lnTo>
                  <a:lnTo>
                    <a:pt x="276" y="54"/>
                  </a:lnTo>
                  <a:lnTo>
                    <a:pt x="276" y="56"/>
                  </a:lnTo>
                  <a:lnTo>
                    <a:pt x="276" y="56"/>
                  </a:lnTo>
                  <a:lnTo>
                    <a:pt x="274" y="59"/>
                  </a:lnTo>
                  <a:lnTo>
                    <a:pt x="271" y="59"/>
                  </a:lnTo>
                  <a:lnTo>
                    <a:pt x="271" y="61"/>
                  </a:lnTo>
                  <a:lnTo>
                    <a:pt x="271" y="56"/>
                  </a:lnTo>
                  <a:lnTo>
                    <a:pt x="271" y="56"/>
                  </a:lnTo>
                  <a:lnTo>
                    <a:pt x="271" y="59"/>
                  </a:lnTo>
                  <a:lnTo>
                    <a:pt x="269" y="61"/>
                  </a:lnTo>
                  <a:lnTo>
                    <a:pt x="269" y="63"/>
                  </a:lnTo>
                  <a:lnTo>
                    <a:pt x="271" y="63"/>
                  </a:lnTo>
                  <a:lnTo>
                    <a:pt x="269" y="63"/>
                  </a:lnTo>
                  <a:lnTo>
                    <a:pt x="269" y="66"/>
                  </a:lnTo>
                  <a:lnTo>
                    <a:pt x="269" y="66"/>
                  </a:lnTo>
                  <a:lnTo>
                    <a:pt x="267" y="71"/>
                  </a:lnTo>
                  <a:lnTo>
                    <a:pt x="267" y="73"/>
                  </a:lnTo>
                  <a:lnTo>
                    <a:pt x="267" y="73"/>
                  </a:lnTo>
                  <a:lnTo>
                    <a:pt x="264" y="73"/>
                  </a:lnTo>
                  <a:lnTo>
                    <a:pt x="264" y="75"/>
                  </a:lnTo>
                  <a:lnTo>
                    <a:pt x="262" y="78"/>
                  </a:lnTo>
                  <a:lnTo>
                    <a:pt x="262" y="80"/>
                  </a:lnTo>
                  <a:lnTo>
                    <a:pt x="257" y="82"/>
                  </a:lnTo>
                  <a:lnTo>
                    <a:pt x="255" y="87"/>
                  </a:lnTo>
                  <a:lnTo>
                    <a:pt x="250" y="89"/>
                  </a:lnTo>
                  <a:lnTo>
                    <a:pt x="248" y="94"/>
                  </a:lnTo>
                  <a:lnTo>
                    <a:pt x="248" y="94"/>
                  </a:lnTo>
                  <a:lnTo>
                    <a:pt x="243" y="97"/>
                  </a:lnTo>
                  <a:lnTo>
                    <a:pt x="243" y="97"/>
                  </a:lnTo>
                  <a:lnTo>
                    <a:pt x="241" y="99"/>
                  </a:lnTo>
                  <a:lnTo>
                    <a:pt x="241" y="99"/>
                  </a:lnTo>
                  <a:lnTo>
                    <a:pt x="236" y="99"/>
                  </a:lnTo>
                  <a:lnTo>
                    <a:pt x="231" y="101"/>
                  </a:lnTo>
                  <a:lnTo>
                    <a:pt x="229" y="101"/>
                  </a:lnTo>
                  <a:lnTo>
                    <a:pt x="229" y="104"/>
                  </a:lnTo>
                  <a:lnTo>
                    <a:pt x="227" y="104"/>
                  </a:lnTo>
                  <a:lnTo>
                    <a:pt x="227" y="106"/>
                  </a:lnTo>
                  <a:lnTo>
                    <a:pt x="227" y="106"/>
                  </a:lnTo>
                  <a:lnTo>
                    <a:pt x="227" y="108"/>
                  </a:lnTo>
                  <a:lnTo>
                    <a:pt x="227" y="108"/>
                  </a:lnTo>
                  <a:lnTo>
                    <a:pt x="229" y="111"/>
                  </a:lnTo>
                  <a:lnTo>
                    <a:pt x="231" y="113"/>
                  </a:lnTo>
                  <a:lnTo>
                    <a:pt x="234" y="113"/>
                  </a:lnTo>
                  <a:lnTo>
                    <a:pt x="234" y="115"/>
                  </a:lnTo>
                  <a:lnTo>
                    <a:pt x="236" y="115"/>
                  </a:lnTo>
                  <a:lnTo>
                    <a:pt x="238" y="115"/>
                  </a:lnTo>
                  <a:lnTo>
                    <a:pt x="238" y="118"/>
                  </a:lnTo>
                  <a:lnTo>
                    <a:pt x="241" y="120"/>
                  </a:lnTo>
                  <a:lnTo>
                    <a:pt x="238" y="123"/>
                  </a:lnTo>
                  <a:lnTo>
                    <a:pt x="238" y="125"/>
                  </a:lnTo>
                  <a:lnTo>
                    <a:pt x="234" y="127"/>
                  </a:lnTo>
                  <a:lnTo>
                    <a:pt x="231" y="132"/>
                  </a:lnTo>
                  <a:lnTo>
                    <a:pt x="227" y="134"/>
                  </a:lnTo>
                  <a:lnTo>
                    <a:pt x="219" y="139"/>
                  </a:lnTo>
                  <a:lnTo>
                    <a:pt x="215" y="144"/>
                  </a:lnTo>
                  <a:lnTo>
                    <a:pt x="215" y="144"/>
                  </a:lnTo>
                  <a:lnTo>
                    <a:pt x="212" y="144"/>
                  </a:lnTo>
                  <a:lnTo>
                    <a:pt x="212" y="146"/>
                  </a:lnTo>
                  <a:lnTo>
                    <a:pt x="212" y="146"/>
                  </a:lnTo>
                  <a:lnTo>
                    <a:pt x="215" y="146"/>
                  </a:lnTo>
                  <a:lnTo>
                    <a:pt x="217" y="144"/>
                  </a:lnTo>
                  <a:lnTo>
                    <a:pt x="217" y="144"/>
                  </a:lnTo>
                  <a:lnTo>
                    <a:pt x="217" y="144"/>
                  </a:lnTo>
                  <a:lnTo>
                    <a:pt x="219" y="144"/>
                  </a:lnTo>
                  <a:lnTo>
                    <a:pt x="219" y="144"/>
                  </a:lnTo>
                  <a:lnTo>
                    <a:pt x="217" y="144"/>
                  </a:lnTo>
                  <a:lnTo>
                    <a:pt x="215" y="146"/>
                  </a:lnTo>
                  <a:lnTo>
                    <a:pt x="215" y="149"/>
                  </a:lnTo>
                  <a:lnTo>
                    <a:pt x="215" y="149"/>
                  </a:lnTo>
                  <a:lnTo>
                    <a:pt x="219" y="146"/>
                  </a:lnTo>
                  <a:lnTo>
                    <a:pt x="219" y="146"/>
                  </a:lnTo>
                  <a:lnTo>
                    <a:pt x="219" y="149"/>
                  </a:lnTo>
                  <a:lnTo>
                    <a:pt x="219" y="149"/>
                  </a:lnTo>
                  <a:lnTo>
                    <a:pt x="219" y="151"/>
                  </a:lnTo>
                  <a:lnTo>
                    <a:pt x="219" y="151"/>
                  </a:lnTo>
                  <a:lnTo>
                    <a:pt x="222" y="151"/>
                  </a:lnTo>
                  <a:lnTo>
                    <a:pt x="224" y="151"/>
                  </a:lnTo>
                  <a:lnTo>
                    <a:pt x="229" y="146"/>
                  </a:lnTo>
                  <a:lnTo>
                    <a:pt x="234" y="146"/>
                  </a:lnTo>
                  <a:lnTo>
                    <a:pt x="238" y="144"/>
                  </a:lnTo>
                  <a:lnTo>
                    <a:pt x="241" y="141"/>
                  </a:lnTo>
                  <a:lnTo>
                    <a:pt x="243" y="139"/>
                  </a:lnTo>
                  <a:lnTo>
                    <a:pt x="248" y="137"/>
                  </a:lnTo>
                  <a:lnTo>
                    <a:pt x="250" y="134"/>
                  </a:lnTo>
                  <a:lnTo>
                    <a:pt x="252" y="132"/>
                  </a:lnTo>
                  <a:lnTo>
                    <a:pt x="255" y="130"/>
                  </a:lnTo>
                  <a:lnTo>
                    <a:pt x="259" y="127"/>
                  </a:lnTo>
                  <a:lnTo>
                    <a:pt x="264" y="125"/>
                  </a:lnTo>
                  <a:lnTo>
                    <a:pt x="267" y="123"/>
                  </a:lnTo>
                  <a:lnTo>
                    <a:pt x="267" y="120"/>
                  </a:lnTo>
                  <a:lnTo>
                    <a:pt x="274" y="118"/>
                  </a:lnTo>
                  <a:lnTo>
                    <a:pt x="278" y="113"/>
                  </a:lnTo>
                  <a:lnTo>
                    <a:pt x="278" y="111"/>
                  </a:lnTo>
                  <a:lnTo>
                    <a:pt x="278" y="111"/>
                  </a:lnTo>
                  <a:lnTo>
                    <a:pt x="278" y="108"/>
                  </a:lnTo>
                  <a:lnTo>
                    <a:pt x="281" y="106"/>
                  </a:lnTo>
                  <a:lnTo>
                    <a:pt x="283" y="104"/>
                  </a:lnTo>
                  <a:lnTo>
                    <a:pt x="285" y="104"/>
                  </a:lnTo>
                  <a:lnTo>
                    <a:pt x="285" y="101"/>
                  </a:lnTo>
                  <a:lnTo>
                    <a:pt x="290" y="101"/>
                  </a:lnTo>
                  <a:lnTo>
                    <a:pt x="292" y="101"/>
                  </a:lnTo>
                  <a:lnTo>
                    <a:pt x="295" y="99"/>
                  </a:lnTo>
                  <a:lnTo>
                    <a:pt x="297" y="101"/>
                  </a:lnTo>
                  <a:lnTo>
                    <a:pt x="300" y="101"/>
                  </a:lnTo>
                  <a:lnTo>
                    <a:pt x="300" y="101"/>
                  </a:lnTo>
                  <a:lnTo>
                    <a:pt x="300" y="104"/>
                  </a:lnTo>
                  <a:lnTo>
                    <a:pt x="300" y="104"/>
                  </a:lnTo>
                  <a:lnTo>
                    <a:pt x="302" y="101"/>
                  </a:lnTo>
                  <a:lnTo>
                    <a:pt x="302" y="101"/>
                  </a:lnTo>
                  <a:lnTo>
                    <a:pt x="302" y="99"/>
                  </a:lnTo>
                  <a:lnTo>
                    <a:pt x="302" y="99"/>
                  </a:lnTo>
                  <a:lnTo>
                    <a:pt x="304" y="97"/>
                  </a:lnTo>
                  <a:lnTo>
                    <a:pt x="307" y="92"/>
                  </a:lnTo>
                  <a:lnTo>
                    <a:pt x="309" y="92"/>
                  </a:lnTo>
                  <a:lnTo>
                    <a:pt x="311" y="92"/>
                  </a:lnTo>
                  <a:lnTo>
                    <a:pt x="314" y="89"/>
                  </a:lnTo>
                  <a:lnTo>
                    <a:pt x="316" y="87"/>
                  </a:lnTo>
                  <a:lnTo>
                    <a:pt x="321" y="82"/>
                  </a:lnTo>
                  <a:lnTo>
                    <a:pt x="325" y="75"/>
                  </a:lnTo>
                  <a:lnTo>
                    <a:pt x="328" y="73"/>
                  </a:lnTo>
                  <a:lnTo>
                    <a:pt x="330" y="73"/>
                  </a:lnTo>
                  <a:lnTo>
                    <a:pt x="330" y="71"/>
                  </a:lnTo>
                  <a:lnTo>
                    <a:pt x="330" y="71"/>
                  </a:lnTo>
                  <a:lnTo>
                    <a:pt x="328" y="6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8" name="Freeform 274"/>
            <p:cNvSpPr>
              <a:spLocks noEditPoints="1"/>
            </p:cNvSpPr>
            <p:nvPr userDrawn="1"/>
          </p:nvSpPr>
          <p:spPr bwMode="auto">
            <a:xfrm>
              <a:off x="3735" y="1682"/>
              <a:ext cx="62" cy="59"/>
            </a:xfrm>
            <a:custGeom>
              <a:avLst/>
              <a:gdLst>
                <a:gd name="T0" fmla="*/ 33 w 62"/>
                <a:gd name="T1" fmla="*/ 5 h 59"/>
                <a:gd name="T2" fmla="*/ 40 w 62"/>
                <a:gd name="T3" fmla="*/ 5 h 59"/>
                <a:gd name="T4" fmla="*/ 38 w 62"/>
                <a:gd name="T5" fmla="*/ 5 h 59"/>
                <a:gd name="T6" fmla="*/ 50 w 62"/>
                <a:gd name="T7" fmla="*/ 3 h 59"/>
                <a:gd name="T8" fmla="*/ 48 w 62"/>
                <a:gd name="T9" fmla="*/ 5 h 59"/>
                <a:gd name="T10" fmla="*/ 55 w 62"/>
                <a:gd name="T11" fmla="*/ 0 h 59"/>
                <a:gd name="T12" fmla="*/ 10 w 62"/>
                <a:gd name="T13" fmla="*/ 45 h 59"/>
                <a:gd name="T14" fmla="*/ 0 w 62"/>
                <a:gd name="T15" fmla="*/ 45 h 59"/>
                <a:gd name="T16" fmla="*/ 0 w 62"/>
                <a:gd name="T17" fmla="*/ 50 h 59"/>
                <a:gd name="T18" fmla="*/ 5 w 62"/>
                <a:gd name="T19" fmla="*/ 47 h 59"/>
                <a:gd name="T20" fmla="*/ 10 w 62"/>
                <a:gd name="T21" fmla="*/ 50 h 59"/>
                <a:gd name="T22" fmla="*/ 15 w 62"/>
                <a:gd name="T23" fmla="*/ 45 h 59"/>
                <a:gd name="T24" fmla="*/ 29 w 62"/>
                <a:gd name="T25" fmla="*/ 7 h 59"/>
                <a:gd name="T26" fmla="*/ 59 w 62"/>
                <a:gd name="T27" fmla="*/ 7 h 59"/>
                <a:gd name="T28" fmla="*/ 52 w 62"/>
                <a:gd name="T29" fmla="*/ 5 h 59"/>
                <a:gd name="T30" fmla="*/ 36 w 62"/>
                <a:gd name="T31" fmla="*/ 7 h 59"/>
                <a:gd name="T32" fmla="*/ 26 w 62"/>
                <a:gd name="T33" fmla="*/ 14 h 59"/>
                <a:gd name="T34" fmla="*/ 22 w 62"/>
                <a:gd name="T35" fmla="*/ 17 h 59"/>
                <a:gd name="T36" fmla="*/ 15 w 62"/>
                <a:gd name="T37" fmla="*/ 33 h 59"/>
                <a:gd name="T38" fmla="*/ 10 w 62"/>
                <a:gd name="T39" fmla="*/ 36 h 59"/>
                <a:gd name="T40" fmla="*/ 15 w 62"/>
                <a:gd name="T41" fmla="*/ 40 h 59"/>
                <a:gd name="T42" fmla="*/ 15 w 62"/>
                <a:gd name="T43" fmla="*/ 43 h 59"/>
                <a:gd name="T44" fmla="*/ 10 w 62"/>
                <a:gd name="T45" fmla="*/ 43 h 59"/>
                <a:gd name="T46" fmla="*/ 3 w 62"/>
                <a:gd name="T47" fmla="*/ 43 h 59"/>
                <a:gd name="T48" fmla="*/ 7 w 62"/>
                <a:gd name="T49" fmla="*/ 45 h 59"/>
                <a:gd name="T50" fmla="*/ 15 w 62"/>
                <a:gd name="T51" fmla="*/ 47 h 59"/>
                <a:gd name="T52" fmla="*/ 17 w 62"/>
                <a:gd name="T53" fmla="*/ 45 h 59"/>
                <a:gd name="T54" fmla="*/ 22 w 62"/>
                <a:gd name="T55" fmla="*/ 45 h 59"/>
                <a:gd name="T56" fmla="*/ 24 w 62"/>
                <a:gd name="T57" fmla="*/ 45 h 59"/>
                <a:gd name="T58" fmla="*/ 26 w 62"/>
                <a:gd name="T59" fmla="*/ 45 h 59"/>
                <a:gd name="T60" fmla="*/ 29 w 62"/>
                <a:gd name="T61" fmla="*/ 47 h 59"/>
                <a:gd name="T62" fmla="*/ 33 w 62"/>
                <a:gd name="T63" fmla="*/ 47 h 59"/>
                <a:gd name="T64" fmla="*/ 38 w 62"/>
                <a:gd name="T65" fmla="*/ 50 h 59"/>
                <a:gd name="T66" fmla="*/ 38 w 62"/>
                <a:gd name="T67" fmla="*/ 55 h 59"/>
                <a:gd name="T68" fmla="*/ 36 w 62"/>
                <a:gd name="T69" fmla="*/ 57 h 59"/>
                <a:gd name="T70" fmla="*/ 38 w 62"/>
                <a:gd name="T71" fmla="*/ 59 h 59"/>
                <a:gd name="T72" fmla="*/ 43 w 62"/>
                <a:gd name="T73" fmla="*/ 57 h 59"/>
                <a:gd name="T74" fmla="*/ 40 w 62"/>
                <a:gd name="T75" fmla="*/ 55 h 59"/>
                <a:gd name="T76" fmla="*/ 40 w 62"/>
                <a:gd name="T77" fmla="*/ 52 h 59"/>
                <a:gd name="T78" fmla="*/ 43 w 62"/>
                <a:gd name="T79" fmla="*/ 50 h 59"/>
                <a:gd name="T80" fmla="*/ 45 w 62"/>
                <a:gd name="T81" fmla="*/ 45 h 59"/>
                <a:gd name="T82" fmla="*/ 43 w 62"/>
                <a:gd name="T83" fmla="*/ 43 h 59"/>
                <a:gd name="T84" fmla="*/ 43 w 62"/>
                <a:gd name="T85" fmla="*/ 38 h 59"/>
                <a:gd name="T86" fmla="*/ 45 w 62"/>
                <a:gd name="T87" fmla="*/ 36 h 59"/>
                <a:gd name="T88" fmla="*/ 50 w 62"/>
                <a:gd name="T89" fmla="*/ 36 h 59"/>
                <a:gd name="T90" fmla="*/ 55 w 62"/>
                <a:gd name="T91" fmla="*/ 33 h 59"/>
                <a:gd name="T92" fmla="*/ 55 w 62"/>
                <a:gd name="T93" fmla="*/ 31 h 59"/>
                <a:gd name="T94" fmla="*/ 59 w 62"/>
                <a:gd name="T95" fmla="*/ 29 h 59"/>
                <a:gd name="T96" fmla="*/ 59 w 62"/>
                <a:gd name="T97" fmla="*/ 26 h 59"/>
                <a:gd name="T98" fmla="*/ 55 w 62"/>
                <a:gd name="T99" fmla="*/ 24 h 59"/>
                <a:gd name="T100" fmla="*/ 55 w 62"/>
                <a:gd name="T101" fmla="*/ 21 h 59"/>
                <a:gd name="T102" fmla="*/ 59 w 62"/>
                <a:gd name="T103" fmla="*/ 21 h 59"/>
                <a:gd name="T104" fmla="*/ 62 w 62"/>
                <a:gd name="T105" fmla="*/ 14 h 59"/>
                <a:gd name="T106" fmla="*/ 59 w 62"/>
                <a:gd name="T107" fmla="*/ 7 h 59"/>
                <a:gd name="T108" fmla="*/ 12 w 62"/>
                <a:gd name="T109" fmla="*/ 40 h 59"/>
                <a:gd name="T110" fmla="*/ 5 w 62"/>
                <a:gd name="T111" fmla="*/ 38 h 59"/>
                <a:gd name="T112" fmla="*/ 24 w 62"/>
                <a:gd name="T113" fmla="*/ 14 h 59"/>
                <a:gd name="T114" fmla="*/ 24 w 62"/>
                <a:gd name="T115" fmla="*/ 1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59">
                  <a:moveTo>
                    <a:pt x="33" y="5"/>
                  </a:moveTo>
                  <a:lnTo>
                    <a:pt x="38" y="5"/>
                  </a:lnTo>
                  <a:lnTo>
                    <a:pt x="36" y="5"/>
                  </a:lnTo>
                  <a:lnTo>
                    <a:pt x="33" y="5"/>
                  </a:lnTo>
                  <a:lnTo>
                    <a:pt x="31" y="5"/>
                  </a:lnTo>
                  <a:lnTo>
                    <a:pt x="31" y="5"/>
                  </a:lnTo>
                  <a:lnTo>
                    <a:pt x="33" y="5"/>
                  </a:lnTo>
                  <a:close/>
                  <a:moveTo>
                    <a:pt x="40" y="5"/>
                  </a:moveTo>
                  <a:lnTo>
                    <a:pt x="43" y="5"/>
                  </a:lnTo>
                  <a:lnTo>
                    <a:pt x="43" y="5"/>
                  </a:lnTo>
                  <a:lnTo>
                    <a:pt x="43" y="5"/>
                  </a:lnTo>
                  <a:lnTo>
                    <a:pt x="38" y="5"/>
                  </a:lnTo>
                  <a:lnTo>
                    <a:pt x="38" y="5"/>
                  </a:lnTo>
                  <a:lnTo>
                    <a:pt x="38" y="5"/>
                  </a:lnTo>
                  <a:lnTo>
                    <a:pt x="40" y="5"/>
                  </a:lnTo>
                  <a:close/>
                  <a:moveTo>
                    <a:pt x="50" y="3"/>
                  </a:moveTo>
                  <a:lnTo>
                    <a:pt x="48" y="3"/>
                  </a:lnTo>
                  <a:lnTo>
                    <a:pt x="45" y="3"/>
                  </a:lnTo>
                  <a:lnTo>
                    <a:pt x="45" y="3"/>
                  </a:lnTo>
                  <a:lnTo>
                    <a:pt x="48" y="5"/>
                  </a:lnTo>
                  <a:lnTo>
                    <a:pt x="50" y="3"/>
                  </a:lnTo>
                  <a:close/>
                  <a:moveTo>
                    <a:pt x="57" y="0"/>
                  </a:moveTo>
                  <a:lnTo>
                    <a:pt x="55" y="0"/>
                  </a:lnTo>
                  <a:lnTo>
                    <a:pt x="55" y="0"/>
                  </a:lnTo>
                  <a:lnTo>
                    <a:pt x="55" y="3"/>
                  </a:lnTo>
                  <a:lnTo>
                    <a:pt x="55" y="3"/>
                  </a:lnTo>
                  <a:lnTo>
                    <a:pt x="57" y="0"/>
                  </a:lnTo>
                  <a:close/>
                  <a:moveTo>
                    <a:pt x="10" y="45"/>
                  </a:moveTo>
                  <a:lnTo>
                    <a:pt x="7" y="47"/>
                  </a:lnTo>
                  <a:lnTo>
                    <a:pt x="5" y="47"/>
                  </a:lnTo>
                  <a:lnTo>
                    <a:pt x="3" y="45"/>
                  </a:lnTo>
                  <a:lnTo>
                    <a:pt x="0" y="45"/>
                  </a:lnTo>
                  <a:lnTo>
                    <a:pt x="0" y="45"/>
                  </a:lnTo>
                  <a:lnTo>
                    <a:pt x="0" y="47"/>
                  </a:lnTo>
                  <a:lnTo>
                    <a:pt x="0" y="47"/>
                  </a:lnTo>
                  <a:lnTo>
                    <a:pt x="0" y="50"/>
                  </a:lnTo>
                  <a:lnTo>
                    <a:pt x="3" y="50"/>
                  </a:lnTo>
                  <a:lnTo>
                    <a:pt x="3" y="47"/>
                  </a:lnTo>
                  <a:lnTo>
                    <a:pt x="3" y="47"/>
                  </a:lnTo>
                  <a:lnTo>
                    <a:pt x="5" y="47"/>
                  </a:lnTo>
                  <a:lnTo>
                    <a:pt x="7" y="50"/>
                  </a:lnTo>
                  <a:lnTo>
                    <a:pt x="7" y="50"/>
                  </a:lnTo>
                  <a:lnTo>
                    <a:pt x="7" y="50"/>
                  </a:lnTo>
                  <a:lnTo>
                    <a:pt x="10" y="50"/>
                  </a:lnTo>
                  <a:lnTo>
                    <a:pt x="10" y="50"/>
                  </a:lnTo>
                  <a:lnTo>
                    <a:pt x="12" y="47"/>
                  </a:lnTo>
                  <a:lnTo>
                    <a:pt x="15" y="47"/>
                  </a:lnTo>
                  <a:lnTo>
                    <a:pt x="15" y="45"/>
                  </a:lnTo>
                  <a:lnTo>
                    <a:pt x="12" y="47"/>
                  </a:lnTo>
                  <a:lnTo>
                    <a:pt x="10" y="45"/>
                  </a:lnTo>
                  <a:close/>
                  <a:moveTo>
                    <a:pt x="29" y="7"/>
                  </a:moveTo>
                  <a:lnTo>
                    <a:pt x="29" y="7"/>
                  </a:lnTo>
                  <a:lnTo>
                    <a:pt x="26" y="7"/>
                  </a:lnTo>
                  <a:lnTo>
                    <a:pt x="26" y="10"/>
                  </a:lnTo>
                  <a:lnTo>
                    <a:pt x="29" y="7"/>
                  </a:lnTo>
                  <a:close/>
                  <a:moveTo>
                    <a:pt x="59" y="7"/>
                  </a:moveTo>
                  <a:lnTo>
                    <a:pt x="59" y="7"/>
                  </a:lnTo>
                  <a:lnTo>
                    <a:pt x="57" y="5"/>
                  </a:lnTo>
                  <a:lnTo>
                    <a:pt x="57" y="5"/>
                  </a:lnTo>
                  <a:lnTo>
                    <a:pt x="52" y="5"/>
                  </a:lnTo>
                  <a:lnTo>
                    <a:pt x="50" y="5"/>
                  </a:lnTo>
                  <a:lnTo>
                    <a:pt x="45" y="5"/>
                  </a:lnTo>
                  <a:lnTo>
                    <a:pt x="40" y="5"/>
                  </a:lnTo>
                  <a:lnTo>
                    <a:pt x="36" y="7"/>
                  </a:lnTo>
                  <a:lnTo>
                    <a:pt x="36" y="10"/>
                  </a:lnTo>
                  <a:lnTo>
                    <a:pt x="33" y="12"/>
                  </a:lnTo>
                  <a:lnTo>
                    <a:pt x="29" y="14"/>
                  </a:lnTo>
                  <a:lnTo>
                    <a:pt x="26" y="14"/>
                  </a:lnTo>
                  <a:lnTo>
                    <a:pt x="24" y="14"/>
                  </a:lnTo>
                  <a:lnTo>
                    <a:pt x="24" y="14"/>
                  </a:lnTo>
                  <a:lnTo>
                    <a:pt x="24" y="17"/>
                  </a:lnTo>
                  <a:lnTo>
                    <a:pt x="22" y="17"/>
                  </a:lnTo>
                  <a:lnTo>
                    <a:pt x="19" y="24"/>
                  </a:lnTo>
                  <a:lnTo>
                    <a:pt x="19" y="26"/>
                  </a:lnTo>
                  <a:lnTo>
                    <a:pt x="17" y="29"/>
                  </a:lnTo>
                  <a:lnTo>
                    <a:pt x="15" y="33"/>
                  </a:lnTo>
                  <a:lnTo>
                    <a:pt x="12" y="33"/>
                  </a:lnTo>
                  <a:lnTo>
                    <a:pt x="12" y="33"/>
                  </a:lnTo>
                  <a:lnTo>
                    <a:pt x="12" y="36"/>
                  </a:lnTo>
                  <a:lnTo>
                    <a:pt x="10" y="36"/>
                  </a:lnTo>
                  <a:lnTo>
                    <a:pt x="10" y="38"/>
                  </a:lnTo>
                  <a:lnTo>
                    <a:pt x="12" y="40"/>
                  </a:lnTo>
                  <a:lnTo>
                    <a:pt x="12" y="40"/>
                  </a:lnTo>
                  <a:lnTo>
                    <a:pt x="15" y="40"/>
                  </a:lnTo>
                  <a:lnTo>
                    <a:pt x="10" y="43"/>
                  </a:lnTo>
                  <a:lnTo>
                    <a:pt x="12" y="43"/>
                  </a:lnTo>
                  <a:lnTo>
                    <a:pt x="15" y="43"/>
                  </a:lnTo>
                  <a:lnTo>
                    <a:pt x="15" y="43"/>
                  </a:lnTo>
                  <a:lnTo>
                    <a:pt x="15" y="45"/>
                  </a:lnTo>
                  <a:lnTo>
                    <a:pt x="15" y="45"/>
                  </a:lnTo>
                  <a:lnTo>
                    <a:pt x="12" y="45"/>
                  </a:lnTo>
                  <a:lnTo>
                    <a:pt x="10" y="43"/>
                  </a:lnTo>
                  <a:lnTo>
                    <a:pt x="7" y="43"/>
                  </a:lnTo>
                  <a:lnTo>
                    <a:pt x="3" y="43"/>
                  </a:lnTo>
                  <a:lnTo>
                    <a:pt x="3" y="43"/>
                  </a:lnTo>
                  <a:lnTo>
                    <a:pt x="3" y="43"/>
                  </a:lnTo>
                  <a:lnTo>
                    <a:pt x="3" y="45"/>
                  </a:lnTo>
                  <a:lnTo>
                    <a:pt x="3" y="45"/>
                  </a:lnTo>
                  <a:lnTo>
                    <a:pt x="5" y="45"/>
                  </a:lnTo>
                  <a:lnTo>
                    <a:pt x="7" y="45"/>
                  </a:lnTo>
                  <a:lnTo>
                    <a:pt x="10" y="45"/>
                  </a:lnTo>
                  <a:lnTo>
                    <a:pt x="12" y="45"/>
                  </a:lnTo>
                  <a:lnTo>
                    <a:pt x="15" y="45"/>
                  </a:lnTo>
                  <a:lnTo>
                    <a:pt x="15" y="47"/>
                  </a:lnTo>
                  <a:lnTo>
                    <a:pt x="17" y="47"/>
                  </a:lnTo>
                  <a:lnTo>
                    <a:pt x="17" y="47"/>
                  </a:lnTo>
                  <a:lnTo>
                    <a:pt x="17" y="45"/>
                  </a:lnTo>
                  <a:lnTo>
                    <a:pt x="17" y="45"/>
                  </a:lnTo>
                  <a:lnTo>
                    <a:pt x="19" y="45"/>
                  </a:lnTo>
                  <a:lnTo>
                    <a:pt x="19" y="45"/>
                  </a:lnTo>
                  <a:lnTo>
                    <a:pt x="19" y="45"/>
                  </a:lnTo>
                  <a:lnTo>
                    <a:pt x="22" y="45"/>
                  </a:lnTo>
                  <a:lnTo>
                    <a:pt x="22" y="43"/>
                  </a:lnTo>
                  <a:lnTo>
                    <a:pt x="24" y="45"/>
                  </a:lnTo>
                  <a:lnTo>
                    <a:pt x="24" y="45"/>
                  </a:lnTo>
                  <a:lnTo>
                    <a:pt x="24" y="45"/>
                  </a:lnTo>
                  <a:lnTo>
                    <a:pt x="24" y="45"/>
                  </a:lnTo>
                  <a:lnTo>
                    <a:pt x="24" y="45"/>
                  </a:lnTo>
                  <a:lnTo>
                    <a:pt x="26" y="45"/>
                  </a:lnTo>
                  <a:lnTo>
                    <a:pt x="26" y="45"/>
                  </a:lnTo>
                  <a:lnTo>
                    <a:pt x="26" y="45"/>
                  </a:lnTo>
                  <a:lnTo>
                    <a:pt x="26" y="45"/>
                  </a:lnTo>
                  <a:lnTo>
                    <a:pt x="29" y="45"/>
                  </a:lnTo>
                  <a:lnTo>
                    <a:pt x="29" y="47"/>
                  </a:lnTo>
                  <a:lnTo>
                    <a:pt x="29" y="47"/>
                  </a:lnTo>
                  <a:lnTo>
                    <a:pt x="31" y="47"/>
                  </a:lnTo>
                  <a:lnTo>
                    <a:pt x="33" y="47"/>
                  </a:lnTo>
                  <a:lnTo>
                    <a:pt x="33" y="47"/>
                  </a:lnTo>
                  <a:lnTo>
                    <a:pt x="33" y="47"/>
                  </a:lnTo>
                  <a:lnTo>
                    <a:pt x="36" y="50"/>
                  </a:lnTo>
                  <a:lnTo>
                    <a:pt x="36" y="50"/>
                  </a:lnTo>
                  <a:lnTo>
                    <a:pt x="38" y="50"/>
                  </a:lnTo>
                  <a:lnTo>
                    <a:pt x="38" y="50"/>
                  </a:lnTo>
                  <a:lnTo>
                    <a:pt x="40" y="52"/>
                  </a:lnTo>
                  <a:lnTo>
                    <a:pt x="40" y="52"/>
                  </a:lnTo>
                  <a:lnTo>
                    <a:pt x="38" y="55"/>
                  </a:lnTo>
                  <a:lnTo>
                    <a:pt x="38" y="55"/>
                  </a:lnTo>
                  <a:lnTo>
                    <a:pt x="38" y="55"/>
                  </a:lnTo>
                  <a:lnTo>
                    <a:pt x="38" y="55"/>
                  </a:lnTo>
                  <a:lnTo>
                    <a:pt x="36" y="57"/>
                  </a:lnTo>
                  <a:lnTo>
                    <a:pt x="36" y="57"/>
                  </a:lnTo>
                  <a:lnTo>
                    <a:pt x="36" y="57"/>
                  </a:lnTo>
                  <a:lnTo>
                    <a:pt x="38" y="59"/>
                  </a:lnTo>
                  <a:lnTo>
                    <a:pt x="38" y="59"/>
                  </a:lnTo>
                  <a:lnTo>
                    <a:pt x="38" y="59"/>
                  </a:lnTo>
                  <a:lnTo>
                    <a:pt x="38" y="59"/>
                  </a:lnTo>
                  <a:lnTo>
                    <a:pt x="43" y="59"/>
                  </a:lnTo>
                  <a:lnTo>
                    <a:pt x="43" y="57"/>
                  </a:lnTo>
                  <a:lnTo>
                    <a:pt x="43" y="55"/>
                  </a:lnTo>
                  <a:lnTo>
                    <a:pt x="40" y="55"/>
                  </a:lnTo>
                  <a:lnTo>
                    <a:pt x="40" y="55"/>
                  </a:lnTo>
                  <a:lnTo>
                    <a:pt x="40" y="55"/>
                  </a:lnTo>
                  <a:lnTo>
                    <a:pt x="40" y="52"/>
                  </a:lnTo>
                  <a:lnTo>
                    <a:pt x="40" y="52"/>
                  </a:lnTo>
                  <a:lnTo>
                    <a:pt x="40" y="52"/>
                  </a:lnTo>
                  <a:lnTo>
                    <a:pt x="40" y="52"/>
                  </a:lnTo>
                  <a:lnTo>
                    <a:pt x="45" y="50"/>
                  </a:lnTo>
                  <a:lnTo>
                    <a:pt x="45" y="50"/>
                  </a:lnTo>
                  <a:lnTo>
                    <a:pt x="45" y="50"/>
                  </a:lnTo>
                  <a:lnTo>
                    <a:pt x="43" y="50"/>
                  </a:lnTo>
                  <a:lnTo>
                    <a:pt x="43" y="50"/>
                  </a:lnTo>
                  <a:lnTo>
                    <a:pt x="43" y="50"/>
                  </a:lnTo>
                  <a:lnTo>
                    <a:pt x="45" y="47"/>
                  </a:lnTo>
                  <a:lnTo>
                    <a:pt x="45" y="45"/>
                  </a:lnTo>
                  <a:lnTo>
                    <a:pt x="45" y="45"/>
                  </a:lnTo>
                  <a:lnTo>
                    <a:pt x="45" y="43"/>
                  </a:lnTo>
                  <a:lnTo>
                    <a:pt x="45" y="43"/>
                  </a:lnTo>
                  <a:lnTo>
                    <a:pt x="43" y="43"/>
                  </a:lnTo>
                  <a:lnTo>
                    <a:pt x="43" y="40"/>
                  </a:lnTo>
                  <a:lnTo>
                    <a:pt x="43" y="40"/>
                  </a:lnTo>
                  <a:lnTo>
                    <a:pt x="43" y="38"/>
                  </a:lnTo>
                  <a:lnTo>
                    <a:pt x="43" y="38"/>
                  </a:lnTo>
                  <a:lnTo>
                    <a:pt x="43" y="38"/>
                  </a:lnTo>
                  <a:lnTo>
                    <a:pt x="45" y="36"/>
                  </a:lnTo>
                  <a:lnTo>
                    <a:pt x="45" y="36"/>
                  </a:lnTo>
                  <a:lnTo>
                    <a:pt x="45" y="36"/>
                  </a:lnTo>
                  <a:lnTo>
                    <a:pt x="48" y="36"/>
                  </a:lnTo>
                  <a:lnTo>
                    <a:pt x="48" y="38"/>
                  </a:lnTo>
                  <a:lnTo>
                    <a:pt x="48" y="38"/>
                  </a:lnTo>
                  <a:lnTo>
                    <a:pt x="50" y="36"/>
                  </a:lnTo>
                  <a:lnTo>
                    <a:pt x="50" y="36"/>
                  </a:lnTo>
                  <a:lnTo>
                    <a:pt x="55" y="36"/>
                  </a:lnTo>
                  <a:lnTo>
                    <a:pt x="55" y="36"/>
                  </a:lnTo>
                  <a:lnTo>
                    <a:pt x="55" y="33"/>
                  </a:lnTo>
                  <a:lnTo>
                    <a:pt x="55" y="33"/>
                  </a:lnTo>
                  <a:lnTo>
                    <a:pt x="55" y="33"/>
                  </a:lnTo>
                  <a:lnTo>
                    <a:pt x="55" y="33"/>
                  </a:lnTo>
                  <a:lnTo>
                    <a:pt x="55" y="31"/>
                  </a:lnTo>
                  <a:lnTo>
                    <a:pt x="55" y="31"/>
                  </a:lnTo>
                  <a:lnTo>
                    <a:pt x="55" y="31"/>
                  </a:lnTo>
                  <a:lnTo>
                    <a:pt x="57" y="31"/>
                  </a:lnTo>
                  <a:lnTo>
                    <a:pt x="59" y="29"/>
                  </a:lnTo>
                  <a:lnTo>
                    <a:pt x="59" y="29"/>
                  </a:lnTo>
                  <a:lnTo>
                    <a:pt x="59" y="26"/>
                  </a:lnTo>
                  <a:lnTo>
                    <a:pt x="59" y="26"/>
                  </a:lnTo>
                  <a:lnTo>
                    <a:pt x="59" y="26"/>
                  </a:lnTo>
                  <a:lnTo>
                    <a:pt x="59" y="24"/>
                  </a:lnTo>
                  <a:lnTo>
                    <a:pt x="57" y="24"/>
                  </a:lnTo>
                  <a:lnTo>
                    <a:pt x="57" y="24"/>
                  </a:lnTo>
                  <a:lnTo>
                    <a:pt x="55" y="24"/>
                  </a:lnTo>
                  <a:lnTo>
                    <a:pt x="55" y="24"/>
                  </a:lnTo>
                  <a:lnTo>
                    <a:pt x="55" y="24"/>
                  </a:lnTo>
                  <a:lnTo>
                    <a:pt x="55" y="21"/>
                  </a:lnTo>
                  <a:lnTo>
                    <a:pt x="55" y="21"/>
                  </a:lnTo>
                  <a:lnTo>
                    <a:pt x="55" y="21"/>
                  </a:lnTo>
                  <a:lnTo>
                    <a:pt x="55" y="21"/>
                  </a:lnTo>
                  <a:lnTo>
                    <a:pt x="55" y="21"/>
                  </a:lnTo>
                  <a:lnTo>
                    <a:pt x="59" y="21"/>
                  </a:lnTo>
                  <a:lnTo>
                    <a:pt x="59" y="21"/>
                  </a:lnTo>
                  <a:lnTo>
                    <a:pt x="59" y="19"/>
                  </a:lnTo>
                  <a:lnTo>
                    <a:pt x="62" y="17"/>
                  </a:lnTo>
                  <a:lnTo>
                    <a:pt x="62" y="14"/>
                  </a:lnTo>
                  <a:lnTo>
                    <a:pt x="62" y="14"/>
                  </a:lnTo>
                  <a:lnTo>
                    <a:pt x="62" y="10"/>
                  </a:lnTo>
                  <a:lnTo>
                    <a:pt x="62" y="7"/>
                  </a:lnTo>
                  <a:lnTo>
                    <a:pt x="59" y="7"/>
                  </a:lnTo>
                  <a:close/>
                  <a:moveTo>
                    <a:pt x="7" y="40"/>
                  </a:moveTo>
                  <a:lnTo>
                    <a:pt x="10" y="40"/>
                  </a:lnTo>
                  <a:lnTo>
                    <a:pt x="12" y="40"/>
                  </a:lnTo>
                  <a:lnTo>
                    <a:pt x="12" y="40"/>
                  </a:lnTo>
                  <a:lnTo>
                    <a:pt x="12" y="40"/>
                  </a:lnTo>
                  <a:lnTo>
                    <a:pt x="10" y="38"/>
                  </a:lnTo>
                  <a:lnTo>
                    <a:pt x="7" y="38"/>
                  </a:lnTo>
                  <a:lnTo>
                    <a:pt x="5" y="38"/>
                  </a:lnTo>
                  <a:lnTo>
                    <a:pt x="5" y="40"/>
                  </a:lnTo>
                  <a:lnTo>
                    <a:pt x="7" y="40"/>
                  </a:lnTo>
                  <a:lnTo>
                    <a:pt x="7" y="40"/>
                  </a:lnTo>
                  <a:close/>
                  <a:moveTo>
                    <a:pt x="24" y="14"/>
                  </a:moveTo>
                  <a:lnTo>
                    <a:pt x="26" y="12"/>
                  </a:lnTo>
                  <a:lnTo>
                    <a:pt x="26" y="10"/>
                  </a:lnTo>
                  <a:lnTo>
                    <a:pt x="24" y="12"/>
                  </a:lnTo>
                  <a:lnTo>
                    <a:pt x="24" y="12"/>
                  </a:lnTo>
                  <a:lnTo>
                    <a:pt x="24" y="12"/>
                  </a:lnTo>
                  <a:lnTo>
                    <a:pt x="24"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9" name="Freeform 275"/>
            <p:cNvSpPr>
              <a:spLocks/>
            </p:cNvSpPr>
            <p:nvPr userDrawn="1"/>
          </p:nvSpPr>
          <p:spPr bwMode="auto">
            <a:xfrm>
              <a:off x="5093" y="2167"/>
              <a:ext cx="155" cy="85"/>
            </a:xfrm>
            <a:custGeom>
              <a:avLst/>
              <a:gdLst>
                <a:gd name="T0" fmla="*/ 151 w 155"/>
                <a:gd name="T1" fmla="*/ 68 h 85"/>
                <a:gd name="T2" fmla="*/ 151 w 155"/>
                <a:gd name="T3" fmla="*/ 54 h 85"/>
                <a:gd name="T4" fmla="*/ 148 w 155"/>
                <a:gd name="T5" fmla="*/ 52 h 85"/>
                <a:gd name="T6" fmla="*/ 141 w 155"/>
                <a:gd name="T7" fmla="*/ 54 h 85"/>
                <a:gd name="T8" fmla="*/ 132 w 155"/>
                <a:gd name="T9" fmla="*/ 52 h 85"/>
                <a:gd name="T10" fmla="*/ 125 w 155"/>
                <a:gd name="T11" fmla="*/ 50 h 85"/>
                <a:gd name="T12" fmla="*/ 120 w 155"/>
                <a:gd name="T13" fmla="*/ 47 h 85"/>
                <a:gd name="T14" fmla="*/ 118 w 155"/>
                <a:gd name="T15" fmla="*/ 50 h 85"/>
                <a:gd name="T16" fmla="*/ 113 w 155"/>
                <a:gd name="T17" fmla="*/ 47 h 85"/>
                <a:gd name="T18" fmla="*/ 111 w 155"/>
                <a:gd name="T19" fmla="*/ 52 h 85"/>
                <a:gd name="T20" fmla="*/ 104 w 155"/>
                <a:gd name="T21" fmla="*/ 45 h 85"/>
                <a:gd name="T22" fmla="*/ 94 w 155"/>
                <a:gd name="T23" fmla="*/ 42 h 85"/>
                <a:gd name="T24" fmla="*/ 92 w 155"/>
                <a:gd name="T25" fmla="*/ 38 h 85"/>
                <a:gd name="T26" fmla="*/ 87 w 155"/>
                <a:gd name="T27" fmla="*/ 38 h 85"/>
                <a:gd name="T28" fmla="*/ 80 w 155"/>
                <a:gd name="T29" fmla="*/ 33 h 85"/>
                <a:gd name="T30" fmla="*/ 75 w 155"/>
                <a:gd name="T31" fmla="*/ 28 h 85"/>
                <a:gd name="T32" fmla="*/ 68 w 155"/>
                <a:gd name="T33" fmla="*/ 24 h 85"/>
                <a:gd name="T34" fmla="*/ 61 w 155"/>
                <a:gd name="T35" fmla="*/ 21 h 85"/>
                <a:gd name="T36" fmla="*/ 52 w 155"/>
                <a:gd name="T37" fmla="*/ 16 h 85"/>
                <a:gd name="T38" fmla="*/ 35 w 155"/>
                <a:gd name="T39" fmla="*/ 7 h 85"/>
                <a:gd name="T40" fmla="*/ 31 w 155"/>
                <a:gd name="T41" fmla="*/ 0 h 85"/>
                <a:gd name="T42" fmla="*/ 19 w 155"/>
                <a:gd name="T43" fmla="*/ 5 h 85"/>
                <a:gd name="T44" fmla="*/ 14 w 155"/>
                <a:gd name="T45" fmla="*/ 5 h 85"/>
                <a:gd name="T46" fmla="*/ 9 w 155"/>
                <a:gd name="T47" fmla="*/ 5 h 85"/>
                <a:gd name="T48" fmla="*/ 5 w 155"/>
                <a:gd name="T49" fmla="*/ 14 h 85"/>
                <a:gd name="T50" fmla="*/ 2 w 155"/>
                <a:gd name="T51" fmla="*/ 24 h 85"/>
                <a:gd name="T52" fmla="*/ 0 w 155"/>
                <a:gd name="T53" fmla="*/ 31 h 85"/>
                <a:gd name="T54" fmla="*/ 7 w 155"/>
                <a:gd name="T55" fmla="*/ 35 h 85"/>
                <a:gd name="T56" fmla="*/ 9 w 155"/>
                <a:gd name="T57" fmla="*/ 35 h 85"/>
                <a:gd name="T58" fmla="*/ 14 w 155"/>
                <a:gd name="T59" fmla="*/ 38 h 85"/>
                <a:gd name="T60" fmla="*/ 24 w 155"/>
                <a:gd name="T61" fmla="*/ 42 h 85"/>
                <a:gd name="T62" fmla="*/ 33 w 155"/>
                <a:gd name="T63" fmla="*/ 50 h 85"/>
                <a:gd name="T64" fmla="*/ 38 w 155"/>
                <a:gd name="T65" fmla="*/ 52 h 85"/>
                <a:gd name="T66" fmla="*/ 45 w 155"/>
                <a:gd name="T67" fmla="*/ 54 h 85"/>
                <a:gd name="T68" fmla="*/ 54 w 155"/>
                <a:gd name="T69" fmla="*/ 59 h 85"/>
                <a:gd name="T70" fmla="*/ 64 w 155"/>
                <a:gd name="T71" fmla="*/ 61 h 85"/>
                <a:gd name="T72" fmla="*/ 66 w 155"/>
                <a:gd name="T73" fmla="*/ 61 h 85"/>
                <a:gd name="T74" fmla="*/ 75 w 155"/>
                <a:gd name="T75" fmla="*/ 61 h 85"/>
                <a:gd name="T76" fmla="*/ 87 w 155"/>
                <a:gd name="T77" fmla="*/ 64 h 85"/>
                <a:gd name="T78" fmla="*/ 89 w 155"/>
                <a:gd name="T79" fmla="*/ 68 h 85"/>
                <a:gd name="T80" fmla="*/ 99 w 155"/>
                <a:gd name="T81" fmla="*/ 73 h 85"/>
                <a:gd name="T82" fmla="*/ 101 w 155"/>
                <a:gd name="T83" fmla="*/ 76 h 85"/>
                <a:gd name="T84" fmla="*/ 108 w 155"/>
                <a:gd name="T85" fmla="*/ 73 h 85"/>
                <a:gd name="T86" fmla="*/ 111 w 155"/>
                <a:gd name="T87" fmla="*/ 78 h 85"/>
                <a:gd name="T88" fmla="*/ 118 w 155"/>
                <a:gd name="T89" fmla="*/ 78 h 85"/>
                <a:gd name="T90" fmla="*/ 127 w 155"/>
                <a:gd name="T91" fmla="*/ 80 h 85"/>
                <a:gd name="T92" fmla="*/ 134 w 155"/>
                <a:gd name="T93" fmla="*/ 80 h 85"/>
                <a:gd name="T94" fmla="*/ 141 w 155"/>
                <a:gd name="T95" fmla="*/ 83 h 85"/>
                <a:gd name="T96" fmla="*/ 151 w 155"/>
                <a:gd name="T97" fmla="*/ 83 h 85"/>
                <a:gd name="T98" fmla="*/ 153 w 155"/>
                <a:gd name="T99" fmla="*/ 8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85">
                  <a:moveTo>
                    <a:pt x="153" y="76"/>
                  </a:moveTo>
                  <a:lnTo>
                    <a:pt x="153" y="73"/>
                  </a:lnTo>
                  <a:lnTo>
                    <a:pt x="151" y="68"/>
                  </a:lnTo>
                  <a:lnTo>
                    <a:pt x="151" y="68"/>
                  </a:lnTo>
                  <a:lnTo>
                    <a:pt x="148" y="61"/>
                  </a:lnTo>
                  <a:lnTo>
                    <a:pt x="151" y="59"/>
                  </a:lnTo>
                  <a:lnTo>
                    <a:pt x="151" y="57"/>
                  </a:lnTo>
                  <a:lnTo>
                    <a:pt x="151" y="54"/>
                  </a:lnTo>
                  <a:lnTo>
                    <a:pt x="151" y="54"/>
                  </a:lnTo>
                  <a:lnTo>
                    <a:pt x="151" y="52"/>
                  </a:lnTo>
                  <a:lnTo>
                    <a:pt x="148" y="52"/>
                  </a:lnTo>
                  <a:lnTo>
                    <a:pt x="148" y="52"/>
                  </a:lnTo>
                  <a:lnTo>
                    <a:pt x="146" y="52"/>
                  </a:lnTo>
                  <a:lnTo>
                    <a:pt x="144" y="52"/>
                  </a:lnTo>
                  <a:lnTo>
                    <a:pt x="141" y="54"/>
                  </a:lnTo>
                  <a:lnTo>
                    <a:pt x="141" y="54"/>
                  </a:lnTo>
                  <a:lnTo>
                    <a:pt x="139" y="54"/>
                  </a:lnTo>
                  <a:lnTo>
                    <a:pt x="139" y="54"/>
                  </a:lnTo>
                  <a:lnTo>
                    <a:pt x="134" y="54"/>
                  </a:lnTo>
                  <a:lnTo>
                    <a:pt x="132" y="52"/>
                  </a:lnTo>
                  <a:lnTo>
                    <a:pt x="130" y="52"/>
                  </a:lnTo>
                  <a:lnTo>
                    <a:pt x="127" y="50"/>
                  </a:lnTo>
                  <a:lnTo>
                    <a:pt x="127" y="50"/>
                  </a:lnTo>
                  <a:lnTo>
                    <a:pt x="125" y="50"/>
                  </a:lnTo>
                  <a:lnTo>
                    <a:pt x="122" y="47"/>
                  </a:lnTo>
                  <a:lnTo>
                    <a:pt x="122" y="47"/>
                  </a:lnTo>
                  <a:lnTo>
                    <a:pt x="122" y="47"/>
                  </a:lnTo>
                  <a:lnTo>
                    <a:pt x="120" y="47"/>
                  </a:lnTo>
                  <a:lnTo>
                    <a:pt x="120" y="50"/>
                  </a:lnTo>
                  <a:lnTo>
                    <a:pt x="120" y="52"/>
                  </a:lnTo>
                  <a:lnTo>
                    <a:pt x="118" y="52"/>
                  </a:lnTo>
                  <a:lnTo>
                    <a:pt x="118" y="50"/>
                  </a:lnTo>
                  <a:lnTo>
                    <a:pt x="115" y="50"/>
                  </a:lnTo>
                  <a:lnTo>
                    <a:pt x="113" y="47"/>
                  </a:lnTo>
                  <a:lnTo>
                    <a:pt x="113" y="47"/>
                  </a:lnTo>
                  <a:lnTo>
                    <a:pt x="113" y="47"/>
                  </a:lnTo>
                  <a:lnTo>
                    <a:pt x="113" y="50"/>
                  </a:lnTo>
                  <a:lnTo>
                    <a:pt x="113" y="52"/>
                  </a:lnTo>
                  <a:lnTo>
                    <a:pt x="111" y="52"/>
                  </a:lnTo>
                  <a:lnTo>
                    <a:pt x="111" y="52"/>
                  </a:lnTo>
                  <a:lnTo>
                    <a:pt x="111" y="50"/>
                  </a:lnTo>
                  <a:lnTo>
                    <a:pt x="108" y="47"/>
                  </a:lnTo>
                  <a:lnTo>
                    <a:pt x="106" y="45"/>
                  </a:lnTo>
                  <a:lnTo>
                    <a:pt x="104" y="45"/>
                  </a:lnTo>
                  <a:lnTo>
                    <a:pt x="99" y="45"/>
                  </a:lnTo>
                  <a:lnTo>
                    <a:pt x="97" y="42"/>
                  </a:lnTo>
                  <a:lnTo>
                    <a:pt x="94" y="42"/>
                  </a:lnTo>
                  <a:lnTo>
                    <a:pt x="94" y="42"/>
                  </a:lnTo>
                  <a:lnTo>
                    <a:pt x="94" y="40"/>
                  </a:lnTo>
                  <a:lnTo>
                    <a:pt x="94" y="38"/>
                  </a:lnTo>
                  <a:lnTo>
                    <a:pt x="94" y="38"/>
                  </a:lnTo>
                  <a:lnTo>
                    <a:pt x="92" y="38"/>
                  </a:lnTo>
                  <a:lnTo>
                    <a:pt x="92" y="38"/>
                  </a:lnTo>
                  <a:lnTo>
                    <a:pt x="89" y="38"/>
                  </a:lnTo>
                  <a:lnTo>
                    <a:pt x="87" y="38"/>
                  </a:lnTo>
                  <a:lnTo>
                    <a:pt x="87" y="38"/>
                  </a:lnTo>
                  <a:lnTo>
                    <a:pt x="85" y="38"/>
                  </a:lnTo>
                  <a:lnTo>
                    <a:pt x="85" y="35"/>
                  </a:lnTo>
                  <a:lnTo>
                    <a:pt x="85" y="35"/>
                  </a:lnTo>
                  <a:lnTo>
                    <a:pt x="80" y="33"/>
                  </a:lnTo>
                  <a:lnTo>
                    <a:pt x="80" y="33"/>
                  </a:lnTo>
                  <a:lnTo>
                    <a:pt x="78" y="31"/>
                  </a:lnTo>
                  <a:lnTo>
                    <a:pt x="75" y="31"/>
                  </a:lnTo>
                  <a:lnTo>
                    <a:pt x="75" y="28"/>
                  </a:lnTo>
                  <a:lnTo>
                    <a:pt x="73" y="26"/>
                  </a:lnTo>
                  <a:lnTo>
                    <a:pt x="73" y="24"/>
                  </a:lnTo>
                  <a:lnTo>
                    <a:pt x="71" y="24"/>
                  </a:lnTo>
                  <a:lnTo>
                    <a:pt x="68" y="24"/>
                  </a:lnTo>
                  <a:lnTo>
                    <a:pt x="66" y="24"/>
                  </a:lnTo>
                  <a:lnTo>
                    <a:pt x="64" y="24"/>
                  </a:lnTo>
                  <a:lnTo>
                    <a:pt x="64" y="24"/>
                  </a:lnTo>
                  <a:lnTo>
                    <a:pt x="61" y="21"/>
                  </a:lnTo>
                  <a:lnTo>
                    <a:pt x="59" y="19"/>
                  </a:lnTo>
                  <a:lnTo>
                    <a:pt x="56" y="16"/>
                  </a:lnTo>
                  <a:lnTo>
                    <a:pt x="54" y="16"/>
                  </a:lnTo>
                  <a:lnTo>
                    <a:pt x="52" y="16"/>
                  </a:lnTo>
                  <a:lnTo>
                    <a:pt x="47" y="14"/>
                  </a:lnTo>
                  <a:lnTo>
                    <a:pt x="45" y="12"/>
                  </a:lnTo>
                  <a:lnTo>
                    <a:pt x="40" y="9"/>
                  </a:lnTo>
                  <a:lnTo>
                    <a:pt x="35" y="7"/>
                  </a:lnTo>
                  <a:lnTo>
                    <a:pt x="33" y="5"/>
                  </a:lnTo>
                  <a:lnTo>
                    <a:pt x="33" y="5"/>
                  </a:lnTo>
                  <a:lnTo>
                    <a:pt x="33" y="2"/>
                  </a:lnTo>
                  <a:lnTo>
                    <a:pt x="31" y="0"/>
                  </a:lnTo>
                  <a:lnTo>
                    <a:pt x="28" y="0"/>
                  </a:lnTo>
                  <a:lnTo>
                    <a:pt x="24" y="0"/>
                  </a:lnTo>
                  <a:lnTo>
                    <a:pt x="19" y="0"/>
                  </a:lnTo>
                  <a:lnTo>
                    <a:pt x="19" y="5"/>
                  </a:lnTo>
                  <a:lnTo>
                    <a:pt x="16" y="7"/>
                  </a:lnTo>
                  <a:lnTo>
                    <a:pt x="16" y="7"/>
                  </a:lnTo>
                  <a:lnTo>
                    <a:pt x="14" y="5"/>
                  </a:lnTo>
                  <a:lnTo>
                    <a:pt x="14" y="5"/>
                  </a:lnTo>
                  <a:lnTo>
                    <a:pt x="12" y="5"/>
                  </a:lnTo>
                  <a:lnTo>
                    <a:pt x="12" y="5"/>
                  </a:lnTo>
                  <a:lnTo>
                    <a:pt x="9" y="5"/>
                  </a:lnTo>
                  <a:lnTo>
                    <a:pt x="9" y="5"/>
                  </a:lnTo>
                  <a:lnTo>
                    <a:pt x="7" y="7"/>
                  </a:lnTo>
                  <a:lnTo>
                    <a:pt x="7" y="9"/>
                  </a:lnTo>
                  <a:lnTo>
                    <a:pt x="7" y="9"/>
                  </a:lnTo>
                  <a:lnTo>
                    <a:pt x="5" y="14"/>
                  </a:lnTo>
                  <a:lnTo>
                    <a:pt x="2" y="16"/>
                  </a:lnTo>
                  <a:lnTo>
                    <a:pt x="2" y="19"/>
                  </a:lnTo>
                  <a:lnTo>
                    <a:pt x="2" y="21"/>
                  </a:lnTo>
                  <a:lnTo>
                    <a:pt x="2" y="24"/>
                  </a:lnTo>
                  <a:lnTo>
                    <a:pt x="2" y="26"/>
                  </a:lnTo>
                  <a:lnTo>
                    <a:pt x="2" y="26"/>
                  </a:lnTo>
                  <a:lnTo>
                    <a:pt x="2" y="28"/>
                  </a:lnTo>
                  <a:lnTo>
                    <a:pt x="0" y="31"/>
                  </a:lnTo>
                  <a:lnTo>
                    <a:pt x="2" y="33"/>
                  </a:lnTo>
                  <a:lnTo>
                    <a:pt x="2" y="33"/>
                  </a:lnTo>
                  <a:lnTo>
                    <a:pt x="5" y="35"/>
                  </a:lnTo>
                  <a:lnTo>
                    <a:pt x="7" y="35"/>
                  </a:lnTo>
                  <a:lnTo>
                    <a:pt x="9" y="38"/>
                  </a:lnTo>
                  <a:lnTo>
                    <a:pt x="9" y="38"/>
                  </a:lnTo>
                  <a:lnTo>
                    <a:pt x="9" y="35"/>
                  </a:lnTo>
                  <a:lnTo>
                    <a:pt x="9" y="35"/>
                  </a:lnTo>
                  <a:lnTo>
                    <a:pt x="12" y="35"/>
                  </a:lnTo>
                  <a:lnTo>
                    <a:pt x="14" y="38"/>
                  </a:lnTo>
                  <a:lnTo>
                    <a:pt x="14" y="38"/>
                  </a:lnTo>
                  <a:lnTo>
                    <a:pt x="14" y="38"/>
                  </a:lnTo>
                  <a:lnTo>
                    <a:pt x="19" y="40"/>
                  </a:lnTo>
                  <a:lnTo>
                    <a:pt x="21" y="40"/>
                  </a:lnTo>
                  <a:lnTo>
                    <a:pt x="24" y="42"/>
                  </a:lnTo>
                  <a:lnTo>
                    <a:pt x="24" y="42"/>
                  </a:lnTo>
                  <a:lnTo>
                    <a:pt x="24" y="45"/>
                  </a:lnTo>
                  <a:lnTo>
                    <a:pt x="26" y="45"/>
                  </a:lnTo>
                  <a:lnTo>
                    <a:pt x="31" y="47"/>
                  </a:lnTo>
                  <a:lnTo>
                    <a:pt x="33" y="50"/>
                  </a:lnTo>
                  <a:lnTo>
                    <a:pt x="35" y="52"/>
                  </a:lnTo>
                  <a:lnTo>
                    <a:pt x="38" y="52"/>
                  </a:lnTo>
                  <a:lnTo>
                    <a:pt x="38" y="52"/>
                  </a:lnTo>
                  <a:lnTo>
                    <a:pt x="38" y="52"/>
                  </a:lnTo>
                  <a:lnTo>
                    <a:pt x="40" y="52"/>
                  </a:lnTo>
                  <a:lnTo>
                    <a:pt x="40" y="52"/>
                  </a:lnTo>
                  <a:lnTo>
                    <a:pt x="42" y="52"/>
                  </a:lnTo>
                  <a:lnTo>
                    <a:pt x="45" y="54"/>
                  </a:lnTo>
                  <a:lnTo>
                    <a:pt x="49" y="57"/>
                  </a:lnTo>
                  <a:lnTo>
                    <a:pt x="52" y="57"/>
                  </a:lnTo>
                  <a:lnTo>
                    <a:pt x="52" y="57"/>
                  </a:lnTo>
                  <a:lnTo>
                    <a:pt x="54" y="59"/>
                  </a:lnTo>
                  <a:lnTo>
                    <a:pt x="54" y="59"/>
                  </a:lnTo>
                  <a:lnTo>
                    <a:pt x="59" y="61"/>
                  </a:lnTo>
                  <a:lnTo>
                    <a:pt x="61" y="61"/>
                  </a:lnTo>
                  <a:lnTo>
                    <a:pt x="64" y="61"/>
                  </a:lnTo>
                  <a:lnTo>
                    <a:pt x="64" y="64"/>
                  </a:lnTo>
                  <a:lnTo>
                    <a:pt x="66" y="61"/>
                  </a:lnTo>
                  <a:lnTo>
                    <a:pt x="66" y="61"/>
                  </a:lnTo>
                  <a:lnTo>
                    <a:pt x="66" y="61"/>
                  </a:lnTo>
                  <a:lnTo>
                    <a:pt x="68" y="61"/>
                  </a:lnTo>
                  <a:lnTo>
                    <a:pt x="73" y="61"/>
                  </a:lnTo>
                  <a:lnTo>
                    <a:pt x="75" y="64"/>
                  </a:lnTo>
                  <a:lnTo>
                    <a:pt x="75" y="61"/>
                  </a:lnTo>
                  <a:lnTo>
                    <a:pt x="78" y="61"/>
                  </a:lnTo>
                  <a:lnTo>
                    <a:pt x="78" y="61"/>
                  </a:lnTo>
                  <a:lnTo>
                    <a:pt x="82" y="61"/>
                  </a:lnTo>
                  <a:lnTo>
                    <a:pt x="87" y="64"/>
                  </a:lnTo>
                  <a:lnTo>
                    <a:pt x="89" y="64"/>
                  </a:lnTo>
                  <a:lnTo>
                    <a:pt x="89" y="66"/>
                  </a:lnTo>
                  <a:lnTo>
                    <a:pt x="89" y="66"/>
                  </a:lnTo>
                  <a:lnTo>
                    <a:pt x="89" y="68"/>
                  </a:lnTo>
                  <a:lnTo>
                    <a:pt x="92" y="71"/>
                  </a:lnTo>
                  <a:lnTo>
                    <a:pt x="97" y="73"/>
                  </a:lnTo>
                  <a:lnTo>
                    <a:pt x="97" y="73"/>
                  </a:lnTo>
                  <a:lnTo>
                    <a:pt x="99" y="73"/>
                  </a:lnTo>
                  <a:lnTo>
                    <a:pt x="99" y="73"/>
                  </a:lnTo>
                  <a:lnTo>
                    <a:pt x="99" y="73"/>
                  </a:lnTo>
                  <a:lnTo>
                    <a:pt x="101" y="76"/>
                  </a:lnTo>
                  <a:lnTo>
                    <a:pt x="101" y="76"/>
                  </a:lnTo>
                  <a:lnTo>
                    <a:pt x="101" y="76"/>
                  </a:lnTo>
                  <a:lnTo>
                    <a:pt x="104" y="76"/>
                  </a:lnTo>
                  <a:lnTo>
                    <a:pt x="106" y="76"/>
                  </a:lnTo>
                  <a:lnTo>
                    <a:pt x="108" y="73"/>
                  </a:lnTo>
                  <a:lnTo>
                    <a:pt x="108" y="73"/>
                  </a:lnTo>
                  <a:lnTo>
                    <a:pt x="111" y="76"/>
                  </a:lnTo>
                  <a:lnTo>
                    <a:pt x="111" y="78"/>
                  </a:lnTo>
                  <a:lnTo>
                    <a:pt x="111" y="78"/>
                  </a:lnTo>
                  <a:lnTo>
                    <a:pt x="113" y="78"/>
                  </a:lnTo>
                  <a:lnTo>
                    <a:pt x="113" y="80"/>
                  </a:lnTo>
                  <a:lnTo>
                    <a:pt x="115" y="78"/>
                  </a:lnTo>
                  <a:lnTo>
                    <a:pt x="118" y="78"/>
                  </a:lnTo>
                  <a:lnTo>
                    <a:pt x="120" y="80"/>
                  </a:lnTo>
                  <a:lnTo>
                    <a:pt x="122" y="80"/>
                  </a:lnTo>
                  <a:lnTo>
                    <a:pt x="122" y="80"/>
                  </a:lnTo>
                  <a:lnTo>
                    <a:pt x="127" y="80"/>
                  </a:lnTo>
                  <a:lnTo>
                    <a:pt x="130" y="83"/>
                  </a:lnTo>
                  <a:lnTo>
                    <a:pt x="130" y="83"/>
                  </a:lnTo>
                  <a:lnTo>
                    <a:pt x="134" y="80"/>
                  </a:lnTo>
                  <a:lnTo>
                    <a:pt x="134" y="80"/>
                  </a:lnTo>
                  <a:lnTo>
                    <a:pt x="137" y="83"/>
                  </a:lnTo>
                  <a:lnTo>
                    <a:pt x="137" y="83"/>
                  </a:lnTo>
                  <a:lnTo>
                    <a:pt x="139" y="85"/>
                  </a:lnTo>
                  <a:lnTo>
                    <a:pt x="141" y="83"/>
                  </a:lnTo>
                  <a:lnTo>
                    <a:pt x="144" y="83"/>
                  </a:lnTo>
                  <a:lnTo>
                    <a:pt x="146" y="83"/>
                  </a:lnTo>
                  <a:lnTo>
                    <a:pt x="148" y="83"/>
                  </a:lnTo>
                  <a:lnTo>
                    <a:pt x="151" y="83"/>
                  </a:lnTo>
                  <a:lnTo>
                    <a:pt x="153" y="83"/>
                  </a:lnTo>
                  <a:lnTo>
                    <a:pt x="153" y="83"/>
                  </a:lnTo>
                  <a:lnTo>
                    <a:pt x="153" y="83"/>
                  </a:lnTo>
                  <a:lnTo>
                    <a:pt x="153" y="80"/>
                  </a:lnTo>
                  <a:lnTo>
                    <a:pt x="155" y="76"/>
                  </a:lnTo>
                  <a:lnTo>
                    <a:pt x="153" y="7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0" name="Freeform 276"/>
            <p:cNvSpPr>
              <a:spLocks/>
            </p:cNvSpPr>
            <p:nvPr userDrawn="1"/>
          </p:nvSpPr>
          <p:spPr bwMode="auto">
            <a:xfrm>
              <a:off x="3870" y="3167"/>
              <a:ext cx="250" cy="251"/>
            </a:xfrm>
            <a:custGeom>
              <a:avLst/>
              <a:gdLst>
                <a:gd name="T0" fmla="*/ 240 w 250"/>
                <a:gd name="T1" fmla="*/ 10 h 251"/>
                <a:gd name="T2" fmla="*/ 221 w 250"/>
                <a:gd name="T3" fmla="*/ 12 h 251"/>
                <a:gd name="T4" fmla="*/ 200 w 250"/>
                <a:gd name="T5" fmla="*/ 17 h 251"/>
                <a:gd name="T6" fmla="*/ 179 w 250"/>
                <a:gd name="T7" fmla="*/ 21 h 251"/>
                <a:gd name="T8" fmla="*/ 169 w 250"/>
                <a:gd name="T9" fmla="*/ 21 h 251"/>
                <a:gd name="T10" fmla="*/ 160 w 250"/>
                <a:gd name="T11" fmla="*/ 19 h 251"/>
                <a:gd name="T12" fmla="*/ 141 w 250"/>
                <a:gd name="T13" fmla="*/ 17 h 251"/>
                <a:gd name="T14" fmla="*/ 132 w 250"/>
                <a:gd name="T15" fmla="*/ 17 h 251"/>
                <a:gd name="T16" fmla="*/ 125 w 250"/>
                <a:gd name="T17" fmla="*/ 10 h 251"/>
                <a:gd name="T18" fmla="*/ 113 w 250"/>
                <a:gd name="T19" fmla="*/ 7 h 251"/>
                <a:gd name="T20" fmla="*/ 82 w 250"/>
                <a:gd name="T21" fmla="*/ 7 h 251"/>
                <a:gd name="T22" fmla="*/ 49 w 250"/>
                <a:gd name="T23" fmla="*/ 7 h 251"/>
                <a:gd name="T24" fmla="*/ 42 w 250"/>
                <a:gd name="T25" fmla="*/ 7 h 251"/>
                <a:gd name="T26" fmla="*/ 35 w 250"/>
                <a:gd name="T27" fmla="*/ 2 h 251"/>
                <a:gd name="T28" fmla="*/ 28 w 250"/>
                <a:gd name="T29" fmla="*/ 0 h 251"/>
                <a:gd name="T30" fmla="*/ 21 w 250"/>
                <a:gd name="T31" fmla="*/ 2 h 251"/>
                <a:gd name="T32" fmla="*/ 12 w 250"/>
                <a:gd name="T33" fmla="*/ 5 h 251"/>
                <a:gd name="T34" fmla="*/ 4 w 250"/>
                <a:gd name="T35" fmla="*/ 5 h 251"/>
                <a:gd name="T36" fmla="*/ 2 w 250"/>
                <a:gd name="T37" fmla="*/ 21 h 251"/>
                <a:gd name="T38" fmla="*/ 12 w 250"/>
                <a:gd name="T39" fmla="*/ 36 h 251"/>
                <a:gd name="T40" fmla="*/ 28 w 250"/>
                <a:gd name="T41" fmla="*/ 73 h 251"/>
                <a:gd name="T42" fmla="*/ 42 w 250"/>
                <a:gd name="T43" fmla="*/ 99 h 251"/>
                <a:gd name="T44" fmla="*/ 52 w 250"/>
                <a:gd name="T45" fmla="*/ 123 h 251"/>
                <a:gd name="T46" fmla="*/ 49 w 250"/>
                <a:gd name="T47" fmla="*/ 125 h 251"/>
                <a:gd name="T48" fmla="*/ 52 w 250"/>
                <a:gd name="T49" fmla="*/ 140 h 251"/>
                <a:gd name="T50" fmla="*/ 56 w 250"/>
                <a:gd name="T51" fmla="*/ 163 h 251"/>
                <a:gd name="T52" fmla="*/ 56 w 250"/>
                <a:gd name="T53" fmla="*/ 180 h 251"/>
                <a:gd name="T54" fmla="*/ 61 w 250"/>
                <a:gd name="T55" fmla="*/ 199 h 251"/>
                <a:gd name="T56" fmla="*/ 61 w 250"/>
                <a:gd name="T57" fmla="*/ 206 h 251"/>
                <a:gd name="T58" fmla="*/ 73 w 250"/>
                <a:gd name="T59" fmla="*/ 232 h 251"/>
                <a:gd name="T60" fmla="*/ 85 w 250"/>
                <a:gd name="T61" fmla="*/ 246 h 251"/>
                <a:gd name="T62" fmla="*/ 89 w 250"/>
                <a:gd name="T63" fmla="*/ 241 h 251"/>
                <a:gd name="T64" fmla="*/ 92 w 250"/>
                <a:gd name="T65" fmla="*/ 237 h 251"/>
                <a:gd name="T66" fmla="*/ 96 w 250"/>
                <a:gd name="T67" fmla="*/ 232 h 251"/>
                <a:gd name="T68" fmla="*/ 99 w 250"/>
                <a:gd name="T69" fmla="*/ 237 h 251"/>
                <a:gd name="T70" fmla="*/ 101 w 250"/>
                <a:gd name="T71" fmla="*/ 241 h 251"/>
                <a:gd name="T72" fmla="*/ 103 w 250"/>
                <a:gd name="T73" fmla="*/ 246 h 251"/>
                <a:gd name="T74" fmla="*/ 111 w 250"/>
                <a:gd name="T75" fmla="*/ 248 h 251"/>
                <a:gd name="T76" fmla="*/ 122 w 250"/>
                <a:gd name="T77" fmla="*/ 251 h 251"/>
                <a:gd name="T78" fmla="*/ 134 w 250"/>
                <a:gd name="T79" fmla="*/ 251 h 251"/>
                <a:gd name="T80" fmla="*/ 139 w 250"/>
                <a:gd name="T81" fmla="*/ 246 h 251"/>
                <a:gd name="T82" fmla="*/ 146 w 250"/>
                <a:gd name="T83" fmla="*/ 241 h 251"/>
                <a:gd name="T84" fmla="*/ 148 w 250"/>
                <a:gd name="T85" fmla="*/ 220 h 251"/>
                <a:gd name="T86" fmla="*/ 151 w 250"/>
                <a:gd name="T87" fmla="*/ 182 h 251"/>
                <a:gd name="T88" fmla="*/ 151 w 250"/>
                <a:gd name="T89" fmla="*/ 158 h 251"/>
                <a:gd name="T90" fmla="*/ 151 w 250"/>
                <a:gd name="T91" fmla="*/ 135 h 251"/>
                <a:gd name="T92" fmla="*/ 151 w 250"/>
                <a:gd name="T93" fmla="*/ 111 h 251"/>
                <a:gd name="T94" fmla="*/ 169 w 250"/>
                <a:gd name="T95" fmla="*/ 102 h 251"/>
                <a:gd name="T96" fmla="*/ 169 w 250"/>
                <a:gd name="T97" fmla="*/ 66 h 251"/>
                <a:gd name="T98" fmla="*/ 169 w 250"/>
                <a:gd name="T99" fmla="*/ 31 h 251"/>
                <a:gd name="T100" fmla="*/ 188 w 250"/>
                <a:gd name="T101" fmla="*/ 26 h 251"/>
                <a:gd name="T102" fmla="*/ 212 w 250"/>
                <a:gd name="T103" fmla="*/ 21 h 251"/>
                <a:gd name="T104" fmla="*/ 217 w 250"/>
                <a:gd name="T105" fmla="*/ 28 h 251"/>
                <a:gd name="T106" fmla="*/ 219 w 250"/>
                <a:gd name="T107" fmla="*/ 31 h 251"/>
                <a:gd name="T108" fmla="*/ 228 w 250"/>
                <a:gd name="T109" fmla="*/ 21 h 251"/>
                <a:gd name="T110" fmla="*/ 233 w 250"/>
                <a:gd name="T111" fmla="*/ 21 h 251"/>
                <a:gd name="T112" fmla="*/ 247 w 250"/>
                <a:gd name="T113" fmla="*/ 1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0" h="251">
                  <a:moveTo>
                    <a:pt x="245" y="12"/>
                  </a:moveTo>
                  <a:lnTo>
                    <a:pt x="245" y="12"/>
                  </a:lnTo>
                  <a:lnTo>
                    <a:pt x="243" y="12"/>
                  </a:lnTo>
                  <a:lnTo>
                    <a:pt x="240" y="10"/>
                  </a:lnTo>
                  <a:lnTo>
                    <a:pt x="231" y="10"/>
                  </a:lnTo>
                  <a:lnTo>
                    <a:pt x="231" y="10"/>
                  </a:lnTo>
                  <a:lnTo>
                    <a:pt x="226" y="10"/>
                  </a:lnTo>
                  <a:lnTo>
                    <a:pt x="221" y="12"/>
                  </a:lnTo>
                  <a:lnTo>
                    <a:pt x="219" y="12"/>
                  </a:lnTo>
                  <a:lnTo>
                    <a:pt x="214" y="14"/>
                  </a:lnTo>
                  <a:lnTo>
                    <a:pt x="210" y="14"/>
                  </a:lnTo>
                  <a:lnTo>
                    <a:pt x="200" y="17"/>
                  </a:lnTo>
                  <a:lnTo>
                    <a:pt x="195" y="17"/>
                  </a:lnTo>
                  <a:lnTo>
                    <a:pt x="188" y="19"/>
                  </a:lnTo>
                  <a:lnTo>
                    <a:pt x="184" y="19"/>
                  </a:lnTo>
                  <a:lnTo>
                    <a:pt x="179" y="21"/>
                  </a:lnTo>
                  <a:lnTo>
                    <a:pt x="177" y="21"/>
                  </a:lnTo>
                  <a:lnTo>
                    <a:pt x="177" y="19"/>
                  </a:lnTo>
                  <a:lnTo>
                    <a:pt x="172" y="19"/>
                  </a:lnTo>
                  <a:lnTo>
                    <a:pt x="169" y="21"/>
                  </a:lnTo>
                  <a:lnTo>
                    <a:pt x="165" y="21"/>
                  </a:lnTo>
                  <a:lnTo>
                    <a:pt x="165" y="21"/>
                  </a:lnTo>
                  <a:lnTo>
                    <a:pt x="162" y="19"/>
                  </a:lnTo>
                  <a:lnTo>
                    <a:pt x="160" y="19"/>
                  </a:lnTo>
                  <a:lnTo>
                    <a:pt x="155" y="19"/>
                  </a:lnTo>
                  <a:lnTo>
                    <a:pt x="151" y="19"/>
                  </a:lnTo>
                  <a:lnTo>
                    <a:pt x="146" y="19"/>
                  </a:lnTo>
                  <a:lnTo>
                    <a:pt x="141" y="17"/>
                  </a:lnTo>
                  <a:lnTo>
                    <a:pt x="136" y="17"/>
                  </a:lnTo>
                  <a:lnTo>
                    <a:pt x="136" y="17"/>
                  </a:lnTo>
                  <a:lnTo>
                    <a:pt x="134" y="17"/>
                  </a:lnTo>
                  <a:lnTo>
                    <a:pt x="132" y="17"/>
                  </a:lnTo>
                  <a:lnTo>
                    <a:pt x="129" y="14"/>
                  </a:lnTo>
                  <a:lnTo>
                    <a:pt x="127" y="12"/>
                  </a:lnTo>
                  <a:lnTo>
                    <a:pt x="125" y="10"/>
                  </a:lnTo>
                  <a:lnTo>
                    <a:pt x="125" y="10"/>
                  </a:lnTo>
                  <a:lnTo>
                    <a:pt x="125" y="7"/>
                  </a:lnTo>
                  <a:lnTo>
                    <a:pt x="122" y="7"/>
                  </a:lnTo>
                  <a:lnTo>
                    <a:pt x="118" y="7"/>
                  </a:lnTo>
                  <a:lnTo>
                    <a:pt x="113" y="7"/>
                  </a:lnTo>
                  <a:lnTo>
                    <a:pt x="111" y="7"/>
                  </a:lnTo>
                  <a:lnTo>
                    <a:pt x="103" y="7"/>
                  </a:lnTo>
                  <a:lnTo>
                    <a:pt x="96" y="7"/>
                  </a:lnTo>
                  <a:lnTo>
                    <a:pt x="82" y="7"/>
                  </a:lnTo>
                  <a:lnTo>
                    <a:pt x="75" y="7"/>
                  </a:lnTo>
                  <a:lnTo>
                    <a:pt x="68" y="7"/>
                  </a:lnTo>
                  <a:lnTo>
                    <a:pt x="54" y="7"/>
                  </a:lnTo>
                  <a:lnTo>
                    <a:pt x="49" y="7"/>
                  </a:lnTo>
                  <a:lnTo>
                    <a:pt x="47" y="7"/>
                  </a:lnTo>
                  <a:lnTo>
                    <a:pt x="42" y="7"/>
                  </a:lnTo>
                  <a:lnTo>
                    <a:pt x="42" y="7"/>
                  </a:lnTo>
                  <a:lnTo>
                    <a:pt x="42" y="7"/>
                  </a:lnTo>
                  <a:lnTo>
                    <a:pt x="40" y="7"/>
                  </a:lnTo>
                  <a:lnTo>
                    <a:pt x="37" y="5"/>
                  </a:lnTo>
                  <a:lnTo>
                    <a:pt x="37" y="5"/>
                  </a:lnTo>
                  <a:lnTo>
                    <a:pt x="35" y="2"/>
                  </a:lnTo>
                  <a:lnTo>
                    <a:pt x="33" y="0"/>
                  </a:lnTo>
                  <a:lnTo>
                    <a:pt x="30" y="0"/>
                  </a:lnTo>
                  <a:lnTo>
                    <a:pt x="28" y="0"/>
                  </a:lnTo>
                  <a:lnTo>
                    <a:pt x="28" y="0"/>
                  </a:lnTo>
                  <a:lnTo>
                    <a:pt x="26" y="0"/>
                  </a:lnTo>
                  <a:lnTo>
                    <a:pt x="23" y="0"/>
                  </a:lnTo>
                  <a:lnTo>
                    <a:pt x="21" y="0"/>
                  </a:lnTo>
                  <a:lnTo>
                    <a:pt x="21" y="2"/>
                  </a:lnTo>
                  <a:lnTo>
                    <a:pt x="19" y="2"/>
                  </a:lnTo>
                  <a:lnTo>
                    <a:pt x="16" y="5"/>
                  </a:lnTo>
                  <a:lnTo>
                    <a:pt x="12" y="5"/>
                  </a:lnTo>
                  <a:lnTo>
                    <a:pt x="12" y="5"/>
                  </a:lnTo>
                  <a:lnTo>
                    <a:pt x="9" y="5"/>
                  </a:lnTo>
                  <a:lnTo>
                    <a:pt x="7" y="2"/>
                  </a:lnTo>
                  <a:lnTo>
                    <a:pt x="7" y="2"/>
                  </a:lnTo>
                  <a:lnTo>
                    <a:pt x="4" y="5"/>
                  </a:lnTo>
                  <a:lnTo>
                    <a:pt x="2" y="5"/>
                  </a:lnTo>
                  <a:lnTo>
                    <a:pt x="0" y="10"/>
                  </a:lnTo>
                  <a:lnTo>
                    <a:pt x="0" y="17"/>
                  </a:lnTo>
                  <a:lnTo>
                    <a:pt x="2" y="21"/>
                  </a:lnTo>
                  <a:lnTo>
                    <a:pt x="4" y="26"/>
                  </a:lnTo>
                  <a:lnTo>
                    <a:pt x="7" y="31"/>
                  </a:lnTo>
                  <a:lnTo>
                    <a:pt x="7" y="33"/>
                  </a:lnTo>
                  <a:lnTo>
                    <a:pt x="12" y="36"/>
                  </a:lnTo>
                  <a:lnTo>
                    <a:pt x="14" y="40"/>
                  </a:lnTo>
                  <a:lnTo>
                    <a:pt x="26" y="64"/>
                  </a:lnTo>
                  <a:lnTo>
                    <a:pt x="28" y="66"/>
                  </a:lnTo>
                  <a:lnTo>
                    <a:pt x="28" y="73"/>
                  </a:lnTo>
                  <a:lnTo>
                    <a:pt x="33" y="83"/>
                  </a:lnTo>
                  <a:lnTo>
                    <a:pt x="40" y="95"/>
                  </a:lnTo>
                  <a:lnTo>
                    <a:pt x="40" y="97"/>
                  </a:lnTo>
                  <a:lnTo>
                    <a:pt x="42" y="99"/>
                  </a:lnTo>
                  <a:lnTo>
                    <a:pt x="47" y="109"/>
                  </a:lnTo>
                  <a:lnTo>
                    <a:pt x="49" y="114"/>
                  </a:lnTo>
                  <a:lnTo>
                    <a:pt x="52" y="121"/>
                  </a:lnTo>
                  <a:lnTo>
                    <a:pt x="52" y="123"/>
                  </a:lnTo>
                  <a:lnTo>
                    <a:pt x="52" y="125"/>
                  </a:lnTo>
                  <a:lnTo>
                    <a:pt x="49" y="125"/>
                  </a:lnTo>
                  <a:lnTo>
                    <a:pt x="49" y="123"/>
                  </a:lnTo>
                  <a:lnTo>
                    <a:pt x="49" y="125"/>
                  </a:lnTo>
                  <a:lnTo>
                    <a:pt x="49" y="128"/>
                  </a:lnTo>
                  <a:lnTo>
                    <a:pt x="49" y="132"/>
                  </a:lnTo>
                  <a:lnTo>
                    <a:pt x="49" y="137"/>
                  </a:lnTo>
                  <a:lnTo>
                    <a:pt x="52" y="140"/>
                  </a:lnTo>
                  <a:lnTo>
                    <a:pt x="52" y="149"/>
                  </a:lnTo>
                  <a:lnTo>
                    <a:pt x="52" y="151"/>
                  </a:lnTo>
                  <a:lnTo>
                    <a:pt x="54" y="158"/>
                  </a:lnTo>
                  <a:lnTo>
                    <a:pt x="56" y="163"/>
                  </a:lnTo>
                  <a:lnTo>
                    <a:pt x="56" y="170"/>
                  </a:lnTo>
                  <a:lnTo>
                    <a:pt x="56" y="173"/>
                  </a:lnTo>
                  <a:lnTo>
                    <a:pt x="56" y="175"/>
                  </a:lnTo>
                  <a:lnTo>
                    <a:pt x="56" y="180"/>
                  </a:lnTo>
                  <a:lnTo>
                    <a:pt x="56" y="185"/>
                  </a:lnTo>
                  <a:lnTo>
                    <a:pt x="59" y="189"/>
                  </a:lnTo>
                  <a:lnTo>
                    <a:pt x="59" y="196"/>
                  </a:lnTo>
                  <a:lnTo>
                    <a:pt x="61" y="199"/>
                  </a:lnTo>
                  <a:lnTo>
                    <a:pt x="61" y="201"/>
                  </a:lnTo>
                  <a:lnTo>
                    <a:pt x="63" y="203"/>
                  </a:lnTo>
                  <a:lnTo>
                    <a:pt x="61" y="203"/>
                  </a:lnTo>
                  <a:lnTo>
                    <a:pt x="61" y="206"/>
                  </a:lnTo>
                  <a:lnTo>
                    <a:pt x="63" y="211"/>
                  </a:lnTo>
                  <a:lnTo>
                    <a:pt x="63" y="218"/>
                  </a:lnTo>
                  <a:lnTo>
                    <a:pt x="66" y="220"/>
                  </a:lnTo>
                  <a:lnTo>
                    <a:pt x="73" y="232"/>
                  </a:lnTo>
                  <a:lnTo>
                    <a:pt x="75" y="234"/>
                  </a:lnTo>
                  <a:lnTo>
                    <a:pt x="78" y="237"/>
                  </a:lnTo>
                  <a:lnTo>
                    <a:pt x="82" y="244"/>
                  </a:lnTo>
                  <a:lnTo>
                    <a:pt x="85" y="246"/>
                  </a:lnTo>
                  <a:lnTo>
                    <a:pt x="85" y="244"/>
                  </a:lnTo>
                  <a:lnTo>
                    <a:pt x="89" y="241"/>
                  </a:lnTo>
                  <a:lnTo>
                    <a:pt x="89" y="241"/>
                  </a:lnTo>
                  <a:lnTo>
                    <a:pt x="89" y="241"/>
                  </a:lnTo>
                  <a:lnTo>
                    <a:pt x="92" y="241"/>
                  </a:lnTo>
                  <a:lnTo>
                    <a:pt x="92" y="241"/>
                  </a:lnTo>
                  <a:lnTo>
                    <a:pt x="92" y="239"/>
                  </a:lnTo>
                  <a:lnTo>
                    <a:pt x="92" y="237"/>
                  </a:lnTo>
                  <a:lnTo>
                    <a:pt x="92" y="237"/>
                  </a:lnTo>
                  <a:lnTo>
                    <a:pt x="92" y="234"/>
                  </a:lnTo>
                  <a:lnTo>
                    <a:pt x="94" y="234"/>
                  </a:lnTo>
                  <a:lnTo>
                    <a:pt x="96" y="232"/>
                  </a:lnTo>
                  <a:lnTo>
                    <a:pt x="99" y="234"/>
                  </a:lnTo>
                  <a:lnTo>
                    <a:pt x="99" y="234"/>
                  </a:lnTo>
                  <a:lnTo>
                    <a:pt x="99" y="237"/>
                  </a:lnTo>
                  <a:lnTo>
                    <a:pt x="99" y="237"/>
                  </a:lnTo>
                  <a:lnTo>
                    <a:pt x="101" y="237"/>
                  </a:lnTo>
                  <a:lnTo>
                    <a:pt x="101" y="237"/>
                  </a:lnTo>
                  <a:lnTo>
                    <a:pt x="101" y="239"/>
                  </a:lnTo>
                  <a:lnTo>
                    <a:pt x="101" y="241"/>
                  </a:lnTo>
                  <a:lnTo>
                    <a:pt x="101" y="241"/>
                  </a:lnTo>
                  <a:lnTo>
                    <a:pt x="101" y="244"/>
                  </a:lnTo>
                  <a:lnTo>
                    <a:pt x="101" y="244"/>
                  </a:lnTo>
                  <a:lnTo>
                    <a:pt x="103" y="246"/>
                  </a:lnTo>
                  <a:lnTo>
                    <a:pt x="103" y="246"/>
                  </a:lnTo>
                  <a:lnTo>
                    <a:pt x="106" y="248"/>
                  </a:lnTo>
                  <a:lnTo>
                    <a:pt x="108" y="248"/>
                  </a:lnTo>
                  <a:lnTo>
                    <a:pt x="111" y="248"/>
                  </a:lnTo>
                  <a:lnTo>
                    <a:pt x="113" y="248"/>
                  </a:lnTo>
                  <a:lnTo>
                    <a:pt x="115" y="251"/>
                  </a:lnTo>
                  <a:lnTo>
                    <a:pt x="118" y="251"/>
                  </a:lnTo>
                  <a:lnTo>
                    <a:pt x="122" y="251"/>
                  </a:lnTo>
                  <a:lnTo>
                    <a:pt x="127" y="251"/>
                  </a:lnTo>
                  <a:lnTo>
                    <a:pt x="132" y="251"/>
                  </a:lnTo>
                  <a:lnTo>
                    <a:pt x="134" y="251"/>
                  </a:lnTo>
                  <a:lnTo>
                    <a:pt x="134" y="251"/>
                  </a:lnTo>
                  <a:lnTo>
                    <a:pt x="136" y="251"/>
                  </a:lnTo>
                  <a:lnTo>
                    <a:pt x="136" y="248"/>
                  </a:lnTo>
                  <a:lnTo>
                    <a:pt x="136" y="248"/>
                  </a:lnTo>
                  <a:lnTo>
                    <a:pt x="139" y="246"/>
                  </a:lnTo>
                  <a:lnTo>
                    <a:pt x="139" y="246"/>
                  </a:lnTo>
                  <a:lnTo>
                    <a:pt x="141" y="244"/>
                  </a:lnTo>
                  <a:lnTo>
                    <a:pt x="144" y="244"/>
                  </a:lnTo>
                  <a:lnTo>
                    <a:pt x="146" y="241"/>
                  </a:lnTo>
                  <a:lnTo>
                    <a:pt x="148" y="241"/>
                  </a:lnTo>
                  <a:lnTo>
                    <a:pt x="148" y="239"/>
                  </a:lnTo>
                  <a:lnTo>
                    <a:pt x="148" y="229"/>
                  </a:lnTo>
                  <a:lnTo>
                    <a:pt x="148" y="220"/>
                  </a:lnTo>
                  <a:lnTo>
                    <a:pt x="148" y="211"/>
                  </a:lnTo>
                  <a:lnTo>
                    <a:pt x="148" y="201"/>
                  </a:lnTo>
                  <a:lnTo>
                    <a:pt x="148" y="192"/>
                  </a:lnTo>
                  <a:lnTo>
                    <a:pt x="151" y="182"/>
                  </a:lnTo>
                  <a:lnTo>
                    <a:pt x="151" y="173"/>
                  </a:lnTo>
                  <a:lnTo>
                    <a:pt x="151" y="163"/>
                  </a:lnTo>
                  <a:lnTo>
                    <a:pt x="151" y="163"/>
                  </a:lnTo>
                  <a:lnTo>
                    <a:pt x="151" y="158"/>
                  </a:lnTo>
                  <a:lnTo>
                    <a:pt x="151" y="154"/>
                  </a:lnTo>
                  <a:lnTo>
                    <a:pt x="151" y="147"/>
                  </a:lnTo>
                  <a:lnTo>
                    <a:pt x="151" y="140"/>
                  </a:lnTo>
                  <a:lnTo>
                    <a:pt x="151" y="135"/>
                  </a:lnTo>
                  <a:lnTo>
                    <a:pt x="151" y="128"/>
                  </a:lnTo>
                  <a:lnTo>
                    <a:pt x="151" y="123"/>
                  </a:lnTo>
                  <a:lnTo>
                    <a:pt x="151" y="116"/>
                  </a:lnTo>
                  <a:lnTo>
                    <a:pt x="151" y="111"/>
                  </a:lnTo>
                  <a:lnTo>
                    <a:pt x="151" y="104"/>
                  </a:lnTo>
                  <a:lnTo>
                    <a:pt x="169" y="104"/>
                  </a:lnTo>
                  <a:lnTo>
                    <a:pt x="169" y="104"/>
                  </a:lnTo>
                  <a:lnTo>
                    <a:pt x="169" y="102"/>
                  </a:lnTo>
                  <a:lnTo>
                    <a:pt x="169" y="92"/>
                  </a:lnTo>
                  <a:lnTo>
                    <a:pt x="169" y="83"/>
                  </a:lnTo>
                  <a:lnTo>
                    <a:pt x="169" y="76"/>
                  </a:lnTo>
                  <a:lnTo>
                    <a:pt x="169" y="66"/>
                  </a:lnTo>
                  <a:lnTo>
                    <a:pt x="169" y="57"/>
                  </a:lnTo>
                  <a:lnTo>
                    <a:pt x="169" y="50"/>
                  </a:lnTo>
                  <a:lnTo>
                    <a:pt x="169" y="40"/>
                  </a:lnTo>
                  <a:lnTo>
                    <a:pt x="169" y="31"/>
                  </a:lnTo>
                  <a:lnTo>
                    <a:pt x="169" y="28"/>
                  </a:lnTo>
                  <a:lnTo>
                    <a:pt x="174" y="26"/>
                  </a:lnTo>
                  <a:lnTo>
                    <a:pt x="181" y="26"/>
                  </a:lnTo>
                  <a:lnTo>
                    <a:pt x="188" y="26"/>
                  </a:lnTo>
                  <a:lnTo>
                    <a:pt x="198" y="24"/>
                  </a:lnTo>
                  <a:lnTo>
                    <a:pt x="202" y="21"/>
                  </a:lnTo>
                  <a:lnTo>
                    <a:pt x="210" y="21"/>
                  </a:lnTo>
                  <a:lnTo>
                    <a:pt x="212" y="21"/>
                  </a:lnTo>
                  <a:lnTo>
                    <a:pt x="212" y="21"/>
                  </a:lnTo>
                  <a:lnTo>
                    <a:pt x="212" y="21"/>
                  </a:lnTo>
                  <a:lnTo>
                    <a:pt x="217" y="26"/>
                  </a:lnTo>
                  <a:lnTo>
                    <a:pt x="217" y="28"/>
                  </a:lnTo>
                  <a:lnTo>
                    <a:pt x="217" y="31"/>
                  </a:lnTo>
                  <a:lnTo>
                    <a:pt x="219" y="31"/>
                  </a:lnTo>
                  <a:lnTo>
                    <a:pt x="219" y="31"/>
                  </a:lnTo>
                  <a:lnTo>
                    <a:pt x="219" y="31"/>
                  </a:lnTo>
                  <a:lnTo>
                    <a:pt x="224" y="26"/>
                  </a:lnTo>
                  <a:lnTo>
                    <a:pt x="224" y="26"/>
                  </a:lnTo>
                  <a:lnTo>
                    <a:pt x="226" y="24"/>
                  </a:lnTo>
                  <a:lnTo>
                    <a:pt x="228" y="21"/>
                  </a:lnTo>
                  <a:lnTo>
                    <a:pt x="231" y="21"/>
                  </a:lnTo>
                  <a:lnTo>
                    <a:pt x="233" y="21"/>
                  </a:lnTo>
                  <a:lnTo>
                    <a:pt x="233" y="21"/>
                  </a:lnTo>
                  <a:lnTo>
                    <a:pt x="233" y="21"/>
                  </a:lnTo>
                  <a:lnTo>
                    <a:pt x="235" y="21"/>
                  </a:lnTo>
                  <a:lnTo>
                    <a:pt x="240" y="19"/>
                  </a:lnTo>
                  <a:lnTo>
                    <a:pt x="243" y="17"/>
                  </a:lnTo>
                  <a:lnTo>
                    <a:pt x="247" y="17"/>
                  </a:lnTo>
                  <a:lnTo>
                    <a:pt x="250" y="17"/>
                  </a:lnTo>
                  <a:lnTo>
                    <a:pt x="245"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1" name="Freeform 277"/>
            <p:cNvSpPr>
              <a:spLocks noEditPoints="1"/>
            </p:cNvSpPr>
            <p:nvPr userDrawn="1"/>
          </p:nvSpPr>
          <p:spPr bwMode="auto">
            <a:xfrm>
              <a:off x="5336" y="2205"/>
              <a:ext cx="162" cy="390"/>
            </a:xfrm>
            <a:custGeom>
              <a:avLst/>
              <a:gdLst>
                <a:gd name="T0" fmla="*/ 33 w 162"/>
                <a:gd name="T1" fmla="*/ 208 h 390"/>
                <a:gd name="T2" fmla="*/ 37 w 162"/>
                <a:gd name="T3" fmla="*/ 194 h 390"/>
                <a:gd name="T4" fmla="*/ 162 w 162"/>
                <a:gd name="T5" fmla="*/ 144 h 390"/>
                <a:gd name="T6" fmla="*/ 143 w 162"/>
                <a:gd name="T7" fmla="*/ 146 h 390"/>
                <a:gd name="T8" fmla="*/ 127 w 162"/>
                <a:gd name="T9" fmla="*/ 137 h 390"/>
                <a:gd name="T10" fmla="*/ 129 w 162"/>
                <a:gd name="T11" fmla="*/ 118 h 390"/>
                <a:gd name="T12" fmla="*/ 115 w 162"/>
                <a:gd name="T13" fmla="*/ 106 h 390"/>
                <a:gd name="T14" fmla="*/ 108 w 162"/>
                <a:gd name="T15" fmla="*/ 94 h 390"/>
                <a:gd name="T16" fmla="*/ 92 w 162"/>
                <a:gd name="T17" fmla="*/ 92 h 390"/>
                <a:gd name="T18" fmla="*/ 89 w 162"/>
                <a:gd name="T19" fmla="*/ 75 h 390"/>
                <a:gd name="T20" fmla="*/ 101 w 162"/>
                <a:gd name="T21" fmla="*/ 61 h 390"/>
                <a:gd name="T22" fmla="*/ 103 w 162"/>
                <a:gd name="T23" fmla="*/ 45 h 390"/>
                <a:gd name="T24" fmla="*/ 94 w 162"/>
                <a:gd name="T25" fmla="*/ 19 h 390"/>
                <a:gd name="T26" fmla="*/ 80 w 162"/>
                <a:gd name="T27" fmla="*/ 4 h 390"/>
                <a:gd name="T28" fmla="*/ 73 w 162"/>
                <a:gd name="T29" fmla="*/ 4 h 390"/>
                <a:gd name="T30" fmla="*/ 66 w 162"/>
                <a:gd name="T31" fmla="*/ 19 h 390"/>
                <a:gd name="T32" fmla="*/ 63 w 162"/>
                <a:gd name="T33" fmla="*/ 26 h 390"/>
                <a:gd name="T34" fmla="*/ 37 w 162"/>
                <a:gd name="T35" fmla="*/ 42 h 390"/>
                <a:gd name="T36" fmla="*/ 37 w 162"/>
                <a:gd name="T37" fmla="*/ 61 h 390"/>
                <a:gd name="T38" fmla="*/ 35 w 162"/>
                <a:gd name="T39" fmla="*/ 75 h 390"/>
                <a:gd name="T40" fmla="*/ 21 w 162"/>
                <a:gd name="T41" fmla="*/ 97 h 390"/>
                <a:gd name="T42" fmla="*/ 16 w 162"/>
                <a:gd name="T43" fmla="*/ 111 h 390"/>
                <a:gd name="T44" fmla="*/ 14 w 162"/>
                <a:gd name="T45" fmla="*/ 127 h 390"/>
                <a:gd name="T46" fmla="*/ 9 w 162"/>
                <a:gd name="T47" fmla="*/ 135 h 390"/>
                <a:gd name="T48" fmla="*/ 7 w 162"/>
                <a:gd name="T49" fmla="*/ 153 h 390"/>
                <a:gd name="T50" fmla="*/ 4 w 162"/>
                <a:gd name="T51" fmla="*/ 161 h 390"/>
                <a:gd name="T52" fmla="*/ 16 w 162"/>
                <a:gd name="T53" fmla="*/ 175 h 390"/>
                <a:gd name="T54" fmla="*/ 19 w 162"/>
                <a:gd name="T55" fmla="*/ 177 h 390"/>
                <a:gd name="T56" fmla="*/ 30 w 162"/>
                <a:gd name="T57" fmla="*/ 184 h 390"/>
                <a:gd name="T58" fmla="*/ 35 w 162"/>
                <a:gd name="T59" fmla="*/ 196 h 390"/>
                <a:gd name="T60" fmla="*/ 40 w 162"/>
                <a:gd name="T61" fmla="*/ 198 h 390"/>
                <a:gd name="T62" fmla="*/ 54 w 162"/>
                <a:gd name="T63" fmla="*/ 229 h 390"/>
                <a:gd name="T64" fmla="*/ 52 w 162"/>
                <a:gd name="T65" fmla="*/ 265 h 390"/>
                <a:gd name="T66" fmla="*/ 59 w 162"/>
                <a:gd name="T67" fmla="*/ 265 h 390"/>
                <a:gd name="T68" fmla="*/ 68 w 162"/>
                <a:gd name="T69" fmla="*/ 269 h 390"/>
                <a:gd name="T70" fmla="*/ 77 w 162"/>
                <a:gd name="T71" fmla="*/ 265 h 390"/>
                <a:gd name="T72" fmla="*/ 87 w 162"/>
                <a:gd name="T73" fmla="*/ 248 h 390"/>
                <a:gd name="T74" fmla="*/ 96 w 162"/>
                <a:gd name="T75" fmla="*/ 239 h 390"/>
                <a:gd name="T76" fmla="*/ 108 w 162"/>
                <a:gd name="T77" fmla="*/ 255 h 390"/>
                <a:gd name="T78" fmla="*/ 118 w 162"/>
                <a:gd name="T79" fmla="*/ 279 h 390"/>
                <a:gd name="T80" fmla="*/ 127 w 162"/>
                <a:gd name="T81" fmla="*/ 309 h 390"/>
                <a:gd name="T82" fmla="*/ 139 w 162"/>
                <a:gd name="T83" fmla="*/ 333 h 390"/>
                <a:gd name="T84" fmla="*/ 141 w 162"/>
                <a:gd name="T85" fmla="*/ 352 h 390"/>
                <a:gd name="T86" fmla="*/ 143 w 162"/>
                <a:gd name="T87" fmla="*/ 364 h 390"/>
                <a:gd name="T88" fmla="*/ 143 w 162"/>
                <a:gd name="T89" fmla="*/ 388 h 390"/>
                <a:gd name="T90" fmla="*/ 155 w 162"/>
                <a:gd name="T91" fmla="*/ 361 h 390"/>
                <a:gd name="T92" fmla="*/ 153 w 162"/>
                <a:gd name="T93" fmla="*/ 338 h 390"/>
                <a:gd name="T94" fmla="*/ 146 w 162"/>
                <a:gd name="T95" fmla="*/ 314 h 390"/>
                <a:gd name="T96" fmla="*/ 125 w 162"/>
                <a:gd name="T97" fmla="*/ 281 h 390"/>
                <a:gd name="T98" fmla="*/ 134 w 162"/>
                <a:gd name="T99" fmla="*/ 262 h 390"/>
                <a:gd name="T100" fmla="*/ 127 w 162"/>
                <a:gd name="T101" fmla="*/ 246 h 390"/>
                <a:gd name="T102" fmla="*/ 108 w 162"/>
                <a:gd name="T103" fmla="*/ 220 h 390"/>
                <a:gd name="T104" fmla="*/ 108 w 162"/>
                <a:gd name="T105" fmla="*/ 210 h 390"/>
                <a:gd name="T106" fmla="*/ 110 w 162"/>
                <a:gd name="T107" fmla="*/ 187 h 390"/>
                <a:gd name="T108" fmla="*/ 129 w 162"/>
                <a:gd name="T109" fmla="*/ 184 h 390"/>
                <a:gd name="T110" fmla="*/ 136 w 162"/>
                <a:gd name="T111" fmla="*/ 175 h 390"/>
                <a:gd name="T112" fmla="*/ 148 w 162"/>
                <a:gd name="T113" fmla="*/ 172 h 390"/>
                <a:gd name="T114" fmla="*/ 153 w 162"/>
                <a:gd name="T115" fmla="*/ 15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2" h="390">
                  <a:moveTo>
                    <a:pt x="56" y="262"/>
                  </a:moveTo>
                  <a:lnTo>
                    <a:pt x="56" y="265"/>
                  </a:lnTo>
                  <a:lnTo>
                    <a:pt x="54" y="265"/>
                  </a:lnTo>
                  <a:lnTo>
                    <a:pt x="54" y="269"/>
                  </a:lnTo>
                  <a:lnTo>
                    <a:pt x="56" y="267"/>
                  </a:lnTo>
                  <a:lnTo>
                    <a:pt x="56" y="265"/>
                  </a:lnTo>
                  <a:lnTo>
                    <a:pt x="59" y="262"/>
                  </a:lnTo>
                  <a:lnTo>
                    <a:pt x="59" y="260"/>
                  </a:lnTo>
                  <a:lnTo>
                    <a:pt x="56" y="262"/>
                  </a:lnTo>
                  <a:close/>
                  <a:moveTo>
                    <a:pt x="33" y="203"/>
                  </a:moveTo>
                  <a:lnTo>
                    <a:pt x="30" y="205"/>
                  </a:lnTo>
                  <a:lnTo>
                    <a:pt x="33" y="208"/>
                  </a:lnTo>
                  <a:lnTo>
                    <a:pt x="35" y="208"/>
                  </a:lnTo>
                  <a:lnTo>
                    <a:pt x="35" y="208"/>
                  </a:lnTo>
                  <a:lnTo>
                    <a:pt x="35" y="208"/>
                  </a:lnTo>
                  <a:lnTo>
                    <a:pt x="35" y="205"/>
                  </a:lnTo>
                  <a:lnTo>
                    <a:pt x="35" y="205"/>
                  </a:lnTo>
                  <a:lnTo>
                    <a:pt x="33" y="203"/>
                  </a:lnTo>
                  <a:close/>
                  <a:moveTo>
                    <a:pt x="35" y="194"/>
                  </a:moveTo>
                  <a:lnTo>
                    <a:pt x="35" y="196"/>
                  </a:lnTo>
                  <a:lnTo>
                    <a:pt x="37" y="194"/>
                  </a:lnTo>
                  <a:lnTo>
                    <a:pt x="37" y="194"/>
                  </a:lnTo>
                  <a:lnTo>
                    <a:pt x="37" y="194"/>
                  </a:lnTo>
                  <a:lnTo>
                    <a:pt x="37" y="194"/>
                  </a:lnTo>
                  <a:lnTo>
                    <a:pt x="35" y="191"/>
                  </a:lnTo>
                  <a:lnTo>
                    <a:pt x="35" y="191"/>
                  </a:lnTo>
                  <a:lnTo>
                    <a:pt x="33" y="189"/>
                  </a:lnTo>
                  <a:lnTo>
                    <a:pt x="33" y="191"/>
                  </a:lnTo>
                  <a:lnTo>
                    <a:pt x="33" y="191"/>
                  </a:lnTo>
                  <a:lnTo>
                    <a:pt x="33" y="191"/>
                  </a:lnTo>
                  <a:lnTo>
                    <a:pt x="33" y="194"/>
                  </a:lnTo>
                  <a:lnTo>
                    <a:pt x="35" y="194"/>
                  </a:lnTo>
                  <a:close/>
                  <a:moveTo>
                    <a:pt x="162" y="144"/>
                  </a:moveTo>
                  <a:lnTo>
                    <a:pt x="162" y="144"/>
                  </a:lnTo>
                  <a:lnTo>
                    <a:pt x="162" y="144"/>
                  </a:lnTo>
                  <a:lnTo>
                    <a:pt x="162" y="144"/>
                  </a:lnTo>
                  <a:lnTo>
                    <a:pt x="160" y="144"/>
                  </a:lnTo>
                  <a:lnTo>
                    <a:pt x="158" y="146"/>
                  </a:lnTo>
                  <a:lnTo>
                    <a:pt x="155" y="149"/>
                  </a:lnTo>
                  <a:lnTo>
                    <a:pt x="153" y="149"/>
                  </a:lnTo>
                  <a:lnTo>
                    <a:pt x="153" y="149"/>
                  </a:lnTo>
                  <a:lnTo>
                    <a:pt x="151" y="149"/>
                  </a:lnTo>
                  <a:lnTo>
                    <a:pt x="148" y="149"/>
                  </a:lnTo>
                  <a:lnTo>
                    <a:pt x="146" y="149"/>
                  </a:lnTo>
                  <a:lnTo>
                    <a:pt x="146" y="149"/>
                  </a:lnTo>
                  <a:lnTo>
                    <a:pt x="143" y="149"/>
                  </a:lnTo>
                  <a:lnTo>
                    <a:pt x="143" y="149"/>
                  </a:lnTo>
                  <a:lnTo>
                    <a:pt x="143" y="146"/>
                  </a:lnTo>
                  <a:lnTo>
                    <a:pt x="143" y="146"/>
                  </a:lnTo>
                  <a:lnTo>
                    <a:pt x="143" y="144"/>
                  </a:lnTo>
                  <a:lnTo>
                    <a:pt x="141" y="144"/>
                  </a:lnTo>
                  <a:lnTo>
                    <a:pt x="141" y="144"/>
                  </a:lnTo>
                  <a:lnTo>
                    <a:pt x="141" y="142"/>
                  </a:lnTo>
                  <a:lnTo>
                    <a:pt x="141" y="139"/>
                  </a:lnTo>
                  <a:lnTo>
                    <a:pt x="141" y="139"/>
                  </a:lnTo>
                  <a:lnTo>
                    <a:pt x="139" y="137"/>
                  </a:lnTo>
                  <a:lnTo>
                    <a:pt x="139" y="137"/>
                  </a:lnTo>
                  <a:lnTo>
                    <a:pt x="134" y="137"/>
                  </a:lnTo>
                  <a:lnTo>
                    <a:pt x="129" y="137"/>
                  </a:lnTo>
                  <a:lnTo>
                    <a:pt x="127" y="137"/>
                  </a:lnTo>
                  <a:lnTo>
                    <a:pt x="127" y="137"/>
                  </a:lnTo>
                  <a:lnTo>
                    <a:pt x="127" y="135"/>
                  </a:lnTo>
                  <a:lnTo>
                    <a:pt x="125" y="135"/>
                  </a:lnTo>
                  <a:lnTo>
                    <a:pt x="125" y="135"/>
                  </a:lnTo>
                  <a:lnTo>
                    <a:pt x="125" y="132"/>
                  </a:lnTo>
                  <a:lnTo>
                    <a:pt x="127" y="130"/>
                  </a:lnTo>
                  <a:lnTo>
                    <a:pt x="127" y="127"/>
                  </a:lnTo>
                  <a:lnTo>
                    <a:pt x="127" y="125"/>
                  </a:lnTo>
                  <a:lnTo>
                    <a:pt x="127" y="123"/>
                  </a:lnTo>
                  <a:lnTo>
                    <a:pt x="127" y="120"/>
                  </a:lnTo>
                  <a:lnTo>
                    <a:pt x="129" y="118"/>
                  </a:lnTo>
                  <a:lnTo>
                    <a:pt x="129" y="118"/>
                  </a:lnTo>
                  <a:lnTo>
                    <a:pt x="129" y="118"/>
                  </a:lnTo>
                  <a:lnTo>
                    <a:pt x="127" y="116"/>
                  </a:lnTo>
                  <a:lnTo>
                    <a:pt x="127" y="116"/>
                  </a:lnTo>
                  <a:lnTo>
                    <a:pt x="125" y="116"/>
                  </a:lnTo>
                  <a:lnTo>
                    <a:pt x="125" y="116"/>
                  </a:lnTo>
                  <a:lnTo>
                    <a:pt x="120" y="116"/>
                  </a:lnTo>
                  <a:lnTo>
                    <a:pt x="118" y="113"/>
                  </a:lnTo>
                  <a:lnTo>
                    <a:pt x="118" y="111"/>
                  </a:lnTo>
                  <a:lnTo>
                    <a:pt x="118" y="108"/>
                  </a:lnTo>
                  <a:lnTo>
                    <a:pt x="115" y="108"/>
                  </a:lnTo>
                  <a:lnTo>
                    <a:pt x="115" y="106"/>
                  </a:lnTo>
                  <a:lnTo>
                    <a:pt x="115" y="106"/>
                  </a:lnTo>
                  <a:lnTo>
                    <a:pt x="115" y="104"/>
                  </a:lnTo>
                  <a:lnTo>
                    <a:pt x="113" y="101"/>
                  </a:lnTo>
                  <a:lnTo>
                    <a:pt x="113" y="101"/>
                  </a:lnTo>
                  <a:lnTo>
                    <a:pt x="110" y="99"/>
                  </a:lnTo>
                  <a:lnTo>
                    <a:pt x="110" y="99"/>
                  </a:lnTo>
                  <a:lnTo>
                    <a:pt x="110" y="97"/>
                  </a:lnTo>
                  <a:lnTo>
                    <a:pt x="113" y="94"/>
                  </a:lnTo>
                  <a:lnTo>
                    <a:pt x="113" y="94"/>
                  </a:lnTo>
                  <a:lnTo>
                    <a:pt x="113" y="94"/>
                  </a:lnTo>
                  <a:lnTo>
                    <a:pt x="113" y="94"/>
                  </a:lnTo>
                  <a:lnTo>
                    <a:pt x="108" y="94"/>
                  </a:lnTo>
                  <a:lnTo>
                    <a:pt x="108" y="94"/>
                  </a:lnTo>
                  <a:lnTo>
                    <a:pt x="108" y="94"/>
                  </a:lnTo>
                  <a:lnTo>
                    <a:pt x="106" y="94"/>
                  </a:lnTo>
                  <a:lnTo>
                    <a:pt x="101" y="94"/>
                  </a:lnTo>
                  <a:lnTo>
                    <a:pt x="99" y="94"/>
                  </a:lnTo>
                  <a:lnTo>
                    <a:pt x="96" y="97"/>
                  </a:lnTo>
                  <a:lnTo>
                    <a:pt x="94" y="97"/>
                  </a:lnTo>
                  <a:lnTo>
                    <a:pt x="94" y="99"/>
                  </a:lnTo>
                  <a:lnTo>
                    <a:pt x="92" y="99"/>
                  </a:lnTo>
                  <a:lnTo>
                    <a:pt x="92" y="99"/>
                  </a:lnTo>
                  <a:lnTo>
                    <a:pt x="92" y="97"/>
                  </a:lnTo>
                  <a:lnTo>
                    <a:pt x="92" y="94"/>
                  </a:lnTo>
                  <a:lnTo>
                    <a:pt x="92" y="92"/>
                  </a:lnTo>
                  <a:lnTo>
                    <a:pt x="92" y="90"/>
                  </a:lnTo>
                  <a:lnTo>
                    <a:pt x="92" y="87"/>
                  </a:lnTo>
                  <a:lnTo>
                    <a:pt x="89" y="87"/>
                  </a:lnTo>
                  <a:lnTo>
                    <a:pt x="89" y="87"/>
                  </a:lnTo>
                  <a:lnTo>
                    <a:pt x="89" y="85"/>
                  </a:lnTo>
                  <a:lnTo>
                    <a:pt x="87" y="82"/>
                  </a:lnTo>
                  <a:lnTo>
                    <a:pt x="89" y="80"/>
                  </a:lnTo>
                  <a:lnTo>
                    <a:pt x="89" y="78"/>
                  </a:lnTo>
                  <a:lnTo>
                    <a:pt x="92" y="78"/>
                  </a:lnTo>
                  <a:lnTo>
                    <a:pt x="92" y="78"/>
                  </a:lnTo>
                  <a:lnTo>
                    <a:pt x="89" y="75"/>
                  </a:lnTo>
                  <a:lnTo>
                    <a:pt x="89" y="75"/>
                  </a:lnTo>
                  <a:lnTo>
                    <a:pt x="92" y="71"/>
                  </a:lnTo>
                  <a:lnTo>
                    <a:pt x="92" y="71"/>
                  </a:lnTo>
                  <a:lnTo>
                    <a:pt x="94" y="71"/>
                  </a:lnTo>
                  <a:lnTo>
                    <a:pt x="94" y="71"/>
                  </a:lnTo>
                  <a:lnTo>
                    <a:pt x="94" y="68"/>
                  </a:lnTo>
                  <a:lnTo>
                    <a:pt x="94" y="68"/>
                  </a:lnTo>
                  <a:lnTo>
                    <a:pt x="96" y="66"/>
                  </a:lnTo>
                  <a:lnTo>
                    <a:pt x="96" y="64"/>
                  </a:lnTo>
                  <a:lnTo>
                    <a:pt x="96" y="64"/>
                  </a:lnTo>
                  <a:lnTo>
                    <a:pt x="99" y="64"/>
                  </a:lnTo>
                  <a:lnTo>
                    <a:pt x="99" y="64"/>
                  </a:lnTo>
                  <a:lnTo>
                    <a:pt x="101" y="61"/>
                  </a:lnTo>
                  <a:lnTo>
                    <a:pt x="101" y="59"/>
                  </a:lnTo>
                  <a:lnTo>
                    <a:pt x="103" y="56"/>
                  </a:lnTo>
                  <a:lnTo>
                    <a:pt x="103" y="56"/>
                  </a:lnTo>
                  <a:lnTo>
                    <a:pt x="103" y="56"/>
                  </a:lnTo>
                  <a:lnTo>
                    <a:pt x="103" y="56"/>
                  </a:lnTo>
                  <a:lnTo>
                    <a:pt x="103" y="54"/>
                  </a:lnTo>
                  <a:lnTo>
                    <a:pt x="101" y="52"/>
                  </a:lnTo>
                  <a:lnTo>
                    <a:pt x="101" y="52"/>
                  </a:lnTo>
                  <a:lnTo>
                    <a:pt x="103" y="52"/>
                  </a:lnTo>
                  <a:lnTo>
                    <a:pt x="103" y="49"/>
                  </a:lnTo>
                  <a:lnTo>
                    <a:pt x="103" y="47"/>
                  </a:lnTo>
                  <a:lnTo>
                    <a:pt x="103" y="45"/>
                  </a:lnTo>
                  <a:lnTo>
                    <a:pt x="103" y="42"/>
                  </a:lnTo>
                  <a:lnTo>
                    <a:pt x="101" y="40"/>
                  </a:lnTo>
                  <a:lnTo>
                    <a:pt x="101" y="38"/>
                  </a:lnTo>
                  <a:lnTo>
                    <a:pt x="101" y="35"/>
                  </a:lnTo>
                  <a:lnTo>
                    <a:pt x="101" y="33"/>
                  </a:lnTo>
                  <a:lnTo>
                    <a:pt x="99" y="28"/>
                  </a:lnTo>
                  <a:lnTo>
                    <a:pt x="99" y="28"/>
                  </a:lnTo>
                  <a:lnTo>
                    <a:pt x="99" y="23"/>
                  </a:lnTo>
                  <a:lnTo>
                    <a:pt x="96" y="21"/>
                  </a:lnTo>
                  <a:lnTo>
                    <a:pt x="96" y="21"/>
                  </a:lnTo>
                  <a:lnTo>
                    <a:pt x="94" y="19"/>
                  </a:lnTo>
                  <a:lnTo>
                    <a:pt x="94" y="19"/>
                  </a:lnTo>
                  <a:lnTo>
                    <a:pt x="92" y="19"/>
                  </a:lnTo>
                  <a:lnTo>
                    <a:pt x="92" y="21"/>
                  </a:lnTo>
                  <a:lnTo>
                    <a:pt x="92" y="21"/>
                  </a:lnTo>
                  <a:lnTo>
                    <a:pt x="92" y="21"/>
                  </a:lnTo>
                  <a:lnTo>
                    <a:pt x="89" y="21"/>
                  </a:lnTo>
                  <a:lnTo>
                    <a:pt x="89" y="19"/>
                  </a:lnTo>
                  <a:lnTo>
                    <a:pt x="87" y="12"/>
                  </a:lnTo>
                  <a:lnTo>
                    <a:pt x="85" y="12"/>
                  </a:lnTo>
                  <a:lnTo>
                    <a:pt x="85" y="9"/>
                  </a:lnTo>
                  <a:lnTo>
                    <a:pt x="85" y="7"/>
                  </a:lnTo>
                  <a:lnTo>
                    <a:pt x="82" y="7"/>
                  </a:lnTo>
                  <a:lnTo>
                    <a:pt x="80" y="4"/>
                  </a:lnTo>
                  <a:lnTo>
                    <a:pt x="80" y="4"/>
                  </a:lnTo>
                  <a:lnTo>
                    <a:pt x="80" y="4"/>
                  </a:lnTo>
                  <a:lnTo>
                    <a:pt x="77" y="4"/>
                  </a:lnTo>
                  <a:lnTo>
                    <a:pt x="77" y="4"/>
                  </a:lnTo>
                  <a:lnTo>
                    <a:pt x="77" y="2"/>
                  </a:lnTo>
                  <a:lnTo>
                    <a:pt x="75" y="2"/>
                  </a:lnTo>
                  <a:lnTo>
                    <a:pt x="75" y="2"/>
                  </a:lnTo>
                  <a:lnTo>
                    <a:pt x="75" y="0"/>
                  </a:lnTo>
                  <a:lnTo>
                    <a:pt x="73" y="0"/>
                  </a:lnTo>
                  <a:lnTo>
                    <a:pt x="73" y="2"/>
                  </a:lnTo>
                  <a:lnTo>
                    <a:pt x="73" y="2"/>
                  </a:lnTo>
                  <a:lnTo>
                    <a:pt x="73" y="4"/>
                  </a:lnTo>
                  <a:lnTo>
                    <a:pt x="70" y="7"/>
                  </a:lnTo>
                  <a:lnTo>
                    <a:pt x="70" y="7"/>
                  </a:lnTo>
                  <a:lnTo>
                    <a:pt x="70" y="9"/>
                  </a:lnTo>
                  <a:lnTo>
                    <a:pt x="70" y="9"/>
                  </a:lnTo>
                  <a:lnTo>
                    <a:pt x="70" y="12"/>
                  </a:lnTo>
                  <a:lnTo>
                    <a:pt x="73" y="12"/>
                  </a:lnTo>
                  <a:lnTo>
                    <a:pt x="73" y="14"/>
                  </a:lnTo>
                  <a:lnTo>
                    <a:pt x="70" y="14"/>
                  </a:lnTo>
                  <a:lnTo>
                    <a:pt x="70" y="14"/>
                  </a:lnTo>
                  <a:lnTo>
                    <a:pt x="68" y="14"/>
                  </a:lnTo>
                  <a:lnTo>
                    <a:pt x="68" y="16"/>
                  </a:lnTo>
                  <a:lnTo>
                    <a:pt x="66" y="19"/>
                  </a:lnTo>
                  <a:lnTo>
                    <a:pt x="66" y="19"/>
                  </a:lnTo>
                  <a:lnTo>
                    <a:pt x="66" y="21"/>
                  </a:lnTo>
                  <a:lnTo>
                    <a:pt x="66" y="21"/>
                  </a:lnTo>
                  <a:lnTo>
                    <a:pt x="66" y="23"/>
                  </a:lnTo>
                  <a:lnTo>
                    <a:pt x="70" y="28"/>
                  </a:lnTo>
                  <a:lnTo>
                    <a:pt x="70" y="30"/>
                  </a:lnTo>
                  <a:lnTo>
                    <a:pt x="70" y="30"/>
                  </a:lnTo>
                  <a:lnTo>
                    <a:pt x="68" y="30"/>
                  </a:lnTo>
                  <a:lnTo>
                    <a:pt x="66" y="28"/>
                  </a:lnTo>
                  <a:lnTo>
                    <a:pt x="66" y="26"/>
                  </a:lnTo>
                  <a:lnTo>
                    <a:pt x="63" y="26"/>
                  </a:lnTo>
                  <a:lnTo>
                    <a:pt x="63" y="26"/>
                  </a:lnTo>
                  <a:lnTo>
                    <a:pt x="56" y="26"/>
                  </a:lnTo>
                  <a:lnTo>
                    <a:pt x="54" y="28"/>
                  </a:lnTo>
                  <a:lnTo>
                    <a:pt x="52" y="28"/>
                  </a:lnTo>
                  <a:lnTo>
                    <a:pt x="52" y="30"/>
                  </a:lnTo>
                  <a:lnTo>
                    <a:pt x="49" y="33"/>
                  </a:lnTo>
                  <a:lnTo>
                    <a:pt x="49" y="33"/>
                  </a:lnTo>
                  <a:lnTo>
                    <a:pt x="47" y="33"/>
                  </a:lnTo>
                  <a:lnTo>
                    <a:pt x="42" y="38"/>
                  </a:lnTo>
                  <a:lnTo>
                    <a:pt x="40" y="40"/>
                  </a:lnTo>
                  <a:lnTo>
                    <a:pt x="40" y="40"/>
                  </a:lnTo>
                  <a:lnTo>
                    <a:pt x="37" y="42"/>
                  </a:lnTo>
                  <a:lnTo>
                    <a:pt x="37" y="42"/>
                  </a:lnTo>
                  <a:lnTo>
                    <a:pt x="37" y="45"/>
                  </a:lnTo>
                  <a:lnTo>
                    <a:pt x="37" y="47"/>
                  </a:lnTo>
                  <a:lnTo>
                    <a:pt x="37" y="49"/>
                  </a:lnTo>
                  <a:lnTo>
                    <a:pt x="40" y="52"/>
                  </a:lnTo>
                  <a:lnTo>
                    <a:pt x="40" y="52"/>
                  </a:lnTo>
                  <a:lnTo>
                    <a:pt x="40" y="54"/>
                  </a:lnTo>
                  <a:lnTo>
                    <a:pt x="40" y="54"/>
                  </a:lnTo>
                  <a:lnTo>
                    <a:pt x="37" y="54"/>
                  </a:lnTo>
                  <a:lnTo>
                    <a:pt x="37" y="56"/>
                  </a:lnTo>
                  <a:lnTo>
                    <a:pt x="37" y="59"/>
                  </a:lnTo>
                  <a:lnTo>
                    <a:pt x="37" y="61"/>
                  </a:lnTo>
                  <a:lnTo>
                    <a:pt x="37" y="61"/>
                  </a:lnTo>
                  <a:lnTo>
                    <a:pt x="35" y="64"/>
                  </a:lnTo>
                  <a:lnTo>
                    <a:pt x="33" y="66"/>
                  </a:lnTo>
                  <a:lnTo>
                    <a:pt x="33" y="66"/>
                  </a:lnTo>
                  <a:lnTo>
                    <a:pt x="33" y="68"/>
                  </a:lnTo>
                  <a:lnTo>
                    <a:pt x="33" y="71"/>
                  </a:lnTo>
                  <a:lnTo>
                    <a:pt x="33" y="71"/>
                  </a:lnTo>
                  <a:lnTo>
                    <a:pt x="33" y="71"/>
                  </a:lnTo>
                  <a:lnTo>
                    <a:pt x="33" y="71"/>
                  </a:lnTo>
                  <a:lnTo>
                    <a:pt x="35" y="73"/>
                  </a:lnTo>
                  <a:lnTo>
                    <a:pt x="35" y="73"/>
                  </a:lnTo>
                  <a:lnTo>
                    <a:pt x="35" y="73"/>
                  </a:lnTo>
                  <a:lnTo>
                    <a:pt x="35" y="75"/>
                  </a:lnTo>
                  <a:lnTo>
                    <a:pt x="35" y="80"/>
                  </a:lnTo>
                  <a:lnTo>
                    <a:pt x="33" y="82"/>
                  </a:lnTo>
                  <a:lnTo>
                    <a:pt x="33" y="85"/>
                  </a:lnTo>
                  <a:lnTo>
                    <a:pt x="30" y="87"/>
                  </a:lnTo>
                  <a:lnTo>
                    <a:pt x="30" y="90"/>
                  </a:lnTo>
                  <a:lnTo>
                    <a:pt x="30" y="94"/>
                  </a:lnTo>
                  <a:lnTo>
                    <a:pt x="30" y="97"/>
                  </a:lnTo>
                  <a:lnTo>
                    <a:pt x="28" y="99"/>
                  </a:lnTo>
                  <a:lnTo>
                    <a:pt x="28" y="99"/>
                  </a:lnTo>
                  <a:lnTo>
                    <a:pt x="26" y="99"/>
                  </a:lnTo>
                  <a:lnTo>
                    <a:pt x="23" y="97"/>
                  </a:lnTo>
                  <a:lnTo>
                    <a:pt x="21" y="97"/>
                  </a:lnTo>
                  <a:lnTo>
                    <a:pt x="21" y="97"/>
                  </a:lnTo>
                  <a:lnTo>
                    <a:pt x="19" y="97"/>
                  </a:lnTo>
                  <a:lnTo>
                    <a:pt x="19" y="97"/>
                  </a:lnTo>
                  <a:lnTo>
                    <a:pt x="16" y="97"/>
                  </a:lnTo>
                  <a:lnTo>
                    <a:pt x="16" y="97"/>
                  </a:lnTo>
                  <a:lnTo>
                    <a:pt x="14" y="94"/>
                  </a:lnTo>
                  <a:lnTo>
                    <a:pt x="14" y="94"/>
                  </a:lnTo>
                  <a:lnTo>
                    <a:pt x="14" y="97"/>
                  </a:lnTo>
                  <a:lnTo>
                    <a:pt x="16" y="101"/>
                  </a:lnTo>
                  <a:lnTo>
                    <a:pt x="16" y="104"/>
                  </a:lnTo>
                  <a:lnTo>
                    <a:pt x="16" y="106"/>
                  </a:lnTo>
                  <a:lnTo>
                    <a:pt x="16" y="111"/>
                  </a:lnTo>
                  <a:lnTo>
                    <a:pt x="16" y="116"/>
                  </a:lnTo>
                  <a:lnTo>
                    <a:pt x="16" y="116"/>
                  </a:lnTo>
                  <a:lnTo>
                    <a:pt x="16" y="116"/>
                  </a:lnTo>
                  <a:lnTo>
                    <a:pt x="16" y="118"/>
                  </a:lnTo>
                  <a:lnTo>
                    <a:pt x="14" y="116"/>
                  </a:lnTo>
                  <a:lnTo>
                    <a:pt x="14" y="116"/>
                  </a:lnTo>
                  <a:lnTo>
                    <a:pt x="14" y="118"/>
                  </a:lnTo>
                  <a:lnTo>
                    <a:pt x="14" y="120"/>
                  </a:lnTo>
                  <a:lnTo>
                    <a:pt x="14" y="120"/>
                  </a:lnTo>
                  <a:lnTo>
                    <a:pt x="14" y="123"/>
                  </a:lnTo>
                  <a:lnTo>
                    <a:pt x="14" y="125"/>
                  </a:lnTo>
                  <a:lnTo>
                    <a:pt x="14" y="127"/>
                  </a:lnTo>
                  <a:lnTo>
                    <a:pt x="16" y="130"/>
                  </a:lnTo>
                  <a:lnTo>
                    <a:pt x="16" y="132"/>
                  </a:lnTo>
                  <a:lnTo>
                    <a:pt x="16" y="135"/>
                  </a:lnTo>
                  <a:lnTo>
                    <a:pt x="16" y="135"/>
                  </a:lnTo>
                  <a:lnTo>
                    <a:pt x="14" y="135"/>
                  </a:lnTo>
                  <a:lnTo>
                    <a:pt x="14" y="135"/>
                  </a:lnTo>
                  <a:lnTo>
                    <a:pt x="14" y="135"/>
                  </a:lnTo>
                  <a:lnTo>
                    <a:pt x="14" y="139"/>
                  </a:lnTo>
                  <a:lnTo>
                    <a:pt x="11" y="139"/>
                  </a:lnTo>
                  <a:lnTo>
                    <a:pt x="11" y="139"/>
                  </a:lnTo>
                  <a:lnTo>
                    <a:pt x="9" y="137"/>
                  </a:lnTo>
                  <a:lnTo>
                    <a:pt x="9" y="135"/>
                  </a:lnTo>
                  <a:lnTo>
                    <a:pt x="7" y="135"/>
                  </a:lnTo>
                  <a:lnTo>
                    <a:pt x="7" y="137"/>
                  </a:lnTo>
                  <a:lnTo>
                    <a:pt x="7" y="137"/>
                  </a:lnTo>
                  <a:lnTo>
                    <a:pt x="7" y="139"/>
                  </a:lnTo>
                  <a:lnTo>
                    <a:pt x="7" y="139"/>
                  </a:lnTo>
                  <a:lnTo>
                    <a:pt x="7" y="139"/>
                  </a:lnTo>
                  <a:lnTo>
                    <a:pt x="7" y="146"/>
                  </a:lnTo>
                  <a:lnTo>
                    <a:pt x="7" y="149"/>
                  </a:lnTo>
                  <a:lnTo>
                    <a:pt x="9" y="151"/>
                  </a:lnTo>
                  <a:lnTo>
                    <a:pt x="9" y="153"/>
                  </a:lnTo>
                  <a:lnTo>
                    <a:pt x="9" y="153"/>
                  </a:lnTo>
                  <a:lnTo>
                    <a:pt x="7" y="153"/>
                  </a:lnTo>
                  <a:lnTo>
                    <a:pt x="7" y="153"/>
                  </a:lnTo>
                  <a:lnTo>
                    <a:pt x="7" y="151"/>
                  </a:lnTo>
                  <a:lnTo>
                    <a:pt x="4" y="151"/>
                  </a:lnTo>
                  <a:lnTo>
                    <a:pt x="2" y="151"/>
                  </a:lnTo>
                  <a:lnTo>
                    <a:pt x="2" y="151"/>
                  </a:lnTo>
                  <a:lnTo>
                    <a:pt x="0" y="151"/>
                  </a:lnTo>
                  <a:lnTo>
                    <a:pt x="0" y="153"/>
                  </a:lnTo>
                  <a:lnTo>
                    <a:pt x="2" y="156"/>
                  </a:lnTo>
                  <a:lnTo>
                    <a:pt x="2" y="158"/>
                  </a:lnTo>
                  <a:lnTo>
                    <a:pt x="2" y="158"/>
                  </a:lnTo>
                  <a:lnTo>
                    <a:pt x="2" y="158"/>
                  </a:lnTo>
                  <a:lnTo>
                    <a:pt x="4" y="161"/>
                  </a:lnTo>
                  <a:lnTo>
                    <a:pt x="4" y="163"/>
                  </a:lnTo>
                  <a:lnTo>
                    <a:pt x="4" y="163"/>
                  </a:lnTo>
                  <a:lnTo>
                    <a:pt x="7" y="165"/>
                  </a:lnTo>
                  <a:lnTo>
                    <a:pt x="11" y="170"/>
                  </a:lnTo>
                  <a:lnTo>
                    <a:pt x="14" y="175"/>
                  </a:lnTo>
                  <a:lnTo>
                    <a:pt x="14" y="170"/>
                  </a:lnTo>
                  <a:lnTo>
                    <a:pt x="11" y="168"/>
                  </a:lnTo>
                  <a:lnTo>
                    <a:pt x="11" y="168"/>
                  </a:lnTo>
                  <a:lnTo>
                    <a:pt x="14" y="170"/>
                  </a:lnTo>
                  <a:lnTo>
                    <a:pt x="14" y="172"/>
                  </a:lnTo>
                  <a:lnTo>
                    <a:pt x="16" y="172"/>
                  </a:lnTo>
                  <a:lnTo>
                    <a:pt x="16" y="175"/>
                  </a:lnTo>
                  <a:lnTo>
                    <a:pt x="16" y="175"/>
                  </a:lnTo>
                  <a:lnTo>
                    <a:pt x="14" y="177"/>
                  </a:lnTo>
                  <a:lnTo>
                    <a:pt x="16" y="177"/>
                  </a:lnTo>
                  <a:lnTo>
                    <a:pt x="16" y="177"/>
                  </a:lnTo>
                  <a:lnTo>
                    <a:pt x="19" y="175"/>
                  </a:lnTo>
                  <a:lnTo>
                    <a:pt x="19" y="172"/>
                  </a:lnTo>
                  <a:lnTo>
                    <a:pt x="19" y="172"/>
                  </a:lnTo>
                  <a:lnTo>
                    <a:pt x="19" y="172"/>
                  </a:lnTo>
                  <a:lnTo>
                    <a:pt x="19" y="177"/>
                  </a:lnTo>
                  <a:lnTo>
                    <a:pt x="19" y="177"/>
                  </a:lnTo>
                  <a:lnTo>
                    <a:pt x="21" y="177"/>
                  </a:lnTo>
                  <a:lnTo>
                    <a:pt x="19" y="177"/>
                  </a:lnTo>
                  <a:lnTo>
                    <a:pt x="19" y="179"/>
                  </a:lnTo>
                  <a:lnTo>
                    <a:pt x="21" y="184"/>
                  </a:lnTo>
                  <a:lnTo>
                    <a:pt x="23" y="184"/>
                  </a:lnTo>
                  <a:lnTo>
                    <a:pt x="23" y="182"/>
                  </a:lnTo>
                  <a:lnTo>
                    <a:pt x="21" y="179"/>
                  </a:lnTo>
                  <a:lnTo>
                    <a:pt x="23" y="179"/>
                  </a:lnTo>
                  <a:lnTo>
                    <a:pt x="26" y="179"/>
                  </a:lnTo>
                  <a:lnTo>
                    <a:pt x="26" y="179"/>
                  </a:lnTo>
                  <a:lnTo>
                    <a:pt x="26" y="179"/>
                  </a:lnTo>
                  <a:lnTo>
                    <a:pt x="30" y="182"/>
                  </a:lnTo>
                  <a:lnTo>
                    <a:pt x="33" y="182"/>
                  </a:lnTo>
                  <a:lnTo>
                    <a:pt x="30" y="184"/>
                  </a:lnTo>
                  <a:lnTo>
                    <a:pt x="30" y="184"/>
                  </a:lnTo>
                  <a:lnTo>
                    <a:pt x="33" y="187"/>
                  </a:lnTo>
                  <a:lnTo>
                    <a:pt x="33" y="187"/>
                  </a:lnTo>
                  <a:lnTo>
                    <a:pt x="33" y="189"/>
                  </a:lnTo>
                  <a:lnTo>
                    <a:pt x="33" y="189"/>
                  </a:lnTo>
                  <a:lnTo>
                    <a:pt x="35" y="191"/>
                  </a:lnTo>
                  <a:lnTo>
                    <a:pt x="37" y="191"/>
                  </a:lnTo>
                  <a:lnTo>
                    <a:pt x="37" y="191"/>
                  </a:lnTo>
                  <a:lnTo>
                    <a:pt x="37" y="191"/>
                  </a:lnTo>
                  <a:lnTo>
                    <a:pt x="37" y="194"/>
                  </a:lnTo>
                  <a:lnTo>
                    <a:pt x="37" y="196"/>
                  </a:lnTo>
                  <a:lnTo>
                    <a:pt x="35" y="196"/>
                  </a:lnTo>
                  <a:lnTo>
                    <a:pt x="35" y="196"/>
                  </a:lnTo>
                  <a:lnTo>
                    <a:pt x="30" y="194"/>
                  </a:lnTo>
                  <a:lnTo>
                    <a:pt x="30" y="194"/>
                  </a:lnTo>
                  <a:lnTo>
                    <a:pt x="30" y="194"/>
                  </a:lnTo>
                  <a:lnTo>
                    <a:pt x="33" y="198"/>
                  </a:lnTo>
                  <a:lnTo>
                    <a:pt x="35" y="201"/>
                  </a:lnTo>
                  <a:lnTo>
                    <a:pt x="35" y="203"/>
                  </a:lnTo>
                  <a:lnTo>
                    <a:pt x="37" y="203"/>
                  </a:lnTo>
                  <a:lnTo>
                    <a:pt x="40" y="203"/>
                  </a:lnTo>
                  <a:lnTo>
                    <a:pt x="40" y="201"/>
                  </a:lnTo>
                  <a:lnTo>
                    <a:pt x="37" y="198"/>
                  </a:lnTo>
                  <a:lnTo>
                    <a:pt x="40" y="198"/>
                  </a:lnTo>
                  <a:lnTo>
                    <a:pt x="40" y="196"/>
                  </a:lnTo>
                  <a:lnTo>
                    <a:pt x="40" y="196"/>
                  </a:lnTo>
                  <a:lnTo>
                    <a:pt x="40" y="198"/>
                  </a:lnTo>
                  <a:lnTo>
                    <a:pt x="42" y="203"/>
                  </a:lnTo>
                  <a:lnTo>
                    <a:pt x="42" y="205"/>
                  </a:lnTo>
                  <a:lnTo>
                    <a:pt x="44" y="208"/>
                  </a:lnTo>
                  <a:lnTo>
                    <a:pt x="44" y="208"/>
                  </a:lnTo>
                  <a:lnTo>
                    <a:pt x="44" y="210"/>
                  </a:lnTo>
                  <a:lnTo>
                    <a:pt x="47" y="213"/>
                  </a:lnTo>
                  <a:lnTo>
                    <a:pt x="49" y="220"/>
                  </a:lnTo>
                  <a:lnTo>
                    <a:pt x="52" y="227"/>
                  </a:lnTo>
                  <a:lnTo>
                    <a:pt x="54" y="229"/>
                  </a:lnTo>
                  <a:lnTo>
                    <a:pt x="54" y="231"/>
                  </a:lnTo>
                  <a:lnTo>
                    <a:pt x="54" y="236"/>
                  </a:lnTo>
                  <a:lnTo>
                    <a:pt x="54" y="241"/>
                  </a:lnTo>
                  <a:lnTo>
                    <a:pt x="54" y="241"/>
                  </a:lnTo>
                  <a:lnTo>
                    <a:pt x="54" y="246"/>
                  </a:lnTo>
                  <a:lnTo>
                    <a:pt x="52" y="246"/>
                  </a:lnTo>
                  <a:lnTo>
                    <a:pt x="52" y="250"/>
                  </a:lnTo>
                  <a:lnTo>
                    <a:pt x="52" y="253"/>
                  </a:lnTo>
                  <a:lnTo>
                    <a:pt x="52" y="255"/>
                  </a:lnTo>
                  <a:lnTo>
                    <a:pt x="52" y="262"/>
                  </a:lnTo>
                  <a:lnTo>
                    <a:pt x="52" y="265"/>
                  </a:lnTo>
                  <a:lnTo>
                    <a:pt x="52" y="265"/>
                  </a:lnTo>
                  <a:lnTo>
                    <a:pt x="54" y="262"/>
                  </a:lnTo>
                  <a:lnTo>
                    <a:pt x="56" y="262"/>
                  </a:lnTo>
                  <a:lnTo>
                    <a:pt x="56" y="260"/>
                  </a:lnTo>
                  <a:lnTo>
                    <a:pt x="59" y="257"/>
                  </a:lnTo>
                  <a:lnTo>
                    <a:pt x="59" y="257"/>
                  </a:lnTo>
                  <a:lnTo>
                    <a:pt x="59" y="255"/>
                  </a:lnTo>
                  <a:lnTo>
                    <a:pt x="59" y="255"/>
                  </a:lnTo>
                  <a:lnTo>
                    <a:pt x="59" y="255"/>
                  </a:lnTo>
                  <a:lnTo>
                    <a:pt x="59" y="257"/>
                  </a:lnTo>
                  <a:lnTo>
                    <a:pt x="59" y="260"/>
                  </a:lnTo>
                  <a:lnTo>
                    <a:pt x="59" y="262"/>
                  </a:lnTo>
                  <a:lnTo>
                    <a:pt x="59" y="265"/>
                  </a:lnTo>
                  <a:lnTo>
                    <a:pt x="59" y="265"/>
                  </a:lnTo>
                  <a:lnTo>
                    <a:pt x="59" y="267"/>
                  </a:lnTo>
                  <a:lnTo>
                    <a:pt x="61" y="265"/>
                  </a:lnTo>
                  <a:lnTo>
                    <a:pt x="63" y="265"/>
                  </a:lnTo>
                  <a:lnTo>
                    <a:pt x="63" y="262"/>
                  </a:lnTo>
                  <a:lnTo>
                    <a:pt x="63" y="262"/>
                  </a:lnTo>
                  <a:lnTo>
                    <a:pt x="63" y="262"/>
                  </a:lnTo>
                  <a:lnTo>
                    <a:pt x="63" y="262"/>
                  </a:lnTo>
                  <a:lnTo>
                    <a:pt x="63" y="265"/>
                  </a:lnTo>
                  <a:lnTo>
                    <a:pt x="63" y="265"/>
                  </a:lnTo>
                  <a:lnTo>
                    <a:pt x="66" y="269"/>
                  </a:lnTo>
                  <a:lnTo>
                    <a:pt x="68" y="269"/>
                  </a:lnTo>
                  <a:lnTo>
                    <a:pt x="68" y="269"/>
                  </a:lnTo>
                  <a:lnTo>
                    <a:pt x="70" y="267"/>
                  </a:lnTo>
                  <a:lnTo>
                    <a:pt x="70" y="265"/>
                  </a:lnTo>
                  <a:lnTo>
                    <a:pt x="70" y="262"/>
                  </a:lnTo>
                  <a:lnTo>
                    <a:pt x="73" y="265"/>
                  </a:lnTo>
                  <a:lnTo>
                    <a:pt x="70" y="267"/>
                  </a:lnTo>
                  <a:lnTo>
                    <a:pt x="70" y="269"/>
                  </a:lnTo>
                  <a:lnTo>
                    <a:pt x="73" y="272"/>
                  </a:lnTo>
                  <a:lnTo>
                    <a:pt x="73" y="272"/>
                  </a:lnTo>
                  <a:lnTo>
                    <a:pt x="75" y="269"/>
                  </a:lnTo>
                  <a:lnTo>
                    <a:pt x="77" y="265"/>
                  </a:lnTo>
                  <a:lnTo>
                    <a:pt x="77" y="265"/>
                  </a:lnTo>
                  <a:lnTo>
                    <a:pt x="80" y="262"/>
                  </a:lnTo>
                  <a:lnTo>
                    <a:pt x="82" y="260"/>
                  </a:lnTo>
                  <a:lnTo>
                    <a:pt x="85" y="260"/>
                  </a:lnTo>
                  <a:lnTo>
                    <a:pt x="85" y="257"/>
                  </a:lnTo>
                  <a:lnTo>
                    <a:pt x="85" y="257"/>
                  </a:lnTo>
                  <a:lnTo>
                    <a:pt x="85" y="257"/>
                  </a:lnTo>
                  <a:lnTo>
                    <a:pt x="89" y="257"/>
                  </a:lnTo>
                  <a:lnTo>
                    <a:pt x="89" y="255"/>
                  </a:lnTo>
                  <a:lnTo>
                    <a:pt x="87" y="253"/>
                  </a:lnTo>
                  <a:lnTo>
                    <a:pt x="87" y="253"/>
                  </a:lnTo>
                  <a:lnTo>
                    <a:pt x="85" y="248"/>
                  </a:lnTo>
                  <a:lnTo>
                    <a:pt x="87" y="248"/>
                  </a:lnTo>
                  <a:lnTo>
                    <a:pt x="87" y="248"/>
                  </a:lnTo>
                  <a:lnTo>
                    <a:pt x="87" y="250"/>
                  </a:lnTo>
                  <a:lnTo>
                    <a:pt x="87" y="253"/>
                  </a:lnTo>
                  <a:lnTo>
                    <a:pt x="89" y="255"/>
                  </a:lnTo>
                  <a:lnTo>
                    <a:pt x="89" y="255"/>
                  </a:lnTo>
                  <a:lnTo>
                    <a:pt x="92" y="255"/>
                  </a:lnTo>
                  <a:lnTo>
                    <a:pt x="94" y="253"/>
                  </a:lnTo>
                  <a:lnTo>
                    <a:pt x="96" y="250"/>
                  </a:lnTo>
                  <a:lnTo>
                    <a:pt x="96" y="248"/>
                  </a:lnTo>
                  <a:lnTo>
                    <a:pt x="96" y="246"/>
                  </a:lnTo>
                  <a:lnTo>
                    <a:pt x="99" y="243"/>
                  </a:lnTo>
                  <a:lnTo>
                    <a:pt x="96" y="239"/>
                  </a:lnTo>
                  <a:lnTo>
                    <a:pt x="96" y="239"/>
                  </a:lnTo>
                  <a:lnTo>
                    <a:pt x="96" y="236"/>
                  </a:lnTo>
                  <a:lnTo>
                    <a:pt x="96" y="236"/>
                  </a:lnTo>
                  <a:lnTo>
                    <a:pt x="99" y="236"/>
                  </a:lnTo>
                  <a:lnTo>
                    <a:pt x="101" y="239"/>
                  </a:lnTo>
                  <a:lnTo>
                    <a:pt x="101" y="241"/>
                  </a:lnTo>
                  <a:lnTo>
                    <a:pt x="103" y="241"/>
                  </a:lnTo>
                  <a:lnTo>
                    <a:pt x="103" y="243"/>
                  </a:lnTo>
                  <a:lnTo>
                    <a:pt x="103" y="246"/>
                  </a:lnTo>
                  <a:lnTo>
                    <a:pt x="106" y="250"/>
                  </a:lnTo>
                  <a:lnTo>
                    <a:pt x="106" y="250"/>
                  </a:lnTo>
                  <a:lnTo>
                    <a:pt x="108" y="255"/>
                  </a:lnTo>
                  <a:lnTo>
                    <a:pt x="110" y="253"/>
                  </a:lnTo>
                  <a:lnTo>
                    <a:pt x="113" y="253"/>
                  </a:lnTo>
                  <a:lnTo>
                    <a:pt x="113" y="253"/>
                  </a:lnTo>
                  <a:lnTo>
                    <a:pt x="115" y="253"/>
                  </a:lnTo>
                  <a:lnTo>
                    <a:pt x="113" y="255"/>
                  </a:lnTo>
                  <a:lnTo>
                    <a:pt x="113" y="255"/>
                  </a:lnTo>
                  <a:lnTo>
                    <a:pt x="113" y="260"/>
                  </a:lnTo>
                  <a:lnTo>
                    <a:pt x="113" y="262"/>
                  </a:lnTo>
                  <a:lnTo>
                    <a:pt x="113" y="265"/>
                  </a:lnTo>
                  <a:lnTo>
                    <a:pt x="115" y="267"/>
                  </a:lnTo>
                  <a:lnTo>
                    <a:pt x="118" y="276"/>
                  </a:lnTo>
                  <a:lnTo>
                    <a:pt x="118" y="279"/>
                  </a:lnTo>
                  <a:lnTo>
                    <a:pt x="118" y="281"/>
                  </a:lnTo>
                  <a:lnTo>
                    <a:pt x="120" y="288"/>
                  </a:lnTo>
                  <a:lnTo>
                    <a:pt x="120" y="291"/>
                  </a:lnTo>
                  <a:lnTo>
                    <a:pt x="122" y="291"/>
                  </a:lnTo>
                  <a:lnTo>
                    <a:pt x="125" y="293"/>
                  </a:lnTo>
                  <a:lnTo>
                    <a:pt x="122" y="293"/>
                  </a:lnTo>
                  <a:lnTo>
                    <a:pt x="122" y="293"/>
                  </a:lnTo>
                  <a:lnTo>
                    <a:pt x="122" y="298"/>
                  </a:lnTo>
                  <a:lnTo>
                    <a:pt x="125" y="300"/>
                  </a:lnTo>
                  <a:lnTo>
                    <a:pt x="127" y="305"/>
                  </a:lnTo>
                  <a:lnTo>
                    <a:pt x="127" y="307"/>
                  </a:lnTo>
                  <a:lnTo>
                    <a:pt x="127" y="309"/>
                  </a:lnTo>
                  <a:lnTo>
                    <a:pt x="127" y="314"/>
                  </a:lnTo>
                  <a:lnTo>
                    <a:pt x="129" y="314"/>
                  </a:lnTo>
                  <a:lnTo>
                    <a:pt x="129" y="307"/>
                  </a:lnTo>
                  <a:lnTo>
                    <a:pt x="129" y="309"/>
                  </a:lnTo>
                  <a:lnTo>
                    <a:pt x="129" y="309"/>
                  </a:lnTo>
                  <a:lnTo>
                    <a:pt x="129" y="312"/>
                  </a:lnTo>
                  <a:lnTo>
                    <a:pt x="134" y="319"/>
                  </a:lnTo>
                  <a:lnTo>
                    <a:pt x="134" y="321"/>
                  </a:lnTo>
                  <a:lnTo>
                    <a:pt x="136" y="326"/>
                  </a:lnTo>
                  <a:lnTo>
                    <a:pt x="139" y="328"/>
                  </a:lnTo>
                  <a:lnTo>
                    <a:pt x="139" y="331"/>
                  </a:lnTo>
                  <a:lnTo>
                    <a:pt x="139" y="333"/>
                  </a:lnTo>
                  <a:lnTo>
                    <a:pt x="139" y="335"/>
                  </a:lnTo>
                  <a:lnTo>
                    <a:pt x="139" y="338"/>
                  </a:lnTo>
                  <a:lnTo>
                    <a:pt x="139" y="340"/>
                  </a:lnTo>
                  <a:lnTo>
                    <a:pt x="141" y="343"/>
                  </a:lnTo>
                  <a:lnTo>
                    <a:pt x="139" y="343"/>
                  </a:lnTo>
                  <a:lnTo>
                    <a:pt x="139" y="345"/>
                  </a:lnTo>
                  <a:lnTo>
                    <a:pt x="139" y="345"/>
                  </a:lnTo>
                  <a:lnTo>
                    <a:pt x="141" y="345"/>
                  </a:lnTo>
                  <a:lnTo>
                    <a:pt x="141" y="347"/>
                  </a:lnTo>
                  <a:lnTo>
                    <a:pt x="141" y="347"/>
                  </a:lnTo>
                  <a:lnTo>
                    <a:pt x="141" y="350"/>
                  </a:lnTo>
                  <a:lnTo>
                    <a:pt x="141" y="352"/>
                  </a:lnTo>
                  <a:lnTo>
                    <a:pt x="141" y="352"/>
                  </a:lnTo>
                  <a:lnTo>
                    <a:pt x="141" y="354"/>
                  </a:lnTo>
                  <a:lnTo>
                    <a:pt x="141" y="354"/>
                  </a:lnTo>
                  <a:lnTo>
                    <a:pt x="141" y="354"/>
                  </a:lnTo>
                  <a:lnTo>
                    <a:pt x="143" y="354"/>
                  </a:lnTo>
                  <a:lnTo>
                    <a:pt x="143" y="354"/>
                  </a:lnTo>
                  <a:lnTo>
                    <a:pt x="146" y="354"/>
                  </a:lnTo>
                  <a:lnTo>
                    <a:pt x="143" y="357"/>
                  </a:lnTo>
                  <a:lnTo>
                    <a:pt x="143" y="359"/>
                  </a:lnTo>
                  <a:lnTo>
                    <a:pt x="143" y="359"/>
                  </a:lnTo>
                  <a:lnTo>
                    <a:pt x="143" y="361"/>
                  </a:lnTo>
                  <a:lnTo>
                    <a:pt x="143" y="364"/>
                  </a:lnTo>
                  <a:lnTo>
                    <a:pt x="143" y="366"/>
                  </a:lnTo>
                  <a:lnTo>
                    <a:pt x="143" y="369"/>
                  </a:lnTo>
                  <a:lnTo>
                    <a:pt x="143" y="371"/>
                  </a:lnTo>
                  <a:lnTo>
                    <a:pt x="141" y="373"/>
                  </a:lnTo>
                  <a:lnTo>
                    <a:pt x="141" y="376"/>
                  </a:lnTo>
                  <a:lnTo>
                    <a:pt x="139" y="376"/>
                  </a:lnTo>
                  <a:lnTo>
                    <a:pt x="139" y="378"/>
                  </a:lnTo>
                  <a:lnTo>
                    <a:pt x="141" y="385"/>
                  </a:lnTo>
                  <a:lnTo>
                    <a:pt x="141" y="388"/>
                  </a:lnTo>
                  <a:lnTo>
                    <a:pt x="141" y="390"/>
                  </a:lnTo>
                  <a:lnTo>
                    <a:pt x="141" y="390"/>
                  </a:lnTo>
                  <a:lnTo>
                    <a:pt x="143" y="388"/>
                  </a:lnTo>
                  <a:lnTo>
                    <a:pt x="143" y="388"/>
                  </a:lnTo>
                  <a:lnTo>
                    <a:pt x="143" y="385"/>
                  </a:lnTo>
                  <a:lnTo>
                    <a:pt x="146" y="385"/>
                  </a:lnTo>
                  <a:lnTo>
                    <a:pt x="146" y="383"/>
                  </a:lnTo>
                  <a:lnTo>
                    <a:pt x="146" y="380"/>
                  </a:lnTo>
                  <a:lnTo>
                    <a:pt x="143" y="378"/>
                  </a:lnTo>
                  <a:lnTo>
                    <a:pt x="143" y="378"/>
                  </a:lnTo>
                  <a:lnTo>
                    <a:pt x="146" y="376"/>
                  </a:lnTo>
                  <a:lnTo>
                    <a:pt x="146" y="376"/>
                  </a:lnTo>
                  <a:lnTo>
                    <a:pt x="148" y="373"/>
                  </a:lnTo>
                  <a:lnTo>
                    <a:pt x="153" y="369"/>
                  </a:lnTo>
                  <a:lnTo>
                    <a:pt x="155" y="361"/>
                  </a:lnTo>
                  <a:lnTo>
                    <a:pt x="155" y="359"/>
                  </a:lnTo>
                  <a:lnTo>
                    <a:pt x="155" y="357"/>
                  </a:lnTo>
                  <a:lnTo>
                    <a:pt x="158" y="357"/>
                  </a:lnTo>
                  <a:lnTo>
                    <a:pt x="158" y="357"/>
                  </a:lnTo>
                  <a:lnTo>
                    <a:pt x="158" y="354"/>
                  </a:lnTo>
                  <a:lnTo>
                    <a:pt x="158" y="354"/>
                  </a:lnTo>
                  <a:lnTo>
                    <a:pt x="158" y="347"/>
                  </a:lnTo>
                  <a:lnTo>
                    <a:pt x="155" y="345"/>
                  </a:lnTo>
                  <a:lnTo>
                    <a:pt x="155" y="343"/>
                  </a:lnTo>
                  <a:lnTo>
                    <a:pt x="153" y="340"/>
                  </a:lnTo>
                  <a:lnTo>
                    <a:pt x="153" y="340"/>
                  </a:lnTo>
                  <a:lnTo>
                    <a:pt x="153" y="338"/>
                  </a:lnTo>
                  <a:lnTo>
                    <a:pt x="153" y="338"/>
                  </a:lnTo>
                  <a:lnTo>
                    <a:pt x="151" y="335"/>
                  </a:lnTo>
                  <a:lnTo>
                    <a:pt x="151" y="333"/>
                  </a:lnTo>
                  <a:lnTo>
                    <a:pt x="148" y="331"/>
                  </a:lnTo>
                  <a:lnTo>
                    <a:pt x="148" y="328"/>
                  </a:lnTo>
                  <a:lnTo>
                    <a:pt x="148" y="328"/>
                  </a:lnTo>
                  <a:lnTo>
                    <a:pt x="146" y="326"/>
                  </a:lnTo>
                  <a:lnTo>
                    <a:pt x="148" y="324"/>
                  </a:lnTo>
                  <a:lnTo>
                    <a:pt x="148" y="324"/>
                  </a:lnTo>
                  <a:lnTo>
                    <a:pt x="148" y="319"/>
                  </a:lnTo>
                  <a:lnTo>
                    <a:pt x="146" y="317"/>
                  </a:lnTo>
                  <a:lnTo>
                    <a:pt x="146" y="314"/>
                  </a:lnTo>
                  <a:lnTo>
                    <a:pt x="146" y="312"/>
                  </a:lnTo>
                  <a:lnTo>
                    <a:pt x="143" y="309"/>
                  </a:lnTo>
                  <a:lnTo>
                    <a:pt x="141" y="307"/>
                  </a:lnTo>
                  <a:lnTo>
                    <a:pt x="139" y="302"/>
                  </a:lnTo>
                  <a:lnTo>
                    <a:pt x="134" y="300"/>
                  </a:lnTo>
                  <a:lnTo>
                    <a:pt x="134" y="298"/>
                  </a:lnTo>
                  <a:lnTo>
                    <a:pt x="132" y="295"/>
                  </a:lnTo>
                  <a:lnTo>
                    <a:pt x="129" y="293"/>
                  </a:lnTo>
                  <a:lnTo>
                    <a:pt x="127" y="291"/>
                  </a:lnTo>
                  <a:lnTo>
                    <a:pt x="127" y="286"/>
                  </a:lnTo>
                  <a:lnTo>
                    <a:pt x="125" y="283"/>
                  </a:lnTo>
                  <a:lnTo>
                    <a:pt x="125" y="281"/>
                  </a:lnTo>
                  <a:lnTo>
                    <a:pt x="127" y="281"/>
                  </a:lnTo>
                  <a:lnTo>
                    <a:pt x="127" y="281"/>
                  </a:lnTo>
                  <a:lnTo>
                    <a:pt x="129" y="281"/>
                  </a:lnTo>
                  <a:lnTo>
                    <a:pt x="129" y="279"/>
                  </a:lnTo>
                  <a:lnTo>
                    <a:pt x="132" y="279"/>
                  </a:lnTo>
                  <a:lnTo>
                    <a:pt x="132" y="279"/>
                  </a:lnTo>
                  <a:lnTo>
                    <a:pt x="132" y="279"/>
                  </a:lnTo>
                  <a:lnTo>
                    <a:pt x="132" y="274"/>
                  </a:lnTo>
                  <a:lnTo>
                    <a:pt x="132" y="269"/>
                  </a:lnTo>
                  <a:lnTo>
                    <a:pt x="132" y="267"/>
                  </a:lnTo>
                  <a:lnTo>
                    <a:pt x="132" y="265"/>
                  </a:lnTo>
                  <a:lnTo>
                    <a:pt x="134" y="262"/>
                  </a:lnTo>
                  <a:lnTo>
                    <a:pt x="136" y="260"/>
                  </a:lnTo>
                  <a:lnTo>
                    <a:pt x="136" y="260"/>
                  </a:lnTo>
                  <a:lnTo>
                    <a:pt x="136" y="257"/>
                  </a:lnTo>
                  <a:lnTo>
                    <a:pt x="136" y="257"/>
                  </a:lnTo>
                  <a:lnTo>
                    <a:pt x="134" y="255"/>
                  </a:lnTo>
                  <a:lnTo>
                    <a:pt x="132" y="257"/>
                  </a:lnTo>
                  <a:lnTo>
                    <a:pt x="132" y="257"/>
                  </a:lnTo>
                  <a:lnTo>
                    <a:pt x="129" y="255"/>
                  </a:lnTo>
                  <a:lnTo>
                    <a:pt x="129" y="253"/>
                  </a:lnTo>
                  <a:lnTo>
                    <a:pt x="129" y="250"/>
                  </a:lnTo>
                  <a:lnTo>
                    <a:pt x="127" y="250"/>
                  </a:lnTo>
                  <a:lnTo>
                    <a:pt x="127" y="246"/>
                  </a:lnTo>
                  <a:lnTo>
                    <a:pt x="127" y="243"/>
                  </a:lnTo>
                  <a:lnTo>
                    <a:pt x="122" y="241"/>
                  </a:lnTo>
                  <a:lnTo>
                    <a:pt x="120" y="239"/>
                  </a:lnTo>
                  <a:lnTo>
                    <a:pt x="118" y="236"/>
                  </a:lnTo>
                  <a:lnTo>
                    <a:pt x="115" y="231"/>
                  </a:lnTo>
                  <a:lnTo>
                    <a:pt x="113" y="229"/>
                  </a:lnTo>
                  <a:lnTo>
                    <a:pt x="110" y="227"/>
                  </a:lnTo>
                  <a:lnTo>
                    <a:pt x="110" y="227"/>
                  </a:lnTo>
                  <a:lnTo>
                    <a:pt x="110" y="227"/>
                  </a:lnTo>
                  <a:lnTo>
                    <a:pt x="110" y="224"/>
                  </a:lnTo>
                  <a:lnTo>
                    <a:pt x="110" y="222"/>
                  </a:lnTo>
                  <a:lnTo>
                    <a:pt x="108" y="220"/>
                  </a:lnTo>
                  <a:lnTo>
                    <a:pt x="108" y="217"/>
                  </a:lnTo>
                  <a:lnTo>
                    <a:pt x="108" y="217"/>
                  </a:lnTo>
                  <a:lnTo>
                    <a:pt x="108" y="217"/>
                  </a:lnTo>
                  <a:lnTo>
                    <a:pt x="106" y="217"/>
                  </a:lnTo>
                  <a:lnTo>
                    <a:pt x="103" y="215"/>
                  </a:lnTo>
                  <a:lnTo>
                    <a:pt x="103" y="213"/>
                  </a:lnTo>
                  <a:lnTo>
                    <a:pt x="103" y="213"/>
                  </a:lnTo>
                  <a:lnTo>
                    <a:pt x="103" y="213"/>
                  </a:lnTo>
                  <a:lnTo>
                    <a:pt x="106" y="213"/>
                  </a:lnTo>
                  <a:lnTo>
                    <a:pt x="106" y="213"/>
                  </a:lnTo>
                  <a:lnTo>
                    <a:pt x="106" y="213"/>
                  </a:lnTo>
                  <a:lnTo>
                    <a:pt x="108" y="210"/>
                  </a:lnTo>
                  <a:lnTo>
                    <a:pt x="108" y="210"/>
                  </a:lnTo>
                  <a:lnTo>
                    <a:pt x="108" y="210"/>
                  </a:lnTo>
                  <a:lnTo>
                    <a:pt x="110" y="210"/>
                  </a:lnTo>
                  <a:lnTo>
                    <a:pt x="108" y="203"/>
                  </a:lnTo>
                  <a:lnTo>
                    <a:pt x="108" y="201"/>
                  </a:lnTo>
                  <a:lnTo>
                    <a:pt x="108" y="198"/>
                  </a:lnTo>
                  <a:lnTo>
                    <a:pt x="108" y="196"/>
                  </a:lnTo>
                  <a:lnTo>
                    <a:pt x="108" y="191"/>
                  </a:lnTo>
                  <a:lnTo>
                    <a:pt x="110" y="189"/>
                  </a:lnTo>
                  <a:lnTo>
                    <a:pt x="110" y="189"/>
                  </a:lnTo>
                  <a:lnTo>
                    <a:pt x="110" y="187"/>
                  </a:lnTo>
                  <a:lnTo>
                    <a:pt x="110" y="187"/>
                  </a:lnTo>
                  <a:lnTo>
                    <a:pt x="113" y="187"/>
                  </a:lnTo>
                  <a:lnTo>
                    <a:pt x="115" y="187"/>
                  </a:lnTo>
                  <a:lnTo>
                    <a:pt x="115" y="187"/>
                  </a:lnTo>
                  <a:lnTo>
                    <a:pt x="118" y="187"/>
                  </a:lnTo>
                  <a:lnTo>
                    <a:pt x="120" y="187"/>
                  </a:lnTo>
                  <a:lnTo>
                    <a:pt x="120" y="187"/>
                  </a:lnTo>
                  <a:lnTo>
                    <a:pt x="125" y="187"/>
                  </a:lnTo>
                  <a:lnTo>
                    <a:pt x="125" y="184"/>
                  </a:lnTo>
                  <a:lnTo>
                    <a:pt x="127" y="187"/>
                  </a:lnTo>
                  <a:lnTo>
                    <a:pt x="127" y="184"/>
                  </a:lnTo>
                  <a:lnTo>
                    <a:pt x="127" y="184"/>
                  </a:lnTo>
                  <a:lnTo>
                    <a:pt x="129" y="184"/>
                  </a:lnTo>
                  <a:lnTo>
                    <a:pt x="129" y="179"/>
                  </a:lnTo>
                  <a:lnTo>
                    <a:pt x="129" y="179"/>
                  </a:lnTo>
                  <a:lnTo>
                    <a:pt x="129" y="179"/>
                  </a:lnTo>
                  <a:lnTo>
                    <a:pt x="129" y="177"/>
                  </a:lnTo>
                  <a:lnTo>
                    <a:pt x="132" y="177"/>
                  </a:lnTo>
                  <a:lnTo>
                    <a:pt x="134" y="179"/>
                  </a:lnTo>
                  <a:lnTo>
                    <a:pt x="134" y="179"/>
                  </a:lnTo>
                  <a:lnTo>
                    <a:pt x="136" y="179"/>
                  </a:lnTo>
                  <a:lnTo>
                    <a:pt x="136" y="177"/>
                  </a:lnTo>
                  <a:lnTo>
                    <a:pt x="136" y="177"/>
                  </a:lnTo>
                  <a:lnTo>
                    <a:pt x="136" y="177"/>
                  </a:lnTo>
                  <a:lnTo>
                    <a:pt x="136" y="175"/>
                  </a:lnTo>
                  <a:lnTo>
                    <a:pt x="136" y="172"/>
                  </a:lnTo>
                  <a:lnTo>
                    <a:pt x="136" y="172"/>
                  </a:lnTo>
                  <a:lnTo>
                    <a:pt x="136" y="172"/>
                  </a:lnTo>
                  <a:lnTo>
                    <a:pt x="139" y="175"/>
                  </a:lnTo>
                  <a:lnTo>
                    <a:pt x="141" y="175"/>
                  </a:lnTo>
                  <a:lnTo>
                    <a:pt x="141" y="172"/>
                  </a:lnTo>
                  <a:lnTo>
                    <a:pt x="143" y="172"/>
                  </a:lnTo>
                  <a:lnTo>
                    <a:pt x="143" y="172"/>
                  </a:lnTo>
                  <a:lnTo>
                    <a:pt x="143" y="172"/>
                  </a:lnTo>
                  <a:lnTo>
                    <a:pt x="146" y="172"/>
                  </a:lnTo>
                  <a:lnTo>
                    <a:pt x="148" y="175"/>
                  </a:lnTo>
                  <a:lnTo>
                    <a:pt x="148" y="172"/>
                  </a:lnTo>
                  <a:lnTo>
                    <a:pt x="148" y="168"/>
                  </a:lnTo>
                  <a:lnTo>
                    <a:pt x="148" y="165"/>
                  </a:lnTo>
                  <a:lnTo>
                    <a:pt x="151" y="163"/>
                  </a:lnTo>
                  <a:lnTo>
                    <a:pt x="153" y="163"/>
                  </a:lnTo>
                  <a:lnTo>
                    <a:pt x="153" y="163"/>
                  </a:lnTo>
                  <a:lnTo>
                    <a:pt x="155" y="163"/>
                  </a:lnTo>
                  <a:lnTo>
                    <a:pt x="155" y="163"/>
                  </a:lnTo>
                  <a:lnTo>
                    <a:pt x="155" y="163"/>
                  </a:lnTo>
                  <a:lnTo>
                    <a:pt x="155" y="163"/>
                  </a:lnTo>
                  <a:lnTo>
                    <a:pt x="153" y="161"/>
                  </a:lnTo>
                  <a:lnTo>
                    <a:pt x="153" y="161"/>
                  </a:lnTo>
                  <a:lnTo>
                    <a:pt x="153" y="158"/>
                  </a:lnTo>
                  <a:lnTo>
                    <a:pt x="155" y="158"/>
                  </a:lnTo>
                  <a:lnTo>
                    <a:pt x="155" y="156"/>
                  </a:lnTo>
                  <a:lnTo>
                    <a:pt x="155" y="153"/>
                  </a:lnTo>
                  <a:lnTo>
                    <a:pt x="158" y="153"/>
                  </a:lnTo>
                  <a:lnTo>
                    <a:pt x="158" y="153"/>
                  </a:lnTo>
                  <a:lnTo>
                    <a:pt x="160" y="151"/>
                  </a:lnTo>
                  <a:lnTo>
                    <a:pt x="162" y="149"/>
                  </a:lnTo>
                  <a:lnTo>
                    <a:pt x="162" y="146"/>
                  </a:lnTo>
                  <a:lnTo>
                    <a:pt x="162" y="146"/>
                  </a:lnTo>
                  <a:lnTo>
                    <a:pt x="162" y="14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2" name="Freeform 278"/>
            <p:cNvSpPr>
              <a:spLocks noEditPoints="1"/>
            </p:cNvSpPr>
            <p:nvPr userDrawn="1"/>
          </p:nvSpPr>
          <p:spPr bwMode="auto">
            <a:xfrm>
              <a:off x="4211" y="3028"/>
              <a:ext cx="196" cy="347"/>
            </a:xfrm>
            <a:custGeom>
              <a:avLst/>
              <a:gdLst>
                <a:gd name="T0" fmla="*/ 191 w 196"/>
                <a:gd name="T1" fmla="*/ 85 h 347"/>
                <a:gd name="T2" fmla="*/ 191 w 196"/>
                <a:gd name="T3" fmla="*/ 68 h 347"/>
                <a:gd name="T4" fmla="*/ 191 w 196"/>
                <a:gd name="T5" fmla="*/ 54 h 347"/>
                <a:gd name="T6" fmla="*/ 191 w 196"/>
                <a:gd name="T7" fmla="*/ 44 h 347"/>
                <a:gd name="T8" fmla="*/ 191 w 196"/>
                <a:gd name="T9" fmla="*/ 21 h 347"/>
                <a:gd name="T10" fmla="*/ 194 w 196"/>
                <a:gd name="T11" fmla="*/ 9 h 347"/>
                <a:gd name="T12" fmla="*/ 182 w 196"/>
                <a:gd name="T13" fmla="*/ 9 h 347"/>
                <a:gd name="T14" fmla="*/ 161 w 196"/>
                <a:gd name="T15" fmla="*/ 16 h 347"/>
                <a:gd name="T16" fmla="*/ 142 w 196"/>
                <a:gd name="T17" fmla="*/ 21 h 347"/>
                <a:gd name="T18" fmla="*/ 125 w 196"/>
                <a:gd name="T19" fmla="*/ 23 h 347"/>
                <a:gd name="T20" fmla="*/ 109 w 196"/>
                <a:gd name="T21" fmla="*/ 23 h 347"/>
                <a:gd name="T22" fmla="*/ 97 w 196"/>
                <a:gd name="T23" fmla="*/ 23 h 347"/>
                <a:gd name="T24" fmla="*/ 81 w 196"/>
                <a:gd name="T25" fmla="*/ 30 h 347"/>
                <a:gd name="T26" fmla="*/ 81 w 196"/>
                <a:gd name="T27" fmla="*/ 52 h 347"/>
                <a:gd name="T28" fmla="*/ 90 w 196"/>
                <a:gd name="T29" fmla="*/ 68 h 347"/>
                <a:gd name="T30" fmla="*/ 104 w 196"/>
                <a:gd name="T31" fmla="*/ 97 h 347"/>
                <a:gd name="T32" fmla="*/ 95 w 196"/>
                <a:gd name="T33" fmla="*/ 120 h 347"/>
                <a:gd name="T34" fmla="*/ 92 w 196"/>
                <a:gd name="T35" fmla="*/ 134 h 347"/>
                <a:gd name="T36" fmla="*/ 88 w 196"/>
                <a:gd name="T37" fmla="*/ 139 h 347"/>
                <a:gd name="T38" fmla="*/ 76 w 196"/>
                <a:gd name="T39" fmla="*/ 123 h 347"/>
                <a:gd name="T40" fmla="*/ 74 w 196"/>
                <a:gd name="T41" fmla="*/ 113 h 347"/>
                <a:gd name="T42" fmla="*/ 81 w 196"/>
                <a:gd name="T43" fmla="*/ 94 h 347"/>
                <a:gd name="T44" fmla="*/ 69 w 196"/>
                <a:gd name="T45" fmla="*/ 85 h 347"/>
                <a:gd name="T46" fmla="*/ 55 w 196"/>
                <a:gd name="T47" fmla="*/ 75 h 347"/>
                <a:gd name="T48" fmla="*/ 29 w 196"/>
                <a:gd name="T49" fmla="*/ 85 h 347"/>
                <a:gd name="T50" fmla="*/ 5 w 196"/>
                <a:gd name="T51" fmla="*/ 94 h 347"/>
                <a:gd name="T52" fmla="*/ 3 w 196"/>
                <a:gd name="T53" fmla="*/ 111 h 347"/>
                <a:gd name="T54" fmla="*/ 22 w 196"/>
                <a:gd name="T55" fmla="*/ 120 h 347"/>
                <a:gd name="T56" fmla="*/ 48 w 196"/>
                <a:gd name="T57" fmla="*/ 132 h 347"/>
                <a:gd name="T58" fmla="*/ 48 w 196"/>
                <a:gd name="T59" fmla="*/ 160 h 347"/>
                <a:gd name="T60" fmla="*/ 48 w 196"/>
                <a:gd name="T61" fmla="*/ 175 h 347"/>
                <a:gd name="T62" fmla="*/ 45 w 196"/>
                <a:gd name="T63" fmla="*/ 184 h 347"/>
                <a:gd name="T64" fmla="*/ 48 w 196"/>
                <a:gd name="T65" fmla="*/ 201 h 347"/>
                <a:gd name="T66" fmla="*/ 38 w 196"/>
                <a:gd name="T67" fmla="*/ 219 h 347"/>
                <a:gd name="T68" fmla="*/ 26 w 196"/>
                <a:gd name="T69" fmla="*/ 241 h 347"/>
                <a:gd name="T70" fmla="*/ 17 w 196"/>
                <a:gd name="T71" fmla="*/ 262 h 347"/>
                <a:gd name="T72" fmla="*/ 22 w 196"/>
                <a:gd name="T73" fmla="*/ 281 h 347"/>
                <a:gd name="T74" fmla="*/ 26 w 196"/>
                <a:gd name="T75" fmla="*/ 305 h 347"/>
                <a:gd name="T76" fmla="*/ 24 w 196"/>
                <a:gd name="T77" fmla="*/ 328 h 347"/>
                <a:gd name="T78" fmla="*/ 26 w 196"/>
                <a:gd name="T79" fmla="*/ 347 h 347"/>
                <a:gd name="T80" fmla="*/ 43 w 196"/>
                <a:gd name="T81" fmla="*/ 333 h 347"/>
                <a:gd name="T82" fmla="*/ 36 w 196"/>
                <a:gd name="T83" fmla="*/ 331 h 347"/>
                <a:gd name="T84" fmla="*/ 59 w 196"/>
                <a:gd name="T85" fmla="*/ 309 h 347"/>
                <a:gd name="T86" fmla="*/ 90 w 196"/>
                <a:gd name="T87" fmla="*/ 281 h 347"/>
                <a:gd name="T88" fmla="*/ 92 w 196"/>
                <a:gd name="T89" fmla="*/ 260 h 347"/>
                <a:gd name="T90" fmla="*/ 90 w 196"/>
                <a:gd name="T91" fmla="*/ 248 h 347"/>
                <a:gd name="T92" fmla="*/ 88 w 196"/>
                <a:gd name="T93" fmla="*/ 236 h 347"/>
                <a:gd name="T94" fmla="*/ 81 w 196"/>
                <a:gd name="T95" fmla="*/ 203 h 347"/>
                <a:gd name="T96" fmla="*/ 83 w 196"/>
                <a:gd name="T97" fmla="*/ 198 h 347"/>
                <a:gd name="T98" fmla="*/ 109 w 196"/>
                <a:gd name="T99" fmla="*/ 175 h 347"/>
                <a:gd name="T100" fmla="*/ 121 w 196"/>
                <a:gd name="T101" fmla="*/ 160 h 347"/>
                <a:gd name="T102" fmla="*/ 144 w 196"/>
                <a:gd name="T103" fmla="*/ 144 h 347"/>
                <a:gd name="T104" fmla="*/ 158 w 196"/>
                <a:gd name="T105" fmla="*/ 139 h 347"/>
                <a:gd name="T106" fmla="*/ 177 w 196"/>
                <a:gd name="T107" fmla="*/ 123 h 347"/>
                <a:gd name="T108" fmla="*/ 191 w 196"/>
                <a:gd name="T109" fmla="*/ 101 h 347"/>
                <a:gd name="T110" fmla="*/ 196 w 196"/>
                <a:gd name="T111" fmla="*/ 92 h 347"/>
                <a:gd name="T112" fmla="*/ 83 w 196"/>
                <a:gd name="T113" fmla="*/ 33 h 347"/>
                <a:gd name="T114" fmla="*/ 83 w 196"/>
                <a:gd name="T115" fmla="*/ 3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 h="347">
                  <a:moveTo>
                    <a:pt x="196" y="89"/>
                  </a:moveTo>
                  <a:lnTo>
                    <a:pt x="196" y="87"/>
                  </a:lnTo>
                  <a:lnTo>
                    <a:pt x="196" y="87"/>
                  </a:lnTo>
                  <a:lnTo>
                    <a:pt x="196" y="85"/>
                  </a:lnTo>
                  <a:lnTo>
                    <a:pt x="194" y="85"/>
                  </a:lnTo>
                  <a:lnTo>
                    <a:pt x="194" y="85"/>
                  </a:lnTo>
                  <a:lnTo>
                    <a:pt x="191" y="87"/>
                  </a:lnTo>
                  <a:lnTo>
                    <a:pt x="191" y="85"/>
                  </a:lnTo>
                  <a:lnTo>
                    <a:pt x="191" y="85"/>
                  </a:lnTo>
                  <a:lnTo>
                    <a:pt x="194" y="82"/>
                  </a:lnTo>
                  <a:lnTo>
                    <a:pt x="194" y="80"/>
                  </a:lnTo>
                  <a:lnTo>
                    <a:pt x="194" y="80"/>
                  </a:lnTo>
                  <a:lnTo>
                    <a:pt x="191" y="80"/>
                  </a:lnTo>
                  <a:lnTo>
                    <a:pt x="191" y="78"/>
                  </a:lnTo>
                  <a:lnTo>
                    <a:pt x="191" y="73"/>
                  </a:lnTo>
                  <a:lnTo>
                    <a:pt x="191" y="68"/>
                  </a:lnTo>
                  <a:lnTo>
                    <a:pt x="191" y="66"/>
                  </a:lnTo>
                  <a:lnTo>
                    <a:pt x="191" y="63"/>
                  </a:lnTo>
                  <a:lnTo>
                    <a:pt x="191" y="61"/>
                  </a:lnTo>
                  <a:lnTo>
                    <a:pt x="191" y="61"/>
                  </a:lnTo>
                  <a:lnTo>
                    <a:pt x="191" y="59"/>
                  </a:lnTo>
                  <a:lnTo>
                    <a:pt x="191" y="56"/>
                  </a:lnTo>
                  <a:lnTo>
                    <a:pt x="191" y="56"/>
                  </a:lnTo>
                  <a:lnTo>
                    <a:pt x="191" y="54"/>
                  </a:lnTo>
                  <a:lnTo>
                    <a:pt x="189" y="54"/>
                  </a:lnTo>
                  <a:lnTo>
                    <a:pt x="189" y="54"/>
                  </a:lnTo>
                  <a:lnTo>
                    <a:pt x="189" y="52"/>
                  </a:lnTo>
                  <a:lnTo>
                    <a:pt x="191" y="52"/>
                  </a:lnTo>
                  <a:lnTo>
                    <a:pt x="191" y="49"/>
                  </a:lnTo>
                  <a:lnTo>
                    <a:pt x="191" y="47"/>
                  </a:lnTo>
                  <a:lnTo>
                    <a:pt x="191" y="44"/>
                  </a:lnTo>
                  <a:lnTo>
                    <a:pt x="191" y="44"/>
                  </a:lnTo>
                  <a:lnTo>
                    <a:pt x="191" y="42"/>
                  </a:lnTo>
                  <a:lnTo>
                    <a:pt x="191" y="40"/>
                  </a:lnTo>
                  <a:lnTo>
                    <a:pt x="191" y="35"/>
                  </a:lnTo>
                  <a:lnTo>
                    <a:pt x="191" y="33"/>
                  </a:lnTo>
                  <a:lnTo>
                    <a:pt x="191" y="33"/>
                  </a:lnTo>
                  <a:lnTo>
                    <a:pt x="191" y="30"/>
                  </a:lnTo>
                  <a:lnTo>
                    <a:pt x="189" y="26"/>
                  </a:lnTo>
                  <a:lnTo>
                    <a:pt x="191" y="21"/>
                  </a:lnTo>
                  <a:lnTo>
                    <a:pt x="189" y="18"/>
                  </a:lnTo>
                  <a:lnTo>
                    <a:pt x="189" y="18"/>
                  </a:lnTo>
                  <a:lnTo>
                    <a:pt x="191" y="16"/>
                  </a:lnTo>
                  <a:lnTo>
                    <a:pt x="194" y="14"/>
                  </a:lnTo>
                  <a:lnTo>
                    <a:pt x="191" y="11"/>
                  </a:lnTo>
                  <a:lnTo>
                    <a:pt x="191" y="11"/>
                  </a:lnTo>
                  <a:lnTo>
                    <a:pt x="191" y="11"/>
                  </a:lnTo>
                  <a:lnTo>
                    <a:pt x="194" y="9"/>
                  </a:lnTo>
                  <a:lnTo>
                    <a:pt x="191" y="7"/>
                  </a:lnTo>
                  <a:lnTo>
                    <a:pt x="194" y="7"/>
                  </a:lnTo>
                  <a:lnTo>
                    <a:pt x="194" y="4"/>
                  </a:lnTo>
                  <a:lnTo>
                    <a:pt x="191" y="2"/>
                  </a:lnTo>
                  <a:lnTo>
                    <a:pt x="191" y="0"/>
                  </a:lnTo>
                  <a:lnTo>
                    <a:pt x="189" y="2"/>
                  </a:lnTo>
                  <a:lnTo>
                    <a:pt x="187" y="4"/>
                  </a:lnTo>
                  <a:lnTo>
                    <a:pt x="182" y="9"/>
                  </a:lnTo>
                  <a:lnTo>
                    <a:pt x="180" y="9"/>
                  </a:lnTo>
                  <a:lnTo>
                    <a:pt x="177" y="11"/>
                  </a:lnTo>
                  <a:lnTo>
                    <a:pt x="175" y="11"/>
                  </a:lnTo>
                  <a:lnTo>
                    <a:pt x="173" y="14"/>
                  </a:lnTo>
                  <a:lnTo>
                    <a:pt x="170" y="14"/>
                  </a:lnTo>
                  <a:lnTo>
                    <a:pt x="168" y="16"/>
                  </a:lnTo>
                  <a:lnTo>
                    <a:pt x="163" y="16"/>
                  </a:lnTo>
                  <a:lnTo>
                    <a:pt x="161" y="16"/>
                  </a:lnTo>
                  <a:lnTo>
                    <a:pt x="156" y="18"/>
                  </a:lnTo>
                  <a:lnTo>
                    <a:pt x="154" y="21"/>
                  </a:lnTo>
                  <a:lnTo>
                    <a:pt x="151" y="18"/>
                  </a:lnTo>
                  <a:lnTo>
                    <a:pt x="149" y="18"/>
                  </a:lnTo>
                  <a:lnTo>
                    <a:pt x="147" y="18"/>
                  </a:lnTo>
                  <a:lnTo>
                    <a:pt x="144" y="18"/>
                  </a:lnTo>
                  <a:lnTo>
                    <a:pt x="144" y="18"/>
                  </a:lnTo>
                  <a:lnTo>
                    <a:pt x="142" y="21"/>
                  </a:lnTo>
                  <a:lnTo>
                    <a:pt x="142" y="23"/>
                  </a:lnTo>
                  <a:lnTo>
                    <a:pt x="140" y="23"/>
                  </a:lnTo>
                  <a:lnTo>
                    <a:pt x="137" y="26"/>
                  </a:lnTo>
                  <a:lnTo>
                    <a:pt x="132" y="28"/>
                  </a:lnTo>
                  <a:lnTo>
                    <a:pt x="130" y="26"/>
                  </a:lnTo>
                  <a:lnTo>
                    <a:pt x="128" y="26"/>
                  </a:lnTo>
                  <a:lnTo>
                    <a:pt x="128" y="26"/>
                  </a:lnTo>
                  <a:lnTo>
                    <a:pt x="125" y="23"/>
                  </a:lnTo>
                  <a:lnTo>
                    <a:pt x="125" y="23"/>
                  </a:lnTo>
                  <a:lnTo>
                    <a:pt x="123" y="26"/>
                  </a:lnTo>
                  <a:lnTo>
                    <a:pt x="121" y="26"/>
                  </a:lnTo>
                  <a:lnTo>
                    <a:pt x="118" y="28"/>
                  </a:lnTo>
                  <a:lnTo>
                    <a:pt x="114" y="28"/>
                  </a:lnTo>
                  <a:lnTo>
                    <a:pt x="111" y="26"/>
                  </a:lnTo>
                  <a:lnTo>
                    <a:pt x="111" y="26"/>
                  </a:lnTo>
                  <a:lnTo>
                    <a:pt x="109" y="23"/>
                  </a:lnTo>
                  <a:lnTo>
                    <a:pt x="107" y="21"/>
                  </a:lnTo>
                  <a:lnTo>
                    <a:pt x="104" y="21"/>
                  </a:lnTo>
                  <a:lnTo>
                    <a:pt x="102" y="23"/>
                  </a:lnTo>
                  <a:lnTo>
                    <a:pt x="102" y="23"/>
                  </a:lnTo>
                  <a:lnTo>
                    <a:pt x="99" y="26"/>
                  </a:lnTo>
                  <a:lnTo>
                    <a:pt x="99" y="26"/>
                  </a:lnTo>
                  <a:lnTo>
                    <a:pt x="97" y="26"/>
                  </a:lnTo>
                  <a:lnTo>
                    <a:pt x="97" y="23"/>
                  </a:lnTo>
                  <a:lnTo>
                    <a:pt x="92" y="23"/>
                  </a:lnTo>
                  <a:lnTo>
                    <a:pt x="90" y="23"/>
                  </a:lnTo>
                  <a:lnTo>
                    <a:pt x="88" y="23"/>
                  </a:lnTo>
                  <a:lnTo>
                    <a:pt x="83" y="23"/>
                  </a:lnTo>
                  <a:lnTo>
                    <a:pt x="83" y="26"/>
                  </a:lnTo>
                  <a:lnTo>
                    <a:pt x="83" y="26"/>
                  </a:lnTo>
                  <a:lnTo>
                    <a:pt x="81" y="30"/>
                  </a:lnTo>
                  <a:lnTo>
                    <a:pt x="81" y="30"/>
                  </a:lnTo>
                  <a:lnTo>
                    <a:pt x="81" y="33"/>
                  </a:lnTo>
                  <a:lnTo>
                    <a:pt x="78" y="35"/>
                  </a:lnTo>
                  <a:lnTo>
                    <a:pt x="78" y="37"/>
                  </a:lnTo>
                  <a:lnTo>
                    <a:pt x="78" y="37"/>
                  </a:lnTo>
                  <a:lnTo>
                    <a:pt x="78" y="42"/>
                  </a:lnTo>
                  <a:lnTo>
                    <a:pt x="81" y="44"/>
                  </a:lnTo>
                  <a:lnTo>
                    <a:pt x="81" y="47"/>
                  </a:lnTo>
                  <a:lnTo>
                    <a:pt x="81" y="52"/>
                  </a:lnTo>
                  <a:lnTo>
                    <a:pt x="81" y="56"/>
                  </a:lnTo>
                  <a:lnTo>
                    <a:pt x="81" y="59"/>
                  </a:lnTo>
                  <a:lnTo>
                    <a:pt x="81" y="61"/>
                  </a:lnTo>
                  <a:lnTo>
                    <a:pt x="81" y="63"/>
                  </a:lnTo>
                  <a:lnTo>
                    <a:pt x="83" y="63"/>
                  </a:lnTo>
                  <a:lnTo>
                    <a:pt x="85" y="66"/>
                  </a:lnTo>
                  <a:lnTo>
                    <a:pt x="88" y="66"/>
                  </a:lnTo>
                  <a:lnTo>
                    <a:pt x="90" y="68"/>
                  </a:lnTo>
                  <a:lnTo>
                    <a:pt x="92" y="73"/>
                  </a:lnTo>
                  <a:lnTo>
                    <a:pt x="95" y="78"/>
                  </a:lnTo>
                  <a:lnTo>
                    <a:pt x="97" y="80"/>
                  </a:lnTo>
                  <a:lnTo>
                    <a:pt x="102" y="85"/>
                  </a:lnTo>
                  <a:lnTo>
                    <a:pt x="104" y="89"/>
                  </a:lnTo>
                  <a:lnTo>
                    <a:pt x="104" y="94"/>
                  </a:lnTo>
                  <a:lnTo>
                    <a:pt x="104" y="94"/>
                  </a:lnTo>
                  <a:lnTo>
                    <a:pt x="104" y="97"/>
                  </a:lnTo>
                  <a:lnTo>
                    <a:pt x="102" y="101"/>
                  </a:lnTo>
                  <a:lnTo>
                    <a:pt x="104" y="106"/>
                  </a:lnTo>
                  <a:lnTo>
                    <a:pt x="102" y="111"/>
                  </a:lnTo>
                  <a:lnTo>
                    <a:pt x="102" y="118"/>
                  </a:lnTo>
                  <a:lnTo>
                    <a:pt x="102" y="118"/>
                  </a:lnTo>
                  <a:lnTo>
                    <a:pt x="99" y="120"/>
                  </a:lnTo>
                  <a:lnTo>
                    <a:pt x="99" y="120"/>
                  </a:lnTo>
                  <a:lnTo>
                    <a:pt x="95" y="120"/>
                  </a:lnTo>
                  <a:lnTo>
                    <a:pt x="92" y="123"/>
                  </a:lnTo>
                  <a:lnTo>
                    <a:pt x="92" y="123"/>
                  </a:lnTo>
                  <a:lnTo>
                    <a:pt x="92" y="125"/>
                  </a:lnTo>
                  <a:lnTo>
                    <a:pt x="90" y="127"/>
                  </a:lnTo>
                  <a:lnTo>
                    <a:pt x="90" y="130"/>
                  </a:lnTo>
                  <a:lnTo>
                    <a:pt x="90" y="130"/>
                  </a:lnTo>
                  <a:lnTo>
                    <a:pt x="92" y="132"/>
                  </a:lnTo>
                  <a:lnTo>
                    <a:pt x="92" y="134"/>
                  </a:lnTo>
                  <a:lnTo>
                    <a:pt x="92" y="141"/>
                  </a:lnTo>
                  <a:lnTo>
                    <a:pt x="92" y="141"/>
                  </a:lnTo>
                  <a:lnTo>
                    <a:pt x="90" y="141"/>
                  </a:lnTo>
                  <a:lnTo>
                    <a:pt x="90" y="141"/>
                  </a:lnTo>
                  <a:lnTo>
                    <a:pt x="88" y="141"/>
                  </a:lnTo>
                  <a:lnTo>
                    <a:pt x="88" y="141"/>
                  </a:lnTo>
                  <a:lnTo>
                    <a:pt x="88" y="139"/>
                  </a:lnTo>
                  <a:lnTo>
                    <a:pt x="88" y="139"/>
                  </a:lnTo>
                  <a:lnTo>
                    <a:pt x="90" y="137"/>
                  </a:lnTo>
                  <a:lnTo>
                    <a:pt x="88" y="134"/>
                  </a:lnTo>
                  <a:lnTo>
                    <a:pt x="88" y="134"/>
                  </a:lnTo>
                  <a:lnTo>
                    <a:pt x="85" y="134"/>
                  </a:lnTo>
                  <a:lnTo>
                    <a:pt x="83" y="130"/>
                  </a:lnTo>
                  <a:lnTo>
                    <a:pt x="81" y="127"/>
                  </a:lnTo>
                  <a:lnTo>
                    <a:pt x="78" y="125"/>
                  </a:lnTo>
                  <a:lnTo>
                    <a:pt x="76" y="123"/>
                  </a:lnTo>
                  <a:lnTo>
                    <a:pt x="76" y="123"/>
                  </a:lnTo>
                  <a:lnTo>
                    <a:pt x="76" y="123"/>
                  </a:lnTo>
                  <a:lnTo>
                    <a:pt x="76" y="120"/>
                  </a:lnTo>
                  <a:lnTo>
                    <a:pt x="76" y="120"/>
                  </a:lnTo>
                  <a:lnTo>
                    <a:pt x="76" y="118"/>
                  </a:lnTo>
                  <a:lnTo>
                    <a:pt x="74" y="115"/>
                  </a:lnTo>
                  <a:lnTo>
                    <a:pt x="74" y="115"/>
                  </a:lnTo>
                  <a:lnTo>
                    <a:pt x="74" y="113"/>
                  </a:lnTo>
                  <a:lnTo>
                    <a:pt x="74" y="113"/>
                  </a:lnTo>
                  <a:lnTo>
                    <a:pt x="76" y="111"/>
                  </a:lnTo>
                  <a:lnTo>
                    <a:pt x="76" y="108"/>
                  </a:lnTo>
                  <a:lnTo>
                    <a:pt x="78" y="106"/>
                  </a:lnTo>
                  <a:lnTo>
                    <a:pt x="78" y="104"/>
                  </a:lnTo>
                  <a:lnTo>
                    <a:pt x="81" y="99"/>
                  </a:lnTo>
                  <a:lnTo>
                    <a:pt x="81" y="97"/>
                  </a:lnTo>
                  <a:lnTo>
                    <a:pt x="81" y="94"/>
                  </a:lnTo>
                  <a:lnTo>
                    <a:pt x="81" y="92"/>
                  </a:lnTo>
                  <a:lnTo>
                    <a:pt x="78" y="87"/>
                  </a:lnTo>
                  <a:lnTo>
                    <a:pt x="76" y="85"/>
                  </a:lnTo>
                  <a:lnTo>
                    <a:pt x="76" y="85"/>
                  </a:lnTo>
                  <a:lnTo>
                    <a:pt x="74" y="85"/>
                  </a:lnTo>
                  <a:lnTo>
                    <a:pt x="71" y="85"/>
                  </a:lnTo>
                  <a:lnTo>
                    <a:pt x="71" y="85"/>
                  </a:lnTo>
                  <a:lnTo>
                    <a:pt x="69" y="85"/>
                  </a:lnTo>
                  <a:lnTo>
                    <a:pt x="66" y="87"/>
                  </a:lnTo>
                  <a:lnTo>
                    <a:pt x="64" y="87"/>
                  </a:lnTo>
                  <a:lnTo>
                    <a:pt x="64" y="87"/>
                  </a:lnTo>
                  <a:lnTo>
                    <a:pt x="64" y="87"/>
                  </a:lnTo>
                  <a:lnTo>
                    <a:pt x="62" y="85"/>
                  </a:lnTo>
                  <a:lnTo>
                    <a:pt x="59" y="82"/>
                  </a:lnTo>
                  <a:lnTo>
                    <a:pt x="57" y="75"/>
                  </a:lnTo>
                  <a:lnTo>
                    <a:pt x="55" y="75"/>
                  </a:lnTo>
                  <a:lnTo>
                    <a:pt x="52" y="78"/>
                  </a:lnTo>
                  <a:lnTo>
                    <a:pt x="50" y="78"/>
                  </a:lnTo>
                  <a:lnTo>
                    <a:pt x="43" y="80"/>
                  </a:lnTo>
                  <a:lnTo>
                    <a:pt x="38" y="82"/>
                  </a:lnTo>
                  <a:lnTo>
                    <a:pt x="36" y="82"/>
                  </a:lnTo>
                  <a:lnTo>
                    <a:pt x="33" y="82"/>
                  </a:lnTo>
                  <a:lnTo>
                    <a:pt x="33" y="85"/>
                  </a:lnTo>
                  <a:lnTo>
                    <a:pt x="29" y="85"/>
                  </a:lnTo>
                  <a:lnTo>
                    <a:pt x="26" y="87"/>
                  </a:lnTo>
                  <a:lnTo>
                    <a:pt x="24" y="87"/>
                  </a:lnTo>
                  <a:lnTo>
                    <a:pt x="22" y="89"/>
                  </a:lnTo>
                  <a:lnTo>
                    <a:pt x="17" y="89"/>
                  </a:lnTo>
                  <a:lnTo>
                    <a:pt x="12" y="92"/>
                  </a:lnTo>
                  <a:lnTo>
                    <a:pt x="8" y="92"/>
                  </a:lnTo>
                  <a:lnTo>
                    <a:pt x="5" y="94"/>
                  </a:lnTo>
                  <a:lnTo>
                    <a:pt x="5" y="94"/>
                  </a:lnTo>
                  <a:lnTo>
                    <a:pt x="0" y="97"/>
                  </a:lnTo>
                  <a:lnTo>
                    <a:pt x="0" y="97"/>
                  </a:lnTo>
                  <a:lnTo>
                    <a:pt x="0" y="99"/>
                  </a:lnTo>
                  <a:lnTo>
                    <a:pt x="0" y="101"/>
                  </a:lnTo>
                  <a:lnTo>
                    <a:pt x="0" y="104"/>
                  </a:lnTo>
                  <a:lnTo>
                    <a:pt x="3" y="104"/>
                  </a:lnTo>
                  <a:lnTo>
                    <a:pt x="3" y="106"/>
                  </a:lnTo>
                  <a:lnTo>
                    <a:pt x="3" y="111"/>
                  </a:lnTo>
                  <a:lnTo>
                    <a:pt x="3" y="113"/>
                  </a:lnTo>
                  <a:lnTo>
                    <a:pt x="3" y="118"/>
                  </a:lnTo>
                  <a:lnTo>
                    <a:pt x="3" y="118"/>
                  </a:lnTo>
                  <a:lnTo>
                    <a:pt x="8" y="118"/>
                  </a:lnTo>
                  <a:lnTo>
                    <a:pt x="12" y="118"/>
                  </a:lnTo>
                  <a:lnTo>
                    <a:pt x="19" y="118"/>
                  </a:lnTo>
                  <a:lnTo>
                    <a:pt x="22" y="120"/>
                  </a:lnTo>
                  <a:lnTo>
                    <a:pt x="22" y="120"/>
                  </a:lnTo>
                  <a:lnTo>
                    <a:pt x="26" y="123"/>
                  </a:lnTo>
                  <a:lnTo>
                    <a:pt x="31" y="127"/>
                  </a:lnTo>
                  <a:lnTo>
                    <a:pt x="36" y="127"/>
                  </a:lnTo>
                  <a:lnTo>
                    <a:pt x="41" y="127"/>
                  </a:lnTo>
                  <a:lnTo>
                    <a:pt x="43" y="130"/>
                  </a:lnTo>
                  <a:lnTo>
                    <a:pt x="45" y="132"/>
                  </a:lnTo>
                  <a:lnTo>
                    <a:pt x="48" y="132"/>
                  </a:lnTo>
                  <a:lnTo>
                    <a:pt x="48" y="132"/>
                  </a:lnTo>
                  <a:lnTo>
                    <a:pt x="50" y="132"/>
                  </a:lnTo>
                  <a:lnTo>
                    <a:pt x="50" y="134"/>
                  </a:lnTo>
                  <a:lnTo>
                    <a:pt x="48" y="137"/>
                  </a:lnTo>
                  <a:lnTo>
                    <a:pt x="48" y="139"/>
                  </a:lnTo>
                  <a:lnTo>
                    <a:pt x="50" y="144"/>
                  </a:lnTo>
                  <a:lnTo>
                    <a:pt x="50" y="149"/>
                  </a:lnTo>
                  <a:lnTo>
                    <a:pt x="48" y="156"/>
                  </a:lnTo>
                  <a:lnTo>
                    <a:pt x="48" y="160"/>
                  </a:lnTo>
                  <a:lnTo>
                    <a:pt x="48" y="163"/>
                  </a:lnTo>
                  <a:lnTo>
                    <a:pt x="50" y="165"/>
                  </a:lnTo>
                  <a:lnTo>
                    <a:pt x="50" y="167"/>
                  </a:lnTo>
                  <a:lnTo>
                    <a:pt x="50" y="167"/>
                  </a:lnTo>
                  <a:lnTo>
                    <a:pt x="48" y="170"/>
                  </a:lnTo>
                  <a:lnTo>
                    <a:pt x="48" y="172"/>
                  </a:lnTo>
                  <a:lnTo>
                    <a:pt x="48" y="175"/>
                  </a:lnTo>
                  <a:lnTo>
                    <a:pt x="48" y="175"/>
                  </a:lnTo>
                  <a:lnTo>
                    <a:pt x="45" y="177"/>
                  </a:lnTo>
                  <a:lnTo>
                    <a:pt x="43" y="177"/>
                  </a:lnTo>
                  <a:lnTo>
                    <a:pt x="43" y="177"/>
                  </a:lnTo>
                  <a:lnTo>
                    <a:pt x="43" y="179"/>
                  </a:lnTo>
                  <a:lnTo>
                    <a:pt x="43" y="182"/>
                  </a:lnTo>
                  <a:lnTo>
                    <a:pt x="45" y="182"/>
                  </a:lnTo>
                  <a:lnTo>
                    <a:pt x="45" y="182"/>
                  </a:lnTo>
                  <a:lnTo>
                    <a:pt x="45" y="184"/>
                  </a:lnTo>
                  <a:lnTo>
                    <a:pt x="45" y="184"/>
                  </a:lnTo>
                  <a:lnTo>
                    <a:pt x="45" y="186"/>
                  </a:lnTo>
                  <a:lnTo>
                    <a:pt x="45" y="189"/>
                  </a:lnTo>
                  <a:lnTo>
                    <a:pt x="45" y="193"/>
                  </a:lnTo>
                  <a:lnTo>
                    <a:pt x="45" y="196"/>
                  </a:lnTo>
                  <a:lnTo>
                    <a:pt x="48" y="198"/>
                  </a:lnTo>
                  <a:lnTo>
                    <a:pt x="48" y="198"/>
                  </a:lnTo>
                  <a:lnTo>
                    <a:pt x="48" y="201"/>
                  </a:lnTo>
                  <a:lnTo>
                    <a:pt x="48" y="201"/>
                  </a:lnTo>
                  <a:lnTo>
                    <a:pt x="45" y="208"/>
                  </a:lnTo>
                  <a:lnTo>
                    <a:pt x="43" y="210"/>
                  </a:lnTo>
                  <a:lnTo>
                    <a:pt x="43" y="212"/>
                  </a:lnTo>
                  <a:lnTo>
                    <a:pt x="38" y="215"/>
                  </a:lnTo>
                  <a:lnTo>
                    <a:pt x="38" y="215"/>
                  </a:lnTo>
                  <a:lnTo>
                    <a:pt x="38" y="217"/>
                  </a:lnTo>
                  <a:lnTo>
                    <a:pt x="38" y="219"/>
                  </a:lnTo>
                  <a:lnTo>
                    <a:pt x="38" y="222"/>
                  </a:lnTo>
                  <a:lnTo>
                    <a:pt x="36" y="227"/>
                  </a:lnTo>
                  <a:lnTo>
                    <a:pt x="36" y="229"/>
                  </a:lnTo>
                  <a:lnTo>
                    <a:pt x="36" y="229"/>
                  </a:lnTo>
                  <a:lnTo>
                    <a:pt x="36" y="231"/>
                  </a:lnTo>
                  <a:lnTo>
                    <a:pt x="33" y="234"/>
                  </a:lnTo>
                  <a:lnTo>
                    <a:pt x="29" y="238"/>
                  </a:lnTo>
                  <a:lnTo>
                    <a:pt x="26" y="241"/>
                  </a:lnTo>
                  <a:lnTo>
                    <a:pt x="24" y="243"/>
                  </a:lnTo>
                  <a:lnTo>
                    <a:pt x="22" y="248"/>
                  </a:lnTo>
                  <a:lnTo>
                    <a:pt x="17" y="250"/>
                  </a:lnTo>
                  <a:lnTo>
                    <a:pt x="15" y="253"/>
                  </a:lnTo>
                  <a:lnTo>
                    <a:pt x="15" y="255"/>
                  </a:lnTo>
                  <a:lnTo>
                    <a:pt x="15" y="255"/>
                  </a:lnTo>
                  <a:lnTo>
                    <a:pt x="17" y="257"/>
                  </a:lnTo>
                  <a:lnTo>
                    <a:pt x="17" y="262"/>
                  </a:lnTo>
                  <a:lnTo>
                    <a:pt x="17" y="267"/>
                  </a:lnTo>
                  <a:lnTo>
                    <a:pt x="19" y="271"/>
                  </a:lnTo>
                  <a:lnTo>
                    <a:pt x="19" y="274"/>
                  </a:lnTo>
                  <a:lnTo>
                    <a:pt x="19" y="276"/>
                  </a:lnTo>
                  <a:lnTo>
                    <a:pt x="19" y="276"/>
                  </a:lnTo>
                  <a:lnTo>
                    <a:pt x="22" y="279"/>
                  </a:lnTo>
                  <a:lnTo>
                    <a:pt x="22" y="281"/>
                  </a:lnTo>
                  <a:lnTo>
                    <a:pt x="22" y="281"/>
                  </a:lnTo>
                  <a:lnTo>
                    <a:pt x="24" y="283"/>
                  </a:lnTo>
                  <a:lnTo>
                    <a:pt x="24" y="288"/>
                  </a:lnTo>
                  <a:lnTo>
                    <a:pt x="24" y="290"/>
                  </a:lnTo>
                  <a:lnTo>
                    <a:pt x="26" y="293"/>
                  </a:lnTo>
                  <a:lnTo>
                    <a:pt x="26" y="295"/>
                  </a:lnTo>
                  <a:lnTo>
                    <a:pt x="26" y="295"/>
                  </a:lnTo>
                  <a:lnTo>
                    <a:pt x="26" y="300"/>
                  </a:lnTo>
                  <a:lnTo>
                    <a:pt x="26" y="305"/>
                  </a:lnTo>
                  <a:lnTo>
                    <a:pt x="26" y="309"/>
                  </a:lnTo>
                  <a:lnTo>
                    <a:pt x="26" y="314"/>
                  </a:lnTo>
                  <a:lnTo>
                    <a:pt x="26" y="314"/>
                  </a:lnTo>
                  <a:lnTo>
                    <a:pt x="26" y="321"/>
                  </a:lnTo>
                  <a:lnTo>
                    <a:pt x="24" y="324"/>
                  </a:lnTo>
                  <a:lnTo>
                    <a:pt x="24" y="326"/>
                  </a:lnTo>
                  <a:lnTo>
                    <a:pt x="24" y="328"/>
                  </a:lnTo>
                  <a:lnTo>
                    <a:pt x="24" y="328"/>
                  </a:lnTo>
                  <a:lnTo>
                    <a:pt x="26" y="328"/>
                  </a:lnTo>
                  <a:lnTo>
                    <a:pt x="26" y="331"/>
                  </a:lnTo>
                  <a:lnTo>
                    <a:pt x="26" y="333"/>
                  </a:lnTo>
                  <a:lnTo>
                    <a:pt x="26" y="335"/>
                  </a:lnTo>
                  <a:lnTo>
                    <a:pt x="26" y="335"/>
                  </a:lnTo>
                  <a:lnTo>
                    <a:pt x="26" y="338"/>
                  </a:lnTo>
                  <a:lnTo>
                    <a:pt x="26" y="340"/>
                  </a:lnTo>
                  <a:lnTo>
                    <a:pt x="26" y="347"/>
                  </a:lnTo>
                  <a:lnTo>
                    <a:pt x="29" y="347"/>
                  </a:lnTo>
                  <a:lnTo>
                    <a:pt x="31" y="347"/>
                  </a:lnTo>
                  <a:lnTo>
                    <a:pt x="33" y="347"/>
                  </a:lnTo>
                  <a:lnTo>
                    <a:pt x="36" y="347"/>
                  </a:lnTo>
                  <a:lnTo>
                    <a:pt x="38" y="347"/>
                  </a:lnTo>
                  <a:lnTo>
                    <a:pt x="41" y="347"/>
                  </a:lnTo>
                  <a:lnTo>
                    <a:pt x="41" y="347"/>
                  </a:lnTo>
                  <a:lnTo>
                    <a:pt x="43" y="333"/>
                  </a:lnTo>
                  <a:lnTo>
                    <a:pt x="43" y="331"/>
                  </a:lnTo>
                  <a:lnTo>
                    <a:pt x="43" y="331"/>
                  </a:lnTo>
                  <a:lnTo>
                    <a:pt x="41" y="331"/>
                  </a:lnTo>
                  <a:lnTo>
                    <a:pt x="41" y="335"/>
                  </a:lnTo>
                  <a:lnTo>
                    <a:pt x="41" y="333"/>
                  </a:lnTo>
                  <a:lnTo>
                    <a:pt x="38" y="333"/>
                  </a:lnTo>
                  <a:lnTo>
                    <a:pt x="38" y="333"/>
                  </a:lnTo>
                  <a:lnTo>
                    <a:pt x="36" y="331"/>
                  </a:lnTo>
                  <a:lnTo>
                    <a:pt x="36" y="328"/>
                  </a:lnTo>
                  <a:lnTo>
                    <a:pt x="38" y="326"/>
                  </a:lnTo>
                  <a:lnTo>
                    <a:pt x="38" y="326"/>
                  </a:lnTo>
                  <a:lnTo>
                    <a:pt x="41" y="321"/>
                  </a:lnTo>
                  <a:lnTo>
                    <a:pt x="43" y="319"/>
                  </a:lnTo>
                  <a:lnTo>
                    <a:pt x="50" y="314"/>
                  </a:lnTo>
                  <a:lnTo>
                    <a:pt x="55" y="312"/>
                  </a:lnTo>
                  <a:lnTo>
                    <a:pt x="59" y="309"/>
                  </a:lnTo>
                  <a:lnTo>
                    <a:pt x="74" y="305"/>
                  </a:lnTo>
                  <a:lnTo>
                    <a:pt x="81" y="300"/>
                  </a:lnTo>
                  <a:lnTo>
                    <a:pt x="83" y="297"/>
                  </a:lnTo>
                  <a:lnTo>
                    <a:pt x="85" y="295"/>
                  </a:lnTo>
                  <a:lnTo>
                    <a:pt x="90" y="290"/>
                  </a:lnTo>
                  <a:lnTo>
                    <a:pt x="90" y="288"/>
                  </a:lnTo>
                  <a:lnTo>
                    <a:pt x="92" y="283"/>
                  </a:lnTo>
                  <a:lnTo>
                    <a:pt x="90" y="281"/>
                  </a:lnTo>
                  <a:lnTo>
                    <a:pt x="90" y="281"/>
                  </a:lnTo>
                  <a:lnTo>
                    <a:pt x="90" y="283"/>
                  </a:lnTo>
                  <a:lnTo>
                    <a:pt x="88" y="283"/>
                  </a:lnTo>
                  <a:lnTo>
                    <a:pt x="88" y="283"/>
                  </a:lnTo>
                  <a:lnTo>
                    <a:pt x="88" y="281"/>
                  </a:lnTo>
                  <a:lnTo>
                    <a:pt x="90" y="269"/>
                  </a:lnTo>
                  <a:lnTo>
                    <a:pt x="92" y="264"/>
                  </a:lnTo>
                  <a:lnTo>
                    <a:pt x="92" y="260"/>
                  </a:lnTo>
                  <a:lnTo>
                    <a:pt x="92" y="257"/>
                  </a:lnTo>
                  <a:lnTo>
                    <a:pt x="92" y="253"/>
                  </a:lnTo>
                  <a:lnTo>
                    <a:pt x="92" y="250"/>
                  </a:lnTo>
                  <a:lnTo>
                    <a:pt x="92" y="250"/>
                  </a:lnTo>
                  <a:lnTo>
                    <a:pt x="92" y="248"/>
                  </a:lnTo>
                  <a:lnTo>
                    <a:pt x="92" y="248"/>
                  </a:lnTo>
                  <a:lnTo>
                    <a:pt x="92" y="245"/>
                  </a:lnTo>
                  <a:lnTo>
                    <a:pt x="90" y="248"/>
                  </a:lnTo>
                  <a:lnTo>
                    <a:pt x="90" y="250"/>
                  </a:lnTo>
                  <a:lnTo>
                    <a:pt x="90" y="253"/>
                  </a:lnTo>
                  <a:lnTo>
                    <a:pt x="90" y="255"/>
                  </a:lnTo>
                  <a:lnTo>
                    <a:pt x="88" y="253"/>
                  </a:lnTo>
                  <a:lnTo>
                    <a:pt x="88" y="250"/>
                  </a:lnTo>
                  <a:lnTo>
                    <a:pt x="90" y="245"/>
                  </a:lnTo>
                  <a:lnTo>
                    <a:pt x="88" y="238"/>
                  </a:lnTo>
                  <a:lnTo>
                    <a:pt x="88" y="236"/>
                  </a:lnTo>
                  <a:lnTo>
                    <a:pt x="85" y="231"/>
                  </a:lnTo>
                  <a:lnTo>
                    <a:pt x="85" y="227"/>
                  </a:lnTo>
                  <a:lnTo>
                    <a:pt x="83" y="219"/>
                  </a:lnTo>
                  <a:lnTo>
                    <a:pt x="83" y="217"/>
                  </a:lnTo>
                  <a:lnTo>
                    <a:pt x="81" y="215"/>
                  </a:lnTo>
                  <a:lnTo>
                    <a:pt x="78" y="212"/>
                  </a:lnTo>
                  <a:lnTo>
                    <a:pt x="78" y="210"/>
                  </a:lnTo>
                  <a:lnTo>
                    <a:pt x="81" y="203"/>
                  </a:lnTo>
                  <a:lnTo>
                    <a:pt x="81" y="201"/>
                  </a:lnTo>
                  <a:lnTo>
                    <a:pt x="81" y="198"/>
                  </a:lnTo>
                  <a:lnTo>
                    <a:pt x="81" y="198"/>
                  </a:lnTo>
                  <a:lnTo>
                    <a:pt x="78" y="196"/>
                  </a:lnTo>
                  <a:lnTo>
                    <a:pt x="81" y="196"/>
                  </a:lnTo>
                  <a:lnTo>
                    <a:pt x="83" y="198"/>
                  </a:lnTo>
                  <a:lnTo>
                    <a:pt x="83" y="198"/>
                  </a:lnTo>
                  <a:lnTo>
                    <a:pt x="83" y="198"/>
                  </a:lnTo>
                  <a:lnTo>
                    <a:pt x="92" y="191"/>
                  </a:lnTo>
                  <a:lnTo>
                    <a:pt x="97" y="184"/>
                  </a:lnTo>
                  <a:lnTo>
                    <a:pt x="102" y="182"/>
                  </a:lnTo>
                  <a:lnTo>
                    <a:pt x="104" y="179"/>
                  </a:lnTo>
                  <a:lnTo>
                    <a:pt x="107" y="177"/>
                  </a:lnTo>
                  <a:lnTo>
                    <a:pt x="107" y="179"/>
                  </a:lnTo>
                  <a:lnTo>
                    <a:pt x="109" y="177"/>
                  </a:lnTo>
                  <a:lnTo>
                    <a:pt x="109" y="175"/>
                  </a:lnTo>
                  <a:lnTo>
                    <a:pt x="109" y="177"/>
                  </a:lnTo>
                  <a:lnTo>
                    <a:pt x="111" y="177"/>
                  </a:lnTo>
                  <a:lnTo>
                    <a:pt x="111" y="175"/>
                  </a:lnTo>
                  <a:lnTo>
                    <a:pt x="114" y="172"/>
                  </a:lnTo>
                  <a:lnTo>
                    <a:pt x="114" y="170"/>
                  </a:lnTo>
                  <a:lnTo>
                    <a:pt x="118" y="165"/>
                  </a:lnTo>
                  <a:lnTo>
                    <a:pt x="121" y="163"/>
                  </a:lnTo>
                  <a:lnTo>
                    <a:pt x="121" y="160"/>
                  </a:lnTo>
                  <a:lnTo>
                    <a:pt x="121" y="160"/>
                  </a:lnTo>
                  <a:lnTo>
                    <a:pt x="123" y="158"/>
                  </a:lnTo>
                  <a:lnTo>
                    <a:pt x="123" y="158"/>
                  </a:lnTo>
                  <a:lnTo>
                    <a:pt x="128" y="153"/>
                  </a:lnTo>
                  <a:lnTo>
                    <a:pt x="132" y="151"/>
                  </a:lnTo>
                  <a:lnTo>
                    <a:pt x="140" y="146"/>
                  </a:lnTo>
                  <a:lnTo>
                    <a:pt x="142" y="146"/>
                  </a:lnTo>
                  <a:lnTo>
                    <a:pt x="144" y="144"/>
                  </a:lnTo>
                  <a:lnTo>
                    <a:pt x="144" y="144"/>
                  </a:lnTo>
                  <a:lnTo>
                    <a:pt x="149" y="141"/>
                  </a:lnTo>
                  <a:lnTo>
                    <a:pt x="154" y="141"/>
                  </a:lnTo>
                  <a:lnTo>
                    <a:pt x="154" y="139"/>
                  </a:lnTo>
                  <a:lnTo>
                    <a:pt x="156" y="139"/>
                  </a:lnTo>
                  <a:lnTo>
                    <a:pt x="156" y="139"/>
                  </a:lnTo>
                  <a:lnTo>
                    <a:pt x="158" y="139"/>
                  </a:lnTo>
                  <a:lnTo>
                    <a:pt x="158" y="139"/>
                  </a:lnTo>
                  <a:lnTo>
                    <a:pt x="161" y="139"/>
                  </a:lnTo>
                  <a:lnTo>
                    <a:pt x="163" y="134"/>
                  </a:lnTo>
                  <a:lnTo>
                    <a:pt x="165" y="134"/>
                  </a:lnTo>
                  <a:lnTo>
                    <a:pt x="173" y="130"/>
                  </a:lnTo>
                  <a:lnTo>
                    <a:pt x="175" y="127"/>
                  </a:lnTo>
                  <a:lnTo>
                    <a:pt x="177" y="127"/>
                  </a:lnTo>
                  <a:lnTo>
                    <a:pt x="175" y="125"/>
                  </a:lnTo>
                  <a:lnTo>
                    <a:pt x="177" y="123"/>
                  </a:lnTo>
                  <a:lnTo>
                    <a:pt x="180" y="123"/>
                  </a:lnTo>
                  <a:lnTo>
                    <a:pt x="182" y="118"/>
                  </a:lnTo>
                  <a:lnTo>
                    <a:pt x="182" y="118"/>
                  </a:lnTo>
                  <a:lnTo>
                    <a:pt x="182" y="118"/>
                  </a:lnTo>
                  <a:lnTo>
                    <a:pt x="184" y="115"/>
                  </a:lnTo>
                  <a:lnTo>
                    <a:pt x="184" y="113"/>
                  </a:lnTo>
                  <a:lnTo>
                    <a:pt x="189" y="106"/>
                  </a:lnTo>
                  <a:lnTo>
                    <a:pt x="191" y="101"/>
                  </a:lnTo>
                  <a:lnTo>
                    <a:pt x="191" y="101"/>
                  </a:lnTo>
                  <a:lnTo>
                    <a:pt x="191" y="99"/>
                  </a:lnTo>
                  <a:lnTo>
                    <a:pt x="191" y="99"/>
                  </a:lnTo>
                  <a:lnTo>
                    <a:pt x="194" y="99"/>
                  </a:lnTo>
                  <a:lnTo>
                    <a:pt x="194" y="97"/>
                  </a:lnTo>
                  <a:lnTo>
                    <a:pt x="194" y="94"/>
                  </a:lnTo>
                  <a:lnTo>
                    <a:pt x="194" y="94"/>
                  </a:lnTo>
                  <a:lnTo>
                    <a:pt x="196" y="92"/>
                  </a:lnTo>
                  <a:lnTo>
                    <a:pt x="196" y="89"/>
                  </a:lnTo>
                  <a:lnTo>
                    <a:pt x="196" y="89"/>
                  </a:lnTo>
                  <a:close/>
                  <a:moveTo>
                    <a:pt x="83" y="35"/>
                  </a:moveTo>
                  <a:lnTo>
                    <a:pt x="83" y="35"/>
                  </a:lnTo>
                  <a:lnTo>
                    <a:pt x="81" y="33"/>
                  </a:lnTo>
                  <a:lnTo>
                    <a:pt x="81" y="33"/>
                  </a:lnTo>
                  <a:lnTo>
                    <a:pt x="83" y="33"/>
                  </a:lnTo>
                  <a:lnTo>
                    <a:pt x="83" y="33"/>
                  </a:lnTo>
                  <a:lnTo>
                    <a:pt x="83" y="33"/>
                  </a:lnTo>
                  <a:lnTo>
                    <a:pt x="83" y="35"/>
                  </a:lnTo>
                  <a:close/>
                  <a:moveTo>
                    <a:pt x="85" y="35"/>
                  </a:moveTo>
                  <a:lnTo>
                    <a:pt x="85" y="35"/>
                  </a:lnTo>
                  <a:lnTo>
                    <a:pt x="85" y="35"/>
                  </a:lnTo>
                  <a:lnTo>
                    <a:pt x="83" y="35"/>
                  </a:lnTo>
                  <a:lnTo>
                    <a:pt x="83" y="35"/>
                  </a:lnTo>
                  <a:lnTo>
                    <a:pt x="83" y="35"/>
                  </a:lnTo>
                  <a:lnTo>
                    <a:pt x="83" y="33"/>
                  </a:lnTo>
                  <a:lnTo>
                    <a:pt x="85" y="33"/>
                  </a:lnTo>
                  <a:lnTo>
                    <a:pt x="85" y="33"/>
                  </a:lnTo>
                  <a:lnTo>
                    <a:pt x="85" y="33"/>
                  </a:lnTo>
                  <a:lnTo>
                    <a:pt x="85" y="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3" name="Freeform 279"/>
            <p:cNvSpPr>
              <a:spLocks/>
            </p:cNvSpPr>
            <p:nvPr userDrawn="1"/>
          </p:nvSpPr>
          <p:spPr bwMode="auto">
            <a:xfrm>
              <a:off x="3347" y="2049"/>
              <a:ext cx="296" cy="307"/>
            </a:xfrm>
            <a:custGeom>
              <a:avLst/>
              <a:gdLst>
                <a:gd name="T0" fmla="*/ 292 w 296"/>
                <a:gd name="T1" fmla="*/ 68 h 307"/>
                <a:gd name="T2" fmla="*/ 287 w 296"/>
                <a:gd name="T3" fmla="*/ 49 h 307"/>
                <a:gd name="T4" fmla="*/ 285 w 296"/>
                <a:gd name="T5" fmla="*/ 33 h 307"/>
                <a:gd name="T6" fmla="*/ 285 w 296"/>
                <a:gd name="T7" fmla="*/ 28 h 307"/>
                <a:gd name="T8" fmla="*/ 278 w 296"/>
                <a:gd name="T9" fmla="*/ 19 h 307"/>
                <a:gd name="T10" fmla="*/ 266 w 296"/>
                <a:gd name="T11" fmla="*/ 14 h 307"/>
                <a:gd name="T12" fmla="*/ 259 w 296"/>
                <a:gd name="T13" fmla="*/ 16 h 307"/>
                <a:gd name="T14" fmla="*/ 238 w 296"/>
                <a:gd name="T15" fmla="*/ 16 h 307"/>
                <a:gd name="T16" fmla="*/ 226 w 296"/>
                <a:gd name="T17" fmla="*/ 0 h 307"/>
                <a:gd name="T18" fmla="*/ 214 w 296"/>
                <a:gd name="T19" fmla="*/ 4 h 307"/>
                <a:gd name="T20" fmla="*/ 169 w 296"/>
                <a:gd name="T21" fmla="*/ 54 h 307"/>
                <a:gd name="T22" fmla="*/ 150 w 296"/>
                <a:gd name="T23" fmla="*/ 78 h 307"/>
                <a:gd name="T24" fmla="*/ 139 w 296"/>
                <a:gd name="T25" fmla="*/ 111 h 307"/>
                <a:gd name="T26" fmla="*/ 141 w 296"/>
                <a:gd name="T27" fmla="*/ 127 h 307"/>
                <a:gd name="T28" fmla="*/ 115 w 296"/>
                <a:gd name="T29" fmla="*/ 153 h 307"/>
                <a:gd name="T30" fmla="*/ 82 w 296"/>
                <a:gd name="T31" fmla="*/ 168 h 307"/>
                <a:gd name="T32" fmla="*/ 70 w 296"/>
                <a:gd name="T33" fmla="*/ 186 h 307"/>
                <a:gd name="T34" fmla="*/ 54 w 296"/>
                <a:gd name="T35" fmla="*/ 203 h 307"/>
                <a:gd name="T36" fmla="*/ 44 w 296"/>
                <a:gd name="T37" fmla="*/ 222 h 307"/>
                <a:gd name="T38" fmla="*/ 28 w 296"/>
                <a:gd name="T39" fmla="*/ 250 h 307"/>
                <a:gd name="T40" fmla="*/ 23 w 296"/>
                <a:gd name="T41" fmla="*/ 257 h 307"/>
                <a:gd name="T42" fmla="*/ 18 w 296"/>
                <a:gd name="T43" fmla="*/ 269 h 307"/>
                <a:gd name="T44" fmla="*/ 9 w 296"/>
                <a:gd name="T45" fmla="*/ 288 h 307"/>
                <a:gd name="T46" fmla="*/ 2 w 296"/>
                <a:gd name="T47" fmla="*/ 307 h 307"/>
                <a:gd name="T48" fmla="*/ 23 w 296"/>
                <a:gd name="T49" fmla="*/ 305 h 307"/>
                <a:gd name="T50" fmla="*/ 40 w 296"/>
                <a:gd name="T51" fmla="*/ 307 h 307"/>
                <a:gd name="T52" fmla="*/ 44 w 296"/>
                <a:gd name="T53" fmla="*/ 298 h 307"/>
                <a:gd name="T54" fmla="*/ 49 w 296"/>
                <a:gd name="T55" fmla="*/ 291 h 307"/>
                <a:gd name="T56" fmla="*/ 54 w 296"/>
                <a:gd name="T57" fmla="*/ 279 h 307"/>
                <a:gd name="T58" fmla="*/ 56 w 296"/>
                <a:gd name="T59" fmla="*/ 262 h 307"/>
                <a:gd name="T60" fmla="*/ 66 w 296"/>
                <a:gd name="T61" fmla="*/ 255 h 307"/>
                <a:gd name="T62" fmla="*/ 73 w 296"/>
                <a:gd name="T63" fmla="*/ 248 h 307"/>
                <a:gd name="T64" fmla="*/ 80 w 296"/>
                <a:gd name="T65" fmla="*/ 241 h 307"/>
                <a:gd name="T66" fmla="*/ 87 w 296"/>
                <a:gd name="T67" fmla="*/ 234 h 307"/>
                <a:gd name="T68" fmla="*/ 91 w 296"/>
                <a:gd name="T69" fmla="*/ 217 h 307"/>
                <a:gd name="T70" fmla="*/ 94 w 296"/>
                <a:gd name="T71" fmla="*/ 210 h 307"/>
                <a:gd name="T72" fmla="*/ 101 w 296"/>
                <a:gd name="T73" fmla="*/ 205 h 307"/>
                <a:gd name="T74" fmla="*/ 106 w 296"/>
                <a:gd name="T75" fmla="*/ 198 h 307"/>
                <a:gd name="T76" fmla="*/ 108 w 296"/>
                <a:gd name="T77" fmla="*/ 191 h 307"/>
                <a:gd name="T78" fmla="*/ 120 w 296"/>
                <a:gd name="T79" fmla="*/ 189 h 307"/>
                <a:gd name="T80" fmla="*/ 129 w 296"/>
                <a:gd name="T81" fmla="*/ 191 h 307"/>
                <a:gd name="T82" fmla="*/ 136 w 296"/>
                <a:gd name="T83" fmla="*/ 191 h 307"/>
                <a:gd name="T84" fmla="*/ 143 w 296"/>
                <a:gd name="T85" fmla="*/ 186 h 307"/>
                <a:gd name="T86" fmla="*/ 155 w 296"/>
                <a:gd name="T87" fmla="*/ 186 h 307"/>
                <a:gd name="T88" fmla="*/ 155 w 296"/>
                <a:gd name="T89" fmla="*/ 179 h 307"/>
                <a:gd name="T90" fmla="*/ 157 w 296"/>
                <a:gd name="T91" fmla="*/ 175 h 307"/>
                <a:gd name="T92" fmla="*/ 157 w 296"/>
                <a:gd name="T93" fmla="*/ 153 h 307"/>
                <a:gd name="T94" fmla="*/ 169 w 296"/>
                <a:gd name="T95" fmla="*/ 144 h 307"/>
                <a:gd name="T96" fmla="*/ 183 w 296"/>
                <a:gd name="T97" fmla="*/ 137 h 307"/>
                <a:gd name="T98" fmla="*/ 193 w 296"/>
                <a:gd name="T99" fmla="*/ 134 h 307"/>
                <a:gd name="T100" fmla="*/ 198 w 296"/>
                <a:gd name="T101" fmla="*/ 130 h 307"/>
                <a:gd name="T102" fmla="*/ 205 w 296"/>
                <a:gd name="T103" fmla="*/ 130 h 307"/>
                <a:gd name="T104" fmla="*/ 221 w 296"/>
                <a:gd name="T105" fmla="*/ 123 h 307"/>
                <a:gd name="T106" fmla="*/ 238 w 296"/>
                <a:gd name="T107" fmla="*/ 111 h 307"/>
                <a:gd name="T108" fmla="*/ 249 w 296"/>
                <a:gd name="T109" fmla="*/ 104 h 307"/>
                <a:gd name="T110" fmla="*/ 247 w 296"/>
                <a:gd name="T111" fmla="*/ 101 h 307"/>
                <a:gd name="T112" fmla="*/ 247 w 296"/>
                <a:gd name="T113" fmla="*/ 92 h 307"/>
                <a:gd name="T114" fmla="*/ 254 w 296"/>
                <a:gd name="T115" fmla="*/ 90 h 307"/>
                <a:gd name="T116" fmla="*/ 264 w 296"/>
                <a:gd name="T117" fmla="*/ 82 h 307"/>
                <a:gd name="T118" fmla="*/ 282 w 296"/>
                <a:gd name="T119" fmla="*/ 80 h 307"/>
                <a:gd name="T120" fmla="*/ 294 w 296"/>
                <a:gd name="T121" fmla="*/ 7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307">
                  <a:moveTo>
                    <a:pt x="294" y="75"/>
                  </a:moveTo>
                  <a:lnTo>
                    <a:pt x="296" y="73"/>
                  </a:lnTo>
                  <a:lnTo>
                    <a:pt x="296" y="71"/>
                  </a:lnTo>
                  <a:lnTo>
                    <a:pt x="294" y="71"/>
                  </a:lnTo>
                  <a:lnTo>
                    <a:pt x="292" y="68"/>
                  </a:lnTo>
                  <a:lnTo>
                    <a:pt x="292" y="68"/>
                  </a:lnTo>
                  <a:lnTo>
                    <a:pt x="289" y="66"/>
                  </a:lnTo>
                  <a:lnTo>
                    <a:pt x="289" y="66"/>
                  </a:lnTo>
                  <a:lnTo>
                    <a:pt x="289" y="61"/>
                  </a:lnTo>
                  <a:lnTo>
                    <a:pt x="287" y="59"/>
                  </a:lnTo>
                  <a:lnTo>
                    <a:pt x="287" y="56"/>
                  </a:lnTo>
                  <a:lnTo>
                    <a:pt x="287" y="49"/>
                  </a:lnTo>
                  <a:lnTo>
                    <a:pt x="287" y="47"/>
                  </a:lnTo>
                  <a:lnTo>
                    <a:pt x="287" y="45"/>
                  </a:lnTo>
                  <a:lnTo>
                    <a:pt x="287" y="45"/>
                  </a:lnTo>
                  <a:lnTo>
                    <a:pt x="287" y="42"/>
                  </a:lnTo>
                  <a:lnTo>
                    <a:pt x="287" y="38"/>
                  </a:lnTo>
                  <a:lnTo>
                    <a:pt x="285" y="33"/>
                  </a:lnTo>
                  <a:lnTo>
                    <a:pt x="287" y="33"/>
                  </a:lnTo>
                  <a:lnTo>
                    <a:pt x="287" y="30"/>
                  </a:lnTo>
                  <a:lnTo>
                    <a:pt x="287" y="30"/>
                  </a:lnTo>
                  <a:lnTo>
                    <a:pt x="285" y="30"/>
                  </a:lnTo>
                  <a:lnTo>
                    <a:pt x="285" y="28"/>
                  </a:lnTo>
                  <a:lnTo>
                    <a:pt x="285" y="28"/>
                  </a:lnTo>
                  <a:lnTo>
                    <a:pt x="285" y="26"/>
                  </a:lnTo>
                  <a:lnTo>
                    <a:pt x="285" y="26"/>
                  </a:lnTo>
                  <a:lnTo>
                    <a:pt x="285" y="23"/>
                  </a:lnTo>
                  <a:lnTo>
                    <a:pt x="280" y="21"/>
                  </a:lnTo>
                  <a:lnTo>
                    <a:pt x="280" y="19"/>
                  </a:lnTo>
                  <a:lnTo>
                    <a:pt x="278" y="19"/>
                  </a:lnTo>
                  <a:lnTo>
                    <a:pt x="275" y="16"/>
                  </a:lnTo>
                  <a:lnTo>
                    <a:pt x="271" y="19"/>
                  </a:lnTo>
                  <a:lnTo>
                    <a:pt x="271" y="16"/>
                  </a:lnTo>
                  <a:lnTo>
                    <a:pt x="268" y="16"/>
                  </a:lnTo>
                  <a:lnTo>
                    <a:pt x="268" y="16"/>
                  </a:lnTo>
                  <a:lnTo>
                    <a:pt x="266" y="14"/>
                  </a:lnTo>
                  <a:lnTo>
                    <a:pt x="266" y="14"/>
                  </a:lnTo>
                  <a:lnTo>
                    <a:pt x="266" y="11"/>
                  </a:lnTo>
                  <a:lnTo>
                    <a:pt x="266" y="11"/>
                  </a:lnTo>
                  <a:lnTo>
                    <a:pt x="264" y="14"/>
                  </a:lnTo>
                  <a:lnTo>
                    <a:pt x="261" y="14"/>
                  </a:lnTo>
                  <a:lnTo>
                    <a:pt x="259" y="16"/>
                  </a:lnTo>
                  <a:lnTo>
                    <a:pt x="254" y="14"/>
                  </a:lnTo>
                  <a:lnTo>
                    <a:pt x="254" y="14"/>
                  </a:lnTo>
                  <a:lnTo>
                    <a:pt x="252" y="14"/>
                  </a:lnTo>
                  <a:lnTo>
                    <a:pt x="247" y="14"/>
                  </a:lnTo>
                  <a:lnTo>
                    <a:pt x="242" y="16"/>
                  </a:lnTo>
                  <a:lnTo>
                    <a:pt x="238" y="16"/>
                  </a:lnTo>
                  <a:lnTo>
                    <a:pt x="233" y="14"/>
                  </a:lnTo>
                  <a:lnTo>
                    <a:pt x="228" y="9"/>
                  </a:lnTo>
                  <a:lnTo>
                    <a:pt x="226" y="7"/>
                  </a:lnTo>
                  <a:lnTo>
                    <a:pt x="226" y="4"/>
                  </a:lnTo>
                  <a:lnTo>
                    <a:pt x="226" y="2"/>
                  </a:lnTo>
                  <a:lnTo>
                    <a:pt x="226" y="0"/>
                  </a:lnTo>
                  <a:lnTo>
                    <a:pt x="223" y="0"/>
                  </a:lnTo>
                  <a:lnTo>
                    <a:pt x="221" y="2"/>
                  </a:lnTo>
                  <a:lnTo>
                    <a:pt x="221" y="2"/>
                  </a:lnTo>
                  <a:lnTo>
                    <a:pt x="219" y="2"/>
                  </a:lnTo>
                  <a:lnTo>
                    <a:pt x="214" y="2"/>
                  </a:lnTo>
                  <a:lnTo>
                    <a:pt x="214" y="4"/>
                  </a:lnTo>
                  <a:lnTo>
                    <a:pt x="207" y="26"/>
                  </a:lnTo>
                  <a:lnTo>
                    <a:pt x="198" y="38"/>
                  </a:lnTo>
                  <a:lnTo>
                    <a:pt x="195" y="42"/>
                  </a:lnTo>
                  <a:lnTo>
                    <a:pt x="190" y="45"/>
                  </a:lnTo>
                  <a:lnTo>
                    <a:pt x="183" y="49"/>
                  </a:lnTo>
                  <a:lnTo>
                    <a:pt x="169" y="54"/>
                  </a:lnTo>
                  <a:lnTo>
                    <a:pt x="167" y="56"/>
                  </a:lnTo>
                  <a:lnTo>
                    <a:pt x="165" y="59"/>
                  </a:lnTo>
                  <a:lnTo>
                    <a:pt x="160" y="64"/>
                  </a:lnTo>
                  <a:lnTo>
                    <a:pt x="153" y="71"/>
                  </a:lnTo>
                  <a:lnTo>
                    <a:pt x="153" y="73"/>
                  </a:lnTo>
                  <a:lnTo>
                    <a:pt x="150" y="78"/>
                  </a:lnTo>
                  <a:lnTo>
                    <a:pt x="150" y="82"/>
                  </a:lnTo>
                  <a:lnTo>
                    <a:pt x="143" y="90"/>
                  </a:lnTo>
                  <a:lnTo>
                    <a:pt x="141" y="97"/>
                  </a:lnTo>
                  <a:lnTo>
                    <a:pt x="139" y="104"/>
                  </a:lnTo>
                  <a:lnTo>
                    <a:pt x="139" y="108"/>
                  </a:lnTo>
                  <a:lnTo>
                    <a:pt x="139" y="111"/>
                  </a:lnTo>
                  <a:lnTo>
                    <a:pt x="139" y="111"/>
                  </a:lnTo>
                  <a:lnTo>
                    <a:pt x="141" y="113"/>
                  </a:lnTo>
                  <a:lnTo>
                    <a:pt x="143" y="116"/>
                  </a:lnTo>
                  <a:lnTo>
                    <a:pt x="143" y="118"/>
                  </a:lnTo>
                  <a:lnTo>
                    <a:pt x="141" y="123"/>
                  </a:lnTo>
                  <a:lnTo>
                    <a:pt x="141" y="127"/>
                  </a:lnTo>
                  <a:lnTo>
                    <a:pt x="139" y="130"/>
                  </a:lnTo>
                  <a:lnTo>
                    <a:pt x="134" y="132"/>
                  </a:lnTo>
                  <a:lnTo>
                    <a:pt x="132" y="139"/>
                  </a:lnTo>
                  <a:lnTo>
                    <a:pt x="127" y="146"/>
                  </a:lnTo>
                  <a:lnTo>
                    <a:pt x="122" y="149"/>
                  </a:lnTo>
                  <a:lnTo>
                    <a:pt x="115" y="153"/>
                  </a:lnTo>
                  <a:lnTo>
                    <a:pt x="110" y="156"/>
                  </a:lnTo>
                  <a:lnTo>
                    <a:pt x="108" y="160"/>
                  </a:lnTo>
                  <a:lnTo>
                    <a:pt x="106" y="160"/>
                  </a:lnTo>
                  <a:lnTo>
                    <a:pt x="99" y="165"/>
                  </a:lnTo>
                  <a:lnTo>
                    <a:pt x="89" y="168"/>
                  </a:lnTo>
                  <a:lnTo>
                    <a:pt x="82" y="168"/>
                  </a:lnTo>
                  <a:lnTo>
                    <a:pt x="80" y="170"/>
                  </a:lnTo>
                  <a:lnTo>
                    <a:pt x="77" y="172"/>
                  </a:lnTo>
                  <a:lnTo>
                    <a:pt x="75" y="175"/>
                  </a:lnTo>
                  <a:lnTo>
                    <a:pt x="75" y="175"/>
                  </a:lnTo>
                  <a:lnTo>
                    <a:pt x="75" y="179"/>
                  </a:lnTo>
                  <a:lnTo>
                    <a:pt x="70" y="186"/>
                  </a:lnTo>
                  <a:lnTo>
                    <a:pt x="70" y="191"/>
                  </a:lnTo>
                  <a:lnTo>
                    <a:pt x="68" y="194"/>
                  </a:lnTo>
                  <a:lnTo>
                    <a:pt x="66" y="196"/>
                  </a:lnTo>
                  <a:lnTo>
                    <a:pt x="61" y="201"/>
                  </a:lnTo>
                  <a:lnTo>
                    <a:pt x="56" y="201"/>
                  </a:lnTo>
                  <a:lnTo>
                    <a:pt x="54" y="203"/>
                  </a:lnTo>
                  <a:lnTo>
                    <a:pt x="51" y="205"/>
                  </a:lnTo>
                  <a:lnTo>
                    <a:pt x="51" y="205"/>
                  </a:lnTo>
                  <a:lnTo>
                    <a:pt x="49" y="212"/>
                  </a:lnTo>
                  <a:lnTo>
                    <a:pt x="49" y="215"/>
                  </a:lnTo>
                  <a:lnTo>
                    <a:pt x="47" y="220"/>
                  </a:lnTo>
                  <a:lnTo>
                    <a:pt x="44" y="222"/>
                  </a:lnTo>
                  <a:lnTo>
                    <a:pt x="42" y="227"/>
                  </a:lnTo>
                  <a:lnTo>
                    <a:pt x="42" y="234"/>
                  </a:lnTo>
                  <a:lnTo>
                    <a:pt x="42" y="236"/>
                  </a:lnTo>
                  <a:lnTo>
                    <a:pt x="40" y="241"/>
                  </a:lnTo>
                  <a:lnTo>
                    <a:pt x="35" y="241"/>
                  </a:lnTo>
                  <a:lnTo>
                    <a:pt x="28" y="250"/>
                  </a:lnTo>
                  <a:lnTo>
                    <a:pt x="25" y="253"/>
                  </a:lnTo>
                  <a:lnTo>
                    <a:pt x="23" y="255"/>
                  </a:lnTo>
                  <a:lnTo>
                    <a:pt x="21" y="257"/>
                  </a:lnTo>
                  <a:lnTo>
                    <a:pt x="21" y="260"/>
                  </a:lnTo>
                  <a:lnTo>
                    <a:pt x="23" y="257"/>
                  </a:lnTo>
                  <a:lnTo>
                    <a:pt x="23" y="257"/>
                  </a:lnTo>
                  <a:lnTo>
                    <a:pt x="23" y="255"/>
                  </a:lnTo>
                  <a:lnTo>
                    <a:pt x="25" y="257"/>
                  </a:lnTo>
                  <a:lnTo>
                    <a:pt x="23" y="257"/>
                  </a:lnTo>
                  <a:lnTo>
                    <a:pt x="21" y="262"/>
                  </a:lnTo>
                  <a:lnTo>
                    <a:pt x="21" y="264"/>
                  </a:lnTo>
                  <a:lnTo>
                    <a:pt x="18" y="269"/>
                  </a:lnTo>
                  <a:lnTo>
                    <a:pt x="16" y="272"/>
                  </a:lnTo>
                  <a:lnTo>
                    <a:pt x="16" y="272"/>
                  </a:lnTo>
                  <a:lnTo>
                    <a:pt x="16" y="274"/>
                  </a:lnTo>
                  <a:lnTo>
                    <a:pt x="14" y="276"/>
                  </a:lnTo>
                  <a:lnTo>
                    <a:pt x="14" y="281"/>
                  </a:lnTo>
                  <a:lnTo>
                    <a:pt x="9" y="288"/>
                  </a:lnTo>
                  <a:lnTo>
                    <a:pt x="7" y="288"/>
                  </a:lnTo>
                  <a:lnTo>
                    <a:pt x="4" y="291"/>
                  </a:lnTo>
                  <a:lnTo>
                    <a:pt x="2" y="298"/>
                  </a:lnTo>
                  <a:lnTo>
                    <a:pt x="0" y="307"/>
                  </a:lnTo>
                  <a:lnTo>
                    <a:pt x="0" y="307"/>
                  </a:lnTo>
                  <a:lnTo>
                    <a:pt x="2" y="307"/>
                  </a:lnTo>
                  <a:lnTo>
                    <a:pt x="4" y="305"/>
                  </a:lnTo>
                  <a:lnTo>
                    <a:pt x="9" y="305"/>
                  </a:lnTo>
                  <a:lnTo>
                    <a:pt x="16" y="305"/>
                  </a:lnTo>
                  <a:lnTo>
                    <a:pt x="18" y="305"/>
                  </a:lnTo>
                  <a:lnTo>
                    <a:pt x="21" y="305"/>
                  </a:lnTo>
                  <a:lnTo>
                    <a:pt x="23" y="305"/>
                  </a:lnTo>
                  <a:lnTo>
                    <a:pt x="25" y="305"/>
                  </a:lnTo>
                  <a:lnTo>
                    <a:pt x="28" y="307"/>
                  </a:lnTo>
                  <a:lnTo>
                    <a:pt x="33" y="307"/>
                  </a:lnTo>
                  <a:lnTo>
                    <a:pt x="35" y="307"/>
                  </a:lnTo>
                  <a:lnTo>
                    <a:pt x="37" y="307"/>
                  </a:lnTo>
                  <a:lnTo>
                    <a:pt x="40" y="307"/>
                  </a:lnTo>
                  <a:lnTo>
                    <a:pt x="42" y="305"/>
                  </a:lnTo>
                  <a:lnTo>
                    <a:pt x="42" y="302"/>
                  </a:lnTo>
                  <a:lnTo>
                    <a:pt x="44" y="300"/>
                  </a:lnTo>
                  <a:lnTo>
                    <a:pt x="44" y="300"/>
                  </a:lnTo>
                  <a:lnTo>
                    <a:pt x="44" y="298"/>
                  </a:lnTo>
                  <a:lnTo>
                    <a:pt x="44" y="298"/>
                  </a:lnTo>
                  <a:lnTo>
                    <a:pt x="44" y="295"/>
                  </a:lnTo>
                  <a:lnTo>
                    <a:pt x="47" y="295"/>
                  </a:lnTo>
                  <a:lnTo>
                    <a:pt x="47" y="293"/>
                  </a:lnTo>
                  <a:lnTo>
                    <a:pt x="47" y="293"/>
                  </a:lnTo>
                  <a:lnTo>
                    <a:pt x="49" y="293"/>
                  </a:lnTo>
                  <a:lnTo>
                    <a:pt x="49" y="291"/>
                  </a:lnTo>
                  <a:lnTo>
                    <a:pt x="51" y="288"/>
                  </a:lnTo>
                  <a:lnTo>
                    <a:pt x="51" y="288"/>
                  </a:lnTo>
                  <a:lnTo>
                    <a:pt x="51" y="286"/>
                  </a:lnTo>
                  <a:lnTo>
                    <a:pt x="51" y="286"/>
                  </a:lnTo>
                  <a:lnTo>
                    <a:pt x="51" y="281"/>
                  </a:lnTo>
                  <a:lnTo>
                    <a:pt x="54" y="279"/>
                  </a:lnTo>
                  <a:lnTo>
                    <a:pt x="54" y="276"/>
                  </a:lnTo>
                  <a:lnTo>
                    <a:pt x="54" y="274"/>
                  </a:lnTo>
                  <a:lnTo>
                    <a:pt x="54" y="272"/>
                  </a:lnTo>
                  <a:lnTo>
                    <a:pt x="56" y="267"/>
                  </a:lnTo>
                  <a:lnTo>
                    <a:pt x="56" y="264"/>
                  </a:lnTo>
                  <a:lnTo>
                    <a:pt x="56" y="262"/>
                  </a:lnTo>
                  <a:lnTo>
                    <a:pt x="58" y="260"/>
                  </a:lnTo>
                  <a:lnTo>
                    <a:pt x="58" y="260"/>
                  </a:lnTo>
                  <a:lnTo>
                    <a:pt x="61" y="257"/>
                  </a:lnTo>
                  <a:lnTo>
                    <a:pt x="61" y="257"/>
                  </a:lnTo>
                  <a:lnTo>
                    <a:pt x="63" y="255"/>
                  </a:lnTo>
                  <a:lnTo>
                    <a:pt x="66" y="255"/>
                  </a:lnTo>
                  <a:lnTo>
                    <a:pt x="66" y="255"/>
                  </a:lnTo>
                  <a:lnTo>
                    <a:pt x="68" y="253"/>
                  </a:lnTo>
                  <a:lnTo>
                    <a:pt x="70" y="253"/>
                  </a:lnTo>
                  <a:lnTo>
                    <a:pt x="70" y="253"/>
                  </a:lnTo>
                  <a:lnTo>
                    <a:pt x="70" y="250"/>
                  </a:lnTo>
                  <a:lnTo>
                    <a:pt x="73" y="248"/>
                  </a:lnTo>
                  <a:lnTo>
                    <a:pt x="73" y="246"/>
                  </a:lnTo>
                  <a:lnTo>
                    <a:pt x="75" y="243"/>
                  </a:lnTo>
                  <a:lnTo>
                    <a:pt x="75" y="243"/>
                  </a:lnTo>
                  <a:lnTo>
                    <a:pt x="77" y="241"/>
                  </a:lnTo>
                  <a:lnTo>
                    <a:pt x="77" y="241"/>
                  </a:lnTo>
                  <a:lnTo>
                    <a:pt x="80" y="241"/>
                  </a:lnTo>
                  <a:lnTo>
                    <a:pt x="82" y="238"/>
                  </a:lnTo>
                  <a:lnTo>
                    <a:pt x="82" y="238"/>
                  </a:lnTo>
                  <a:lnTo>
                    <a:pt x="84" y="236"/>
                  </a:lnTo>
                  <a:lnTo>
                    <a:pt x="84" y="236"/>
                  </a:lnTo>
                  <a:lnTo>
                    <a:pt x="87" y="234"/>
                  </a:lnTo>
                  <a:lnTo>
                    <a:pt x="87" y="234"/>
                  </a:lnTo>
                  <a:lnTo>
                    <a:pt x="87" y="231"/>
                  </a:lnTo>
                  <a:lnTo>
                    <a:pt x="89" y="229"/>
                  </a:lnTo>
                  <a:lnTo>
                    <a:pt x="89" y="224"/>
                  </a:lnTo>
                  <a:lnTo>
                    <a:pt x="91" y="222"/>
                  </a:lnTo>
                  <a:lnTo>
                    <a:pt x="91" y="220"/>
                  </a:lnTo>
                  <a:lnTo>
                    <a:pt x="91" y="217"/>
                  </a:lnTo>
                  <a:lnTo>
                    <a:pt x="91" y="215"/>
                  </a:lnTo>
                  <a:lnTo>
                    <a:pt x="94" y="212"/>
                  </a:lnTo>
                  <a:lnTo>
                    <a:pt x="94" y="212"/>
                  </a:lnTo>
                  <a:lnTo>
                    <a:pt x="94" y="212"/>
                  </a:lnTo>
                  <a:lnTo>
                    <a:pt x="94" y="210"/>
                  </a:lnTo>
                  <a:lnTo>
                    <a:pt x="94" y="210"/>
                  </a:lnTo>
                  <a:lnTo>
                    <a:pt x="94" y="210"/>
                  </a:lnTo>
                  <a:lnTo>
                    <a:pt x="96" y="208"/>
                  </a:lnTo>
                  <a:lnTo>
                    <a:pt x="99" y="208"/>
                  </a:lnTo>
                  <a:lnTo>
                    <a:pt x="99" y="208"/>
                  </a:lnTo>
                  <a:lnTo>
                    <a:pt x="101" y="208"/>
                  </a:lnTo>
                  <a:lnTo>
                    <a:pt x="101" y="205"/>
                  </a:lnTo>
                  <a:lnTo>
                    <a:pt x="101" y="205"/>
                  </a:lnTo>
                  <a:lnTo>
                    <a:pt x="101" y="203"/>
                  </a:lnTo>
                  <a:lnTo>
                    <a:pt x="103" y="203"/>
                  </a:lnTo>
                  <a:lnTo>
                    <a:pt x="103" y="201"/>
                  </a:lnTo>
                  <a:lnTo>
                    <a:pt x="106" y="201"/>
                  </a:lnTo>
                  <a:lnTo>
                    <a:pt x="106" y="198"/>
                  </a:lnTo>
                  <a:lnTo>
                    <a:pt x="106" y="198"/>
                  </a:lnTo>
                  <a:lnTo>
                    <a:pt x="108" y="196"/>
                  </a:lnTo>
                  <a:lnTo>
                    <a:pt x="108" y="196"/>
                  </a:lnTo>
                  <a:lnTo>
                    <a:pt x="108" y="194"/>
                  </a:lnTo>
                  <a:lnTo>
                    <a:pt x="108" y="194"/>
                  </a:lnTo>
                  <a:lnTo>
                    <a:pt x="108" y="191"/>
                  </a:lnTo>
                  <a:lnTo>
                    <a:pt x="110" y="191"/>
                  </a:lnTo>
                  <a:lnTo>
                    <a:pt x="110" y="189"/>
                  </a:lnTo>
                  <a:lnTo>
                    <a:pt x="113" y="189"/>
                  </a:lnTo>
                  <a:lnTo>
                    <a:pt x="115" y="189"/>
                  </a:lnTo>
                  <a:lnTo>
                    <a:pt x="117" y="189"/>
                  </a:lnTo>
                  <a:lnTo>
                    <a:pt x="120" y="189"/>
                  </a:lnTo>
                  <a:lnTo>
                    <a:pt x="120" y="189"/>
                  </a:lnTo>
                  <a:lnTo>
                    <a:pt x="122" y="189"/>
                  </a:lnTo>
                  <a:lnTo>
                    <a:pt x="124" y="189"/>
                  </a:lnTo>
                  <a:lnTo>
                    <a:pt x="127" y="191"/>
                  </a:lnTo>
                  <a:lnTo>
                    <a:pt x="127" y="191"/>
                  </a:lnTo>
                  <a:lnTo>
                    <a:pt x="129" y="191"/>
                  </a:lnTo>
                  <a:lnTo>
                    <a:pt x="129" y="191"/>
                  </a:lnTo>
                  <a:lnTo>
                    <a:pt x="132" y="191"/>
                  </a:lnTo>
                  <a:lnTo>
                    <a:pt x="132" y="191"/>
                  </a:lnTo>
                  <a:lnTo>
                    <a:pt x="132" y="191"/>
                  </a:lnTo>
                  <a:lnTo>
                    <a:pt x="134" y="191"/>
                  </a:lnTo>
                  <a:lnTo>
                    <a:pt x="136" y="191"/>
                  </a:lnTo>
                  <a:lnTo>
                    <a:pt x="136" y="191"/>
                  </a:lnTo>
                  <a:lnTo>
                    <a:pt x="139" y="191"/>
                  </a:lnTo>
                  <a:lnTo>
                    <a:pt x="141" y="189"/>
                  </a:lnTo>
                  <a:lnTo>
                    <a:pt x="141" y="186"/>
                  </a:lnTo>
                  <a:lnTo>
                    <a:pt x="143" y="186"/>
                  </a:lnTo>
                  <a:lnTo>
                    <a:pt x="143" y="186"/>
                  </a:lnTo>
                  <a:lnTo>
                    <a:pt x="146" y="186"/>
                  </a:lnTo>
                  <a:lnTo>
                    <a:pt x="146" y="186"/>
                  </a:lnTo>
                  <a:lnTo>
                    <a:pt x="148" y="186"/>
                  </a:lnTo>
                  <a:lnTo>
                    <a:pt x="150" y="186"/>
                  </a:lnTo>
                  <a:lnTo>
                    <a:pt x="153" y="186"/>
                  </a:lnTo>
                  <a:lnTo>
                    <a:pt x="155" y="186"/>
                  </a:lnTo>
                  <a:lnTo>
                    <a:pt x="155" y="186"/>
                  </a:lnTo>
                  <a:lnTo>
                    <a:pt x="155" y="184"/>
                  </a:lnTo>
                  <a:lnTo>
                    <a:pt x="155" y="184"/>
                  </a:lnTo>
                  <a:lnTo>
                    <a:pt x="155" y="182"/>
                  </a:lnTo>
                  <a:lnTo>
                    <a:pt x="155" y="182"/>
                  </a:lnTo>
                  <a:lnTo>
                    <a:pt x="155" y="179"/>
                  </a:lnTo>
                  <a:lnTo>
                    <a:pt x="155" y="179"/>
                  </a:lnTo>
                  <a:lnTo>
                    <a:pt x="155" y="177"/>
                  </a:lnTo>
                  <a:lnTo>
                    <a:pt x="155" y="175"/>
                  </a:lnTo>
                  <a:lnTo>
                    <a:pt x="155" y="175"/>
                  </a:lnTo>
                  <a:lnTo>
                    <a:pt x="155" y="175"/>
                  </a:lnTo>
                  <a:lnTo>
                    <a:pt x="157" y="175"/>
                  </a:lnTo>
                  <a:lnTo>
                    <a:pt x="157" y="170"/>
                  </a:lnTo>
                  <a:lnTo>
                    <a:pt x="157" y="165"/>
                  </a:lnTo>
                  <a:lnTo>
                    <a:pt x="157" y="160"/>
                  </a:lnTo>
                  <a:lnTo>
                    <a:pt x="157" y="158"/>
                  </a:lnTo>
                  <a:lnTo>
                    <a:pt x="157" y="153"/>
                  </a:lnTo>
                  <a:lnTo>
                    <a:pt x="157" y="153"/>
                  </a:lnTo>
                  <a:lnTo>
                    <a:pt x="157" y="153"/>
                  </a:lnTo>
                  <a:lnTo>
                    <a:pt x="160" y="151"/>
                  </a:lnTo>
                  <a:lnTo>
                    <a:pt x="162" y="149"/>
                  </a:lnTo>
                  <a:lnTo>
                    <a:pt x="165" y="149"/>
                  </a:lnTo>
                  <a:lnTo>
                    <a:pt x="165" y="146"/>
                  </a:lnTo>
                  <a:lnTo>
                    <a:pt x="169" y="144"/>
                  </a:lnTo>
                  <a:lnTo>
                    <a:pt x="172" y="144"/>
                  </a:lnTo>
                  <a:lnTo>
                    <a:pt x="176" y="139"/>
                  </a:lnTo>
                  <a:lnTo>
                    <a:pt x="176" y="139"/>
                  </a:lnTo>
                  <a:lnTo>
                    <a:pt x="179" y="139"/>
                  </a:lnTo>
                  <a:lnTo>
                    <a:pt x="181" y="137"/>
                  </a:lnTo>
                  <a:lnTo>
                    <a:pt x="183" y="137"/>
                  </a:lnTo>
                  <a:lnTo>
                    <a:pt x="183" y="134"/>
                  </a:lnTo>
                  <a:lnTo>
                    <a:pt x="186" y="134"/>
                  </a:lnTo>
                  <a:lnTo>
                    <a:pt x="186" y="134"/>
                  </a:lnTo>
                  <a:lnTo>
                    <a:pt x="188" y="134"/>
                  </a:lnTo>
                  <a:lnTo>
                    <a:pt x="190" y="134"/>
                  </a:lnTo>
                  <a:lnTo>
                    <a:pt x="193" y="134"/>
                  </a:lnTo>
                  <a:lnTo>
                    <a:pt x="195" y="134"/>
                  </a:lnTo>
                  <a:lnTo>
                    <a:pt x="195" y="134"/>
                  </a:lnTo>
                  <a:lnTo>
                    <a:pt x="198" y="134"/>
                  </a:lnTo>
                  <a:lnTo>
                    <a:pt x="198" y="132"/>
                  </a:lnTo>
                  <a:lnTo>
                    <a:pt x="198" y="132"/>
                  </a:lnTo>
                  <a:lnTo>
                    <a:pt x="198" y="130"/>
                  </a:lnTo>
                  <a:lnTo>
                    <a:pt x="198" y="130"/>
                  </a:lnTo>
                  <a:lnTo>
                    <a:pt x="198" y="130"/>
                  </a:lnTo>
                  <a:lnTo>
                    <a:pt x="200" y="130"/>
                  </a:lnTo>
                  <a:lnTo>
                    <a:pt x="200" y="130"/>
                  </a:lnTo>
                  <a:lnTo>
                    <a:pt x="202" y="130"/>
                  </a:lnTo>
                  <a:lnTo>
                    <a:pt x="205" y="130"/>
                  </a:lnTo>
                  <a:lnTo>
                    <a:pt x="207" y="130"/>
                  </a:lnTo>
                  <a:lnTo>
                    <a:pt x="212" y="127"/>
                  </a:lnTo>
                  <a:lnTo>
                    <a:pt x="214" y="127"/>
                  </a:lnTo>
                  <a:lnTo>
                    <a:pt x="216" y="127"/>
                  </a:lnTo>
                  <a:lnTo>
                    <a:pt x="219" y="125"/>
                  </a:lnTo>
                  <a:lnTo>
                    <a:pt x="221" y="123"/>
                  </a:lnTo>
                  <a:lnTo>
                    <a:pt x="223" y="118"/>
                  </a:lnTo>
                  <a:lnTo>
                    <a:pt x="226" y="116"/>
                  </a:lnTo>
                  <a:lnTo>
                    <a:pt x="228" y="113"/>
                  </a:lnTo>
                  <a:lnTo>
                    <a:pt x="233" y="113"/>
                  </a:lnTo>
                  <a:lnTo>
                    <a:pt x="233" y="113"/>
                  </a:lnTo>
                  <a:lnTo>
                    <a:pt x="238" y="111"/>
                  </a:lnTo>
                  <a:lnTo>
                    <a:pt x="240" y="108"/>
                  </a:lnTo>
                  <a:lnTo>
                    <a:pt x="245" y="106"/>
                  </a:lnTo>
                  <a:lnTo>
                    <a:pt x="247" y="106"/>
                  </a:lnTo>
                  <a:lnTo>
                    <a:pt x="249" y="106"/>
                  </a:lnTo>
                  <a:lnTo>
                    <a:pt x="249" y="106"/>
                  </a:lnTo>
                  <a:lnTo>
                    <a:pt x="249" y="104"/>
                  </a:lnTo>
                  <a:lnTo>
                    <a:pt x="249" y="104"/>
                  </a:lnTo>
                  <a:lnTo>
                    <a:pt x="249" y="101"/>
                  </a:lnTo>
                  <a:lnTo>
                    <a:pt x="249" y="101"/>
                  </a:lnTo>
                  <a:lnTo>
                    <a:pt x="247" y="101"/>
                  </a:lnTo>
                  <a:lnTo>
                    <a:pt x="247" y="101"/>
                  </a:lnTo>
                  <a:lnTo>
                    <a:pt x="247" y="101"/>
                  </a:lnTo>
                  <a:lnTo>
                    <a:pt x="247" y="99"/>
                  </a:lnTo>
                  <a:lnTo>
                    <a:pt x="247" y="99"/>
                  </a:lnTo>
                  <a:lnTo>
                    <a:pt x="247" y="97"/>
                  </a:lnTo>
                  <a:lnTo>
                    <a:pt x="247" y="94"/>
                  </a:lnTo>
                  <a:lnTo>
                    <a:pt x="247" y="94"/>
                  </a:lnTo>
                  <a:lnTo>
                    <a:pt x="247" y="92"/>
                  </a:lnTo>
                  <a:lnTo>
                    <a:pt x="247" y="92"/>
                  </a:lnTo>
                  <a:lnTo>
                    <a:pt x="247" y="90"/>
                  </a:lnTo>
                  <a:lnTo>
                    <a:pt x="249" y="90"/>
                  </a:lnTo>
                  <a:lnTo>
                    <a:pt x="249" y="90"/>
                  </a:lnTo>
                  <a:lnTo>
                    <a:pt x="252" y="90"/>
                  </a:lnTo>
                  <a:lnTo>
                    <a:pt x="254" y="90"/>
                  </a:lnTo>
                  <a:lnTo>
                    <a:pt x="261" y="87"/>
                  </a:lnTo>
                  <a:lnTo>
                    <a:pt x="261" y="87"/>
                  </a:lnTo>
                  <a:lnTo>
                    <a:pt x="264" y="85"/>
                  </a:lnTo>
                  <a:lnTo>
                    <a:pt x="264" y="82"/>
                  </a:lnTo>
                  <a:lnTo>
                    <a:pt x="264" y="82"/>
                  </a:lnTo>
                  <a:lnTo>
                    <a:pt x="264" y="82"/>
                  </a:lnTo>
                  <a:lnTo>
                    <a:pt x="268" y="82"/>
                  </a:lnTo>
                  <a:lnTo>
                    <a:pt x="271" y="80"/>
                  </a:lnTo>
                  <a:lnTo>
                    <a:pt x="273" y="80"/>
                  </a:lnTo>
                  <a:lnTo>
                    <a:pt x="275" y="80"/>
                  </a:lnTo>
                  <a:lnTo>
                    <a:pt x="278" y="80"/>
                  </a:lnTo>
                  <a:lnTo>
                    <a:pt x="282" y="80"/>
                  </a:lnTo>
                  <a:lnTo>
                    <a:pt x="287" y="82"/>
                  </a:lnTo>
                  <a:lnTo>
                    <a:pt x="289" y="82"/>
                  </a:lnTo>
                  <a:lnTo>
                    <a:pt x="292" y="82"/>
                  </a:lnTo>
                  <a:lnTo>
                    <a:pt x="294" y="80"/>
                  </a:lnTo>
                  <a:lnTo>
                    <a:pt x="294" y="80"/>
                  </a:lnTo>
                  <a:lnTo>
                    <a:pt x="294" y="78"/>
                  </a:lnTo>
                  <a:lnTo>
                    <a:pt x="294" y="75"/>
                  </a:lnTo>
                  <a:lnTo>
                    <a:pt x="294" y="7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4" name="Freeform 280"/>
            <p:cNvSpPr>
              <a:spLocks/>
            </p:cNvSpPr>
            <p:nvPr userDrawn="1"/>
          </p:nvSpPr>
          <p:spPr bwMode="auto">
            <a:xfrm>
              <a:off x="3983" y="1890"/>
              <a:ext cx="33" cy="36"/>
            </a:xfrm>
            <a:custGeom>
              <a:avLst/>
              <a:gdLst>
                <a:gd name="T0" fmla="*/ 31 w 33"/>
                <a:gd name="T1" fmla="*/ 12 h 36"/>
                <a:gd name="T2" fmla="*/ 26 w 33"/>
                <a:gd name="T3" fmla="*/ 10 h 36"/>
                <a:gd name="T4" fmla="*/ 21 w 33"/>
                <a:gd name="T5" fmla="*/ 10 h 36"/>
                <a:gd name="T6" fmla="*/ 19 w 33"/>
                <a:gd name="T7" fmla="*/ 7 h 36"/>
                <a:gd name="T8" fmla="*/ 16 w 33"/>
                <a:gd name="T9" fmla="*/ 5 h 36"/>
                <a:gd name="T10" fmla="*/ 12 w 33"/>
                <a:gd name="T11" fmla="*/ 3 h 36"/>
                <a:gd name="T12" fmla="*/ 12 w 33"/>
                <a:gd name="T13" fmla="*/ 0 h 36"/>
                <a:gd name="T14" fmla="*/ 12 w 33"/>
                <a:gd name="T15" fmla="*/ 0 h 36"/>
                <a:gd name="T16" fmla="*/ 9 w 33"/>
                <a:gd name="T17" fmla="*/ 0 h 36"/>
                <a:gd name="T18" fmla="*/ 9 w 33"/>
                <a:gd name="T19" fmla="*/ 0 h 36"/>
                <a:gd name="T20" fmla="*/ 7 w 33"/>
                <a:gd name="T21" fmla="*/ 3 h 36"/>
                <a:gd name="T22" fmla="*/ 9 w 33"/>
                <a:gd name="T23" fmla="*/ 5 h 36"/>
                <a:gd name="T24" fmla="*/ 9 w 33"/>
                <a:gd name="T25" fmla="*/ 5 h 36"/>
                <a:gd name="T26" fmla="*/ 7 w 33"/>
                <a:gd name="T27" fmla="*/ 5 h 36"/>
                <a:gd name="T28" fmla="*/ 5 w 33"/>
                <a:gd name="T29" fmla="*/ 5 h 36"/>
                <a:gd name="T30" fmla="*/ 2 w 33"/>
                <a:gd name="T31" fmla="*/ 7 h 36"/>
                <a:gd name="T32" fmla="*/ 2 w 33"/>
                <a:gd name="T33" fmla="*/ 10 h 36"/>
                <a:gd name="T34" fmla="*/ 0 w 33"/>
                <a:gd name="T35" fmla="*/ 12 h 36"/>
                <a:gd name="T36" fmla="*/ 0 w 33"/>
                <a:gd name="T37" fmla="*/ 12 h 36"/>
                <a:gd name="T38" fmla="*/ 0 w 33"/>
                <a:gd name="T39" fmla="*/ 17 h 36"/>
                <a:gd name="T40" fmla="*/ 2 w 33"/>
                <a:gd name="T41" fmla="*/ 19 h 36"/>
                <a:gd name="T42" fmla="*/ 0 w 33"/>
                <a:gd name="T43" fmla="*/ 22 h 36"/>
                <a:gd name="T44" fmla="*/ 0 w 33"/>
                <a:gd name="T45" fmla="*/ 22 h 36"/>
                <a:gd name="T46" fmla="*/ 0 w 33"/>
                <a:gd name="T47" fmla="*/ 22 h 36"/>
                <a:gd name="T48" fmla="*/ 2 w 33"/>
                <a:gd name="T49" fmla="*/ 24 h 36"/>
                <a:gd name="T50" fmla="*/ 5 w 33"/>
                <a:gd name="T51" fmla="*/ 24 h 36"/>
                <a:gd name="T52" fmla="*/ 2 w 33"/>
                <a:gd name="T53" fmla="*/ 24 h 36"/>
                <a:gd name="T54" fmla="*/ 7 w 33"/>
                <a:gd name="T55" fmla="*/ 26 h 36"/>
                <a:gd name="T56" fmla="*/ 14 w 33"/>
                <a:gd name="T57" fmla="*/ 33 h 36"/>
                <a:gd name="T58" fmla="*/ 16 w 33"/>
                <a:gd name="T59" fmla="*/ 33 h 36"/>
                <a:gd name="T60" fmla="*/ 16 w 33"/>
                <a:gd name="T61" fmla="*/ 31 h 36"/>
                <a:gd name="T62" fmla="*/ 16 w 33"/>
                <a:gd name="T63" fmla="*/ 29 h 36"/>
                <a:gd name="T64" fmla="*/ 16 w 33"/>
                <a:gd name="T65" fmla="*/ 26 h 36"/>
                <a:gd name="T66" fmla="*/ 16 w 33"/>
                <a:gd name="T67" fmla="*/ 24 h 36"/>
                <a:gd name="T68" fmla="*/ 19 w 33"/>
                <a:gd name="T69" fmla="*/ 22 h 36"/>
                <a:gd name="T70" fmla="*/ 21 w 33"/>
                <a:gd name="T71" fmla="*/ 19 h 36"/>
                <a:gd name="T72" fmla="*/ 21 w 33"/>
                <a:gd name="T73" fmla="*/ 19 h 36"/>
                <a:gd name="T74" fmla="*/ 23 w 33"/>
                <a:gd name="T75" fmla="*/ 22 h 36"/>
                <a:gd name="T76" fmla="*/ 23 w 33"/>
                <a:gd name="T77" fmla="*/ 22 h 36"/>
                <a:gd name="T78" fmla="*/ 28 w 33"/>
                <a:gd name="T79" fmla="*/ 22 h 36"/>
                <a:gd name="T80" fmla="*/ 28 w 33"/>
                <a:gd name="T81" fmla="*/ 22 h 36"/>
                <a:gd name="T82" fmla="*/ 28 w 33"/>
                <a:gd name="T83" fmla="*/ 19 h 36"/>
                <a:gd name="T84" fmla="*/ 28 w 33"/>
                <a:gd name="T85" fmla="*/ 17 h 36"/>
                <a:gd name="T86" fmla="*/ 31 w 33"/>
                <a:gd name="T87" fmla="*/ 17 h 36"/>
                <a:gd name="T88" fmla="*/ 33 w 33"/>
                <a:gd name="T89" fmla="*/ 14 h 36"/>
                <a:gd name="T90" fmla="*/ 33 w 33"/>
                <a:gd name="T91"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36">
                  <a:moveTo>
                    <a:pt x="33" y="14"/>
                  </a:moveTo>
                  <a:lnTo>
                    <a:pt x="31" y="12"/>
                  </a:lnTo>
                  <a:lnTo>
                    <a:pt x="28" y="12"/>
                  </a:lnTo>
                  <a:lnTo>
                    <a:pt x="26" y="10"/>
                  </a:lnTo>
                  <a:lnTo>
                    <a:pt x="23" y="10"/>
                  </a:lnTo>
                  <a:lnTo>
                    <a:pt x="21" y="10"/>
                  </a:lnTo>
                  <a:lnTo>
                    <a:pt x="21" y="7"/>
                  </a:lnTo>
                  <a:lnTo>
                    <a:pt x="19" y="7"/>
                  </a:lnTo>
                  <a:lnTo>
                    <a:pt x="19" y="7"/>
                  </a:lnTo>
                  <a:lnTo>
                    <a:pt x="16" y="5"/>
                  </a:lnTo>
                  <a:lnTo>
                    <a:pt x="14" y="3"/>
                  </a:lnTo>
                  <a:lnTo>
                    <a:pt x="12" y="3"/>
                  </a:lnTo>
                  <a:lnTo>
                    <a:pt x="12" y="3"/>
                  </a:lnTo>
                  <a:lnTo>
                    <a:pt x="12" y="0"/>
                  </a:lnTo>
                  <a:lnTo>
                    <a:pt x="12" y="0"/>
                  </a:lnTo>
                  <a:lnTo>
                    <a:pt x="12" y="0"/>
                  </a:lnTo>
                  <a:lnTo>
                    <a:pt x="12" y="0"/>
                  </a:lnTo>
                  <a:lnTo>
                    <a:pt x="9" y="0"/>
                  </a:lnTo>
                  <a:lnTo>
                    <a:pt x="9" y="0"/>
                  </a:lnTo>
                  <a:lnTo>
                    <a:pt x="9" y="0"/>
                  </a:lnTo>
                  <a:lnTo>
                    <a:pt x="7" y="0"/>
                  </a:lnTo>
                  <a:lnTo>
                    <a:pt x="7" y="3"/>
                  </a:lnTo>
                  <a:lnTo>
                    <a:pt x="9" y="3"/>
                  </a:lnTo>
                  <a:lnTo>
                    <a:pt x="9" y="5"/>
                  </a:lnTo>
                  <a:lnTo>
                    <a:pt x="9" y="5"/>
                  </a:lnTo>
                  <a:lnTo>
                    <a:pt x="9" y="5"/>
                  </a:lnTo>
                  <a:lnTo>
                    <a:pt x="7" y="5"/>
                  </a:lnTo>
                  <a:lnTo>
                    <a:pt x="7" y="5"/>
                  </a:lnTo>
                  <a:lnTo>
                    <a:pt x="7" y="5"/>
                  </a:lnTo>
                  <a:lnTo>
                    <a:pt x="5" y="5"/>
                  </a:lnTo>
                  <a:lnTo>
                    <a:pt x="5" y="7"/>
                  </a:lnTo>
                  <a:lnTo>
                    <a:pt x="2" y="7"/>
                  </a:lnTo>
                  <a:lnTo>
                    <a:pt x="2" y="10"/>
                  </a:lnTo>
                  <a:lnTo>
                    <a:pt x="2" y="10"/>
                  </a:lnTo>
                  <a:lnTo>
                    <a:pt x="2" y="12"/>
                  </a:lnTo>
                  <a:lnTo>
                    <a:pt x="0" y="12"/>
                  </a:lnTo>
                  <a:lnTo>
                    <a:pt x="0" y="12"/>
                  </a:lnTo>
                  <a:lnTo>
                    <a:pt x="0" y="12"/>
                  </a:lnTo>
                  <a:lnTo>
                    <a:pt x="0" y="14"/>
                  </a:lnTo>
                  <a:lnTo>
                    <a:pt x="0" y="17"/>
                  </a:lnTo>
                  <a:lnTo>
                    <a:pt x="2" y="19"/>
                  </a:lnTo>
                  <a:lnTo>
                    <a:pt x="2" y="19"/>
                  </a:lnTo>
                  <a:lnTo>
                    <a:pt x="2" y="19"/>
                  </a:lnTo>
                  <a:lnTo>
                    <a:pt x="0" y="22"/>
                  </a:lnTo>
                  <a:lnTo>
                    <a:pt x="0" y="22"/>
                  </a:lnTo>
                  <a:lnTo>
                    <a:pt x="0" y="22"/>
                  </a:lnTo>
                  <a:lnTo>
                    <a:pt x="0" y="22"/>
                  </a:lnTo>
                  <a:lnTo>
                    <a:pt x="0" y="22"/>
                  </a:lnTo>
                  <a:lnTo>
                    <a:pt x="2" y="24"/>
                  </a:lnTo>
                  <a:lnTo>
                    <a:pt x="2" y="24"/>
                  </a:lnTo>
                  <a:lnTo>
                    <a:pt x="2" y="24"/>
                  </a:lnTo>
                  <a:lnTo>
                    <a:pt x="5" y="24"/>
                  </a:lnTo>
                  <a:lnTo>
                    <a:pt x="5" y="24"/>
                  </a:lnTo>
                  <a:lnTo>
                    <a:pt x="2" y="24"/>
                  </a:lnTo>
                  <a:lnTo>
                    <a:pt x="5" y="24"/>
                  </a:lnTo>
                  <a:lnTo>
                    <a:pt x="7" y="26"/>
                  </a:lnTo>
                  <a:lnTo>
                    <a:pt x="12" y="31"/>
                  </a:lnTo>
                  <a:lnTo>
                    <a:pt x="14" y="33"/>
                  </a:lnTo>
                  <a:lnTo>
                    <a:pt x="16" y="36"/>
                  </a:lnTo>
                  <a:lnTo>
                    <a:pt x="16" y="33"/>
                  </a:lnTo>
                  <a:lnTo>
                    <a:pt x="16" y="33"/>
                  </a:lnTo>
                  <a:lnTo>
                    <a:pt x="16" y="31"/>
                  </a:lnTo>
                  <a:lnTo>
                    <a:pt x="16" y="31"/>
                  </a:lnTo>
                  <a:lnTo>
                    <a:pt x="16" y="29"/>
                  </a:lnTo>
                  <a:lnTo>
                    <a:pt x="14" y="29"/>
                  </a:lnTo>
                  <a:lnTo>
                    <a:pt x="16" y="26"/>
                  </a:lnTo>
                  <a:lnTo>
                    <a:pt x="16" y="26"/>
                  </a:lnTo>
                  <a:lnTo>
                    <a:pt x="16" y="24"/>
                  </a:lnTo>
                  <a:lnTo>
                    <a:pt x="19" y="22"/>
                  </a:lnTo>
                  <a:lnTo>
                    <a:pt x="19" y="22"/>
                  </a:lnTo>
                  <a:lnTo>
                    <a:pt x="21" y="19"/>
                  </a:lnTo>
                  <a:lnTo>
                    <a:pt x="21" y="19"/>
                  </a:lnTo>
                  <a:lnTo>
                    <a:pt x="21" y="19"/>
                  </a:lnTo>
                  <a:lnTo>
                    <a:pt x="21" y="19"/>
                  </a:lnTo>
                  <a:lnTo>
                    <a:pt x="21" y="22"/>
                  </a:lnTo>
                  <a:lnTo>
                    <a:pt x="23" y="22"/>
                  </a:lnTo>
                  <a:lnTo>
                    <a:pt x="23" y="22"/>
                  </a:lnTo>
                  <a:lnTo>
                    <a:pt x="23" y="22"/>
                  </a:lnTo>
                  <a:lnTo>
                    <a:pt x="26" y="22"/>
                  </a:lnTo>
                  <a:lnTo>
                    <a:pt x="28" y="22"/>
                  </a:lnTo>
                  <a:lnTo>
                    <a:pt x="28" y="22"/>
                  </a:lnTo>
                  <a:lnTo>
                    <a:pt x="28" y="22"/>
                  </a:lnTo>
                  <a:lnTo>
                    <a:pt x="28" y="19"/>
                  </a:lnTo>
                  <a:lnTo>
                    <a:pt x="28" y="19"/>
                  </a:lnTo>
                  <a:lnTo>
                    <a:pt x="26" y="17"/>
                  </a:lnTo>
                  <a:lnTo>
                    <a:pt x="28" y="17"/>
                  </a:lnTo>
                  <a:lnTo>
                    <a:pt x="28" y="17"/>
                  </a:lnTo>
                  <a:lnTo>
                    <a:pt x="31" y="17"/>
                  </a:lnTo>
                  <a:lnTo>
                    <a:pt x="31" y="17"/>
                  </a:lnTo>
                  <a:lnTo>
                    <a:pt x="33" y="14"/>
                  </a:lnTo>
                  <a:lnTo>
                    <a:pt x="33" y="14"/>
                  </a:lnTo>
                  <a:lnTo>
                    <a:pt x="3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5" name="Freeform 281"/>
            <p:cNvSpPr>
              <a:spLocks/>
            </p:cNvSpPr>
            <p:nvPr userDrawn="1"/>
          </p:nvSpPr>
          <p:spPr bwMode="auto">
            <a:xfrm>
              <a:off x="5105" y="1713"/>
              <a:ext cx="549" cy="217"/>
            </a:xfrm>
            <a:custGeom>
              <a:avLst/>
              <a:gdLst>
                <a:gd name="T0" fmla="*/ 530 w 549"/>
                <a:gd name="T1" fmla="*/ 97 h 217"/>
                <a:gd name="T2" fmla="*/ 516 w 549"/>
                <a:gd name="T3" fmla="*/ 87 h 217"/>
                <a:gd name="T4" fmla="*/ 497 w 549"/>
                <a:gd name="T5" fmla="*/ 92 h 217"/>
                <a:gd name="T6" fmla="*/ 476 w 549"/>
                <a:gd name="T7" fmla="*/ 87 h 217"/>
                <a:gd name="T8" fmla="*/ 462 w 549"/>
                <a:gd name="T9" fmla="*/ 76 h 217"/>
                <a:gd name="T10" fmla="*/ 457 w 549"/>
                <a:gd name="T11" fmla="*/ 45 h 217"/>
                <a:gd name="T12" fmla="*/ 429 w 549"/>
                <a:gd name="T13" fmla="*/ 40 h 217"/>
                <a:gd name="T14" fmla="*/ 405 w 549"/>
                <a:gd name="T15" fmla="*/ 45 h 217"/>
                <a:gd name="T16" fmla="*/ 386 w 549"/>
                <a:gd name="T17" fmla="*/ 57 h 217"/>
                <a:gd name="T18" fmla="*/ 363 w 549"/>
                <a:gd name="T19" fmla="*/ 59 h 217"/>
                <a:gd name="T20" fmla="*/ 327 w 549"/>
                <a:gd name="T21" fmla="*/ 52 h 217"/>
                <a:gd name="T22" fmla="*/ 306 w 549"/>
                <a:gd name="T23" fmla="*/ 42 h 217"/>
                <a:gd name="T24" fmla="*/ 278 w 549"/>
                <a:gd name="T25" fmla="*/ 35 h 217"/>
                <a:gd name="T26" fmla="*/ 254 w 549"/>
                <a:gd name="T27" fmla="*/ 38 h 217"/>
                <a:gd name="T28" fmla="*/ 235 w 549"/>
                <a:gd name="T29" fmla="*/ 38 h 217"/>
                <a:gd name="T30" fmla="*/ 219 w 549"/>
                <a:gd name="T31" fmla="*/ 28 h 217"/>
                <a:gd name="T32" fmla="*/ 205 w 549"/>
                <a:gd name="T33" fmla="*/ 14 h 217"/>
                <a:gd name="T34" fmla="*/ 174 w 549"/>
                <a:gd name="T35" fmla="*/ 7 h 217"/>
                <a:gd name="T36" fmla="*/ 148 w 549"/>
                <a:gd name="T37" fmla="*/ 0 h 217"/>
                <a:gd name="T38" fmla="*/ 141 w 549"/>
                <a:gd name="T39" fmla="*/ 14 h 217"/>
                <a:gd name="T40" fmla="*/ 148 w 549"/>
                <a:gd name="T41" fmla="*/ 26 h 217"/>
                <a:gd name="T42" fmla="*/ 158 w 549"/>
                <a:gd name="T43" fmla="*/ 40 h 217"/>
                <a:gd name="T44" fmla="*/ 148 w 549"/>
                <a:gd name="T45" fmla="*/ 50 h 217"/>
                <a:gd name="T46" fmla="*/ 132 w 549"/>
                <a:gd name="T47" fmla="*/ 45 h 217"/>
                <a:gd name="T48" fmla="*/ 118 w 549"/>
                <a:gd name="T49" fmla="*/ 45 h 217"/>
                <a:gd name="T50" fmla="*/ 103 w 549"/>
                <a:gd name="T51" fmla="*/ 42 h 217"/>
                <a:gd name="T52" fmla="*/ 87 w 549"/>
                <a:gd name="T53" fmla="*/ 31 h 217"/>
                <a:gd name="T54" fmla="*/ 68 w 549"/>
                <a:gd name="T55" fmla="*/ 28 h 217"/>
                <a:gd name="T56" fmla="*/ 56 w 549"/>
                <a:gd name="T57" fmla="*/ 28 h 217"/>
                <a:gd name="T58" fmla="*/ 44 w 549"/>
                <a:gd name="T59" fmla="*/ 33 h 217"/>
                <a:gd name="T60" fmla="*/ 30 w 549"/>
                <a:gd name="T61" fmla="*/ 40 h 217"/>
                <a:gd name="T62" fmla="*/ 21 w 549"/>
                <a:gd name="T63" fmla="*/ 50 h 217"/>
                <a:gd name="T64" fmla="*/ 14 w 549"/>
                <a:gd name="T65" fmla="*/ 54 h 217"/>
                <a:gd name="T66" fmla="*/ 2 w 549"/>
                <a:gd name="T67" fmla="*/ 59 h 217"/>
                <a:gd name="T68" fmla="*/ 0 w 549"/>
                <a:gd name="T69" fmla="*/ 66 h 217"/>
                <a:gd name="T70" fmla="*/ 9 w 549"/>
                <a:gd name="T71" fmla="*/ 73 h 217"/>
                <a:gd name="T72" fmla="*/ 30 w 549"/>
                <a:gd name="T73" fmla="*/ 85 h 217"/>
                <a:gd name="T74" fmla="*/ 47 w 549"/>
                <a:gd name="T75" fmla="*/ 87 h 217"/>
                <a:gd name="T76" fmla="*/ 59 w 549"/>
                <a:gd name="T77" fmla="*/ 99 h 217"/>
                <a:gd name="T78" fmla="*/ 73 w 549"/>
                <a:gd name="T79" fmla="*/ 118 h 217"/>
                <a:gd name="T80" fmla="*/ 75 w 549"/>
                <a:gd name="T81" fmla="*/ 135 h 217"/>
                <a:gd name="T82" fmla="*/ 92 w 549"/>
                <a:gd name="T83" fmla="*/ 144 h 217"/>
                <a:gd name="T84" fmla="*/ 127 w 549"/>
                <a:gd name="T85" fmla="*/ 149 h 217"/>
                <a:gd name="T86" fmla="*/ 165 w 549"/>
                <a:gd name="T87" fmla="*/ 163 h 217"/>
                <a:gd name="T88" fmla="*/ 181 w 549"/>
                <a:gd name="T89" fmla="*/ 184 h 217"/>
                <a:gd name="T90" fmla="*/ 233 w 549"/>
                <a:gd name="T91" fmla="*/ 196 h 217"/>
                <a:gd name="T92" fmla="*/ 285 w 549"/>
                <a:gd name="T93" fmla="*/ 199 h 217"/>
                <a:gd name="T94" fmla="*/ 334 w 549"/>
                <a:gd name="T95" fmla="*/ 213 h 217"/>
                <a:gd name="T96" fmla="*/ 360 w 549"/>
                <a:gd name="T97" fmla="*/ 210 h 217"/>
                <a:gd name="T98" fmla="*/ 396 w 549"/>
                <a:gd name="T99" fmla="*/ 201 h 217"/>
                <a:gd name="T100" fmla="*/ 426 w 549"/>
                <a:gd name="T101" fmla="*/ 194 h 217"/>
                <a:gd name="T102" fmla="*/ 436 w 549"/>
                <a:gd name="T103" fmla="*/ 182 h 217"/>
                <a:gd name="T104" fmla="*/ 445 w 549"/>
                <a:gd name="T105" fmla="*/ 170 h 217"/>
                <a:gd name="T106" fmla="*/ 431 w 549"/>
                <a:gd name="T107" fmla="*/ 151 h 217"/>
                <a:gd name="T108" fmla="*/ 457 w 549"/>
                <a:gd name="T109" fmla="*/ 151 h 217"/>
                <a:gd name="T110" fmla="*/ 471 w 549"/>
                <a:gd name="T111" fmla="*/ 144 h 217"/>
                <a:gd name="T112" fmla="*/ 490 w 549"/>
                <a:gd name="T113" fmla="*/ 137 h 217"/>
                <a:gd name="T114" fmla="*/ 497 w 549"/>
                <a:gd name="T115" fmla="*/ 123 h 217"/>
                <a:gd name="T116" fmla="*/ 509 w 549"/>
                <a:gd name="T117" fmla="*/ 116 h 217"/>
                <a:gd name="T118" fmla="*/ 523 w 549"/>
                <a:gd name="T119" fmla="*/ 111 h 217"/>
                <a:gd name="T120" fmla="*/ 544 w 549"/>
                <a:gd name="T121" fmla="*/ 11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9" h="217">
                  <a:moveTo>
                    <a:pt x="549" y="111"/>
                  </a:moveTo>
                  <a:lnTo>
                    <a:pt x="547" y="109"/>
                  </a:lnTo>
                  <a:lnTo>
                    <a:pt x="547" y="109"/>
                  </a:lnTo>
                  <a:lnTo>
                    <a:pt x="544" y="106"/>
                  </a:lnTo>
                  <a:lnTo>
                    <a:pt x="544" y="106"/>
                  </a:lnTo>
                  <a:lnTo>
                    <a:pt x="542" y="104"/>
                  </a:lnTo>
                  <a:lnTo>
                    <a:pt x="542" y="104"/>
                  </a:lnTo>
                  <a:lnTo>
                    <a:pt x="539" y="102"/>
                  </a:lnTo>
                  <a:lnTo>
                    <a:pt x="537" y="102"/>
                  </a:lnTo>
                  <a:lnTo>
                    <a:pt x="535" y="99"/>
                  </a:lnTo>
                  <a:lnTo>
                    <a:pt x="532" y="97"/>
                  </a:lnTo>
                  <a:lnTo>
                    <a:pt x="530" y="97"/>
                  </a:lnTo>
                  <a:lnTo>
                    <a:pt x="530" y="97"/>
                  </a:lnTo>
                  <a:lnTo>
                    <a:pt x="530" y="95"/>
                  </a:lnTo>
                  <a:lnTo>
                    <a:pt x="528" y="95"/>
                  </a:lnTo>
                  <a:lnTo>
                    <a:pt x="528" y="95"/>
                  </a:lnTo>
                  <a:lnTo>
                    <a:pt x="525" y="95"/>
                  </a:lnTo>
                  <a:lnTo>
                    <a:pt x="525" y="92"/>
                  </a:lnTo>
                  <a:lnTo>
                    <a:pt x="523" y="92"/>
                  </a:lnTo>
                  <a:lnTo>
                    <a:pt x="523" y="92"/>
                  </a:lnTo>
                  <a:lnTo>
                    <a:pt x="521" y="90"/>
                  </a:lnTo>
                  <a:lnTo>
                    <a:pt x="521" y="90"/>
                  </a:lnTo>
                  <a:lnTo>
                    <a:pt x="518" y="90"/>
                  </a:lnTo>
                  <a:lnTo>
                    <a:pt x="516" y="87"/>
                  </a:lnTo>
                  <a:lnTo>
                    <a:pt x="511" y="85"/>
                  </a:lnTo>
                  <a:lnTo>
                    <a:pt x="511" y="85"/>
                  </a:lnTo>
                  <a:lnTo>
                    <a:pt x="506" y="85"/>
                  </a:lnTo>
                  <a:lnTo>
                    <a:pt x="504" y="85"/>
                  </a:lnTo>
                  <a:lnTo>
                    <a:pt x="502" y="85"/>
                  </a:lnTo>
                  <a:lnTo>
                    <a:pt x="502" y="85"/>
                  </a:lnTo>
                  <a:lnTo>
                    <a:pt x="499" y="85"/>
                  </a:lnTo>
                  <a:lnTo>
                    <a:pt x="499" y="85"/>
                  </a:lnTo>
                  <a:lnTo>
                    <a:pt x="497" y="87"/>
                  </a:lnTo>
                  <a:lnTo>
                    <a:pt x="497" y="87"/>
                  </a:lnTo>
                  <a:lnTo>
                    <a:pt x="497" y="90"/>
                  </a:lnTo>
                  <a:lnTo>
                    <a:pt x="497" y="92"/>
                  </a:lnTo>
                  <a:lnTo>
                    <a:pt x="495" y="92"/>
                  </a:lnTo>
                  <a:lnTo>
                    <a:pt x="495" y="92"/>
                  </a:lnTo>
                  <a:lnTo>
                    <a:pt x="492" y="90"/>
                  </a:lnTo>
                  <a:lnTo>
                    <a:pt x="490" y="87"/>
                  </a:lnTo>
                  <a:lnTo>
                    <a:pt x="488" y="87"/>
                  </a:lnTo>
                  <a:lnTo>
                    <a:pt x="485" y="87"/>
                  </a:lnTo>
                  <a:lnTo>
                    <a:pt x="483" y="87"/>
                  </a:lnTo>
                  <a:lnTo>
                    <a:pt x="483" y="87"/>
                  </a:lnTo>
                  <a:lnTo>
                    <a:pt x="481" y="87"/>
                  </a:lnTo>
                  <a:lnTo>
                    <a:pt x="478" y="87"/>
                  </a:lnTo>
                  <a:lnTo>
                    <a:pt x="476" y="87"/>
                  </a:lnTo>
                  <a:lnTo>
                    <a:pt x="476" y="87"/>
                  </a:lnTo>
                  <a:lnTo>
                    <a:pt x="473" y="90"/>
                  </a:lnTo>
                  <a:lnTo>
                    <a:pt x="473" y="90"/>
                  </a:lnTo>
                  <a:lnTo>
                    <a:pt x="471" y="90"/>
                  </a:lnTo>
                  <a:lnTo>
                    <a:pt x="469" y="90"/>
                  </a:lnTo>
                  <a:lnTo>
                    <a:pt x="466" y="90"/>
                  </a:lnTo>
                  <a:lnTo>
                    <a:pt x="464" y="87"/>
                  </a:lnTo>
                  <a:lnTo>
                    <a:pt x="464" y="85"/>
                  </a:lnTo>
                  <a:lnTo>
                    <a:pt x="459" y="83"/>
                  </a:lnTo>
                  <a:lnTo>
                    <a:pt x="462" y="80"/>
                  </a:lnTo>
                  <a:lnTo>
                    <a:pt x="464" y="80"/>
                  </a:lnTo>
                  <a:lnTo>
                    <a:pt x="462" y="78"/>
                  </a:lnTo>
                  <a:lnTo>
                    <a:pt x="462" y="76"/>
                  </a:lnTo>
                  <a:lnTo>
                    <a:pt x="459" y="73"/>
                  </a:lnTo>
                  <a:lnTo>
                    <a:pt x="462" y="71"/>
                  </a:lnTo>
                  <a:lnTo>
                    <a:pt x="462" y="68"/>
                  </a:lnTo>
                  <a:lnTo>
                    <a:pt x="462" y="66"/>
                  </a:lnTo>
                  <a:lnTo>
                    <a:pt x="462" y="66"/>
                  </a:lnTo>
                  <a:lnTo>
                    <a:pt x="462" y="64"/>
                  </a:lnTo>
                  <a:lnTo>
                    <a:pt x="459" y="61"/>
                  </a:lnTo>
                  <a:lnTo>
                    <a:pt x="459" y="54"/>
                  </a:lnTo>
                  <a:lnTo>
                    <a:pt x="459" y="50"/>
                  </a:lnTo>
                  <a:lnTo>
                    <a:pt x="459" y="47"/>
                  </a:lnTo>
                  <a:lnTo>
                    <a:pt x="459" y="45"/>
                  </a:lnTo>
                  <a:lnTo>
                    <a:pt x="457" y="45"/>
                  </a:lnTo>
                  <a:lnTo>
                    <a:pt x="452" y="45"/>
                  </a:lnTo>
                  <a:lnTo>
                    <a:pt x="450" y="42"/>
                  </a:lnTo>
                  <a:lnTo>
                    <a:pt x="450" y="42"/>
                  </a:lnTo>
                  <a:lnTo>
                    <a:pt x="445" y="45"/>
                  </a:lnTo>
                  <a:lnTo>
                    <a:pt x="445" y="45"/>
                  </a:lnTo>
                  <a:lnTo>
                    <a:pt x="443" y="45"/>
                  </a:lnTo>
                  <a:lnTo>
                    <a:pt x="440" y="45"/>
                  </a:lnTo>
                  <a:lnTo>
                    <a:pt x="438" y="45"/>
                  </a:lnTo>
                  <a:lnTo>
                    <a:pt x="438" y="45"/>
                  </a:lnTo>
                  <a:lnTo>
                    <a:pt x="436" y="45"/>
                  </a:lnTo>
                  <a:lnTo>
                    <a:pt x="431" y="42"/>
                  </a:lnTo>
                  <a:lnTo>
                    <a:pt x="429" y="40"/>
                  </a:lnTo>
                  <a:lnTo>
                    <a:pt x="426" y="40"/>
                  </a:lnTo>
                  <a:lnTo>
                    <a:pt x="424" y="38"/>
                  </a:lnTo>
                  <a:lnTo>
                    <a:pt x="422" y="38"/>
                  </a:lnTo>
                  <a:lnTo>
                    <a:pt x="422" y="38"/>
                  </a:lnTo>
                  <a:lnTo>
                    <a:pt x="417" y="38"/>
                  </a:lnTo>
                  <a:lnTo>
                    <a:pt x="417" y="38"/>
                  </a:lnTo>
                  <a:lnTo>
                    <a:pt x="415" y="38"/>
                  </a:lnTo>
                  <a:lnTo>
                    <a:pt x="412" y="40"/>
                  </a:lnTo>
                  <a:lnTo>
                    <a:pt x="412" y="40"/>
                  </a:lnTo>
                  <a:lnTo>
                    <a:pt x="410" y="42"/>
                  </a:lnTo>
                  <a:lnTo>
                    <a:pt x="407" y="42"/>
                  </a:lnTo>
                  <a:lnTo>
                    <a:pt x="405" y="45"/>
                  </a:lnTo>
                  <a:lnTo>
                    <a:pt x="405" y="45"/>
                  </a:lnTo>
                  <a:lnTo>
                    <a:pt x="403" y="47"/>
                  </a:lnTo>
                  <a:lnTo>
                    <a:pt x="403" y="50"/>
                  </a:lnTo>
                  <a:lnTo>
                    <a:pt x="403" y="52"/>
                  </a:lnTo>
                  <a:lnTo>
                    <a:pt x="403" y="52"/>
                  </a:lnTo>
                  <a:lnTo>
                    <a:pt x="400" y="52"/>
                  </a:lnTo>
                  <a:lnTo>
                    <a:pt x="398" y="54"/>
                  </a:lnTo>
                  <a:lnTo>
                    <a:pt x="396" y="52"/>
                  </a:lnTo>
                  <a:lnTo>
                    <a:pt x="393" y="54"/>
                  </a:lnTo>
                  <a:lnTo>
                    <a:pt x="391" y="54"/>
                  </a:lnTo>
                  <a:lnTo>
                    <a:pt x="389" y="54"/>
                  </a:lnTo>
                  <a:lnTo>
                    <a:pt x="386" y="57"/>
                  </a:lnTo>
                  <a:lnTo>
                    <a:pt x="384" y="57"/>
                  </a:lnTo>
                  <a:lnTo>
                    <a:pt x="382" y="57"/>
                  </a:lnTo>
                  <a:lnTo>
                    <a:pt x="382" y="57"/>
                  </a:lnTo>
                  <a:lnTo>
                    <a:pt x="379" y="57"/>
                  </a:lnTo>
                  <a:lnTo>
                    <a:pt x="379" y="57"/>
                  </a:lnTo>
                  <a:lnTo>
                    <a:pt x="377" y="57"/>
                  </a:lnTo>
                  <a:lnTo>
                    <a:pt x="372" y="61"/>
                  </a:lnTo>
                  <a:lnTo>
                    <a:pt x="370" y="61"/>
                  </a:lnTo>
                  <a:lnTo>
                    <a:pt x="370" y="61"/>
                  </a:lnTo>
                  <a:lnTo>
                    <a:pt x="367" y="59"/>
                  </a:lnTo>
                  <a:lnTo>
                    <a:pt x="365" y="59"/>
                  </a:lnTo>
                  <a:lnTo>
                    <a:pt x="363" y="59"/>
                  </a:lnTo>
                  <a:lnTo>
                    <a:pt x="363" y="61"/>
                  </a:lnTo>
                  <a:lnTo>
                    <a:pt x="358" y="59"/>
                  </a:lnTo>
                  <a:lnTo>
                    <a:pt x="353" y="59"/>
                  </a:lnTo>
                  <a:lnTo>
                    <a:pt x="351" y="59"/>
                  </a:lnTo>
                  <a:lnTo>
                    <a:pt x="349" y="57"/>
                  </a:lnTo>
                  <a:lnTo>
                    <a:pt x="344" y="57"/>
                  </a:lnTo>
                  <a:lnTo>
                    <a:pt x="339" y="57"/>
                  </a:lnTo>
                  <a:lnTo>
                    <a:pt x="337" y="57"/>
                  </a:lnTo>
                  <a:lnTo>
                    <a:pt x="334" y="57"/>
                  </a:lnTo>
                  <a:lnTo>
                    <a:pt x="332" y="57"/>
                  </a:lnTo>
                  <a:lnTo>
                    <a:pt x="330" y="57"/>
                  </a:lnTo>
                  <a:lnTo>
                    <a:pt x="327" y="52"/>
                  </a:lnTo>
                  <a:lnTo>
                    <a:pt x="325" y="52"/>
                  </a:lnTo>
                  <a:lnTo>
                    <a:pt x="323" y="52"/>
                  </a:lnTo>
                  <a:lnTo>
                    <a:pt x="323" y="50"/>
                  </a:lnTo>
                  <a:lnTo>
                    <a:pt x="320" y="50"/>
                  </a:lnTo>
                  <a:lnTo>
                    <a:pt x="320" y="50"/>
                  </a:lnTo>
                  <a:lnTo>
                    <a:pt x="320" y="50"/>
                  </a:lnTo>
                  <a:lnTo>
                    <a:pt x="318" y="47"/>
                  </a:lnTo>
                  <a:lnTo>
                    <a:pt x="318" y="45"/>
                  </a:lnTo>
                  <a:lnTo>
                    <a:pt x="318" y="45"/>
                  </a:lnTo>
                  <a:lnTo>
                    <a:pt x="316" y="45"/>
                  </a:lnTo>
                  <a:lnTo>
                    <a:pt x="311" y="42"/>
                  </a:lnTo>
                  <a:lnTo>
                    <a:pt x="306" y="42"/>
                  </a:lnTo>
                  <a:lnTo>
                    <a:pt x="306" y="42"/>
                  </a:lnTo>
                  <a:lnTo>
                    <a:pt x="304" y="42"/>
                  </a:lnTo>
                  <a:lnTo>
                    <a:pt x="301" y="42"/>
                  </a:lnTo>
                  <a:lnTo>
                    <a:pt x="299" y="40"/>
                  </a:lnTo>
                  <a:lnTo>
                    <a:pt x="297" y="38"/>
                  </a:lnTo>
                  <a:lnTo>
                    <a:pt x="294" y="38"/>
                  </a:lnTo>
                  <a:lnTo>
                    <a:pt x="292" y="35"/>
                  </a:lnTo>
                  <a:lnTo>
                    <a:pt x="287" y="38"/>
                  </a:lnTo>
                  <a:lnTo>
                    <a:pt x="285" y="38"/>
                  </a:lnTo>
                  <a:lnTo>
                    <a:pt x="283" y="35"/>
                  </a:lnTo>
                  <a:lnTo>
                    <a:pt x="280" y="35"/>
                  </a:lnTo>
                  <a:lnTo>
                    <a:pt x="278" y="35"/>
                  </a:lnTo>
                  <a:lnTo>
                    <a:pt x="275" y="35"/>
                  </a:lnTo>
                  <a:lnTo>
                    <a:pt x="273" y="35"/>
                  </a:lnTo>
                  <a:lnTo>
                    <a:pt x="271" y="33"/>
                  </a:lnTo>
                  <a:lnTo>
                    <a:pt x="268" y="33"/>
                  </a:lnTo>
                  <a:lnTo>
                    <a:pt x="268" y="35"/>
                  </a:lnTo>
                  <a:lnTo>
                    <a:pt x="266" y="35"/>
                  </a:lnTo>
                  <a:lnTo>
                    <a:pt x="264" y="35"/>
                  </a:lnTo>
                  <a:lnTo>
                    <a:pt x="261" y="35"/>
                  </a:lnTo>
                  <a:lnTo>
                    <a:pt x="259" y="38"/>
                  </a:lnTo>
                  <a:lnTo>
                    <a:pt x="257" y="38"/>
                  </a:lnTo>
                  <a:lnTo>
                    <a:pt x="257" y="38"/>
                  </a:lnTo>
                  <a:lnTo>
                    <a:pt x="254" y="38"/>
                  </a:lnTo>
                  <a:lnTo>
                    <a:pt x="254" y="40"/>
                  </a:lnTo>
                  <a:lnTo>
                    <a:pt x="252" y="40"/>
                  </a:lnTo>
                  <a:lnTo>
                    <a:pt x="250" y="40"/>
                  </a:lnTo>
                  <a:lnTo>
                    <a:pt x="250" y="40"/>
                  </a:lnTo>
                  <a:lnTo>
                    <a:pt x="247" y="40"/>
                  </a:lnTo>
                  <a:lnTo>
                    <a:pt x="247" y="40"/>
                  </a:lnTo>
                  <a:lnTo>
                    <a:pt x="245" y="40"/>
                  </a:lnTo>
                  <a:lnTo>
                    <a:pt x="242" y="40"/>
                  </a:lnTo>
                  <a:lnTo>
                    <a:pt x="242" y="40"/>
                  </a:lnTo>
                  <a:lnTo>
                    <a:pt x="240" y="40"/>
                  </a:lnTo>
                  <a:lnTo>
                    <a:pt x="238" y="38"/>
                  </a:lnTo>
                  <a:lnTo>
                    <a:pt x="235" y="38"/>
                  </a:lnTo>
                  <a:lnTo>
                    <a:pt x="235" y="38"/>
                  </a:lnTo>
                  <a:lnTo>
                    <a:pt x="231" y="35"/>
                  </a:lnTo>
                  <a:lnTo>
                    <a:pt x="228" y="35"/>
                  </a:lnTo>
                  <a:lnTo>
                    <a:pt x="228" y="35"/>
                  </a:lnTo>
                  <a:lnTo>
                    <a:pt x="224" y="33"/>
                  </a:lnTo>
                  <a:lnTo>
                    <a:pt x="224" y="33"/>
                  </a:lnTo>
                  <a:lnTo>
                    <a:pt x="221" y="33"/>
                  </a:lnTo>
                  <a:lnTo>
                    <a:pt x="221" y="33"/>
                  </a:lnTo>
                  <a:lnTo>
                    <a:pt x="219" y="31"/>
                  </a:lnTo>
                  <a:lnTo>
                    <a:pt x="219" y="31"/>
                  </a:lnTo>
                  <a:lnTo>
                    <a:pt x="219" y="31"/>
                  </a:lnTo>
                  <a:lnTo>
                    <a:pt x="219" y="28"/>
                  </a:lnTo>
                  <a:lnTo>
                    <a:pt x="217" y="28"/>
                  </a:lnTo>
                  <a:lnTo>
                    <a:pt x="217" y="28"/>
                  </a:lnTo>
                  <a:lnTo>
                    <a:pt x="217" y="26"/>
                  </a:lnTo>
                  <a:lnTo>
                    <a:pt x="214" y="26"/>
                  </a:lnTo>
                  <a:lnTo>
                    <a:pt x="214" y="24"/>
                  </a:lnTo>
                  <a:lnTo>
                    <a:pt x="212" y="21"/>
                  </a:lnTo>
                  <a:lnTo>
                    <a:pt x="212" y="21"/>
                  </a:lnTo>
                  <a:lnTo>
                    <a:pt x="209" y="19"/>
                  </a:lnTo>
                  <a:lnTo>
                    <a:pt x="209" y="16"/>
                  </a:lnTo>
                  <a:lnTo>
                    <a:pt x="209" y="16"/>
                  </a:lnTo>
                  <a:lnTo>
                    <a:pt x="207" y="16"/>
                  </a:lnTo>
                  <a:lnTo>
                    <a:pt x="205" y="14"/>
                  </a:lnTo>
                  <a:lnTo>
                    <a:pt x="202" y="14"/>
                  </a:lnTo>
                  <a:lnTo>
                    <a:pt x="198" y="14"/>
                  </a:lnTo>
                  <a:lnTo>
                    <a:pt x="198" y="14"/>
                  </a:lnTo>
                  <a:lnTo>
                    <a:pt x="195" y="14"/>
                  </a:lnTo>
                  <a:lnTo>
                    <a:pt x="193" y="14"/>
                  </a:lnTo>
                  <a:lnTo>
                    <a:pt x="193" y="12"/>
                  </a:lnTo>
                  <a:lnTo>
                    <a:pt x="191" y="12"/>
                  </a:lnTo>
                  <a:lnTo>
                    <a:pt x="186" y="12"/>
                  </a:lnTo>
                  <a:lnTo>
                    <a:pt x="184" y="9"/>
                  </a:lnTo>
                  <a:lnTo>
                    <a:pt x="179" y="9"/>
                  </a:lnTo>
                  <a:lnTo>
                    <a:pt x="179" y="7"/>
                  </a:lnTo>
                  <a:lnTo>
                    <a:pt x="174" y="7"/>
                  </a:lnTo>
                  <a:lnTo>
                    <a:pt x="172" y="7"/>
                  </a:lnTo>
                  <a:lnTo>
                    <a:pt x="169" y="7"/>
                  </a:lnTo>
                  <a:lnTo>
                    <a:pt x="167" y="7"/>
                  </a:lnTo>
                  <a:lnTo>
                    <a:pt x="165" y="5"/>
                  </a:lnTo>
                  <a:lnTo>
                    <a:pt x="162" y="5"/>
                  </a:lnTo>
                  <a:lnTo>
                    <a:pt x="162" y="5"/>
                  </a:lnTo>
                  <a:lnTo>
                    <a:pt x="160" y="5"/>
                  </a:lnTo>
                  <a:lnTo>
                    <a:pt x="155" y="2"/>
                  </a:lnTo>
                  <a:lnTo>
                    <a:pt x="153" y="2"/>
                  </a:lnTo>
                  <a:lnTo>
                    <a:pt x="153" y="2"/>
                  </a:lnTo>
                  <a:lnTo>
                    <a:pt x="151" y="0"/>
                  </a:lnTo>
                  <a:lnTo>
                    <a:pt x="148" y="0"/>
                  </a:lnTo>
                  <a:lnTo>
                    <a:pt x="148" y="2"/>
                  </a:lnTo>
                  <a:lnTo>
                    <a:pt x="148" y="2"/>
                  </a:lnTo>
                  <a:lnTo>
                    <a:pt x="148" y="5"/>
                  </a:lnTo>
                  <a:lnTo>
                    <a:pt x="148" y="7"/>
                  </a:lnTo>
                  <a:lnTo>
                    <a:pt x="143" y="9"/>
                  </a:lnTo>
                  <a:lnTo>
                    <a:pt x="143" y="9"/>
                  </a:lnTo>
                  <a:lnTo>
                    <a:pt x="143" y="9"/>
                  </a:lnTo>
                  <a:lnTo>
                    <a:pt x="143" y="12"/>
                  </a:lnTo>
                  <a:lnTo>
                    <a:pt x="143" y="12"/>
                  </a:lnTo>
                  <a:lnTo>
                    <a:pt x="143" y="14"/>
                  </a:lnTo>
                  <a:lnTo>
                    <a:pt x="143" y="14"/>
                  </a:lnTo>
                  <a:lnTo>
                    <a:pt x="141" y="14"/>
                  </a:lnTo>
                  <a:lnTo>
                    <a:pt x="141" y="14"/>
                  </a:lnTo>
                  <a:lnTo>
                    <a:pt x="141" y="16"/>
                  </a:lnTo>
                  <a:lnTo>
                    <a:pt x="141" y="16"/>
                  </a:lnTo>
                  <a:lnTo>
                    <a:pt x="143" y="19"/>
                  </a:lnTo>
                  <a:lnTo>
                    <a:pt x="143" y="19"/>
                  </a:lnTo>
                  <a:lnTo>
                    <a:pt x="143" y="19"/>
                  </a:lnTo>
                  <a:lnTo>
                    <a:pt x="143" y="21"/>
                  </a:lnTo>
                  <a:lnTo>
                    <a:pt x="143" y="24"/>
                  </a:lnTo>
                  <a:lnTo>
                    <a:pt x="143" y="24"/>
                  </a:lnTo>
                  <a:lnTo>
                    <a:pt x="146" y="26"/>
                  </a:lnTo>
                  <a:lnTo>
                    <a:pt x="146" y="26"/>
                  </a:lnTo>
                  <a:lnTo>
                    <a:pt x="148" y="26"/>
                  </a:lnTo>
                  <a:lnTo>
                    <a:pt x="148" y="28"/>
                  </a:lnTo>
                  <a:lnTo>
                    <a:pt x="148" y="28"/>
                  </a:lnTo>
                  <a:lnTo>
                    <a:pt x="151" y="31"/>
                  </a:lnTo>
                  <a:lnTo>
                    <a:pt x="151" y="31"/>
                  </a:lnTo>
                  <a:lnTo>
                    <a:pt x="153" y="31"/>
                  </a:lnTo>
                  <a:lnTo>
                    <a:pt x="155" y="33"/>
                  </a:lnTo>
                  <a:lnTo>
                    <a:pt x="155" y="33"/>
                  </a:lnTo>
                  <a:lnTo>
                    <a:pt x="155" y="33"/>
                  </a:lnTo>
                  <a:lnTo>
                    <a:pt x="158" y="35"/>
                  </a:lnTo>
                  <a:lnTo>
                    <a:pt x="158" y="38"/>
                  </a:lnTo>
                  <a:lnTo>
                    <a:pt x="158" y="38"/>
                  </a:lnTo>
                  <a:lnTo>
                    <a:pt x="158" y="40"/>
                  </a:lnTo>
                  <a:lnTo>
                    <a:pt x="158" y="40"/>
                  </a:lnTo>
                  <a:lnTo>
                    <a:pt x="158" y="42"/>
                  </a:lnTo>
                  <a:lnTo>
                    <a:pt x="155" y="42"/>
                  </a:lnTo>
                  <a:lnTo>
                    <a:pt x="155" y="42"/>
                  </a:lnTo>
                  <a:lnTo>
                    <a:pt x="155" y="45"/>
                  </a:lnTo>
                  <a:lnTo>
                    <a:pt x="153" y="45"/>
                  </a:lnTo>
                  <a:lnTo>
                    <a:pt x="153" y="45"/>
                  </a:lnTo>
                  <a:lnTo>
                    <a:pt x="151" y="45"/>
                  </a:lnTo>
                  <a:lnTo>
                    <a:pt x="151" y="45"/>
                  </a:lnTo>
                  <a:lnTo>
                    <a:pt x="151" y="47"/>
                  </a:lnTo>
                  <a:lnTo>
                    <a:pt x="148" y="47"/>
                  </a:lnTo>
                  <a:lnTo>
                    <a:pt x="148" y="50"/>
                  </a:lnTo>
                  <a:lnTo>
                    <a:pt x="146" y="50"/>
                  </a:lnTo>
                  <a:lnTo>
                    <a:pt x="143" y="47"/>
                  </a:lnTo>
                  <a:lnTo>
                    <a:pt x="143" y="47"/>
                  </a:lnTo>
                  <a:lnTo>
                    <a:pt x="143" y="47"/>
                  </a:lnTo>
                  <a:lnTo>
                    <a:pt x="141" y="45"/>
                  </a:lnTo>
                  <a:lnTo>
                    <a:pt x="136" y="45"/>
                  </a:lnTo>
                  <a:lnTo>
                    <a:pt x="136" y="45"/>
                  </a:lnTo>
                  <a:lnTo>
                    <a:pt x="134" y="45"/>
                  </a:lnTo>
                  <a:lnTo>
                    <a:pt x="134" y="45"/>
                  </a:lnTo>
                  <a:lnTo>
                    <a:pt x="132" y="45"/>
                  </a:lnTo>
                  <a:lnTo>
                    <a:pt x="132" y="45"/>
                  </a:lnTo>
                  <a:lnTo>
                    <a:pt x="132" y="45"/>
                  </a:lnTo>
                  <a:lnTo>
                    <a:pt x="129" y="45"/>
                  </a:lnTo>
                  <a:lnTo>
                    <a:pt x="127" y="45"/>
                  </a:lnTo>
                  <a:lnTo>
                    <a:pt x="127" y="42"/>
                  </a:lnTo>
                  <a:lnTo>
                    <a:pt x="125" y="42"/>
                  </a:lnTo>
                  <a:lnTo>
                    <a:pt x="125" y="42"/>
                  </a:lnTo>
                  <a:lnTo>
                    <a:pt x="125" y="45"/>
                  </a:lnTo>
                  <a:lnTo>
                    <a:pt x="122" y="45"/>
                  </a:lnTo>
                  <a:lnTo>
                    <a:pt x="122" y="42"/>
                  </a:lnTo>
                  <a:lnTo>
                    <a:pt x="122" y="42"/>
                  </a:lnTo>
                  <a:lnTo>
                    <a:pt x="120" y="42"/>
                  </a:lnTo>
                  <a:lnTo>
                    <a:pt x="120" y="45"/>
                  </a:lnTo>
                  <a:lnTo>
                    <a:pt x="118" y="45"/>
                  </a:lnTo>
                  <a:lnTo>
                    <a:pt x="118" y="45"/>
                  </a:lnTo>
                  <a:lnTo>
                    <a:pt x="115" y="45"/>
                  </a:lnTo>
                  <a:lnTo>
                    <a:pt x="115" y="45"/>
                  </a:lnTo>
                  <a:lnTo>
                    <a:pt x="113" y="45"/>
                  </a:lnTo>
                  <a:lnTo>
                    <a:pt x="110" y="45"/>
                  </a:lnTo>
                  <a:lnTo>
                    <a:pt x="110" y="45"/>
                  </a:lnTo>
                  <a:lnTo>
                    <a:pt x="108" y="45"/>
                  </a:lnTo>
                  <a:lnTo>
                    <a:pt x="108" y="42"/>
                  </a:lnTo>
                  <a:lnTo>
                    <a:pt x="106" y="42"/>
                  </a:lnTo>
                  <a:lnTo>
                    <a:pt x="103" y="42"/>
                  </a:lnTo>
                  <a:lnTo>
                    <a:pt x="103" y="42"/>
                  </a:lnTo>
                  <a:lnTo>
                    <a:pt x="103" y="42"/>
                  </a:lnTo>
                  <a:lnTo>
                    <a:pt x="101" y="42"/>
                  </a:lnTo>
                  <a:lnTo>
                    <a:pt x="101" y="42"/>
                  </a:lnTo>
                  <a:lnTo>
                    <a:pt x="99" y="40"/>
                  </a:lnTo>
                  <a:lnTo>
                    <a:pt x="96" y="40"/>
                  </a:lnTo>
                  <a:lnTo>
                    <a:pt x="96" y="40"/>
                  </a:lnTo>
                  <a:lnTo>
                    <a:pt x="96" y="38"/>
                  </a:lnTo>
                  <a:lnTo>
                    <a:pt x="94" y="38"/>
                  </a:lnTo>
                  <a:lnTo>
                    <a:pt x="94" y="35"/>
                  </a:lnTo>
                  <a:lnTo>
                    <a:pt x="92" y="33"/>
                  </a:lnTo>
                  <a:lnTo>
                    <a:pt x="89" y="33"/>
                  </a:lnTo>
                  <a:lnTo>
                    <a:pt x="87" y="31"/>
                  </a:lnTo>
                  <a:lnTo>
                    <a:pt x="87" y="31"/>
                  </a:lnTo>
                  <a:lnTo>
                    <a:pt x="82" y="31"/>
                  </a:lnTo>
                  <a:lnTo>
                    <a:pt x="80" y="31"/>
                  </a:lnTo>
                  <a:lnTo>
                    <a:pt x="80" y="31"/>
                  </a:lnTo>
                  <a:lnTo>
                    <a:pt x="77" y="31"/>
                  </a:lnTo>
                  <a:lnTo>
                    <a:pt x="75" y="31"/>
                  </a:lnTo>
                  <a:lnTo>
                    <a:pt x="75" y="31"/>
                  </a:lnTo>
                  <a:lnTo>
                    <a:pt x="73" y="31"/>
                  </a:lnTo>
                  <a:lnTo>
                    <a:pt x="70" y="31"/>
                  </a:lnTo>
                  <a:lnTo>
                    <a:pt x="70" y="31"/>
                  </a:lnTo>
                  <a:lnTo>
                    <a:pt x="68" y="28"/>
                  </a:lnTo>
                  <a:lnTo>
                    <a:pt x="68" y="28"/>
                  </a:lnTo>
                  <a:lnTo>
                    <a:pt x="68" y="28"/>
                  </a:lnTo>
                  <a:lnTo>
                    <a:pt x="66" y="28"/>
                  </a:lnTo>
                  <a:lnTo>
                    <a:pt x="66" y="28"/>
                  </a:lnTo>
                  <a:lnTo>
                    <a:pt x="66" y="28"/>
                  </a:lnTo>
                  <a:lnTo>
                    <a:pt x="63" y="28"/>
                  </a:lnTo>
                  <a:lnTo>
                    <a:pt x="63" y="28"/>
                  </a:lnTo>
                  <a:lnTo>
                    <a:pt x="61" y="28"/>
                  </a:lnTo>
                  <a:lnTo>
                    <a:pt x="61" y="28"/>
                  </a:lnTo>
                  <a:lnTo>
                    <a:pt x="59" y="26"/>
                  </a:lnTo>
                  <a:lnTo>
                    <a:pt x="56" y="26"/>
                  </a:lnTo>
                  <a:lnTo>
                    <a:pt x="56" y="26"/>
                  </a:lnTo>
                  <a:lnTo>
                    <a:pt x="56" y="26"/>
                  </a:lnTo>
                  <a:lnTo>
                    <a:pt x="56" y="28"/>
                  </a:lnTo>
                  <a:lnTo>
                    <a:pt x="56" y="28"/>
                  </a:lnTo>
                  <a:lnTo>
                    <a:pt x="54" y="28"/>
                  </a:lnTo>
                  <a:lnTo>
                    <a:pt x="52" y="28"/>
                  </a:lnTo>
                  <a:lnTo>
                    <a:pt x="49" y="28"/>
                  </a:lnTo>
                  <a:lnTo>
                    <a:pt x="49" y="31"/>
                  </a:lnTo>
                  <a:lnTo>
                    <a:pt x="47" y="31"/>
                  </a:lnTo>
                  <a:lnTo>
                    <a:pt x="47" y="31"/>
                  </a:lnTo>
                  <a:lnTo>
                    <a:pt x="47" y="31"/>
                  </a:lnTo>
                  <a:lnTo>
                    <a:pt x="44" y="33"/>
                  </a:lnTo>
                  <a:lnTo>
                    <a:pt x="44" y="33"/>
                  </a:lnTo>
                  <a:lnTo>
                    <a:pt x="44" y="33"/>
                  </a:lnTo>
                  <a:lnTo>
                    <a:pt x="44" y="33"/>
                  </a:lnTo>
                  <a:lnTo>
                    <a:pt x="42" y="33"/>
                  </a:lnTo>
                  <a:lnTo>
                    <a:pt x="40" y="35"/>
                  </a:lnTo>
                  <a:lnTo>
                    <a:pt x="40" y="35"/>
                  </a:lnTo>
                  <a:lnTo>
                    <a:pt x="37" y="35"/>
                  </a:lnTo>
                  <a:lnTo>
                    <a:pt x="37" y="38"/>
                  </a:lnTo>
                  <a:lnTo>
                    <a:pt x="37" y="38"/>
                  </a:lnTo>
                  <a:lnTo>
                    <a:pt x="37" y="38"/>
                  </a:lnTo>
                  <a:lnTo>
                    <a:pt x="35" y="38"/>
                  </a:lnTo>
                  <a:lnTo>
                    <a:pt x="33" y="38"/>
                  </a:lnTo>
                  <a:lnTo>
                    <a:pt x="30" y="40"/>
                  </a:lnTo>
                  <a:lnTo>
                    <a:pt x="30" y="40"/>
                  </a:lnTo>
                  <a:lnTo>
                    <a:pt x="30" y="40"/>
                  </a:lnTo>
                  <a:lnTo>
                    <a:pt x="28" y="40"/>
                  </a:lnTo>
                  <a:lnTo>
                    <a:pt x="28" y="42"/>
                  </a:lnTo>
                  <a:lnTo>
                    <a:pt x="26" y="42"/>
                  </a:lnTo>
                  <a:lnTo>
                    <a:pt x="28" y="42"/>
                  </a:lnTo>
                  <a:lnTo>
                    <a:pt x="26" y="45"/>
                  </a:lnTo>
                  <a:lnTo>
                    <a:pt x="23" y="45"/>
                  </a:lnTo>
                  <a:lnTo>
                    <a:pt x="23" y="45"/>
                  </a:lnTo>
                  <a:lnTo>
                    <a:pt x="23" y="47"/>
                  </a:lnTo>
                  <a:lnTo>
                    <a:pt x="23" y="50"/>
                  </a:lnTo>
                  <a:lnTo>
                    <a:pt x="23" y="50"/>
                  </a:lnTo>
                  <a:lnTo>
                    <a:pt x="23" y="50"/>
                  </a:lnTo>
                  <a:lnTo>
                    <a:pt x="21" y="50"/>
                  </a:lnTo>
                  <a:lnTo>
                    <a:pt x="21" y="52"/>
                  </a:lnTo>
                  <a:lnTo>
                    <a:pt x="19" y="52"/>
                  </a:lnTo>
                  <a:lnTo>
                    <a:pt x="19" y="52"/>
                  </a:lnTo>
                  <a:lnTo>
                    <a:pt x="19" y="52"/>
                  </a:lnTo>
                  <a:lnTo>
                    <a:pt x="19" y="52"/>
                  </a:lnTo>
                  <a:lnTo>
                    <a:pt x="16" y="54"/>
                  </a:lnTo>
                  <a:lnTo>
                    <a:pt x="16" y="54"/>
                  </a:lnTo>
                  <a:lnTo>
                    <a:pt x="14" y="54"/>
                  </a:lnTo>
                  <a:lnTo>
                    <a:pt x="14" y="54"/>
                  </a:lnTo>
                  <a:lnTo>
                    <a:pt x="14" y="52"/>
                  </a:lnTo>
                  <a:lnTo>
                    <a:pt x="14" y="52"/>
                  </a:lnTo>
                  <a:lnTo>
                    <a:pt x="14" y="54"/>
                  </a:lnTo>
                  <a:lnTo>
                    <a:pt x="14" y="54"/>
                  </a:lnTo>
                  <a:lnTo>
                    <a:pt x="12" y="54"/>
                  </a:lnTo>
                  <a:lnTo>
                    <a:pt x="12" y="54"/>
                  </a:lnTo>
                  <a:lnTo>
                    <a:pt x="9" y="54"/>
                  </a:lnTo>
                  <a:lnTo>
                    <a:pt x="9" y="54"/>
                  </a:lnTo>
                  <a:lnTo>
                    <a:pt x="7" y="54"/>
                  </a:lnTo>
                  <a:lnTo>
                    <a:pt x="7" y="54"/>
                  </a:lnTo>
                  <a:lnTo>
                    <a:pt x="4" y="54"/>
                  </a:lnTo>
                  <a:lnTo>
                    <a:pt x="2" y="54"/>
                  </a:lnTo>
                  <a:lnTo>
                    <a:pt x="2" y="57"/>
                  </a:lnTo>
                  <a:lnTo>
                    <a:pt x="2" y="57"/>
                  </a:lnTo>
                  <a:lnTo>
                    <a:pt x="2" y="59"/>
                  </a:lnTo>
                  <a:lnTo>
                    <a:pt x="2" y="59"/>
                  </a:lnTo>
                  <a:lnTo>
                    <a:pt x="2" y="59"/>
                  </a:lnTo>
                  <a:lnTo>
                    <a:pt x="2" y="61"/>
                  </a:lnTo>
                  <a:lnTo>
                    <a:pt x="0" y="61"/>
                  </a:lnTo>
                  <a:lnTo>
                    <a:pt x="0" y="61"/>
                  </a:lnTo>
                  <a:lnTo>
                    <a:pt x="0" y="61"/>
                  </a:lnTo>
                  <a:lnTo>
                    <a:pt x="0" y="61"/>
                  </a:lnTo>
                  <a:lnTo>
                    <a:pt x="0" y="64"/>
                  </a:lnTo>
                  <a:lnTo>
                    <a:pt x="2" y="64"/>
                  </a:lnTo>
                  <a:lnTo>
                    <a:pt x="2" y="64"/>
                  </a:lnTo>
                  <a:lnTo>
                    <a:pt x="0" y="66"/>
                  </a:lnTo>
                  <a:lnTo>
                    <a:pt x="0" y="66"/>
                  </a:lnTo>
                  <a:lnTo>
                    <a:pt x="0" y="66"/>
                  </a:lnTo>
                  <a:lnTo>
                    <a:pt x="2" y="66"/>
                  </a:lnTo>
                  <a:lnTo>
                    <a:pt x="2" y="68"/>
                  </a:lnTo>
                  <a:lnTo>
                    <a:pt x="4" y="68"/>
                  </a:lnTo>
                  <a:lnTo>
                    <a:pt x="7" y="68"/>
                  </a:lnTo>
                  <a:lnTo>
                    <a:pt x="7" y="71"/>
                  </a:lnTo>
                  <a:lnTo>
                    <a:pt x="7" y="71"/>
                  </a:lnTo>
                  <a:lnTo>
                    <a:pt x="7" y="71"/>
                  </a:lnTo>
                  <a:lnTo>
                    <a:pt x="7" y="71"/>
                  </a:lnTo>
                  <a:lnTo>
                    <a:pt x="7" y="73"/>
                  </a:lnTo>
                  <a:lnTo>
                    <a:pt x="7" y="73"/>
                  </a:lnTo>
                  <a:lnTo>
                    <a:pt x="9" y="73"/>
                  </a:lnTo>
                  <a:lnTo>
                    <a:pt x="9" y="73"/>
                  </a:lnTo>
                  <a:lnTo>
                    <a:pt x="14" y="76"/>
                  </a:lnTo>
                  <a:lnTo>
                    <a:pt x="16" y="76"/>
                  </a:lnTo>
                  <a:lnTo>
                    <a:pt x="16" y="76"/>
                  </a:lnTo>
                  <a:lnTo>
                    <a:pt x="19" y="78"/>
                  </a:lnTo>
                  <a:lnTo>
                    <a:pt x="19" y="80"/>
                  </a:lnTo>
                  <a:lnTo>
                    <a:pt x="21" y="80"/>
                  </a:lnTo>
                  <a:lnTo>
                    <a:pt x="26" y="83"/>
                  </a:lnTo>
                  <a:lnTo>
                    <a:pt x="26" y="83"/>
                  </a:lnTo>
                  <a:lnTo>
                    <a:pt x="28" y="83"/>
                  </a:lnTo>
                  <a:lnTo>
                    <a:pt x="28" y="85"/>
                  </a:lnTo>
                  <a:lnTo>
                    <a:pt x="30" y="85"/>
                  </a:lnTo>
                  <a:lnTo>
                    <a:pt x="30" y="85"/>
                  </a:lnTo>
                  <a:lnTo>
                    <a:pt x="33" y="85"/>
                  </a:lnTo>
                  <a:lnTo>
                    <a:pt x="35" y="85"/>
                  </a:lnTo>
                  <a:lnTo>
                    <a:pt x="37" y="85"/>
                  </a:lnTo>
                  <a:lnTo>
                    <a:pt x="40" y="87"/>
                  </a:lnTo>
                  <a:lnTo>
                    <a:pt x="40" y="87"/>
                  </a:lnTo>
                  <a:lnTo>
                    <a:pt x="42" y="87"/>
                  </a:lnTo>
                  <a:lnTo>
                    <a:pt x="42" y="87"/>
                  </a:lnTo>
                  <a:lnTo>
                    <a:pt x="42" y="87"/>
                  </a:lnTo>
                  <a:lnTo>
                    <a:pt x="44" y="87"/>
                  </a:lnTo>
                  <a:lnTo>
                    <a:pt x="44" y="87"/>
                  </a:lnTo>
                  <a:lnTo>
                    <a:pt x="47" y="87"/>
                  </a:lnTo>
                  <a:lnTo>
                    <a:pt x="47" y="87"/>
                  </a:lnTo>
                  <a:lnTo>
                    <a:pt x="47" y="87"/>
                  </a:lnTo>
                  <a:lnTo>
                    <a:pt x="49" y="90"/>
                  </a:lnTo>
                  <a:lnTo>
                    <a:pt x="49" y="90"/>
                  </a:lnTo>
                  <a:lnTo>
                    <a:pt x="52" y="92"/>
                  </a:lnTo>
                  <a:lnTo>
                    <a:pt x="52" y="92"/>
                  </a:lnTo>
                  <a:lnTo>
                    <a:pt x="54" y="92"/>
                  </a:lnTo>
                  <a:lnTo>
                    <a:pt x="54" y="95"/>
                  </a:lnTo>
                  <a:lnTo>
                    <a:pt x="56" y="95"/>
                  </a:lnTo>
                  <a:lnTo>
                    <a:pt x="56" y="97"/>
                  </a:lnTo>
                  <a:lnTo>
                    <a:pt x="59" y="99"/>
                  </a:lnTo>
                  <a:lnTo>
                    <a:pt x="59" y="99"/>
                  </a:lnTo>
                  <a:lnTo>
                    <a:pt x="61" y="102"/>
                  </a:lnTo>
                  <a:lnTo>
                    <a:pt x="63" y="104"/>
                  </a:lnTo>
                  <a:lnTo>
                    <a:pt x="63" y="104"/>
                  </a:lnTo>
                  <a:lnTo>
                    <a:pt x="66" y="106"/>
                  </a:lnTo>
                  <a:lnTo>
                    <a:pt x="68" y="106"/>
                  </a:lnTo>
                  <a:lnTo>
                    <a:pt x="68" y="109"/>
                  </a:lnTo>
                  <a:lnTo>
                    <a:pt x="70" y="111"/>
                  </a:lnTo>
                  <a:lnTo>
                    <a:pt x="73" y="111"/>
                  </a:lnTo>
                  <a:lnTo>
                    <a:pt x="73" y="113"/>
                  </a:lnTo>
                  <a:lnTo>
                    <a:pt x="73" y="113"/>
                  </a:lnTo>
                  <a:lnTo>
                    <a:pt x="73" y="116"/>
                  </a:lnTo>
                  <a:lnTo>
                    <a:pt x="73" y="118"/>
                  </a:lnTo>
                  <a:lnTo>
                    <a:pt x="73" y="118"/>
                  </a:lnTo>
                  <a:lnTo>
                    <a:pt x="73" y="121"/>
                  </a:lnTo>
                  <a:lnTo>
                    <a:pt x="75" y="123"/>
                  </a:lnTo>
                  <a:lnTo>
                    <a:pt x="77" y="123"/>
                  </a:lnTo>
                  <a:lnTo>
                    <a:pt x="77" y="125"/>
                  </a:lnTo>
                  <a:lnTo>
                    <a:pt x="77" y="125"/>
                  </a:lnTo>
                  <a:lnTo>
                    <a:pt x="75" y="128"/>
                  </a:lnTo>
                  <a:lnTo>
                    <a:pt x="75" y="128"/>
                  </a:lnTo>
                  <a:lnTo>
                    <a:pt x="75" y="128"/>
                  </a:lnTo>
                  <a:lnTo>
                    <a:pt x="75" y="132"/>
                  </a:lnTo>
                  <a:lnTo>
                    <a:pt x="75" y="135"/>
                  </a:lnTo>
                  <a:lnTo>
                    <a:pt x="75" y="135"/>
                  </a:lnTo>
                  <a:lnTo>
                    <a:pt x="77" y="137"/>
                  </a:lnTo>
                  <a:lnTo>
                    <a:pt x="77" y="137"/>
                  </a:lnTo>
                  <a:lnTo>
                    <a:pt x="77" y="139"/>
                  </a:lnTo>
                  <a:lnTo>
                    <a:pt x="80" y="142"/>
                  </a:lnTo>
                  <a:lnTo>
                    <a:pt x="82" y="142"/>
                  </a:lnTo>
                  <a:lnTo>
                    <a:pt x="82" y="142"/>
                  </a:lnTo>
                  <a:lnTo>
                    <a:pt x="82" y="142"/>
                  </a:lnTo>
                  <a:lnTo>
                    <a:pt x="85" y="142"/>
                  </a:lnTo>
                  <a:lnTo>
                    <a:pt x="87" y="142"/>
                  </a:lnTo>
                  <a:lnTo>
                    <a:pt x="87" y="144"/>
                  </a:lnTo>
                  <a:lnTo>
                    <a:pt x="89" y="144"/>
                  </a:lnTo>
                  <a:lnTo>
                    <a:pt x="92" y="144"/>
                  </a:lnTo>
                  <a:lnTo>
                    <a:pt x="94" y="144"/>
                  </a:lnTo>
                  <a:lnTo>
                    <a:pt x="94" y="144"/>
                  </a:lnTo>
                  <a:lnTo>
                    <a:pt x="96" y="144"/>
                  </a:lnTo>
                  <a:lnTo>
                    <a:pt x="99" y="144"/>
                  </a:lnTo>
                  <a:lnTo>
                    <a:pt x="101" y="144"/>
                  </a:lnTo>
                  <a:lnTo>
                    <a:pt x="103" y="147"/>
                  </a:lnTo>
                  <a:lnTo>
                    <a:pt x="108" y="147"/>
                  </a:lnTo>
                  <a:lnTo>
                    <a:pt x="110" y="147"/>
                  </a:lnTo>
                  <a:lnTo>
                    <a:pt x="115" y="147"/>
                  </a:lnTo>
                  <a:lnTo>
                    <a:pt x="118" y="147"/>
                  </a:lnTo>
                  <a:lnTo>
                    <a:pt x="125" y="149"/>
                  </a:lnTo>
                  <a:lnTo>
                    <a:pt x="127" y="149"/>
                  </a:lnTo>
                  <a:lnTo>
                    <a:pt x="129" y="149"/>
                  </a:lnTo>
                  <a:lnTo>
                    <a:pt x="132" y="151"/>
                  </a:lnTo>
                  <a:lnTo>
                    <a:pt x="136" y="154"/>
                  </a:lnTo>
                  <a:lnTo>
                    <a:pt x="136" y="154"/>
                  </a:lnTo>
                  <a:lnTo>
                    <a:pt x="141" y="156"/>
                  </a:lnTo>
                  <a:lnTo>
                    <a:pt x="146" y="158"/>
                  </a:lnTo>
                  <a:lnTo>
                    <a:pt x="148" y="158"/>
                  </a:lnTo>
                  <a:lnTo>
                    <a:pt x="153" y="161"/>
                  </a:lnTo>
                  <a:lnTo>
                    <a:pt x="155" y="163"/>
                  </a:lnTo>
                  <a:lnTo>
                    <a:pt x="160" y="163"/>
                  </a:lnTo>
                  <a:lnTo>
                    <a:pt x="165" y="163"/>
                  </a:lnTo>
                  <a:lnTo>
                    <a:pt x="165" y="163"/>
                  </a:lnTo>
                  <a:lnTo>
                    <a:pt x="165" y="165"/>
                  </a:lnTo>
                  <a:lnTo>
                    <a:pt x="165" y="165"/>
                  </a:lnTo>
                  <a:lnTo>
                    <a:pt x="165" y="168"/>
                  </a:lnTo>
                  <a:lnTo>
                    <a:pt x="167" y="168"/>
                  </a:lnTo>
                  <a:lnTo>
                    <a:pt x="169" y="168"/>
                  </a:lnTo>
                  <a:lnTo>
                    <a:pt x="169" y="170"/>
                  </a:lnTo>
                  <a:lnTo>
                    <a:pt x="172" y="170"/>
                  </a:lnTo>
                  <a:lnTo>
                    <a:pt x="172" y="173"/>
                  </a:lnTo>
                  <a:lnTo>
                    <a:pt x="174" y="175"/>
                  </a:lnTo>
                  <a:lnTo>
                    <a:pt x="179" y="182"/>
                  </a:lnTo>
                  <a:lnTo>
                    <a:pt x="181" y="184"/>
                  </a:lnTo>
                  <a:lnTo>
                    <a:pt x="181" y="184"/>
                  </a:lnTo>
                  <a:lnTo>
                    <a:pt x="186" y="187"/>
                  </a:lnTo>
                  <a:lnTo>
                    <a:pt x="188" y="189"/>
                  </a:lnTo>
                  <a:lnTo>
                    <a:pt x="191" y="191"/>
                  </a:lnTo>
                  <a:lnTo>
                    <a:pt x="193" y="191"/>
                  </a:lnTo>
                  <a:lnTo>
                    <a:pt x="193" y="194"/>
                  </a:lnTo>
                  <a:lnTo>
                    <a:pt x="193" y="194"/>
                  </a:lnTo>
                  <a:lnTo>
                    <a:pt x="198" y="194"/>
                  </a:lnTo>
                  <a:lnTo>
                    <a:pt x="202" y="194"/>
                  </a:lnTo>
                  <a:lnTo>
                    <a:pt x="207" y="194"/>
                  </a:lnTo>
                  <a:lnTo>
                    <a:pt x="217" y="194"/>
                  </a:lnTo>
                  <a:lnTo>
                    <a:pt x="226" y="196"/>
                  </a:lnTo>
                  <a:lnTo>
                    <a:pt x="233" y="196"/>
                  </a:lnTo>
                  <a:lnTo>
                    <a:pt x="238" y="196"/>
                  </a:lnTo>
                  <a:lnTo>
                    <a:pt x="247" y="199"/>
                  </a:lnTo>
                  <a:lnTo>
                    <a:pt x="252" y="196"/>
                  </a:lnTo>
                  <a:lnTo>
                    <a:pt x="254" y="196"/>
                  </a:lnTo>
                  <a:lnTo>
                    <a:pt x="257" y="196"/>
                  </a:lnTo>
                  <a:lnTo>
                    <a:pt x="264" y="196"/>
                  </a:lnTo>
                  <a:lnTo>
                    <a:pt x="268" y="196"/>
                  </a:lnTo>
                  <a:lnTo>
                    <a:pt x="275" y="199"/>
                  </a:lnTo>
                  <a:lnTo>
                    <a:pt x="278" y="199"/>
                  </a:lnTo>
                  <a:lnTo>
                    <a:pt x="283" y="199"/>
                  </a:lnTo>
                  <a:lnTo>
                    <a:pt x="283" y="199"/>
                  </a:lnTo>
                  <a:lnTo>
                    <a:pt x="285" y="199"/>
                  </a:lnTo>
                  <a:lnTo>
                    <a:pt x="287" y="199"/>
                  </a:lnTo>
                  <a:lnTo>
                    <a:pt x="290" y="203"/>
                  </a:lnTo>
                  <a:lnTo>
                    <a:pt x="292" y="206"/>
                  </a:lnTo>
                  <a:lnTo>
                    <a:pt x="297" y="206"/>
                  </a:lnTo>
                  <a:lnTo>
                    <a:pt x="304" y="208"/>
                  </a:lnTo>
                  <a:lnTo>
                    <a:pt x="308" y="208"/>
                  </a:lnTo>
                  <a:lnTo>
                    <a:pt x="313" y="208"/>
                  </a:lnTo>
                  <a:lnTo>
                    <a:pt x="318" y="210"/>
                  </a:lnTo>
                  <a:lnTo>
                    <a:pt x="320" y="213"/>
                  </a:lnTo>
                  <a:lnTo>
                    <a:pt x="327" y="215"/>
                  </a:lnTo>
                  <a:lnTo>
                    <a:pt x="330" y="213"/>
                  </a:lnTo>
                  <a:lnTo>
                    <a:pt x="334" y="213"/>
                  </a:lnTo>
                  <a:lnTo>
                    <a:pt x="339" y="213"/>
                  </a:lnTo>
                  <a:lnTo>
                    <a:pt x="341" y="215"/>
                  </a:lnTo>
                  <a:lnTo>
                    <a:pt x="346" y="217"/>
                  </a:lnTo>
                  <a:lnTo>
                    <a:pt x="346" y="217"/>
                  </a:lnTo>
                  <a:lnTo>
                    <a:pt x="349" y="217"/>
                  </a:lnTo>
                  <a:lnTo>
                    <a:pt x="351" y="217"/>
                  </a:lnTo>
                  <a:lnTo>
                    <a:pt x="351" y="215"/>
                  </a:lnTo>
                  <a:lnTo>
                    <a:pt x="351" y="215"/>
                  </a:lnTo>
                  <a:lnTo>
                    <a:pt x="353" y="215"/>
                  </a:lnTo>
                  <a:lnTo>
                    <a:pt x="356" y="213"/>
                  </a:lnTo>
                  <a:lnTo>
                    <a:pt x="356" y="213"/>
                  </a:lnTo>
                  <a:lnTo>
                    <a:pt x="360" y="210"/>
                  </a:lnTo>
                  <a:lnTo>
                    <a:pt x="367" y="206"/>
                  </a:lnTo>
                  <a:lnTo>
                    <a:pt x="370" y="206"/>
                  </a:lnTo>
                  <a:lnTo>
                    <a:pt x="370" y="206"/>
                  </a:lnTo>
                  <a:lnTo>
                    <a:pt x="372" y="203"/>
                  </a:lnTo>
                  <a:lnTo>
                    <a:pt x="374" y="203"/>
                  </a:lnTo>
                  <a:lnTo>
                    <a:pt x="374" y="203"/>
                  </a:lnTo>
                  <a:lnTo>
                    <a:pt x="379" y="203"/>
                  </a:lnTo>
                  <a:lnTo>
                    <a:pt x="382" y="203"/>
                  </a:lnTo>
                  <a:lnTo>
                    <a:pt x="389" y="201"/>
                  </a:lnTo>
                  <a:lnTo>
                    <a:pt x="391" y="201"/>
                  </a:lnTo>
                  <a:lnTo>
                    <a:pt x="393" y="201"/>
                  </a:lnTo>
                  <a:lnTo>
                    <a:pt x="396" y="201"/>
                  </a:lnTo>
                  <a:lnTo>
                    <a:pt x="398" y="201"/>
                  </a:lnTo>
                  <a:lnTo>
                    <a:pt x="403" y="201"/>
                  </a:lnTo>
                  <a:lnTo>
                    <a:pt x="405" y="201"/>
                  </a:lnTo>
                  <a:lnTo>
                    <a:pt x="407" y="201"/>
                  </a:lnTo>
                  <a:lnTo>
                    <a:pt x="412" y="201"/>
                  </a:lnTo>
                  <a:lnTo>
                    <a:pt x="415" y="201"/>
                  </a:lnTo>
                  <a:lnTo>
                    <a:pt x="417" y="201"/>
                  </a:lnTo>
                  <a:lnTo>
                    <a:pt x="419" y="199"/>
                  </a:lnTo>
                  <a:lnTo>
                    <a:pt x="422" y="199"/>
                  </a:lnTo>
                  <a:lnTo>
                    <a:pt x="422" y="196"/>
                  </a:lnTo>
                  <a:lnTo>
                    <a:pt x="426" y="196"/>
                  </a:lnTo>
                  <a:lnTo>
                    <a:pt x="426" y="194"/>
                  </a:lnTo>
                  <a:lnTo>
                    <a:pt x="429" y="194"/>
                  </a:lnTo>
                  <a:lnTo>
                    <a:pt x="431" y="194"/>
                  </a:lnTo>
                  <a:lnTo>
                    <a:pt x="431" y="191"/>
                  </a:lnTo>
                  <a:lnTo>
                    <a:pt x="431" y="191"/>
                  </a:lnTo>
                  <a:lnTo>
                    <a:pt x="431" y="191"/>
                  </a:lnTo>
                  <a:lnTo>
                    <a:pt x="431" y="189"/>
                  </a:lnTo>
                  <a:lnTo>
                    <a:pt x="433" y="187"/>
                  </a:lnTo>
                  <a:lnTo>
                    <a:pt x="433" y="187"/>
                  </a:lnTo>
                  <a:lnTo>
                    <a:pt x="433" y="184"/>
                  </a:lnTo>
                  <a:lnTo>
                    <a:pt x="433" y="184"/>
                  </a:lnTo>
                  <a:lnTo>
                    <a:pt x="436" y="182"/>
                  </a:lnTo>
                  <a:lnTo>
                    <a:pt x="436" y="182"/>
                  </a:lnTo>
                  <a:lnTo>
                    <a:pt x="438" y="182"/>
                  </a:lnTo>
                  <a:lnTo>
                    <a:pt x="440" y="180"/>
                  </a:lnTo>
                  <a:lnTo>
                    <a:pt x="443" y="180"/>
                  </a:lnTo>
                  <a:lnTo>
                    <a:pt x="443" y="180"/>
                  </a:lnTo>
                  <a:lnTo>
                    <a:pt x="443" y="177"/>
                  </a:lnTo>
                  <a:lnTo>
                    <a:pt x="445" y="177"/>
                  </a:lnTo>
                  <a:lnTo>
                    <a:pt x="445" y="175"/>
                  </a:lnTo>
                  <a:lnTo>
                    <a:pt x="448" y="175"/>
                  </a:lnTo>
                  <a:lnTo>
                    <a:pt x="448" y="175"/>
                  </a:lnTo>
                  <a:lnTo>
                    <a:pt x="448" y="173"/>
                  </a:lnTo>
                  <a:lnTo>
                    <a:pt x="445" y="173"/>
                  </a:lnTo>
                  <a:lnTo>
                    <a:pt x="445" y="170"/>
                  </a:lnTo>
                  <a:lnTo>
                    <a:pt x="443" y="170"/>
                  </a:lnTo>
                  <a:lnTo>
                    <a:pt x="440" y="168"/>
                  </a:lnTo>
                  <a:lnTo>
                    <a:pt x="438" y="165"/>
                  </a:lnTo>
                  <a:lnTo>
                    <a:pt x="436" y="165"/>
                  </a:lnTo>
                  <a:lnTo>
                    <a:pt x="433" y="163"/>
                  </a:lnTo>
                  <a:lnTo>
                    <a:pt x="433" y="161"/>
                  </a:lnTo>
                  <a:lnTo>
                    <a:pt x="431" y="161"/>
                  </a:lnTo>
                  <a:lnTo>
                    <a:pt x="431" y="161"/>
                  </a:lnTo>
                  <a:lnTo>
                    <a:pt x="431" y="158"/>
                  </a:lnTo>
                  <a:lnTo>
                    <a:pt x="431" y="156"/>
                  </a:lnTo>
                  <a:lnTo>
                    <a:pt x="431" y="154"/>
                  </a:lnTo>
                  <a:lnTo>
                    <a:pt x="431" y="151"/>
                  </a:lnTo>
                  <a:lnTo>
                    <a:pt x="431" y="149"/>
                  </a:lnTo>
                  <a:lnTo>
                    <a:pt x="431" y="149"/>
                  </a:lnTo>
                  <a:lnTo>
                    <a:pt x="433" y="144"/>
                  </a:lnTo>
                  <a:lnTo>
                    <a:pt x="436" y="144"/>
                  </a:lnTo>
                  <a:lnTo>
                    <a:pt x="436" y="144"/>
                  </a:lnTo>
                  <a:lnTo>
                    <a:pt x="440" y="144"/>
                  </a:lnTo>
                  <a:lnTo>
                    <a:pt x="440" y="144"/>
                  </a:lnTo>
                  <a:lnTo>
                    <a:pt x="443" y="147"/>
                  </a:lnTo>
                  <a:lnTo>
                    <a:pt x="445" y="149"/>
                  </a:lnTo>
                  <a:lnTo>
                    <a:pt x="448" y="151"/>
                  </a:lnTo>
                  <a:lnTo>
                    <a:pt x="455" y="151"/>
                  </a:lnTo>
                  <a:lnTo>
                    <a:pt x="457" y="151"/>
                  </a:lnTo>
                  <a:lnTo>
                    <a:pt x="459" y="151"/>
                  </a:lnTo>
                  <a:lnTo>
                    <a:pt x="462" y="154"/>
                  </a:lnTo>
                  <a:lnTo>
                    <a:pt x="462" y="154"/>
                  </a:lnTo>
                  <a:lnTo>
                    <a:pt x="464" y="154"/>
                  </a:lnTo>
                  <a:lnTo>
                    <a:pt x="466" y="154"/>
                  </a:lnTo>
                  <a:lnTo>
                    <a:pt x="466" y="151"/>
                  </a:lnTo>
                  <a:lnTo>
                    <a:pt x="469" y="151"/>
                  </a:lnTo>
                  <a:lnTo>
                    <a:pt x="469" y="149"/>
                  </a:lnTo>
                  <a:lnTo>
                    <a:pt x="469" y="149"/>
                  </a:lnTo>
                  <a:lnTo>
                    <a:pt x="471" y="149"/>
                  </a:lnTo>
                  <a:lnTo>
                    <a:pt x="471" y="144"/>
                  </a:lnTo>
                  <a:lnTo>
                    <a:pt x="471" y="144"/>
                  </a:lnTo>
                  <a:lnTo>
                    <a:pt x="473" y="142"/>
                  </a:lnTo>
                  <a:lnTo>
                    <a:pt x="473" y="142"/>
                  </a:lnTo>
                  <a:lnTo>
                    <a:pt x="473" y="139"/>
                  </a:lnTo>
                  <a:lnTo>
                    <a:pt x="473" y="139"/>
                  </a:lnTo>
                  <a:lnTo>
                    <a:pt x="473" y="139"/>
                  </a:lnTo>
                  <a:lnTo>
                    <a:pt x="476" y="137"/>
                  </a:lnTo>
                  <a:lnTo>
                    <a:pt x="476" y="137"/>
                  </a:lnTo>
                  <a:lnTo>
                    <a:pt x="481" y="139"/>
                  </a:lnTo>
                  <a:lnTo>
                    <a:pt x="483" y="139"/>
                  </a:lnTo>
                  <a:lnTo>
                    <a:pt x="485" y="137"/>
                  </a:lnTo>
                  <a:lnTo>
                    <a:pt x="488" y="137"/>
                  </a:lnTo>
                  <a:lnTo>
                    <a:pt x="490" y="137"/>
                  </a:lnTo>
                  <a:lnTo>
                    <a:pt x="492" y="137"/>
                  </a:lnTo>
                  <a:lnTo>
                    <a:pt x="492" y="135"/>
                  </a:lnTo>
                  <a:lnTo>
                    <a:pt x="495" y="132"/>
                  </a:lnTo>
                  <a:lnTo>
                    <a:pt x="495" y="132"/>
                  </a:lnTo>
                  <a:lnTo>
                    <a:pt x="497" y="132"/>
                  </a:lnTo>
                  <a:lnTo>
                    <a:pt x="497" y="130"/>
                  </a:lnTo>
                  <a:lnTo>
                    <a:pt x="497" y="130"/>
                  </a:lnTo>
                  <a:lnTo>
                    <a:pt x="497" y="130"/>
                  </a:lnTo>
                  <a:lnTo>
                    <a:pt x="497" y="128"/>
                  </a:lnTo>
                  <a:lnTo>
                    <a:pt x="497" y="128"/>
                  </a:lnTo>
                  <a:lnTo>
                    <a:pt x="497" y="123"/>
                  </a:lnTo>
                  <a:lnTo>
                    <a:pt x="497" y="123"/>
                  </a:lnTo>
                  <a:lnTo>
                    <a:pt x="497" y="121"/>
                  </a:lnTo>
                  <a:lnTo>
                    <a:pt x="497" y="121"/>
                  </a:lnTo>
                  <a:lnTo>
                    <a:pt x="499" y="118"/>
                  </a:lnTo>
                  <a:lnTo>
                    <a:pt x="499" y="118"/>
                  </a:lnTo>
                  <a:lnTo>
                    <a:pt x="499" y="118"/>
                  </a:lnTo>
                  <a:lnTo>
                    <a:pt x="502" y="118"/>
                  </a:lnTo>
                  <a:lnTo>
                    <a:pt x="504" y="118"/>
                  </a:lnTo>
                  <a:lnTo>
                    <a:pt x="506" y="118"/>
                  </a:lnTo>
                  <a:lnTo>
                    <a:pt x="509" y="118"/>
                  </a:lnTo>
                  <a:lnTo>
                    <a:pt x="509" y="118"/>
                  </a:lnTo>
                  <a:lnTo>
                    <a:pt x="509" y="118"/>
                  </a:lnTo>
                  <a:lnTo>
                    <a:pt x="509" y="116"/>
                  </a:lnTo>
                  <a:lnTo>
                    <a:pt x="509" y="116"/>
                  </a:lnTo>
                  <a:lnTo>
                    <a:pt x="509" y="113"/>
                  </a:lnTo>
                  <a:lnTo>
                    <a:pt x="509" y="113"/>
                  </a:lnTo>
                  <a:lnTo>
                    <a:pt x="511" y="113"/>
                  </a:lnTo>
                  <a:lnTo>
                    <a:pt x="511" y="113"/>
                  </a:lnTo>
                  <a:lnTo>
                    <a:pt x="514" y="116"/>
                  </a:lnTo>
                  <a:lnTo>
                    <a:pt x="514" y="116"/>
                  </a:lnTo>
                  <a:lnTo>
                    <a:pt x="516" y="116"/>
                  </a:lnTo>
                  <a:lnTo>
                    <a:pt x="516" y="113"/>
                  </a:lnTo>
                  <a:lnTo>
                    <a:pt x="518" y="111"/>
                  </a:lnTo>
                  <a:lnTo>
                    <a:pt x="521" y="111"/>
                  </a:lnTo>
                  <a:lnTo>
                    <a:pt x="523" y="111"/>
                  </a:lnTo>
                  <a:lnTo>
                    <a:pt x="523" y="111"/>
                  </a:lnTo>
                  <a:lnTo>
                    <a:pt x="528" y="111"/>
                  </a:lnTo>
                  <a:lnTo>
                    <a:pt x="528" y="111"/>
                  </a:lnTo>
                  <a:lnTo>
                    <a:pt x="530" y="111"/>
                  </a:lnTo>
                  <a:lnTo>
                    <a:pt x="530" y="111"/>
                  </a:lnTo>
                  <a:lnTo>
                    <a:pt x="530" y="111"/>
                  </a:lnTo>
                  <a:lnTo>
                    <a:pt x="532" y="111"/>
                  </a:lnTo>
                  <a:lnTo>
                    <a:pt x="535" y="111"/>
                  </a:lnTo>
                  <a:lnTo>
                    <a:pt x="537" y="113"/>
                  </a:lnTo>
                  <a:lnTo>
                    <a:pt x="539" y="113"/>
                  </a:lnTo>
                  <a:lnTo>
                    <a:pt x="542" y="113"/>
                  </a:lnTo>
                  <a:lnTo>
                    <a:pt x="544" y="113"/>
                  </a:lnTo>
                  <a:lnTo>
                    <a:pt x="547" y="113"/>
                  </a:lnTo>
                  <a:lnTo>
                    <a:pt x="547" y="113"/>
                  </a:lnTo>
                  <a:lnTo>
                    <a:pt x="549" y="111"/>
                  </a:lnTo>
                  <a:lnTo>
                    <a:pt x="549" y="1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6" name="Freeform 282"/>
            <p:cNvSpPr>
              <a:spLocks/>
            </p:cNvSpPr>
            <p:nvPr userDrawn="1"/>
          </p:nvSpPr>
          <p:spPr bwMode="auto">
            <a:xfrm>
              <a:off x="3797" y="1886"/>
              <a:ext cx="0" cy="2"/>
            </a:xfrm>
            <a:custGeom>
              <a:avLst/>
              <a:gdLst>
                <a:gd name="T0" fmla="*/ 0 h 2"/>
                <a:gd name="T1" fmla="*/ 0 h 2"/>
                <a:gd name="T2" fmla="*/ 0 h 2"/>
                <a:gd name="T3" fmla="*/ 0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0"/>
                  </a:lnTo>
                  <a:lnTo>
                    <a:pt x="0" y="0"/>
                  </a:lnTo>
                  <a:lnTo>
                    <a:pt x="0" y="2"/>
                  </a:lnTo>
                  <a:lnTo>
                    <a:pt x="0" y="0"/>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7" name="Freeform 283"/>
            <p:cNvSpPr>
              <a:spLocks/>
            </p:cNvSpPr>
            <p:nvPr userDrawn="1"/>
          </p:nvSpPr>
          <p:spPr bwMode="auto">
            <a:xfrm>
              <a:off x="4113" y="1789"/>
              <a:ext cx="61" cy="61"/>
            </a:xfrm>
            <a:custGeom>
              <a:avLst/>
              <a:gdLst>
                <a:gd name="T0" fmla="*/ 56 w 61"/>
                <a:gd name="T1" fmla="*/ 35 h 61"/>
                <a:gd name="T2" fmla="*/ 54 w 61"/>
                <a:gd name="T3" fmla="*/ 33 h 61"/>
                <a:gd name="T4" fmla="*/ 49 w 61"/>
                <a:gd name="T5" fmla="*/ 30 h 61"/>
                <a:gd name="T6" fmla="*/ 49 w 61"/>
                <a:gd name="T7" fmla="*/ 26 h 61"/>
                <a:gd name="T8" fmla="*/ 49 w 61"/>
                <a:gd name="T9" fmla="*/ 23 h 61"/>
                <a:gd name="T10" fmla="*/ 47 w 61"/>
                <a:gd name="T11" fmla="*/ 23 h 61"/>
                <a:gd name="T12" fmla="*/ 42 w 61"/>
                <a:gd name="T13" fmla="*/ 21 h 61"/>
                <a:gd name="T14" fmla="*/ 42 w 61"/>
                <a:gd name="T15" fmla="*/ 16 h 61"/>
                <a:gd name="T16" fmla="*/ 42 w 61"/>
                <a:gd name="T17" fmla="*/ 14 h 61"/>
                <a:gd name="T18" fmla="*/ 40 w 61"/>
                <a:gd name="T19" fmla="*/ 9 h 61"/>
                <a:gd name="T20" fmla="*/ 37 w 61"/>
                <a:gd name="T21" fmla="*/ 9 h 61"/>
                <a:gd name="T22" fmla="*/ 32 w 61"/>
                <a:gd name="T23" fmla="*/ 4 h 61"/>
                <a:gd name="T24" fmla="*/ 30 w 61"/>
                <a:gd name="T25" fmla="*/ 7 h 61"/>
                <a:gd name="T26" fmla="*/ 28 w 61"/>
                <a:gd name="T27" fmla="*/ 4 h 61"/>
                <a:gd name="T28" fmla="*/ 28 w 61"/>
                <a:gd name="T29" fmla="*/ 4 h 61"/>
                <a:gd name="T30" fmla="*/ 23 w 61"/>
                <a:gd name="T31" fmla="*/ 2 h 61"/>
                <a:gd name="T32" fmla="*/ 21 w 61"/>
                <a:gd name="T33" fmla="*/ 2 h 61"/>
                <a:gd name="T34" fmla="*/ 14 w 61"/>
                <a:gd name="T35" fmla="*/ 0 h 61"/>
                <a:gd name="T36" fmla="*/ 14 w 61"/>
                <a:gd name="T37" fmla="*/ 0 h 61"/>
                <a:gd name="T38" fmla="*/ 9 w 61"/>
                <a:gd name="T39" fmla="*/ 2 h 61"/>
                <a:gd name="T40" fmla="*/ 2 w 61"/>
                <a:gd name="T41" fmla="*/ 0 h 61"/>
                <a:gd name="T42" fmla="*/ 2 w 61"/>
                <a:gd name="T43" fmla="*/ 2 h 61"/>
                <a:gd name="T44" fmla="*/ 7 w 61"/>
                <a:gd name="T45" fmla="*/ 4 h 61"/>
                <a:gd name="T46" fmla="*/ 9 w 61"/>
                <a:gd name="T47" fmla="*/ 9 h 61"/>
                <a:gd name="T48" fmla="*/ 11 w 61"/>
                <a:gd name="T49" fmla="*/ 14 h 61"/>
                <a:gd name="T50" fmla="*/ 14 w 61"/>
                <a:gd name="T51" fmla="*/ 19 h 61"/>
                <a:gd name="T52" fmla="*/ 18 w 61"/>
                <a:gd name="T53" fmla="*/ 23 h 61"/>
                <a:gd name="T54" fmla="*/ 21 w 61"/>
                <a:gd name="T55" fmla="*/ 26 h 61"/>
                <a:gd name="T56" fmla="*/ 28 w 61"/>
                <a:gd name="T57" fmla="*/ 33 h 61"/>
                <a:gd name="T58" fmla="*/ 28 w 61"/>
                <a:gd name="T59" fmla="*/ 40 h 61"/>
                <a:gd name="T60" fmla="*/ 28 w 61"/>
                <a:gd name="T61" fmla="*/ 47 h 61"/>
                <a:gd name="T62" fmla="*/ 28 w 61"/>
                <a:gd name="T63" fmla="*/ 54 h 61"/>
                <a:gd name="T64" fmla="*/ 30 w 61"/>
                <a:gd name="T65" fmla="*/ 56 h 61"/>
                <a:gd name="T66" fmla="*/ 28 w 61"/>
                <a:gd name="T67" fmla="*/ 59 h 61"/>
                <a:gd name="T68" fmla="*/ 30 w 61"/>
                <a:gd name="T69" fmla="*/ 61 h 61"/>
                <a:gd name="T70" fmla="*/ 35 w 61"/>
                <a:gd name="T71" fmla="*/ 61 h 61"/>
                <a:gd name="T72" fmla="*/ 35 w 61"/>
                <a:gd name="T73" fmla="*/ 59 h 61"/>
                <a:gd name="T74" fmla="*/ 35 w 61"/>
                <a:gd name="T75" fmla="*/ 56 h 61"/>
                <a:gd name="T76" fmla="*/ 37 w 61"/>
                <a:gd name="T77" fmla="*/ 52 h 61"/>
                <a:gd name="T78" fmla="*/ 42 w 61"/>
                <a:gd name="T79" fmla="*/ 47 h 61"/>
                <a:gd name="T80" fmla="*/ 40 w 61"/>
                <a:gd name="T81" fmla="*/ 42 h 61"/>
                <a:gd name="T82" fmla="*/ 42 w 61"/>
                <a:gd name="T83" fmla="*/ 40 h 61"/>
                <a:gd name="T84" fmla="*/ 44 w 61"/>
                <a:gd name="T85" fmla="*/ 40 h 61"/>
                <a:gd name="T86" fmla="*/ 47 w 61"/>
                <a:gd name="T87" fmla="*/ 42 h 61"/>
                <a:gd name="T88" fmla="*/ 49 w 61"/>
                <a:gd name="T89" fmla="*/ 40 h 61"/>
                <a:gd name="T90" fmla="*/ 49 w 61"/>
                <a:gd name="T91" fmla="*/ 40 h 61"/>
                <a:gd name="T92" fmla="*/ 54 w 61"/>
                <a:gd name="T93" fmla="*/ 42 h 61"/>
                <a:gd name="T94" fmla="*/ 56 w 61"/>
                <a:gd name="T95" fmla="*/ 42 h 61"/>
                <a:gd name="T96" fmla="*/ 61 w 61"/>
                <a:gd name="T97"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61">
                  <a:moveTo>
                    <a:pt x="56" y="40"/>
                  </a:moveTo>
                  <a:lnTo>
                    <a:pt x="56" y="37"/>
                  </a:lnTo>
                  <a:lnTo>
                    <a:pt x="56" y="35"/>
                  </a:lnTo>
                  <a:lnTo>
                    <a:pt x="56" y="33"/>
                  </a:lnTo>
                  <a:lnTo>
                    <a:pt x="56" y="33"/>
                  </a:lnTo>
                  <a:lnTo>
                    <a:pt x="54" y="33"/>
                  </a:lnTo>
                  <a:lnTo>
                    <a:pt x="51" y="30"/>
                  </a:lnTo>
                  <a:lnTo>
                    <a:pt x="49" y="30"/>
                  </a:lnTo>
                  <a:lnTo>
                    <a:pt x="49" y="30"/>
                  </a:lnTo>
                  <a:lnTo>
                    <a:pt x="49" y="28"/>
                  </a:lnTo>
                  <a:lnTo>
                    <a:pt x="49" y="28"/>
                  </a:lnTo>
                  <a:lnTo>
                    <a:pt x="49" y="26"/>
                  </a:lnTo>
                  <a:lnTo>
                    <a:pt x="49" y="26"/>
                  </a:lnTo>
                  <a:lnTo>
                    <a:pt x="49" y="23"/>
                  </a:lnTo>
                  <a:lnTo>
                    <a:pt x="49" y="23"/>
                  </a:lnTo>
                  <a:lnTo>
                    <a:pt x="49" y="23"/>
                  </a:lnTo>
                  <a:lnTo>
                    <a:pt x="47" y="23"/>
                  </a:lnTo>
                  <a:lnTo>
                    <a:pt x="47" y="23"/>
                  </a:lnTo>
                  <a:lnTo>
                    <a:pt x="44" y="21"/>
                  </a:lnTo>
                  <a:lnTo>
                    <a:pt x="42" y="21"/>
                  </a:lnTo>
                  <a:lnTo>
                    <a:pt x="42" y="21"/>
                  </a:lnTo>
                  <a:lnTo>
                    <a:pt x="42" y="19"/>
                  </a:lnTo>
                  <a:lnTo>
                    <a:pt x="42" y="19"/>
                  </a:lnTo>
                  <a:lnTo>
                    <a:pt x="42" y="16"/>
                  </a:lnTo>
                  <a:lnTo>
                    <a:pt x="42" y="16"/>
                  </a:lnTo>
                  <a:lnTo>
                    <a:pt x="42" y="14"/>
                  </a:lnTo>
                  <a:lnTo>
                    <a:pt x="42" y="14"/>
                  </a:lnTo>
                  <a:lnTo>
                    <a:pt x="42" y="11"/>
                  </a:lnTo>
                  <a:lnTo>
                    <a:pt x="42" y="9"/>
                  </a:lnTo>
                  <a:lnTo>
                    <a:pt x="40" y="9"/>
                  </a:lnTo>
                  <a:lnTo>
                    <a:pt x="40" y="9"/>
                  </a:lnTo>
                  <a:lnTo>
                    <a:pt x="40" y="9"/>
                  </a:lnTo>
                  <a:lnTo>
                    <a:pt x="37" y="9"/>
                  </a:lnTo>
                  <a:lnTo>
                    <a:pt x="37" y="9"/>
                  </a:lnTo>
                  <a:lnTo>
                    <a:pt x="35" y="7"/>
                  </a:lnTo>
                  <a:lnTo>
                    <a:pt x="32" y="4"/>
                  </a:lnTo>
                  <a:lnTo>
                    <a:pt x="30" y="4"/>
                  </a:lnTo>
                  <a:lnTo>
                    <a:pt x="30" y="7"/>
                  </a:lnTo>
                  <a:lnTo>
                    <a:pt x="30" y="7"/>
                  </a:lnTo>
                  <a:lnTo>
                    <a:pt x="30" y="4"/>
                  </a:lnTo>
                  <a:lnTo>
                    <a:pt x="28" y="4"/>
                  </a:lnTo>
                  <a:lnTo>
                    <a:pt x="28" y="4"/>
                  </a:lnTo>
                  <a:lnTo>
                    <a:pt x="28" y="4"/>
                  </a:lnTo>
                  <a:lnTo>
                    <a:pt x="28" y="4"/>
                  </a:lnTo>
                  <a:lnTo>
                    <a:pt x="28" y="4"/>
                  </a:lnTo>
                  <a:lnTo>
                    <a:pt x="25" y="4"/>
                  </a:lnTo>
                  <a:lnTo>
                    <a:pt x="23" y="4"/>
                  </a:lnTo>
                  <a:lnTo>
                    <a:pt x="23" y="2"/>
                  </a:lnTo>
                  <a:lnTo>
                    <a:pt x="23" y="2"/>
                  </a:lnTo>
                  <a:lnTo>
                    <a:pt x="21" y="2"/>
                  </a:lnTo>
                  <a:lnTo>
                    <a:pt x="21" y="2"/>
                  </a:lnTo>
                  <a:lnTo>
                    <a:pt x="18" y="0"/>
                  </a:lnTo>
                  <a:lnTo>
                    <a:pt x="16" y="0"/>
                  </a:lnTo>
                  <a:lnTo>
                    <a:pt x="14" y="0"/>
                  </a:lnTo>
                  <a:lnTo>
                    <a:pt x="14" y="0"/>
                  </a:lnTo>
                  <a:lnTo>
                    <a:pt x="14" y="0"/>
                  </a:lnTo>
                  <a:lnTo>
                    <a:pt x="14" y="0"/>
                  </a:lnTo>
                  <a:lnTo>
                    <a:pt x="11" y="0"/>
                  </a:lnTo>
                  <a:lnTo>
                    <a:pt x="11" y="0"/>
                  </a:lnTo>
                  <a:lnTo>
                    <a:pt x="9" y="2"/>
                  </a:lnTo>
                  <a:lnTo>
                    <a:pt x="7" y="2"/>
                  </a:lnTo>
                  <a:lnTo>
                    <a:pt x="4" y="2"/>
                  </a:lnTo>
                  <a:lnTo>
                    <a:pt x="2" y="0"/>
                  </a:lnTo>
                  <a:lnTo>
                    <a:pt x="0" y="2"/>
                  </a:lnTo>
                  <a:lnTo>
                    <a:pt x="0" y="2"/>
                  </a:lnTo>
                  <a:lnTo>
                    <a:pt x="2" y="2"/>
                  </a:lnTo>
                  <a:lnTo>
                    <a:pt x="2" y="4"/>
                  </a:lnTo>
                  <a:lnTo>
                    <a:pt x="4" y="4"/>
                  </a:lnTo>
                  <a:lnTo>
                    <a:pt x="7" y="4"/>
                  </a:lnTo>
                  <a:lnTo>
                    <a:pt x="7" y="7"/>
                  </a:lnTo>
                  <a:lnTo>
                    <a:pt x="7" y="7"/>
                  </a:lnTo>
                  <a:lnTo>
                    <a:pt x="9" y="9"/>
                  </a:lnTo>
                  <a:lnTo>
                    <a:pt x="9" y="11"/>
                  </a:lnTo>
                  <a:lnTo>
                    <a:pt x="11" y="14"/>
                  </a:lnTo>
                  <a:lnTo>
                    <a:pt x="11" y="14"/>
                  </a:lnTo>
                  <a:lnTo>
                    <a:pt x="11" y="16"/>
                  </a:lnTo>
                  <a:lnTo>
                    <a:pt x="14" y="19"/>
                  </a:lnTo>
                  <a:lnTo>
                    <a:pt x="14" y="19"/>
                  </a:lnTo>
                  <a:lnTo>
                    <a:pt x="16" y="19"/>
                  </a:lnTo>
                  <a:lnTo>
                    <a:pt x="18" y="23"/>
                  </a:lnTo>
                  <a:lnTo>
                    <a:pt x="18" y="23"/>
                  </a:lnTo>
                  <a:lnTo>
                    <a:pt x="21" y="26"/>
                  </a:lnTo>
                  <a:lnTo>
                    <a:pt x="21" y="26"/>
                  </a:lnTo>
                  <a:lnTo>
                    <a:pt x="21" y="26"/>
                  </a:lnTo>
                  <a:lnTo>
                    <a:pt x="23" y="28"/>
                  </a:lnTo>
                  <a:lnTo>
                    <a:pt x="25" y="30"/>
                  </a:lnTo>
                  <a:lnTo>
                    <a:pt x="28" y="33"/>
                  </a:lnTo>
                  <a:lnTo>
                    <a:pt x="28" y="35"/>
                  </a:lnTo>
                  <a:lnTo>
                    <a:pt x="28" y="37"/>
                  </a:lnTo>
                  <a:lnTo>
                    <a:pt x="28" y="40"/>
                  </a:lnTo>
                  <a:lnTo>
                    <a:pt x="30" y="40"/>
                  </a:lnTo>
                  <a:lnTo>
                    <a:pt x="28" y="42"/>
                  </a:lnTo>
                  <a:lnTo>
                    <a:pt x="28" y="47"/>
                  </a:lnTo>
                  <a:lnTo>
                    <a:pt x="28" y="49"/>
                  </a:lnTo>
                  <a:lnTo>
                    <a:pt x="28" y="52"/>
                  </a:lnTo>
                  <a:lnTo>
                    <a:pt x="28" y="54"/>
                  </a:lnTo>
                  <a:lnTo>
                    <a:pt x="28" y="54"/>
                  </a:lnTo>
                  <a:lnTo>
                    <a:pt x="28" y="56"/>
                  </a:lnTo>
                  <a:lnTo>
                    <a:pt x="30" y="56"/>
                  </a:lnTo>
                  <a:lnTo>
                    <a:pt x="28" y="56"/>
                  </a:lnTo>
                  <a:lnTo>
                    <a:pt x="28" y="59"/>
                  </a:lnTo>
                  <a:lnTo>
                    <a:pt x="28" y="59"/>
                  </a:lnTo>
                  <a:lnTo>
                    <a:pt x="28" y="59"/>
                  </a:lnTo>
                  <a:lnTo>
                    <a:pt x="30" y="59"/>
                  </a:lnTo>
                  <a:lnTo>
                    <a:pt x="30" y="61"/>
                  </a:lnTo>
                  <a:lnTo>
                    <a:pt x="30" y="61"/>
                  </a:lnTo>
                  <a:lnTo>
                    <a:pt x="32" y="61"/>
                  </a:lnTo>
                  <a:lnTo>
                    <a:pt x="35" y="61"/>
                  </a:lnTo>
                  <a:lnTo>
                    <a:pt x="35" y="59"/>
                  </a:lnTo>
                  <a:lnTo>
                    <a:pt x="35" y="59"/>
                  </a:lnTo>
                  <a:lnTo>
                    <a:pt x="35" y="59"/>
                  </a:lnTo>
                  <a:lnTo>
                    <a:pt x="35" y="59"/>
                  </a:lnTo>
                  <a:lnTo>
                    <a:pt x="35" y="56"/>
                  </a:lnTo>
                  <a:lnTo>
                    <a:pt x="35" y="56"/>
                  </a:lnTo>
                  <a:lnTo>
                    <a:pt x="37" y="54"/>
                  </a:lnTo>
                  <a:lnTo>
                    <a:pt x="37" y="54"/>
                  </a:lnTo>
                  <a:lnTo>
                    <a:pt x="37" y="52"/>
                  </a:lnTo>
                  <a:lnTo>
                    <a:pt x="40" y="49"/>
                  </a:lnTo>
                  <a:lnTo>
                    <a:pt x="42" y="49"/>
                  </a:lnTo>
                  <a:lnTo>
                    <a:pt x="42" y="47"/>
                  </a:lnTo>
                  <a:lnTo>
                    <a:pt x="42" y="47"/>
                  </a:lnTo>
                  <a:lnTo>
                    <a:pt x="42" y="45"/>
                  </a:lnTo>
                  <a:lnTo>
                    <a:pt x="40" y="42"/>
                  </a:lnTo>
                  <a:lnTo>
                    <a:pt x="40" y="42"/>
                  </a:lnTo>
                  <a:lnTo>
                    <a:pt x="42" y="40"/>
                  </a:lnTo>
                  <a:lnTo>
                    <a:pt x="42" y="40"/>
                  </a:lnTo>
                  <a:lnTo>
                    <a:pt x="44" y="40"/>
                  </a:lnTo>
                  <a:lnTo>
                    <a:pt x="44" y="40"/>
                  </a:lnTo>
                  <a:lnTo>
                    <a:pt x="44" y="40"/>
                  </a:lnTo>
                  <a:lnTo>
                    <a:pt x="44" y="42"/>
                  </a:lnTo>
                  <a:lnTo>
                    <a:pt x="44" y="42"/>
                  </a:lnTo>
                  <a:lnTo>
                    <a:pt x="47" y="42"/>
                  </a:lnTo>
                  <a:lnTo>
                    <a:pt x="47" y="40"/>
                  </a:lnTo>
                  <a:lnTo>
                    <a:pt x="47" y="40"/>
                  </a:lnTo>
                  <a:lnTo>
                    <a:pt x="49" y="40"/>
                  </a:lnTo>
                  <a:lnTo>
                    <a:pt x="49" y="40"/>
                  </a:lnTo>
                  <a:lnTo>
                    <a:pt x="49" y="40"/>
                  </a:lnTo>
                  <a:lnTo>
                    <a:pt x="49" y="40"/>
                  </a:lnTo>
                  <a:lnTo>
                    <a:pt x="51" y="42"/>
                  </a:lnTo>
                  <a:lnTo>
                    <a:pt x="51" y="42"/>
                  </a:lnTo>
                  <a:lnTo>
                    <a:pt x="54" y="42"/>
                  </a:lnTo>
                  <a:lnTo>
                    <a:pt x="54" y="40"/>
                  </a:lnTo>
                  <a:lnTo>
                    <a:pt x="54" y="40"/>
                  </a:lnTo>
                  <a:lnTo>
                    <a:pt x="56" y="42"/>
                  </a:lnTo>
                  <a:lnTo>
                    <a:pt x="56" y="42"/>
                  </a:lnTo>
                  <a:lnTo>
                    <a:pt x="58" y="42"/>
                  </a:lnTo>
                  <a:lnTo>
                    <a:pt x="61" y="42"/>
                  </a:lnTo>
                  <a:lnTo>
                    <a:pt x="61" y="42"/>
                  </a:lnTo>
                  <a:lnTo>
                    <a:pt x="56"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8" name="Freeform 284"/>
            <p:cNvSpPr>
              <a:spLocks noEditPoints="1"/>
            </p:cNvSpPr>
            <p:nvPr userDrawn="1"/>
          </p:nvSpPr>
          <p:spPr bwMode="auto">
            <a:xfrm>
              <a:off x="1591" y="2117"/>
              <a:ext cx="485" cy="383"/>
            </a:xfrm>
            <a:custGeom>
              <a:avLst/>
              <a:gdLst>
                <a:gd name="T0" fmla="*/ 485 w 485"/>
                <a:gd name="T1" fmla="*/ 244 h 383"/>
                <a:gd name="T2" fmla="*/ 478 w 485"/>
                <a:gd name="T3" fmla="*/ 234 h 383"/>
                <a:gd name="T4" fmla="*/ 464 w 485"/>
                <a:gd name="T5" fmla="*/ 234 h 383"/>
                <a:gd name="T6" fmla="*/ 417 w 485"/>
                <a:gd name="T7" fmla="*/ 253 h 383"/>
                <a:gd name="T8" fmla="*/ 391 w 485"/>
                <a:gd name="T9" fmla="*/ 293 h 383"/>
                <a:gd name="T10" fmla="*/ 384 w 485"/>
                <a:gd name="T11" fmla="*/ 298 h 383"/>
                <a:gd name="T12" fmla="*/ 346 w 485"/>
                <a:gd name="T13" fmla="*/ 305 h 383"/>
                <a:gd name="T14" fmla="*/ 311 w 485"/>
                <a:gd name="T15" fmla="*/ 296 h 383"/>
                <a:gd name="T16" fmla="*/ 292 w 485"/>
                <a:gd name="T17" fmla="*/ 253 h 383"/>
                <a:gd name="T18" fmla="*/ 290 w 485"/>
                <a:gd name="T19" fmla="*/ 239 h 383"/>
                <a:gd name="T20" fmla="*/ 290 w 485"/>
                <a:gd name="T21" fmla="*/ 206 h 383"/>
                <a:gd name="T22" fmla="*/ 311 w 485"/>
                <a:gd name="T23" fmla="*/ 144 h 383"/>
                <a:gd name="T24" fmla="*/ 280 w 485"/>
                <a:gd name="T25" fmla="*/ 130 h 383"/>
                <a:gd name="T26" fmla="*/ 278 w 485"/>
                <a:gd name="T27" fmla="*/ 107 h 383"/>
                <a:gd name="T28" fmla="*/ 264 w 485"/>
                <a:gd name="T29" fmla="*/ 71 h 383"/>
                <a:gd name="T30" fmla="*/ 245 w 485"/>
                <a:gd name="T31" fmla="*/ 59 h 383"/>
                <a:gd name="T32" fmla="*/ 219 w 485"/>
                <a:gd name="T33" fmla="*/ 76 h 383"/>
                <a:gd name="T34" fmla="*/ 200 w 485"/>
                <a:gd name="T35" fmla="*/ 43 h 383"/>
                <a:gd name="T36" fmla="*/ 162 w 485"/>
                <a:gd name="T37" fmla="*/ 19 h 383"/>
                <a:gd name="T38" fmla="*/ 96 w 485"/>
                <a:gd name="T39" fmla="*/ 29 h 383"/>
                <a:gd name="T40" fmla="*/ 21 w 485"/>
                <a:gd name="T41" fmla="*/ 3 h 383"/>
                <a:gd name="T42" fmla="*/ 0 w 485"/>
                <a:gd name="T43" fmla="*/ 24 h 383"/>
                <a:gd name="T44" fmla="*/ 4 w 485"/>
                <a:gd name="T45" fmla="*/ 59 h 383"/>
                <a:gd name="T46" fmla="*/ 16 w 485"/>
                <a:gd name="T47" fmla="*/ 102 h 383"/>
                <a:gd name="T48" fmla="*/ 2 w 485"/>
                <a:gd name="T49" fmla="*/ 102 h 383"/>
                <a:gd name="T50" fmla="*/ 19 w 485"/>
                <a:gd name="T51" fmla="*/ 123 h 383"/>
                <a:gd name="T52" fmla="*/ 42 w 485"/>
                <a:gd name="T53" fmla="*/ 149 h 383"/>
                <a:gd name="T54" fmla="*/ 49 w 485"/>
                <a:gd name="T55" fmla="*/ 178 h 383"/>
                <a:gd name="T56" fmla="*/ 77 w 485"/>
                <a:gd name="T57" fmla="*/ 201 h 383"/>
                <a:gd name="T58" fmla="*/ 68 w 485"/>
                <a:gd name="T59" fmla="*/ 178 h 383"/>
                <a:gd name="T60" fmla="*/ 61 w 485"/>
                <a:gd name="T61" fmla="*/ 154 h 383"/>
                <a:gd name="T62" fmla="*/ 54 w 485"/>
                <a:gd name="T63" fmla="*/ 128 h 383"/>
                <a:gd name="T64" fmla="*/ 44 w 485"/>
                <a:gd name="T65" fmla="*/ 102 h 383"/>
                <a:gd name="T66" fmla="*/ 40 w 485"/>
                <a:gd name="T67" fmla="*/ 81 h 383"/>
                <a:gd name="T68" fmla="*/ 28 w 485"/>
                <a:gd name="T69" fmla="*/ 40 h 383"/>
                <a:gd name="T70" fmla="*/ 44 w 485"/>
                <a:gd name="T71" fmla="*/ 26 h 383"/>
                <a:gd name="T72" fmla="*/ 59 w 485"/>
                <a:gd name="T73" fmla="*/ 36 h 383"/>
                <a:gd name="T74" fmla="*/ 61 w 485"/>
                <a:gd name="T75" fmla="*/ 69 h 383"/>
                <a:gd name="T76" fmla="*/ 73 w 485"/>
                <a:gd name="T77" fmla="*/ 100 h 383"/>
                <a:gd name="T78" fmla="*/ 89 w 485"/>
                <a:gd name="T79" fmla="*/ 121 h 383"/>
                <a:gd name="T80" fmla="*/ 96 w 485"/>
                <a:gd name="T81" fmla="*/ 137 h 383"/>
                <a:gd name="T82" fmla="*/ 96 w 485"/>
                <a:gd name="T83" fmla="*/ 154 h 383"/>
                <a:gd name="T84" fmla="*/ 108 w 485"/>
                <a:gd name="T85" fmla="*/ 161 h 383"/>
                <a:gd name="T86" fmla="*/ 115 w 485"/>
                <a:gd name="T87" fmla="*/ 175 h 383"/>
                <a:gd name="T88" fmla="*/ 151 w 485"/>
                <a:gd name="T89" fmla="*/ 237 h 383"/>
                <a:gd name="T90" fmla="*/ 139 w 485"/>
                <a:gd name="T91" fmla="*/ 258 h 383"/>
                <a:gd name="T92" fmla="*/ 165 w 485"/>
                <a:gd name="T93" fmla="*/ 293 h 383"/>
                <a:gd name="T94" fmla="*/ 209 w 485"/>
                <a:gd name="T95" fmla="*/ 324 h 383"/>
                <a:gd name="T96" fmla="*/ 285 w 485"/>
                <a:gd name="T97" fmla="*/ 360 h 383"/>
                <a:gd name="T98" fmla="*/ 323 w 485"/>
                <a:gd name="T99" fmla="*/ 343 h 383"/>
                <a:gd name="T100" fmla="*/ 332 w 485"/>
                <a:gd name="T101" fmla="*/ 350 h 383"/>
                <a:gd name="T102" fmla="*/ 360 w 485"/>
                <a:gd name="T103" fmla="*/ 379 h 383"/>
                <a:gd name="T104" fmla="*/ 367 w 485"/>
                <a:gd name="T105" fmla="*/ 367 h 383"/>
                <a:gd name="T106" fmla="*/ 403 w 485"/>
                <a:gd name="T107" fmla="*/ 343 h 383"/>
                <a:gd name="T108" fmla="*/ 396 w 485"/>
                <a:gd name="T109" fmla="*/ 322 h 383"/>
                <a:gd name="T110" fmla="*/ 438 w 485"/>
                <a:gd name="T111" fmla="*/ 310 h 383"/>
                <a:gd name="T112" fmla="*/ 455 w 485"/>
                <a:gd name="T113" fmla="*/ 301 h 383"/>
                <a:gd name="T114" fmla="*/ 464 w 485"/>
                <a:gd name="T115" fmla="*/ 282 h 383"/>
                <a:gd name="T116" fmla="*/ 469 w 485"/>
                <a:gd name="T117" fmla="*/ 27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5" h="383">
                  <a:moveTo>
                    <a:pt x="386" y="296"/>
                  </a:moveTo>
                  <a:lnTo>
                    <a:pt x="389" y="296"/>
                  </a:lnTo>
                  <a:lnTo>
                    <a:pt x="391" y="296"/>
                  </a:lnTo>
                  <a:lnTo>
                    <a:pt x="389" y="293"/>
                  </a:lnTo>
                  <a:lnTo>
                    <a:pt x="389" y="293"/>
                  </a:lnTo>
                  <a:lnTo>
                    <a:pt x="384" y="296"/>
                  </a:lnTo>
                  <a:lnTo>
                    <a:pt x="384" y="296"/>
                  </a:lnTo>
                  <a:lnTo>
                    <a:pt x="386" y="296"/>
                  </a:lnTo>
                  <a:close/>
                  <a:moveTo>
                    <a:pt x="485" y="241"/>
                  </a:moveTo>
                  <a:lnTo>
                    <a:pt x="485" y="241"/>
                  </a:lnTo>
                  <a:lnTo>
                    <a:pt x="485" y="241"/>
                  </a:lnTo>
                  <a:lnTo>
                    <a:pt x="485" y="241"/>
                  </a:lnTo>
                  <a:lnTo>
                    <a:pt x="485" y="241"/>
                  </a:lnTo>
                  <a:lnTo>
                    <a:pt x="485" y="244"/>
                  </a:lnTo>
                  <a:lnTo>
                    <a:pt x="485" y="244"/>
                  </a:lnTo>
                  <a:lnTo>
                    <a:pt x="485" y="241"/>
                  </a:lnTo>
                  <a:close/>
                  <a:moveTo>
                    <a:pt x="35" y="19"/>
                  </a:moveTo>
                  <a:lnTo>
                    <a:pt x="35" y="22"/>
                  </a:lnTo>
                  <a:lnTo>
                    <a:pt x="35" y="22"/>
                  </a:lnTo>
                  <a:lnTo>
                    <a:pt x="35" y="22"/>
                  </a:lnTo>
                  <a:lnTo>
                    <a:pt x="35" y="22"/>
                  </a:lnTo>
                  <a:lnTo>
                    <a:pt x="35" y="22"/>
                  </a:lnTo>
                  <a:lnTo>
                    <a:pt x="35" y="19"/>
                  </a:lnTo>
                  <a:lnTo>
                    <a:pt x="35" y="19"/>
                  </a:lnTo>
                  <a:close/>
                  <a:moveTo>
                    <a:pt x="483" y="241"/>
                  </a:moveTo>
                  <a:lnTo>
                    <a:pt x="485" y="239"/>
                  </a:lnTo>
                  <a:lnTo>
                    <a:pt x="483" y="237"/>
                  </a:lnTo>
                  <a:lnTo>
                    <a:pt x="481" y="234"/>
                  </a:lnTo>
                  <a:lnTo>
                    <a:pt x="478" y="234"/>
                  </a:lnTo>
                  <a:lnTo>
                    <a:pt x="478" y="234"/>
                  </a:lnTo>
                  <a:lnTo>
                    <a:pt x="476" y="234"/>
                  </a:lnTo>
                  <a:lnTo>
                    <a:pt x="476" y="234"/>
                  </a:lnTo>
                  <a:lnTo>
                    <a:pt x="473" y="237"/>
                  </a:lnTo>
                  <a:lnTo>
                    <a:pt x="476" y="237"/>
                  </a:lnTo>
                  <a:lnTo>
                    <a:pt x="476" y="237"/>
                  </a:lnTo>
                  <a:lnTo>
                    <a:pt x="478" y="237"/>
                  </a:lnTo>
                  <a:lnTo>
                    <a:pt x="478" y="237"/>
                  </a:lnTo>
                  <a:lnTo>
                    <a:pt x="478" y="237"/>
                  </a:lnTo>
                  <a:lnTo>
                    <a:pt x="478" y="237"/>
                  </a:lnTo>
                  <a:lnTo>
                    <a:pt x="478" y="237"/>
                  </a:lnTo>
                  <a:lnTo>
                    <a:pt x="476" y="239"/>
                  </a:lnTo>
                  <a:lnTo>
                    <a:pt x="473" y="237"/>
                  </a:lnTo>
                  <a:lnTo>
                    <a:pt x="469" y="237"/>
                  </a:lnTo>
                  <a:lnTo>
                    <a:pt x="466" y="237"/>
                  </a:lnTo>
                  <a:lnTo>
                    <a:pt x="464" y="234"/>
                  </a:lnTo>
                  <a:lnTo>
                    <a:pt x="462" y="234"/>
                  </a:lnTo>
                  <a:lnTo>
                    <a:pt x="459" y="234"/>
                  </a:lnTo>
                  <a:lnTo>
                    <a:pt x="459" y="234"/>
                  </a:lnTo>
                  <a:lnTo>
                    <a:pt x="459" y="234"/>
                  </a:lnTo>
                  <a:lnTo>
                    <a:pt x="459" y="234"/>
                  </a:lnTo>
                  <a:lnTo>
                    <a:pt x="455" y="234"/>
                  </a:lnTo>
                  <a:lnTo>
                    <a:pt x="452" y="237"/>
                  </a:lnTo>
                  <a:lnTo>
                    <a:pt x="450" y="239"/>
                  </a:lnTo>
                  <a:lnTo>
                    <a:pt x="448" y="239"/>
                  </a:lnTo>
                  <a:lnTo>
                    <a:pt x="429" y="241"/>
                  </a:lnTo>
                  <a:lnTo>
                    <a:pt x="429" y="241"/>
                  </a:lnTo>
                  <a:lnTo>
                    <a:pt x="422" y="244"/>
                  </a:lnTo>
                  <a:lnTo>
                    <a:pt x="419" y="246"/>
                  </a:lnTo>
                  <a:lnTo>
                    <a:pt x="417" y="253"/>
                  </a:lnTo>
                  <a:lnTo>
                    <a:pt x="417" y="253"/>
                  </a:lnTo>
                  <a:lnTo>
                    <a:pt x="415" y="256"/>
                  </a:lnTo>
                  <a:lnTo>
                    <a:pt x="415" y="260"/>
                  </a:lnTo>
                  <a:lnTo>
                    <a:pt x="415" y="263"/>
                  </a:lnTo>
                  <a:lnTo>
                    <a:pt x="412" y="267"/>
                  </a:lnTo>
                  <a:lnTo>
                    <a:pt x="412" y="270"/>
                  </a:lnTo>
                  <a:lnTo>
                    <a:pt x="412" y="270"/>
                  </a:lnTo>
                  <a:lnTo>
                    <a:pt x="410" y="272"/>
                  </a:lnTo>
                  <a:lnTo>
                    <a:pt x="407" y="275"/>
                  </a:lnTo>
                  <a:lnTo>
                    <a:pt x="407" y="282"/>
                  </a:lnTo>
                  <a:lnTo>
                    <a:pt x="403" y="286"/>
                  </a:lnTo>
                  <a:lnTo>
                    <a:pt x="400" y="289"/>
                  </a:lnTo>
                  <a:lnTo>
                    <a:pt x="398" y="289"/>
                  </a:lnTo>
                  <a:lnTo>
                    <a:pt x="391" y="291"/>
                  </a:lnTo>
                  <a:lnTo>
                    <a:pt x="391" y="293"/>
                  </a:lnTo>
                  <a:lnTo>
                    <a:pt x="391" y="293"/>
                  </a:lnTo>
                  <a:lnTo>
                    <a:pt x="391" y="293"/>
                  </a:lnTo>
                  <a:lnTo>
                    <a:pt x="393" y="291"/>
                  </a:lnTo>
                  <a:lnTo>
                    <a:pt x="393" y="291"/>
                  </a:lnTo>
                  <a:lnTo>
                    <a:pt x="393" y="293"/>
                  </a:lnTo>
                  <a:lnTo>
                    <a:pt x="393" y="293"/>
                  </a:lnTo>
                  <a:lnTo>
                    <a:pt x="393" y="293"/>
                  </a:lnTo>
                  <a:lnTo>
                    <a:pt x="393" y="296"/>
                  </a:lnTo>
                  <a:lnTo>
                    <a:pt x="393" y="298"/>
                  </a:lnTo>
                  <a:lnTo>
                    <a:pt x="391" y="298"/>
                  </a:lnTo>
                  <a:lnTo>
                    <a:pt x="389" y="301"/>
                  </a:lnTo>
                  <a:lnTo>
                    <a:pt x="389" y="301"/>
                  </a:lnTo>
                  <a:lnTo>
                    <a:pt x="384" y="301"/>
                  </a:lnTo>
                  <a:lnTo>
                    <a:pt x="382" y="301"/>
                  </a:lnTo>
                  <a:lnTo>
                    <a:pt x="382" y="298"/>
                  </a:lnTo>
                  <a:lnTo>
                    <a:pt x="384" y="298"/>
                  </a:lnTo>
                  <a:lnTo>
                    <a:pt x="384" y="298"/>
                  </a:lnTo>
                  <a:lnTo>
                    <a:pt x="382" y="296"/>
                  </a:lnTo>
                  <a:lnTo>
                    <a:pt x="379" y="296"/>
                  </a:lnTo>
                  <a:lnTo>
                    <a:pt x="377" y="296"/>
                  </a:lnTo>
                  <a:lnTo>
                    <a:pt x="372" y="296"/>
                  </a:lnTo>
                  <a:lnTo>
                    <a:pt x="372" y="296"/>
                  </a:lnTo>
                  <a:lnTo>
                    <a:pt x="367" y="298"/>
                  </a:lnTo>
                  <a:lnTo>
                    <a:pt x="367" y="298"/>
                  </a:lnTo>
                  <a:lnTo>
                    <a:pt x="367" y="301"/>
                  </a:lnTo>
                  <a:lnTo>
                    <a:pt x="365" y="301"/>
                  </a:lnTo>
                  <a:lnTo>
                    <a:pt x="360" y="303"/>
                  </a:lnTo>
                  <a:lnTo>
                    <a:pt x="358" y="301"/>
                  </a:lnTo>
                  <a:lnTo>
                    <a:pt x="351" y="301"/>
                  </a:lnTo>
                  <a:lnTo>
                    <a:pt x="349" y="303"/>
                  </a:lnTo>
                  <a:lnTo>
                    <a:pt x="346" y="305"/>
                  </a:lnTo>
                  <a:lnTo>
                    <a:pt x="339" y="308"/>
                  </a:lnTo>
                  <a:lnTo>
                    <a:pt x="337" y="308"/>
                  </a:lnTo>
                  <a:lnTo>
                    <a:pt x="334" y="308"/>
                  </a:lnTo>
                  <a:lnTo>
                    <a:pt x="332" y="308"/>
                  </a:lnTo>
                  <a:lnTo>
                    <a:pt x="332" y="303"/>
                  </a:lnTo>
                  <a:lnTo>
                    <a:pt x="330" y="301"/>
                  </a:lnTo>
                  <a:lnTo>
                    <a:pt x="325" y="298"/>
                  </a:lnTo>
                  <a:lnTo>
                    <a:pt x="323" y="296"/>
                  </a:lnTo>
                  <a:lnTo>
                    <a:pt x="316" y="296"/>
                  </a:lnTo>
                  <a:lnTo>
                    <a:pt x="313" y="293"/>
                  </a:lnTo>
                  <a:lnTo>
                    <a:pt x="313" y="293"/>
                  </a:lnTo>
                  <a:lnTo>
                    <a:pt x="316" y="296"/>
                  </a:lnTo>
                  <a:lnTo>
                    <a:pt x="316" y="296"/>
                  </a:lnTo>
                  <a:lnTo>
                    <a:pt x="316" y="296"/>
                  </a:lnTo>
                  <a:lnTo>
                    <a:pt x="311" y="296"/>
                  </a:lnTo>
                  <a:lnTo>
                    <a:pt x="311" y="293"/>
                  </a:lnTo>
                  <a:lnTo>
                    <a:pt x="311" y="293"/>
                  </a:lnTo>
                  <a:lnTo>
                    <a:pt x="311" y="293"/>
                  </a:lnTo>
                  <a:lnTo>
                    <a:pt x="313" y="293"/>
                  </a:lnTo>
                  <a:lnTo>
                    <a:pt x="311" y="291"/>
                  </a:lnTo>
                  <a:lnTo>
                    <a:pt x="308" y="289"/>
                  </a:lnTo>
                  <a:lnTo>
                    <a:pt x="308" y="286"/>
                  </a:lnTo>
                  <a:lnTo>
                    <a:pt x="308" y="286"/>
                  </a:lnTo>
                  <a:lnTo>
                    <a:pt x="304" y="282"/>
                  </a:lnTo>
                  <a:lnTo>
                    <a:pt x="304" y="279"/>
                  </a:lnTo>
                  <a:lnTo>
                    <a:pt x="304" y="277"/>
                  </a:lnTo>
                  <a:lnTo>
                    <a:pt x="304" y="272"/>
                  </a:lnTo>
                  <a:lnTo>
                    <a:pt x="299" y="265"/>
                  </a:lnTo>
                  <a:lnTo>
                    <a:pt x="294" y="256"/>
                  </a:lnTo>
                  <a:lnTo>
                    <a:pt x="292" y="253"/>
                  </a:lnTo>
                  <a:lnTo>
                    <a:pt x="294" y="251"/>
                  </a:lnTo>
                  <a:lnTo>
                    <a:pt x="292" y="246"/>
                  </a:lnTo>
                  <a:lnTo>
                    <a:pt x="290" y="239"/>
                  </a:lnTo>
                  <a:lnTo>
                    <a:pt x="290" y="239"/>
                  </a:lnTo>
                  <a:lnTo>
                    <a:pt x="290" y="237"/>
                  </a:lnTo>
                  <a:lnTo>
                    <a:pt x="290" y="237"/>
                  </a:lnTo>
                  <a:lnTo>
                    <a:pt x="287" y="237"/>
                  </a:lnTo>
                  <a:lnTo>
                    <a:pt x="287" y="234"/>
                  </a:lnTo>
                  <a:lnTo>
                    <a:pt x="287" y="225"/>
                  </a:lnTo>
                  <a:lnTo>
                    <a:pt x="290" y="232"/>
                  </a:lnTo>
                  <a:lnTo>
                    <a:pt x="292" y="234"/>
                  </a:lnTo>
                  <a:lnTo>
                    <a:pt x="292" y="234"/>
                  </a:lnTo>
                  <a:lnTo>
                    <a:pt x="292" y="237"/>
                  </a:lnTo>
                  <a:lnTo>
                    <a:pt x="292" y="237"/>
                  </a:lnTo>
                  <a:lnTo>
                    <a:pt x="290" y="239"/>
                  </a:lnTo>
                  <a:lnTo>
                    <a:pt x="292" y="241"/>
                  </a:lnTo>
                  <a:lnTo>
                    <a:pt x="292" y="239"/>
                  </a:lnTo>
                  <a:lnTo>
                    <a:pt x="292" y="239"/>
                  </a:lnTo>
                  <a:lnTo>
                    <a:pt x="294" y="237"/>
                  </a:lnTo>
                  <a:lnTo>
                    <a:pt x="292" y="234"/>
                  </a:lnTo>
                  <a:lnTo>
                    <a:pt x="292" y="232"/>
                  </a:lnTo>
                  <a:lnTo>
                    <a:pt x="290" y="230"/>
                  </a:lnTo>
                  <a:lnTo>
                    <a:pt x="287" y="225"/>
                  </a:lnTo>
                  <a:lnTo>
                    <a:pt x="287" y="220"/>
                  </a:lnTo>
                  <a:lnTo>
                    <a:pt x="287" y="215"/>
                  </a:lnTo>
                  <a:lnTo>
                    <a:pt x="287" y="215"/>
                  </a:lnTo>
                  <a:lnTo>
                    <a:pt x="287" y="213"/>
                  </a:lnTo>
                  <a:lnTo>
                    <a:pt x="290" y="211"/>
                  </a:lnTo>
                  <a:lnTo>
                    <a:pt x="290" y="208"/>
                  </a:lnTo>
                  <a:lnTo>
                    <a:pt x="290" y="206"/>
                  </a:lnTo>
                  <a:lnTo>
                    <a:pt x="292" y="199"/>
                  </a:lnTo>
                  <a:lnTo>
                    <a:pt x="294" y="189"/>
                  </a:lnTo>
                  <a:lnTo>
                    <a:pt x="294" y="189"/>
                  </a:lnTo>
                  <a:lnTo>
                    <a:pt x="294" y="189"/>
                  </a:lnTo>
                  <a:lnTo>
                    <a:pt x="294" y="185"/>
                  </a:lnTo>
                  <a:lnTo>
                    <a:pt x="297" y="175"/>
                  </a:lnTo>
                  <a:lnTo>
                    <a:pt x="304" y="163"/>
                  </a:lnTo>
                  <a:lnTo>
                    <a:pt x="306" y="159"/>
                  </a:lnTo>
                  <a:lnTo>
                    <a:pt x="311" y="152"/>
                  </a:lnTo>
                  <a:lnTo>
                    <a:pt x="313" y="147"/>
                  </a:lnTo>
                  <a:lnTo>
                    <a:pt x="313" y="142"/>
                  </a:lnTo>
                  <a:lnTo>
                    <a:pt x="311" y="142"/>
                  </a:lnTo>
                  <a:lnTo>
                    <a:pt x="311" y="144"/>
                  </a:lnTo>
                  <a:lnTo>
                    <a:pt x="311" y="144"/>
                  </a:lnTo>
                  <a:lnTo>
                    <a:pt x="311" y="144"/>
                  </a:lnTo>
                  <a:lnTo>
                    <a:pt x="308" y="144"/>
                  </a:lnTo>
                  <a:lnTo>
                    <a:pt x="308" y="144"/>
                  </a:lnTo>
                  <a:lnTo>
                    <a:pt x="306" y="142"/>
                  </a:lnTo>
                  <a:lnTo>
                    <a:pt x="304" y="142"/>
                  </a:lnTo>
                  <a:lnTo>
                    <a:pt x="297" y="140"/>
                  </a:lnTo>
                  <a:lnTo>
                    <a:pt x="294" y="140"/>
                  </a:lnTo>
                  <a:lnTo>
                    <a:pt x="292" y="137"/>
                  </a:lnTo>
                  <a:lnTo>
                    <a:pt x="292" y="137"/>
                  </a:lnTo>
                  <a:lnTo>
                    <a:pt x="290" y="137"/>
                  </a:lnTo>
                  <a:lnTo>
                    <a:pt x="287" y="135"/>
                  </a:lnTo>
                  <a:lnTo>
                    <a:pt x="287" y="135"/>
                  </a:lnTo>
                  <a:lnTo>
                    <a:pt x="285" y="133"/>
                  </a:lnTo>
                  <a:lnTo>
                    <a:pt x="283" y="133"/>
                  </a:lnTo>
                  <a:lnTo>
                    <a:pt x="280" y="133"/>
                  </a:lnTo>
                  <a:lnTo>
                    <a:pt x="280" y="130"/>
                  </a:lnTo>
                  <a:lnTo>
                    <a:pt x="280" y="130"/>
                  </a:lnTo>
                  <a:lnTo>
                    <a:pt x="280" y="126"/>
                  </a:lnTo>
                  <a:lnTo>
                    <a:pt x="280" y="123"/>
                  </a:lnTo>
                  <a:lnTo>
                    <a:pt x="278" y="121"/>
                  </a:lnTo>
                  <a:lnTo>
                    <a:pt x="278" y="118"/>
                  </a:lnTo>
                  <a:lnTo>
                    <a:pt x="278" y="118"/>
                  </a:lnTo>
                  <a:lnTo>
                    <a:pt x="278" y="118"/>
                  </a:lnTo>
                  <a:lnTo>
                    <a:pt x="278" y="116"/>
                  </a:lnTo>
                  <a:lnTo>
                    <a:pt x="278" y="116"/>
                  </a:lnTo>
                  <a:lnTo>
                    <a:pt x="278" y="114"/>
                  </a:lnTo>
                  <a:lnTo>
                    <a:pt x="278" y="114"/>
                  </a:lnTo>
                  <a:lnTo>
                    <a:pt x="280" y="111"/>
                  </a:lnTo>
                  <a:lnTo>
                    <a:pt x="280" y="111"/>
                  </a:lnTo>
                  <a:lnTo>
                    <a:pt x="280" y="109"/>
                  </a:lnTo>
                  <a:lnTo>
                    <a:pt x="278" y="107"/>
                  </a:lnTo>
                  <a:lnTo>
                    <a:pt x="275" y="104"/>
                  </a:lnTo>
                  <a:lnTo>
                    <a:pt x="275" y="102"/>
                  </a:lnTo>
                  <a:lnTo>
                    <a:pt x="273" y="100"/>
                  </a:lnTo>
                  <a:lnTo>
                    <a:pt x="273" y="95"/>
                  </a:lnTo>
                  <a:lnTo>
                    <a:pt x="271" y="95"/>
                  </a:lnTo>
                  <a:lnTo>
                    <a:pt x="271" y="92"/>
                  </a:lnTo>
                  <a:lnTo>
                    <a:pt x="271" y="90"/>
                  </a:lnTo>
                  <a:lnTo>
                    <a:pt x="271" y="90"/>
                  </a:lnTo>
                  <a:lnTo>
                    <a:pt x="271" y="90"/>
                  </a:lnTo>
                  <a:lnTo>
                    <a:pt x="268" y="88"/>
                  </a:lnTo>
                  <a:lnTo>
                    <a:pt x="268" y="83"/>
                  </a:lnTo>
                  <a:lnTo>
                    <a:pt x="268" y="78"/>
                  </a:lnTo>
                  <a:lnTo>
                    <a:pt x="268" y="76"/>
                  </a:lnTo>
                  <a:lnTo>
                    <a:pt x="266" y="74"/>
                  </a:lnTo>
                  <a:lnTo>
                    <a:pt x="264" y="71"/>
                  </a:lnTo>
                  <a:lnTo>
                    <a:pt x="264" y="71"/>
                  </a:lnTo>
                  <a:lnTo>
                    <a:pt x="264" y="69"/>
                  </a:lnTo>
                  <a:lnTo>
                    <a:pt x="264" y="69"/>
                  </a:lnTo>
                  <a:lnTo>
                    <a:pt x="259" y="64"/>
                  </a:lnTo>
                  <a:lnTo>
                    <a:pt x="259" y="62"/>
                  </a:lnTo>
                  <a:lnTo>
                    <a:pt x="259" y="62"/>
                  </a:lnTo>
                  <a:lnTo>
                    <a:pt x="257" y="62"/>
                  </a:lnTo>
                  <a:lnTo>
                    <a:pt x="257" y="62"/>
                  </a:lnTo>
                  <a:lnTo>
                    <a:pt x="257" y="62"/>
                  </a:lnTo>
                  <a:lnTo>
                    <a:pt x="257" y="62"/>
                  </a:lnTo>
                  <a:lnTo>
                    <a:pt x="254" y="62"/>
                  </a:lnTo>
                  <a:lnTo>
                    <a:pt x="252" y="62"/>
                  </a:lnTo>
                  <a:lnTo>
                    <a:pt x="247" y="62"/>
                  </a:lnTo>
                  <a:lnTo>
                    <a:pt x="245" y="62"/>
                  </a:lnTo>
                  <a:lnTo>
                    <a:pt x="245" y="59"/>
                  </a:lnTo>
                  <a:lnTo>
                    <a:pt x="242" y="59"/>
                  </a:lnTo>
                  <a:lnTo>
                    <a:pt x="240" y="62"/>
                  </a:lnTo>
                  <a:lnTo>
                    <a:pt x="240" y="62"/>
                  </a:lnTo>
                  <a:lnTo>
                    <a:pt x="238" y="62"/>
                  </a:lnTo>
                  <a:lnTo>
                    <a:pt x="233" y="64"/>
                  </a:lnTo>
                  <a:lnTo>
                    <a:pt x="231" y="69"/>
                  </a:lnTo>
                  <a:lnTo>
                    <a:pt x="228" y="71"/>
                  </a:lnTo>
                  <a:lnTo>
                    <a:pt x="228" y="74"/>
                  </a:lnTo>
                  <a:lnTo>
                    <a:pt x="228" y="74"/>
                  </a:lnTo>
                  <a:lnTo>
                    <a:pt x="228" y="74"/>
                  </a:lnTo>
                  <a:lnTo>
                    <a:pt x="226" y="76"/>
                  </a:lnTo>
                  <a:lnTo>
                    <a:pt x="224" y="78"/>
                  </a:lnTo>
                  <a:lnTo>
                    <a:pt x="221" y="78"/>
                  </a:lnTo>
                  <a:lnTo>
                    <a:pt x="221" y="78"/>
                  </a:lnTo>
                  <a:lnTo>
                    <a:pt x="219" y="76"/>
                  </a:lnTo>
                  <a:lnTo>
                    <a:pt x="214" y="74"/>
                  </a:lnTo>
                  <a:lnTo>
                    <a:pt x="212" y="71"/>
                  </a:lnTo>
                  <a:lnTo>
                    <a:pt x="209" y="71"/>
                  </a:lnTo>
                  <a:lnTo>
                    <a:pt x="207" y="71"/>
                  </a:lnTo>
                  <a:lnTo>
                    <a:pt x="207" y="69"/>
                  </a:lnTo>
                  <a:lnTo>
                    <a:pt x="205" y="66"/>
                  </a:lnTo>
                  <a:lnTo>
                    <a:pt x="205" y="66"/>
                  </a:lnTo>
                  <a:lnTo>
                    <a:pt x="202" y="64"/>
                  </a:lnTo>
                  <a:lnTo>
                    <a:pt x="202" y="59"/>
                  </a:lnTo>
                  <a:lnTo>
                    <a:pt x="202" y="57"/>
                  </a:lnTo>
                  <a:lnTo>
                    <a:pt x="202" y="55"/>
                  </a:lnTo>
                  <a:lnTo>
                    <a:pt x="202" y="48"/>
                  </a:lnTo>
                  <a:lnTo>
                    <a:pt x="200" y="45"/>
                  </a:lnTo>
                  <a:lnTo>
                    <a:pt x="200" y="43"/>
                  </a:lnTo>
                  <a:lnTo>
                    <a:pt x="200" y="43"/>
                  </a:lnTo>
                  <a:lnTo>
                    <a:pt x="195" y="40"/>
                  </a:lnTo>
                  <a:lnTo>
                    <a:pt x="193" y="36"/>
                  </a:lnTo>
                  <a:lnTo>
                    <a:pt x="191" y="31"/>
                  </a:lnTo>
                  <a:lnTo>
                    <a:pt x="188" y="29"/>
                  </a:lnTo>
                  <a:lnTo>
                    <a:pt x="186" y="26"/>
                  </a:lnTo>
                  <a:lnTo>
                    <a:pt x="184" y="24"/>
                  </a:lnTo>
                  <a:lnTo>
                    <a:pt x="184" y="22"/>
                  </a:lnTo>
                  <a:lnTo>
                    <a:pt x="184" y="19"/>
                  </a:lnTo>
                  <a:lnTo>
                    <a:pt x="184" y="19"/>
                  </a:lnTo>
                  <a:lnTo>
                    <a:pt x="181" y="19"/>
                  </a:lnTo>
                  <a:lnTo>
                    <a:pt x="179" y="19"/>
                  </a:lnTo>
                  <a:lnTo>
                    <a:pt x="174" y="19"/>
                  </a:lnTo>
                  <a:lnTo>
                    <a:pt x="172" y="19"/>
                  </a:lnTo>
                  <a:lnTo>
                    <a:pt x="167" y="19"/>
                  </a:lnTo>
                  <a:lnTo>
                    <a:pt x="162" y="19"/>
                  </a:lnTo>
                  <a:lnTo>
                    <a:pt x="160" y="19"/>
                  </a:lnTo>
                  <a:lnTo>
                    <a:pt x="155" y="19"/>
                  </a:lnTo>
                  <a:lnTo>
                    <a:pt x="151" y="19"/>
                  </a:lnTo>
                  <a:lnTo>
                    <a:pt x="151" y="22"/>
                  </a:lnTo>
                  <a:lnTo>
                    <a:pt x="151" y="24"/>
                  </a:lnTo>
                  <a:lnTo>
                    <a:pt x="148" y="26"/>
                  </a:lnTo>
                  <a:lnTo>
                    <a:pt x="148" y="29"/>
                  </a:lnTo>
                  <a:lnTo>
                    <a:pt x="141" y="29"/>
                  </a:lnTo>
                  <a:lnTo>
                    <a:pt x="134" y="29"/>
                  </a:lnTo>
                  <a:lnTo>
                    <a:pt x="129" y="29"/>
                  </a:lnTo>
                  <a:lnTo>
                    <a:pt x="122" y="29"/>
                  </a:lnTo>
                  <a:lnTo>
                    <a:pt x="115" y="29"/>
                  </a:lnTo>
                  <a:lnTo>
                    <a:pt x="110" y="29"/>
                  </a:lnTo>
                  <a:lnTo>
                    <a:pt x="103" y="29"/>
                  </a:lnTo>
                  <a:lnTo>
                    <a:pt x="96" y="29"/>
                  </a:lnTo>
                  <a:lnTo>
                    <a:pt x="89" y="26"/>
                  </a:lnTo>
                  <a:lnTo>
                    <a:pt x="82" y="24"/>
                  </a:lnTo>
                  <a:lnTo>
                    <a:pt x="75" y="19"/>
                  </a:lnTo>
                  <a:lnTo>
                    <a:pt x="68" y="17"/>
                  </a:lnTo>
                  <a:lnTo>
                    <a:pt x="61" y="14"/>
                  </a:lnTo>
                  <a:lnTo>
                    <a:pt x="54" y="12"/>
                  </a:lnTo>
                  <a:lnTo>
                    <a:pt x="47" y="7"/>
                  </a:lnTo>
                  <a:lnTo>
                    <a:pt x="40" y="5"/>
                  </a:lnTo>
                  <a:lnTo>
                    <a:pt x="40" y="3"/>
                  </a:lnTo>
                  <a:lnTo>
                    <a:pt x="42" y="0"/>
                  </a:lnTo>
                  <a:lnTo>
                    <a:pt x="42" y="0"/>
                  </a:lnTo>
                  <a:lnTo>
                    <a:pt x="35" y="0"/>
                  </a:lnTo>
                  <a:lnTo>
                    <a:pt x="30" y="3"/>
                  </a:lnTo>
                  <a:lnTo>
                    <a:pt x="26" y="3"/>
                  </a:lnTo>
                  <a:lnTo>
                    <a:pt x="21" y="3"/>
                  </a:lnTo>
                  <a:lnTo>
                    <a:pt x="14" y="3"/>
                  </a:lnTo>
                  <a:lnTo>
                    <a:pt x="9" y="3"/>
                  </a:lnTo>
                  <a:lnTo>
                    <a:pt x="4" y="3"/>
                  </a:lnTo>
                  <a:lnTo>
                    <a:pt x="0" y="5"/>
                  </a:lnTo>
                  <a:lnTo>
                    <a:pt x="0" y="7"/>
                  </a:lnTo>
                  <a:lnTo>
                    <a:pt x="0" y="10"/>
                  </a:lnTo>
                  <a:lnTo>
                    <a:pt x="0" y="12"/>
                  </a:lnTo>
                  <a:lnTo>
                    <a:pt x="0" y="14"/>
                  </a:lnTo>
                  <a:lnTo>
                    <a:pt x="2" y="19"/>
                  </a:lnTo>
                  <a:lnTo>
                    <a:pt x="2" y="22"/>
                  </a:lnTo>
                  <a:lnTo>
                    <a:pt x="2" y="22"/>
                  </a:lnTo>
                  <a:lnTo>
                    <a:pt x="0" y="22"/>
                  </a:lnTo>
                  <a:lnTo>
                    <a:pt x="0" y="22"/>
                  </a:lnTo>
                  <a:lnTo>
                    <a:pt x="0" y="22"/>
                  </a:lnTo>
                  <a:lnTo>
                    <a:pt x="0" y="24"/>
                  </a:lnTo>
                  <a:lnTo>
                    <a:pt x="0" y="26"/>
                  </a:lnTo>
                  <a:lnTo>
                    <a:pt x="2" y="29"/>
                  </a:lnTo>
                  <a:lnTo>
                    <a:pt x="2" y="31"/>
                  </a:lnTo>
                  <a:lnTo>
                    <a:pt x="2" y="33"/>
                  </a:lnTo>
                  <a:lnTo>
                    <a:pt x="2" y="36"/>
                  </a:lnTo>
                  <a:lnTo>
                    <a:pt x="2" y="38"/>
                  </a:lnTo>
                  <a:lnTo>
                    <a:pt x="4" y="40"/>
                  </a:lnTo>
                  <a:lnTo>
                    <a:pt x="4" y="43"/>
                  </a:lnTo>
                  <a:lnTo>
                    <a:pt x="2" y="45"/>
                  </a:lnTo>
                  <a:lnTo>
                    <a:pt x="2" y="48"/>
                  </a:lnTo>
                  <a:lnTo>
                    <a:pt x="4" y="50"/>
                  </a:lnTo>
                  <a:lnTo>
                    <a:pt x="4" y="50"/>
                  </a:lnTo>
                  <a:lnTo>
                    <a:pt x="4" y="55"/>
                  </a:lnTo>
                  <a:lnTo>
                    <a:pt x="2" y="59"/>
                  </a:lnTo>
                  <a:lnTo>
                    <a:pt x="4" y="59"/>
                  </a:lnTo>
                  <a:lnTo>
                    <a:pt x="4" y="62"/>
                  </a:lnTo>
                  <a:lnTo>
                    <a:pt x="4" y="64"/>
                  </a:lnTo>
                  <a:lnTo>
                    <a:pt x="9" y="66"/>
                  </a:lnTo>
                  <a:lnTo>
                    <a:pt x="9" y="69"/>
                  </a:lnTo>
                  <a:lnTo>
                    <a:pt x="14" y="71"/>
                  </a:lnTo>
                  <a:lnTo>
                    <a:pt x="14" y="71"/>
                  </a:lnTo>
                  <a:lnTo>
                    <a:pt x="14" y="74"/>
                  </a:lnTo>
                  <a:lnTo>
                    <a:pt x="16" y="76"/>
                  </a:lnTo>
                  <a:lnTo>
                    <a:pt x="21" y="83"/>
                  </a:lnTo>
                  <a:lnTo>
                    <a:pt x="23" y="88"/>
                  </a:lnTo>
                  <a:lnTo>
                    <a:pt x="23" y="90"/>
                  </a:lnTo>
                  <a:lnTo>
                    <a:pt x="21" y="95"/>
                  </a:lnTo>
                  <a:lnTo>
                    <a:pt x="19" y="100"/>
                  </a:lnTo>
                  <a:lnTo>
                    <a:pt x="16" y="102"/>
                  </a:lnTo>
                  <a:lnTo>
                    <a:pt x="16" y="102"/>
                  </a:lnTo>
                  <a:lnTo>
                    <a:pt x="19" y="102"/>
                  </a:lnTo>
                  <a:lnTo>
                    <a:pt x="19" y="102"/>
                  </a:lnTo>
                  <a:lnTo>
                    <a:pt x="19" y="104"/>
                  </a:lnTo>
                  <a:lnTo>
                    <a:pt x="19" y="104"/>
                  </a:lnTo>
                  <a:lnTo>
                    <a:pt x="19" y="107"/>
                  </a:lnTo>
                  <a:lnTo>
                    <a:pt x="16" y="107"/>
                  </a:lnTo>
                  <a:lnTo>
                    <a:pt x="16" y="107"/>
                  </a:lnTo>
                  <a:lnTo>
                    <a:pt x="14" y="104"/>
                  </a:lnTo>
                  <a:lnTo>
                    <a:pt x="16" y="102"/>
                  </a:lnTo>
                  <a:lnTo>
                    <a:pt x="16" y="102"/>
                  </a:lnTo>
                  <a:lnTo>
                    <a:pt x="14" y="102"/>
                  </a:lnTo>
                  <a:lnTo>
                    <a:pt x="12" y="104"/>
                  </a:lnTo>
                  <a:lnTo>
                    <a:pt x="9" y="104"/>
                  </a:lnTo>
                  <a:lnTo>
                    <a:pt x="7" y="104"/>
                  </a:lnTo>
                  <a:lnTo>
                    <a:pt x="2" y="102"/>
                  </a:lnTo>
                  <a:lnTo>
                    <a:pt x="2" y="104"/>
                  </a:lnTo>
                  <a:lnTo>
                    <a:pt x="2" y="104"/>
                  </a:lnTo>
                  <a:lnTo>
                    <a:pt x="4" y="107"/>
                  </a:lnTo>
                  <a:lnTo>
                    <a:pt x="7" y="109"/>
                  </a:lnTo>
                  <a:lnTo>
                    <a:pt x="9" y="111"/>
                  </a:lnTo>
                  <a:lnTo>
                    <a:pt x="9" y="114"/>
                  </a:lnTo>
                  <a:lnTo>
                    <a:pt x="9" y="114"/>
                  </a:lnTo>
                  <a:lnTo>
                    <a:pt x="9" y="116"/>
                  </a:lnTo>
                  <a:lnTo>
                    <a:pt x="12" y="118"/>
                  </a:lnTo>
                  <a:lnTo>
                    <a:pt x="14" y="118"/>
                  </a:lnTo>
                  <a:lnTo>
                    <a:pt x="14" y="118"/>
                  </a:lnTo>
                  <a:lnTo>
                    <a:pt x="16" y="121"/>
                  </a:lnTo>
                  <a:lnTo>
                    <a:pt x="16" y="121"/>
                  </a:lnTo>
                  <a:lnTo>
                    <a:pt x="19" y="121"/>
                  </a:lnTo>
                  <a:lnTo>
                    <a:pt x="19" y="123"/>
                  </a:lnTo>
                  <a:lnTo>
                    <a:pt x="21" y="126"/>
                  </a:lnTo>
                  <a:lnTo>
                    <a:pt x="21" y="126"/>
                  </a:lnTo>
                  <a:lnTo>
                    <a:pt x="26" y="126"/>
                  </a:lnTo>
                  <a:lnTo>
                    <a:pt x="28" y="126"/>
                  </a:lnTo>
                  <a:lnTo>
                    <a:pt x="30" y="123"/>
                  </a:lnTo>
                  <a:lnTo>
                    <a:pt x="30" y="121"/>
                  </a:lnTo>
                  <a:lnTo>
                    <a:pt x="30" y="126"/>
                  </a:lnTo>
                  <a:lnTo>
                    <a:pt x="30" y="126"/>
                  </a:lnTo>
                  <a:lnTo>
                    <a:pt x="30" y="130"/>
                  </a:lnTo>
                  <a:lnTo>
                    <a:pt x="35" y="135"/>
                  </a:lnTo>
                  <a:lnTo>
                    <a:pt x="37" y="135"/>
                  </a:lnTo>
                  <a:lnTo>
                    <a:pt x="40" y="137"/>
                  </a:lnTo>
                  <a:lnTo>
                    <a:pt x="42" y="144"/>
                  </a:lnTo>
                  <a:lnTo>
                    <a:pt x="42" y="147"/>
                  </a:lnTo>
                  <a:lnTo>
                    <a:pt x="42" y="149"/>
                  </a:lnTo>
                  <a:lnTo>
                    <a:pt x="42" y="152"/>
                  </a:lnTo>
                  <a:lnTo>
                    <a:pt x="42" y="152"/>
                  </a:lnTo>
                  <a:lnTo>
                    <a:pt x="42" y="152"/>
                  </a:lnTo>
                  <a:lnTo>
                    <a:pt x="42" y="156"/>
                  </a:lnTo>
                  <a:lnTo>
                    <a:pt x="40" y="161"/>
                  </a:lnTo>
                  <a:lnTo>
                    <a:pt x="40" y="163"/>
                  </a:lnTo>
                  <a:lnTo>
                    <a:pt x="40" y="166"/>
                  </a:lnTo>
                  <a:lnTo>
                    <a:pt x="42" y="170"/>
                  </a:lnTo>
                  <a:lnTo>
                    <a:pt x="42" y="170"/>
                  </a:lnTo>
                  <a:lnTo>
                    <a:pt x="42" y="173"/>
                  </a:lnTo>
                  <a:lnTo>
                    <a:pt x="42" y="173"/>
                  </a:lnTo>
                  <a:lnTo>
                    <a:pt x="44" y="173"/>
                  </a:lnTo>
                  <a:lnTo>
                    <a:pt x="44" y="173"/>
                  </a:lnTo>
                  <a:lnTo>
                    <a:pt x="47" y="175"/>
                  </a:lnTo>
                  <a:lnTo>
                    <a:pt x="49" y="178"/>
                  </a:lnTo>
                  <a:lnTo>
                    <a:pt x="54" y="182"/>
                  </a:lnTo>
                  <a:lnTo>
                    <a:pt x="56" y="185"/>
                  </a:lnTo>
                  <a:lnTo>
                    <a:pt x="59" y="187"/>
                  </a:lnTo>
                  <a:lnTo>
                    <a:pt x="61" y="189"/>
                  </a:lnTo>
                  <a:lnTo>
                    <a:pt x="63" y="192"/>
                  </a:lnTo>
                  <a:lnTo>
                    <a:pt x="66" y="194"/>
                  </a:lnTo>
                  <a:lnTo>
                    <a:pt x="66" y="196"/>
                  </a:lnTo>
                  <a:lnTo>
                    <a:pt x="66" y="199"/>
                  </a:lnTo>
                  <a:lnTo>
                    <a:pt x="66" y="206"/>
                  </a:lnTo>
                  <a:lnTo>
                    <a:pt x="68" y="208"/>
                  </a:lnTo>
                  <a:lnTo>
                    <a:pt x="70" y="208"/>
                  </a:lnTo>
                  <a:lnTo>
                    <a:pt x="70" y="206"/>
                  </a:lnTo>
                  <a:lnTo>
                    <a:pt x="73" y="206"/>
                  </a:lnTo>
                  <a:lnTo>
                    <a:pt x="75" y="204"/>
                  </a:lnTo>
                  <a:lnTo>
                    <a:pt x="77" y="201"/>
                  </a:lnTo>
                  <a:lnTo>
                    <a:pt x="80" y="201"/>
                  </a:lnTo>
                  <a:lnTo>
                    <a:pt x="80" y="196"/>
                  </a:lnTo>
                  <a:lnTo>
                    <a:pt x="80" y="194"/>
                  </a:lnTo>
                  <a:lnTo>
                    <a:pt x="80" y="192"/>
                  </a:lnTo>
                  <a:lnTo>
                    <a:pt x="77" y="192"/>
                  </a:lnTo>
                  <a:lnTo>
                    <a:pt x="77" y="189"/>
                  </a:lnTo>
                  <a:lnTo>
                    <a:pt x="75" y="187"/>
                  </a:lnTo>
                  <a:lnTo>
                    <a:pt x="75" y="185"/>
                  </a:lnTo>
                  <a:lnTo>
                    <a:pt x="75" y="182"/>
                  </a:lnTo>
                  <a:lnTo>
                    <a:pt x="73" y="182"/>
                  </a:lnTo>
                  <a:lnTo>
                    <a:pt x="73" y="180"/>
                  </a:lnTo>
                  <a:lnTo>
                    <a:pt x="70" y="178"/>
                  </a:lnTo>
                  <a:lnTo>
                    <a:pt x="68" y="178"/>
                  </a:lnTo>
                  <a:lnTo>
                    <a:pt x="68" y="178"/>
                  </a:lnTo>
                  <a:lnTo>
                    <a:pt x="68" y="178"/>
                  </a:lnTo>
                  <a:lnTo>
                    <a:pt x="68" y="180"/>
                  </a:lnTo>
                  <a:lnTo>
                    <a:pt x="68" y="182"/>
                  </a:lnTo>
                  <a:lnTo>
                    <a:pt x="66" y="182"/>
                  </a:lnTo>
                  <a:lnTo>
                    <a:pt x="66" y="182"/>
                  </a:lnTo>
                  <a:lnTo>
                    <a:pt x="66" y="180"/>
                  </a:lnTo>
                  <a:lnTo>
                    <a:pt x="66" y="180"/>
                  </a:lnTo>
                  <a:lnTo>
                    <a:pt x="63" y="180"/>
                  </a:lnTo>
                  <a:lnTo>
                    <a:pt x="63" y="178"/>
                  </a:lnTo>
                  <a:lnTo>
                    <a:pt x="61" y="170"/>
                  </a:lnTo>
                  <a:lnTo>
                    <a:pt x="63" y="170"/>
                  </a:lnTo>
                  <a:lnTo>
                    <a:pt x="63" y="168"/>
                  </a:lnTo>
                  <a:lnTo>
                    <a:pt x="63" y="166"/>
                  </a:lnTo>
                  <a:lnTo>
                    <a:pt x="63" y="163"/>
                  </a:lnTo>
                  <a:lnTo>
                    <a:pt x="61" y="161"/>
                  </a:lnTo>
                  <a:lnTo>
                    <a:pt x="61" y="154"/>
                  </a:lnTo>
                  <a:lnTo>
                    <a:pt x="61" y="152"/>
                  </a:lnTo>
                  <a:lnTo>
                    <a:pt x="59" y="152"/>
                  </a:lnTo>
                  <a:lnTo>
                    <a:pt x="59" y="147"/>
                  </a:lnTo>
                  <a:lnTo>
                    <a:pt x="59" y="142"/>
                  </a:lnTo>
                  <a:lnTo>
                    <a:pt x="59" y="140"/>
                  </a:lnTo>
                  <a:lnTo>
                    <a:pt x="59" y="137"/>
                  </a:lnTo>
                  <a:lnTo>
                    <a:pt x="59" y="135"/>
                  </a:lnTo>
                  <a:lnTo>
                    <a:pt x="59" y="133"/>
                  </a:lnTo>
                  <a:lnTo>
                    <a:pt x="59" y="130"/>
                  </a:lnTo>
                  <a:lnTo>
                    <a:pt x="59" y="130"/>
                  </a:lnTo>
                  <a:lnTo>
                    <a:pt x="59" y="128"/>
                  </a:lnTo>
                  <a:lnTo>
                    <a:pt x="54" y="123"/>
                  </a:lnTo>
                  <a:lnTo>
                    <a:pt x="54" y="123"/>
                  </a:lnTo>
                  <a:lnTo>
                    <a:pt x="54" y="126"/>
                  </a:lnTo>
                  <a:lnTo>
                    <a:pt x="54" y="128"/>
                  </a:lnTo>
                  <a:lnTo>
                    <a:pt x="54" y="130"/>
                  </a:lnTo>
                  <a:lnTo>
                    <a:pt x="54" y="130"/>
                  </a:lnTo>
                  <a:lnTo>
                    <a:pt x="54" y="130"/>
                  </a:lnTo>
                  <a:lnTo>
                    <a:pt x="52" y="128"/>
                  </a:lnTo>
                  <a:lnTo>
                    <a:pt x="54" y="123"/>
                  </a:lnTo>
                  <a:lnTo>
                    <a:pt x="52" y="121"/>
                  </a:lnTo>
                  <a:lnTo>
                    <a:pt x="52" y="121"/>
                  </a:lnTo>
                  <a:lnTo>
                    <a:pt x="52" y="118"/>
                  </a:lnTo>
                  <a:lnTo>
                    <a:pt x="52" y="118"/>
                  </a:lnTo>
                  <a:lnTo>
                    <a:pt x="49" y="116"/>
                  </a:lnTo>
                  <a:lnTo>
                    <a:pt x="49" y="114"/>
                  </a:lnTo>
                  <a:lnTo>
                    <a:pt x="49" y="109"/>
                  </a:lnTo>
                  <a:lnTo>
                    <a:pt x="47" y="107"/>
                  </a:lnTo>
                  <a:lnTo>
                    <a:pt x="44" y="104"/>
                  </a:lnTo>
                  <a:lnTo>
                    <a:pt x="44" y="102"/>
                  </a:lnTo>
                  <a:lnTo>
                    <a:pt x="44" y="100"/>
                  </a:lnTo>
                  <a:lnTo>
                    <a:pt x="44" y="97"/>
                  </a:lnTo>
                  <a:lnTo>
                    <a:pt x="44" y="95"/>
                  </a:lnTo>
                  <a:lnTo>
                    <a:pt x="44" y="92"/>
                  </a:lnTo>
                  <a:lnTo>
                    <a:pt x="44" y="92"/>
                  </a:lnTo>
                  <a:lnTo>
                    <a:pt x="44" y="90"/>
                  </a:lnTo>
                  <a:lnTo>
                    <a:pt x="44" y="90"/>
                  </a:lnTo>
                  <a:lnTo>
                    <a:pt x="42" y="90"/>
                  </a:lnTo>
                  <a:lnTo>
                    <a:pt x="42" y="88"/>
                  </a:lnTo>
                  <a:lnTo>
                    <a:pt x="42" y="83"/>
                  </a:lnTo>
                  <a:lnTo>
                    <a:pt x="40" y="83"/>
                  </a:lnTo>
                  <a:lnTo>
                    <a:pt x="40" y="83"/>
                  </a:lnTo>
                  <a:lnTo>
                    <a:pt x="40" y="83"/>
                  </a:lnTo>
                  <a:lnTo>
                    <a:pt x="40" y="81"/>
                  </a:lnTo>
                  <a:lnTo>
                    <a:pt x="40" y="81"/>
                  </a:lnTo>
                  <a:lnTo>
                    <a:pt x="37" y="81"/>
                  </a:lnTo>
                  <a:lnTo>
                    <a:pt x="37" y="78"/>
                  </a:lnTo>
                  <a:lnTo>
                    <a:pt x="37" y="76"/>
                  </a:lnTo>
                  <a:lnTo>
                    <a:pt x="35" y="71"/>
                  </a:lnTo>
                  <a:lnTo>
                    <a:pt x="35" y="69"/>
                  </a:lnTo>
                  <a:lnTo>
                    <a:pt x="30" y="66"/>
                  </a:lnTo>
                  <a:lnTo>
                    <a:pt x="30" y="64"/>
                  </a:lnTo>
                  <a:lnTo>
                    <a:pt x="28" y="62"/>
                  </a:lnTo>
                  <a:lnTo>
                    <a:pt x="28" y="59"/>
                  </a:lnTo>
                  <a:lnTo>
                    <a:pt x="26" y="57"/>
                  </a:lnTo>
                  <a:lnTo>
                    <a:pt x="26" y="55"/>
                  </a:lnTo>
                  <a:lnTo>
                    <a:pt x="26" y="52"/>
                  </a:lnTo>
                  <a:lnTo>
                    <a:pt x="28" y="48"/>
                  </a:lnTo>
                  <a:lnTo>
                    <a:pt x="28" y="45"/>
                  </a:lnTo>
                  <a:lnTo>
                    <a:pt x="28" y="40"/>
                  </a:lnTo>
                  <a:lnTo>
                    <a:pt x="28" y="38"/>
                  </a:lnTo>
                  <a:lnTo>
                    <a:pt x="28" y="36"/>
                  </a:lnTo>
                  <a:lnTo>
                    <a:pt x="28" y="33"/>
                  </a:lnTo>
                  <a:lnTo>
                    <a:pt x="30" y="26"/>
                  </a:lnTo>
                  <a:lnTo>
                    <a:pt x="33" y="24"/>
                  </a:lnTo>
                  <a:lnTo>
                    <a:pt x="33" y="19"/>
                  </a:lnTo>
                  <a:lnTo>
                    <a:pt x="33" y="19"/>
                  </a:lnTo>
                  <a:lnTo>
                    <a:pt x="33" y="17"/>
                  </a:lnTo>
                  <a:lnTo>
                    <a:pt x="35" y="19"/>
                  </a:lnTo>
                  <a:lnTo>
                    <a:pt x="35" y="19"/>
                  </a:lnTo>
                  <a:lnTo>
                    <a:pt x="37" y="22"/>
                  </a:lnTo>
                  <a:lnTo>
                    <a:pt x="37" y="22"/>
                  </a:lnTo>
                  <a:lnTo>
                    <a:pt x="42" y="24"/>
                  </a:lnTo>
                  <a:lnTo>
                    <a:pt x="44" y="26"/>
                  </a:lnTo>
                  <a:lnTo>
                    <a:pt x="44" y="26"/>
                  </a:lnTo>
                  <a:lnTo>
                    <a:pt x="47" y="26"/>
                  </a:lnTo>
                  <a:lnTo>
                    <a:pt x="47" y="24"/>
                  </a:lnTo>
                  <a:lnTo>
                    <a:pt x="49" y="24"/>
                  </a:lnTo>
                  <a:lnTo>
                    <a:pt x="52" y="24"/>
                  </a:lnTo>
                  <a:lnTo>
                    <a:pt x="52" y="26"/>
                  </a:lnTo>
                  <a:lnTo>
                    <a:pt x="52" y="26"/>
                  </a:lnTo>
                  <a:lnTo>
                    <a:pt x="52" y="29"/>
                  </a:lnTo>
                  <a:lnTo>
                    <a:pt x="54" y="31"/>
                  </a:lnTo>
                  <a:lnTo>
                    <a:pt x="59" y="31"/>
                  </a:lnTo>
                  <a:lnTo>
                    <a:pt x="59" y="31"/>
                  </a:lnTo>
                  <a:lnTo>
                    <a:pt x="61" y="31"/>
                  </a:lnTo>
                  <a:lnTo>
                    <a:pt x="61" y="33"/>
                  </a:lnTo>
                  <a:lnTo>
                    <a:pt x="61" y="36"/>
                  </a:lnTo>
                  <a:lnTo>
                    <a:pt x="59" y="36"/>
                  </a:lnTo>
                  <a:lnTo>
                    <a:pt x="59" y="36"/>
                  </a:lnTo>
                  <a:lnTo>
                    <a:pt x="59" y="36"/>
                  </a:lnTo>
                  <a:lnTo>
                    <a:pt x="59" y="36"/>
                  </a:lnTo>
                  <a:lnTo>
                    <a:pt x="59" y="38"/>
                  </a:lnTo>
                  <a:lnTo>
                    <a:pt x="56" y="40"/>
                  </a:lnTo>
                  <a:lnTo>
                    <a:pt x="56" y="43"/>
                  </a:lnTo>
                  <a:lnTo>
                    <a:pt x="59" y="48"/>
                  </a:lnTo>
                  <a:lnTo>
                    <a:pt x="59" y="52"/>
                  </a:lnTo>
                  <a:lnTo>
                    <a:pt x="59" y="55"/>
                  </a:lnTo>
                  <a:lnTo>
                    <a:pt x="59" y="57"/>
                  </a:lnTo>
                  <a:lnTo>
                    <a:pt x="59" y="59"/>
                  </a:lnTo>
                  <a:lnTo>
                    <a:pt x="59" y="59"/>
                  </a:lnTo>
                  <a:lnTo>
                    <a:pt x="59" y="64"/>
                  </a:lnTo>
                  <a:lnTo>
                    <a:pt x="61" y="66"/>
                  </a:lnTo>
                  <a:lnTo>
                    <a:pt x="61" y="69"/>
                  </a:lnTo>
                  <a:lnTo>
                    <a:pt x="61" y="69"/>
                  </a:lnTo>
                  <a:lnTo>
                    <a:pt x="59" y="71"/>
                  </a:lnTo>
                  <a:lnTo>
                    <a:pt x="61" y="71"/>
                  </a:lnTo>
                  <a:lnTo>
                    <a:pt x="61" y="74"/>
                  </a:lnTo>
                  <a:lnTo>
                    <a:pt x="61" y="76"/>
                  </a:lnTo>
                  <a:lnTo>
                    <a:pt x="61" y="78"/>
                  </a:lnTo>
                  <a:lnTo>
                    <a:pt x="63" y="81"/>
                  </a:lnTo>
                  <a:lnTo>
                    <a:pt x="63" y="83"/>
                  </a:lnTo>
                  <a:lnTo>
                    <a:pt x="63" y="83"/>
                  </a:lnTo>
                  <a:lnTo>
                    <a:pt x="63" y="83"/>
                  </a:lnTo>
                  <a:lnTo>
                    <a:pt x="66" y="85"/>
                  </a:lnTo>
                  <a:lnTo>
                    <a:pt x="66" y="88"/>
                  </a:lnTo>
                  <a:lnTo>
                    <a:pt x="66" y="90"/>
                  </a:lnTo>
                  <a:lnTo>
                    <a:pt x="70" y="92"/>
                  </a:lnTo>
                  <a:lnTo>
                    <a:pt x="70" y="97"/>
                  </a:lnTo>
                  <a:lnTo>
                    <a:pt x="73" y="100"/>
                  </a:lnTo>
                  <a:lnTo>
                    <a:pt x="75" y="102"/>
                  </a:lnTo>
                  <a:lnTo>
                    <a:pt x="77" y="102"/>
                  </a:lnTo>
                  <a:lnTo>
                    <a:pt x="77" y="102"/>
                  </a:lnTo>
                  <a:lnTo>
                    <a:pt x="80" y="102"/>
                  </a:lnTo>
                  <a:lnTo>
                    <a:pt x="82" y="102"/>
                  </a:lnTo>
                  <a:lnTo>
                    <a:pt x="82" y="104"/>
                  </a:lnTo>
                  <a:lnTo>
                    <a:pt x="80" y="107"/>
                  </a:lnTo>
                  <a:lnTo>
                    <a:pt x="80" y="109"/>
                  </a:lnTo>
                  <a:lnTo>
                    <a:pt x="80" y="111"/>
                  </a:lnTo>
                  <a:lnTo>
                    <a:pt x="80" y="111"/>
                  </a:lnTo>
                  <a:lnTo>
                    <a:pt x="82" y="114"/>
                  </a:lnTo>
                  <a:lnTo>
                    <a:pt x="82" y="116"/>
                  </a:lnTo>
                  <a:lnTo>
                    <a:pt x="85" y="116"/>
                  </a:lnTo>
                  <a:lnTo>
                    <a:pt x="89" y="118"/>
                  </a:lnTo>
                  <a:lnTo>
                    <a:pt x="89" y="121"/>
                  </a:lnTo>
                  <a:lnTo>
                    <a:pt x="89" y="121"/>
                  </a:lnTo>
                  <a:lnTo>
                    <a:pt x="89" y="123"/>
                  </a:lnTo>
                  <a:lnTo>
                    <a:pt x="89" y="126"/>
                  </a:lnTo>
                  <a:lnTo>
                    <a:pt x="92" y="128"/>
                  </a:lnTo>
                  <a:lnTo>
                    <a:pt x="92" y="128"/>
                  </a:lnTo>
                  <a:lnTo>
                    <a:pt x="96" y="128"/>
                  </a:lnTo>
                  <a:lnTo>
                    <a:pt x="99" y="130"/>
                  </a:lnTo>
                  <a:lnTo>
                    <a:pt x="99" y="133"/>
                  </a:lnTo>
                  <a:lnTo>
                    <a:pt x="99" y="133"/>
                  </a:lnTo>
                  <a:lnTo>
                    <a:pt x="99" y="135"/>
                  </a:lnTo>
                  <a:lnTo>
                    <a:pt x="99" y="135"/>
                  </a:lnTo>
                  <a:lnTo>
                    <a:pt x="99" y="137"/>
                  </a:lnTo>
                  <a:lnTo>
                    <a:pt x="99" y="137"/>
                  </a:lnTo>
                  <a:lnTo>
                    <a:pt x="99" y="135"/>
                  </a:lnTo>
                  <a:lnTo>
                    <a:pt x="96" y="137"/>
                  </a:lnTo>
                  <a:lnTo>
                    <a:pt x="94" y="140"/>
                  </a:lnTo>
                  <a:lnTo>
                    <a:pt x="94" y="142"/>
                  </a:lnTo>
                  <a:lnTo>
                    <a:pt x="92" y="147"/>
                  </a:lnTo>
                  <a:lnTo>
                    <a:pt x="94" y="149"/>
                  </a:lnTo>
                  <a:lnTo>
                    <a:pt x="94" y="149"/>
                  </a:lnTo>
                  <a:lnTo>
                    <a:pt x="94" y="152"/>
                  </a:lnTo>
                  <a:lnTo>
                    <a:pt x="96" y="149"/>
                  </a:lnTo>
                  <a:lnTo>
                    <a:pt x="99" y="149"/>
                  </a:lnTo>
                  <a:lnTo>
                    <a:pt x="101" y="149"/>
                  </a:lnTo>
                  <a:lnTo>
                    <a:pt x="101" y="147"/>
                  </a:lnTo>
                  <a:lnTo>
                    <a:pt x="101" y="149"/>
                  </a:lnTo>
                  <a:lnTo>
                    <a:pt x="99" y="152"/>
                  </a:lnTo>
                  <a:lnTo>
                    <a:pt x="96" y="152"/>
                  </a:lnTo>
                  <a:lnTo>
                    <a:pt x="96" y="152"/>
                  </a:lnTo>
                  <a:lnTo>
                    <a:pt x="96" y="154"/>
                  </a:lnTo>
                  <a:lnTo>
                    <a:pt x="99" y="152"/>
                  </a:lnTo>
                  <a:lnTo>
                    <a:pt x="101" y="152"/>
                  </a:lnTo>
                  <a:lnTo>
                    <a:pt x="101" y="152"/>
                  </a:lnTo>
                  <a:lnTo>
                    <a:pt x="101" y="154"/>
                  </a:lnTo>
                  <a:lnTo>
                    <a:pt x="103" y="154"/>
                  </a:lnTo>
                  <a:lnTo>
                    <a:pt x="106" y="156"/>
                  </a:lnTo>
                  <a:lnTo>
                    <a:pt x="108" y="159"/>
                  </a:lnTo>
                  <a:lnTo>
                    <a:pt x="113" y="161"/>
                  </a:lnTo>
                  <a:lnTo>
                    <a:pt x="113" y="161"/>
                  </a:lnTo>
                  <a:lnTo>
                    <a:pt x="113" y="163"/>
                  </a:lnTo>
                  <a:lnTo>
                    <a:pt x="113" y="163"/>
                  </a:lnTo>
                  <a:lnTo>
                    <a:pt x="110" y="163"/>
                  </a:lnTo>
                  <a:lnTo>
                    <a:pt x="110" y="163"/>
                  </a:lnTo>
                  <a:lnTo>
                    <a:pt x="110" y="161"/>
                  </a:lnTo>
                  <a:lnTo>
                    <a:pt x="108" y="161"/>
                  </a:lnTo>
                  <a:lnTo>
                    <a:pt x="110" y="163"/>
                  </a:lnTo>
                  <a:lnTo>
                    <a:pt x="113" y="168"/>
                  </a:lnTo>
                  <a:lnTo>
                    <a:pt x="113" y="170"/>
                  </a:lnTo>
                  <a:lnTo>
                    <a:pt x="113" y="170"/>
                  </a:lnTo>
                  <a:lnTo>
                    <a:pt x="115" y="173"/>
                  </a:lnTo>
                  <a:lnTo>
                    <a:pt x="118" y="173"/>
                  </a:lnTo>
                  <a:lnTo>
                    <a:pt x="118" y="173"/>
                  </a:lnTo>
                  <a:lnTo>
                    <a:pt x="118" y="173"/>
                  </a:lnTo>
                  <a:lnTo>
                    <a:pt x="120" y="173"/>
                  </a:lnTo>
                  <a:lnTo>
                    <a:pt x="120" y="173"/>
                  </a:lnTo>
                  <a:lnTo>
                    <a:pt x="120" y="175"/>
                  </a:lnTo>
                  <a:lnTo>
                    <a:pt x="120" y="175"/>
                  </a:lnTo>
                  <a:lnTo>
                    <a:pt x="120" y="178"/>
                  </a:lnTo>
                  <a:lnTo>
                    <a:pt x="115" y="175"/>
                  </a:lnTo>
                  <a:lnTo>
                    <a:pt x="115" y="175"/>
                  </a:lnTo>
                  <a:lnTo>
                    <a:pt x="125" y="185"/>
                  </a:lnTo>
                  <a:lnTo>
                    <a:pt x="127" y="187"/>
                  </a:lnTo>
                  <a:lnTo>
                    <a:pt x="129" y="192"/>
                  </a:lnTo>
                  <a:lnTo>
                    <a:pt x="132" y="196"/>
                  </a:lnTo>
                  <a:lnTo>
                    <a:pt x="134" y="201"/>
                  </a:lnTo>
                  <a:lnTo>
                    <a:pt x="136" y="204"/>
                  </a:lnTo>
                  <a:lnTo>
                    <a:pt x="139" y="208"/>
                  </a:lnTo>
                  <a:lnTo>
                    <a:pt x="141" y="211"/>
                  </a:lnTo>
                  <a:lnTo>
                    <a:pt x="143" y="213"/>
                  </a:lnTo>
                  <a:lnTo>
                    <a:pt x="146" y="220"/>
                  </a:lnTo>
                  <a:lnTo>
                    <a:pt x="143" y="227"/>
                  </a:lnTo>
                  <a:lnTo>
                    <a:pt x="146" y="230"/>
                  </a:lnTo>
                  <a:lnTo>
                    <a:pt x="146" y="234"/>
                  </a:lnTo>
                  <a:lnTo>
                    <a:pt x="146" y="234"/>
                  </a:lnTo>
                  <a:lnTo>
                    <a:pt x="151" y="237"/>
                  </a:lnTo>
                  <a:lnTo>
                    <a:pt x="148" y="239"/>
                  </a:lnTo>
                  <a:lnTo>
                    <a:pt x="148" y="241"/>
                  </a:lnTo>
                  <a:lnTo>
                    <a:pt x="148" y="244"/>
                  </a:lnTo>
                  <a:lnTo>
                    <a:pt x="146" y="246"/>
                  </a:lnTo>
                  <a:lnTo>
                    <a:pt x="143" y="249"/>
                  </a:lnTo>
                  <a:lnTo>
                    <a:pt x="143" y="251"/>
                  </a:lnTo>
                  <a:lnTo>
                    <a:pt x="141" y="251"/>
                  </a:lnTo>
                  <a:lnTo>
                    <a:pt x="141" y="253"/>
                  </a:lnTo>
                  <a:lnTo>
                    <a:pt x="143" y="253"/>
                  </a:lnTo>
                  <a:lnTo>
                    <a:pt x="146" y="253"/>
                  </a:lnTo>
                  <a:lnTo>
                    <a:pt x="146" y="253"/>
                  </a:lnTo>
                  <a:lnTo>
                    <a:pt x="146" y="256"/>
                  </a:lnTo>
                  <a:lnTo>
                    <a:pt x="146" y="256"/>
                  </a:lnTo>
                  <a:lnTo>
                    <a:pt x="143" y="258"/>
                  </a:lnTo>
                  <a:lnTo>
                    <a:pt x="139" y="258"/>
                  </a:lnTo>
                  <a:lnTo>
                    <a:pt x="139" y="260"/>
                  </a:lnTo>
                  <a:lnTo>
                    <a:pt x="136" y="260"/>
                  </a:lnTo>
                  <a:lnTo>
                    <a:pt x="139" y="263"/>
                  </a:lnTo>
                  <a:lnTo>
                    <a:pt x="139" y="263"/>
                  </a:lnTo>
                  <a:lnTo>
                    <a:pt x="139" y="267"/>
                  </a:lnTo>
                  <a:lnTo>
                    <a:pt x="139" y="270"/>
                  </a:lnTo>
                  <a:lnTo>
                    <a:pt x="141" y="275"/>
                  </a:lnTo>
                  <a:lnTo>
                    <a:pt x="143" y="277"/>
                  </a:lnTo>
                  <a:lnTo>
                    <a:pt x="146" y="279"/>
                  </a:lnTo>
                  <a:lnTo>
                    <a:pt x="146" y="284"/>
                  </a:lnTo>
                  <a:lnTo>
                    <a:pt x="153" y="286"/>
                  </a:lnTo>
                  <a:lnTo>
                    <a:pt x="155" y="289"/>
                  </a:lnTo>
                  <a:lnTo>
                    <a:pt x="158" y="289"/>
                  </a:lnTo>
                  <a:lnTo>
                    <a:pt x="162" y="291"/>
                  </a:lnTo>
                  <a:lnTo>
                    <a:pt x="165" y="293"/>
                  </a:lnTo>
                  <a:lnTo>
                    <a:pt x="167" y="298"/>
                  </a:lnTo>
                  <a:lnTo>
                    <a:pt x="169" y="301"/>
                  </a:lnTo>
                  <a:lnTo>
                    <a:pt x="169" y="303"/>
                  </a:lnTo>
                  <a:lnTo>
                    <a:pt x="179" y="308"/>
                  </a:lnTo>
                  <a:lnTo>
                    <a:pt x="184" y="310"/>
                  </a:lnTo>
                  <a:lnTo>
                    <a:pt x="186" y="310"/>
                  </a:lnTo>
                  <a:lnTo>
                    <a:pt x="191" y="312"/>
                  </a:lnTo>
                  <a:lnTo>
                    <a:pt x="195" y="312"/>
                  </a:lnTo>
                  <a:lnTo>
                    <a:pt x="198" y="312"/>
                  </a:lnTo>
                  <a:lnTo>
                    <a:pt x="198" y="312"/>
                  </a:lnTo>
                  <a:lnTo>
                    <a:pt x="200" y="315"/>
                  </a:lnTo>
                  <a:lnTo>
                    <a:pt x="202" y="317"/>
                  </a:lnTo>
                  <a:lnTo>
                    <a:pt x="205" y="319"/>
                  </a:lnTo>
                  <a:lnTo>
                    <a:pt x="205" y="322"/>
                  </a:lnTo>
                  <a:lnTo>
                    <a:pt x="209" y="324"/>
                  </a:lnTo>
                  <a:lnTo>
                    <a:pt x="212" y="327"/>
                  </a:lnTo>
                  <a:lnTo>
                    <a:pt x="214" y="327"/>
                  </a:lnTo>
                  <a:lnTo>
                    <a:pt x="221" y="331"/>
                  </a:lnTo>
                  <a:lnTo>
                    <a:pt x="224" y="331"/>
                  </a:lnTo>
                  <a:lnTo>
                    <a:pt x="228" y="334"/>
                  </a:lnTo>
                  <a:lnTo>
                    <a:pt x="233" y="338"/>
                  </a:lnTo>
                  <a:lnTo>
                    <a:pt x="240" y="338"/>
                  </a:lnTo>
                  <a:lnTo>
                    <a:pt x="247" y="341"/>
                  </a:lnTo>
                  <a:lnTo>
                    <a:pt x="247" y="341"/>
                  </a:lnTo>
                  <a:lnTo>
                    <a:pt x="250" y="341"/>
                  </a:lnTo>
                  <a:lnTo>
                    <a:pt x="254" y="345"/>
                  </a:lnTo>
                  <a:lnTo>
                    <a:pt x="261" y="348"/>
                  </a:lnTo>
                  <a:lnTo>
                    <a:pt x="268" y="353"/>
                  </a:lnTo>
                  <a:lnTo>
                    <a:pt x="278" y="355"/>
                  </a:lnTo>
                  <a:lnTo>
                    <a:pt x="285" y="360"/>
                  </a:lnTo>
                  <a:lnTo>
                    <a:pt x="290" y="360"/>
                  </a:lnTo>
                  <a:lnTo>
                    <a:pt x="292" y="360"/>
                  </a:lnTo>
                  <a:lnTo>
                    <a:pt x="294" y="360"/>
                  </a:lnTo>
                  <a:lnTo>
                    <a:pt x="304" y="355"/>
                  </a:lnTo>
                  <a:lnTo>
                    <a:pt x="308" y="353"/>
                  </a:lnTo>
                  <a:lnTo>
                    <a:pt x="316" y="350"/>
                  </a:lnTo>
                  <a:lnTo>
                    <a:pt x="320" y="348"/>
                  </a:lnTo>
                  <a:lnTo>
                    <a:pt x="323" y="348"/>
                  </a:lnTo>
                  <a:lnTo>
                    <a:pt x="323" y="348"/>
                  </a:lnTo>
                  <a:lnTo>
                    <a:pt x="323" y="348"/>
                  </a:lnTo>
                  <a:lnTo>
                    <a:pt x="318" y="348"/>
                  </a:lnTo>
                  <a:lnTo>
                    <a:pt x="318" y="345"/>
                  </a:lnTo>
                  <a:lnTo>
                    <a:pt x="320" y="345"/>
                  </a:lnTo>
                  <a:lnTo>
                    <a:pt x="320" y="343"/>
                  </a:lnTo>
                  <a:lnTo>
                    <a:pt x="323" y="343"/>
                  </a:lnTo>
                  <a:lnTo>
                    <a:pt x="323" y="345"/>
                  </a:lnTo>
                  <a:lnTo>
                    <a:pt x="323" y="345"/>
                  </a:lnTo>
                  <a:lnTo>
                    <a:pt x="323" y="348"/>
                  </a:lnTo>
                  <a:lnTo>
                    <a:pt x="323" y="348"/>
                  </a:lnTo>
                  <a:lnTo>
                    <a:pt x="325" y="345"/>
                  </a:lnTo>
                  <a:lnTo>
                    <a:pt x="325" y="345"/>
                  </a:lnTo>
                  <a:lnTo>
                    <a:pt x="327" y="345"/>
                  </a:lnTo>
                  <a:lnTo>
                    <a:pt x="325" y="348"/>
                  </a:lnTo>
                  <a:lnTo>
                    <a:pt x="325" y="348"/>
                  </a:lnTo>
                  <a:lnTo>
                    <a:pt x="327" y="350"/>
                  </a:lnTo>
                  <a:lnTo>
                    <a:pt x="337" y="353"/>
                  </a:lnTo>
                  <a:lnTo>
                    <a:pt x="337" y="353"/>
                  </a:lnTo>
                  <a:lnTo>
                    <a:pt x="332" y="350"/>
                  </a:lnTo>
                  <a:lnTo>
                    <a:pt x="332" y="350"/>
                  </a:lnTo>
                  <a:lnTo>
                    <a:pt x="332" y="350"/>
                  </a:lnTo>
                  <a:lnTo>
                    <a:pt x="330" y="348"/>
                  </a:lnTo>
                  <a:lnTo>
                    <a:pt x="330" y="348"/>
                  </a:lnTo>
                  <a:lnTo>
                    <a:pt x="330" y="348"/>
                  </a:lnTo>
                  <a:lnTo>
                    <a:pt x="330" y="348"/>
                  </a:lnTo>
                  <a:lnTo>
                    <a:pt x="332" y="348"/>
                  </a:lnTo>
                  <a:lnTo>
                    <a:pt x="332" y="348"/>
                  </a:lnTo>
                  <a:lnTo>
                    <a:pt x="334" y="350"/>
                  </a:lnTo>
                  <a:lnTo>
                    <a:pt x="339" y="353"/>
                  </a:lnTo>
                  <a:lnTo>
                    <a:pt x="341" y="355"/>
                  </a:lnTo>
                  <a:lnTo>
                    <a:pt x="344" y="357"/>
                  </a:lnTo>
                  <a:lnTo>
                    <a:pt x="351" y="364"/>
                  </a:lnTo>
                  <a:lnTo>
                    <a:pt x="353" y="367"/>
                  </a:lnTo>
                  <a:lnTo>
                    <a:pt x="353" y="369"/>
                  </a:lnTo>
                  <a:lnTo>
                    <a:pt x="356" y="371"/>
                  </a:lnTo>
                  <a:lnTo>
                    <a:pt x="360" y="379"/>
                  </a:lnTo>
                  <a:lnTo>
                    <a:pt x="365" y="383"/>
                  </a:lnTo>
                  <a:lnTo>
                    <a:pt x="365" y="383"/>
                  </a:lnTo>
                  <a:lnTo>
                    <a:pt x="365" y="383"/>
                  </a:lnTo>
                  <a:lnTo>
                    <a:pt x="365" y="381"/>
                  </a:lnTo>
                  <a:lnTo>
                    <a:pt x="367" y="381"/>
                  </a:lnTo>
                  <a:lnTo>
                    <a:pt x="367" y="379"/>
                  </a:lnTo>
                  <a:lnTo>
                    <a:pt x="367" y="379"/>
                  </a:lnTo>
                  <a:lnTo>
                    <a:pt x="367" y="376"/>
                  </a:lnTo>
                  <a:lnTo>
                    <a:pt x="367" y="374"/>
                  </a:lnTo>
                  <a:lnTo>
                    <a:pt x="367" y="374"/>
                  </a:lnTo>
                  <a:lnTo>
                    <a:pt x="370" y="374"/>
                  </a:lnTo>
                  <a:lnTo>
                    <a:pt x="370" y="371"/>
                  </a:lnTo>
                  <a:lnTo>
                    <a:pt x="367" y="369"/>
                  </a:lnTo>
                  <a:lnTo>
                    <a:pt x="367" y="369"/>
                  </a:lnTo>
                  <a:lnTo>
                    <a:pt x="367" y="367"/>
                  </a:lnTo>
                  <a:lnTo>
                    <a:pt x="370" y="364"/>
                  </a:lnTo>
                  <a:lnTo>
                    <a:pt x="372" y="360"/>
                  </a:lnTo>
                  <a:lnTo>
                    <a:pt x="377" y="355"/>
                  </a:lnTo>
                  <a:lnTo>
                    <a:pt x="379" y="353"/>
                  </a:lnTo>
                  <a:lnTo>
                    <a:pt x="384" y="353"/>
                  </a:lnTo>
                  <a:lnTo>
                    <a:pt x="386" y="353"/>
                  </a:lnTo>
                  <a:lnTo>
                    <a:pt x="391" y="353"/>
                  </a:lnTo>
                  <a:lnTo>
                    <a:pt x="398" y="353"/>
                  </a:lnTo>
                  <a:lnTo>
                    <a:pt x="400" y="353"/>
                  </a:lnTo>
                  <a:lnTo>
                    <a:pt x="403" y="353"/>
                  </a:lnTo>
                  <a:lnTo>
                    <a:pt x="403" y="350"/>
                  </a:lnTo>
                  <a:lnTo>
                    <a:pt x="403" y="348"/>
                  </a:lnTo>
                  <a:lnTo>
                    <a:pt x="403" y="345"/>
                  </a:lnTo>
                  <a:lnTo>
                    <a:pt x="403" y="345"/>
                  </a:lnTo>
                  <a:lnTo>
                    <a:pt x="403" y="343"/>
                  </a:lnTo>
                  <a:lnTo>
                    <a:pt x="400" y="343"/>
                  </a:lnTo>
                  <a:lnTo>
                    <a:pt x="400" y="343"/>
                  </a:lnTo>
                  <a:lnTo>
                    <a:pt x="400" y="341"/>
                  </a:lnTo>
                  <a:lnTo>
                    <a:pt x="400" y="341"/>
                  </a:lnTo>
                  <a:lnTo>
                    <a:pt x="398" y="338"/>
                  </a:lnTo>
                  <a:lnTo>
                    <a:pt x="398" y="336"/>
                  </a:lnTo>
                  <a:lnTo>
                    <a:pt x="393" y="334"/>
                  </a:lnTo>
                  <a:lnTo>
                    <a:pt x="393" y="331"/>
                  </a:lnTo>
                  <a:lnTo>
                    <a:pt x="391" y="329"/>
                  </a:lnTo>
                  <a:lnTo>
                    <a:pt x="389" y="327"/>
                  </a:lnTo>
                  <a:lnTo>
                    <a:pt x="389" y="327"/>
                  </a:lnTo>
                  <a:lnTo>
                    <a:pt x="389" y="327"/>
                  </a:lnTo>
                  <a:lnTo>
                    <a:pt x="391" y="327"/>
                  </a:lnTo>
                  <a:lnTo>
                    <a:pt x="396" y="327"/>
                  </a:lnTo>
                  <a:lnTo>
                    <a:pt x="396" y="322"/>
                  </a:lnTo>
                  <a:lnTo>
                    <a:pt x="396" y="319"/>
                  </a:lnTo>
                  <a:lnTo>
                    <a:pt x="398" y="315"/>
                  </a:lnTo>
                  <a:lnTo>
                    <a:pt x="403" y="315"/>
                  </a:lnTo>
                  <a:lnTo>
                    <a:pt x="412" y="315"/>
                  </a:lnTo>
                  <a:lnTo>
                    <a:pt x="419" y="315"/>
                  </a:lnTo>
                  <a:lnTo>
                    <a:pt x="426" y="315"/>
                  </a:lnTo>
                  <a:lnTo>
                    <a:pt x="431" y="315"/>
                  </a:lnTo>
                  <a:lnTo>
                    <a:pt x="431" y="312"/>
                  </a:lnTo>
                  <a:lnTo>
                    <a:pt x="431" y="312"/>
                  </a:lnTo>
                  <a:lnTo>
                    <a:pt x="433" y="310"/>
                  </a:lnTo>
                  <a:lnTo>
                    <a:pt x="436" y="312"/>
                  </a:lnTo>
                  <a:lnTo>
                    <a:pt x="436" y="312"/>
                  </a:lnTo>
                  <a:lnTo>
                    <a:pt x="436" y="312"/>
                  </a:lnTo>
                  <a:lnTo>
                    <a:pt x="438" y="312"/>
                  </a:lnTo>
                  <a:lnTo>
                    <a:pt x="438" y="310"/>
                  </a:lnTo>
                  <a:lnTo>
                    <a:pt x="443" y="305"/>
                  </a:lnTo>
                  <a:lnTo>
                    <a:pt x="445" y="301"/>
                  </a:lnTo>
                  <a:lnTo>
                    <a:pt x="445" y="301"/>
                  </a:lnTo>
                  <a:lnTo>
                    <a:pt x="448" y="301"/>
                  </a:lnTo>
                  <a:lnTo>
                    <a:pt x="448" y="301"/>
                  </a:lnTo>
                  <a:lnTo>
                    <a:pt x="450" y="301"/>
                  </a:lnTo>
                  <a:lnTo>
                    <a:pt x="450" y="298"/>
                  </a:lnTo>
                  <a:lnTo>
                    <a:pt x="450" y="296"/>
                  </a:lnTo>
                  <a:lnTo>
                    <a:pt x="452" y="293"/>
                  </a:lnTo>
                  <a:lnTo>
                    <a:pt x="455" y="293"/>
                  </a:lnTo>
                  <a:lnTo>
                    <a:pt x="455" y="293"/>
                  </a:lnTo>
                  <a:lnTo>
                    <a:pt x="455" y="296"/>
                  </a:lnTo>
                  <a:lnTo>
                    <a:pt x="452" y="301"/>
                  </a:lnTo>
                  <a:lnTo>
                    <a:pt x="452" y="301"/>
                  </a:lnTo>
                  <a:lnTo>
                    <a:pt x="455" y="301"/>
                  </a:lnTo>
                  <a:lnTo>
                    <a:pt x="455" y="305"/>
                  </a:lnTo>
                  <a:lnTo>
                    <a:pt x="457" y="305"/>
                  </a:lnTo>
                  <a:lnTo>
                    <a:pt x="457" y="303"/>
                  </a:lnTo>
                  <a:lnTo>
                    <a:pt x="457" y="301"/>
                  </a:lnTo>
                  <a:lnTo>
                    <a:pt x="459" y="296"/>
                  </a:lnTo>
                  <a:lnTo>
                    <a:pt x="462" y="293"/>
                  </a:lnTo>
                  <a:lnTo>
                    <a:pt x="464" y="289"/>
                  </a:lnTo>
                  <a:lnTo>
                    <a:pt x="466" y="284"/>
                  </a:lnTo>
                  <a:lnTo>
                    <a:pt x="466" y="284"/>
                  </a:lnTo>
                  <a:lnTo>
                    <a:pt x="464" y="284"/>
                  </a:lnTo>
                  <a:lnTo>
                    <a:pt x="464" y="284"/>
                  </a:lnTo>
                  <a:lnTo>
                    <a:pt x="462" y="284"/>
                  </a:lnTo>
                  <a:lnTo>
                    <a:pt x="462" y="282"/>
                  </a:lnTo>
                  <a:lnTo>
                    <a:pt x="464" y="282"/>
                  </a:lnTo>
                  <a:lnTo>
                    <a:pt x="464" y="282"/>
                  </a:lnTo>
                  <a:lnTo>
                    <a:pt x="466" y="282"/>
                  </a:lnTo>
                  <a:lnTo>
                    <a:pt x="466" y="279"/>
                  </a:lnTo>
                  <a:lnTo>
                    <a:pt x="466" y="279"/>
                  </a:lnTo>
                  <a:lnTo>
                    <a:pt x="469" y="277"/>
                  </a:lnTo>
                  <a:lnTo>
                    <a:pt x="466" y="277"/>
                  </a:lnTo>
                  <a:lnTo>
                    <a:pt x="466" y="277"/>
                  </a:lnTo>
                  <a:lnTo>
                    <a:pt x="464" y="277"/>
                  </a:lnTo>
                  <a:lnTo>
                    <a:pt x="464" y="277"/>
                  </a:lnTo>
                  <a:lnTo>
                    <a:pt x="462" y="277"/>
                  </a:lnTo>
                  <a:lnTo>
                    <a:pt x="464" y="277"/>
                  </a:lnTo>
                  <a:lnTo>
                    <a:pt x="466" y="272"/>
                  </a:lnTo>
                  <a:lnTo>
                    <a:pt x="466" y="272"/>
                  </a:lnTo>
                  <a:lnTo>
                    <a:pt x="469" y="272"/>
                  </a:lnTo>
                  <a:lnTo>
                    <a:pt x="469" y="272"/>
                  </a:lnTo>
                  <a:lnTo>
                    <a:pt x="469" y="270"/>
                  </a:lnTo>
                  <a:lnTo>
                    <a:pt x="469" y="267"/>
                  </a:lnTo>
                  <a:lnTo>
                    <a:pt x="469" y="267"/>
                  </a:lnTo>
                  <a:lnTo>
                    <a:pt x="469" y="263"/>
                  </a:lnTo>
                  <a:lnTo>
                    <a:pt x="473" y="258"/>
                  </a:lnTo>
                  <a:lnTo>
                    <a:pt x="478" y="256"/>
                  </a:lnTo>
                  <a:lnTo>
                    <a:pt x="481" y="251"/>
                  </a:lnTo>
                  <a:lnTo>
                    <a:pt x="483" y="251"/>
                  </a:lnTo>
                  <a:lnTo>
                    <a:pt x="483" y="246"/>
                  </a:lnTo>
                  <a:lnTo>
                    <a:pt x="485" y="244"/>
                  </a:lnTo>
                  <a:lnTo>
                    <a:pt x="483" y="244"/>
                  </a:lnTo>
                  <a:lnTo>
                    <a:pt x="483" y="24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9" name="Freeform 285"/>
            <p:cNvSpPr>
              <a:spLocks noEditPoints="1"/>
            </p:cNvSpPr>
            <p:nvPr userDrawn="1"/>
          </p:nvSpPr>
          <p:spPr bwMode="auto">
            <a:xfrm>
              <a:off x="3347" y="2231"/>
              <a:ext cx="223" cy="265"/>
            </a:xfrm>
            <a:custGeom>
              <a:avLst/>
              <a:gdLst>
                <a:gd name="T0" fmla="*/ 9 w 223"/>
                <a:gd name="T1" fmla="*/ 161 h 265"/>
                <a:gd name="T2" fmla="*/ 209 w 223"/>
                <a:gd name="T3" fmla="*/ 49 h 265"/>
                <a:gd name="T4" fmla="*/ 212 w 223"/>
                <a:gd name="T5" fmla="*/ 40 h 265"/>
                <a:gd name="T6" fmla="*/ 195 w 223"/>
                <a:gd name="T7" fmla="*/ 28 h 265"/>
                <a:gd name="T8" fmla="*/ 179 w 223"/>
                <a:gd name="T9" fmla="*/ 16 h 265"/>
                <a:gd name="T10" fmla="*/ 162 w 223"/>
                <a:gd name="T11" fmla="*/ 4 h 265"/>
                <a:gd name="T12" fmla="*/ 155 w 223"/>
                <a:gd name="T13" fmla="*/ 12 h 265"/>
                <a:gd name="T14" fmla="*/ 139 w 223"/>
                <a:gd name="T15" fmla="*/ 28 h 265"/>
                <a:gd name="T16" fmla="*/ 94 w 223"/>
                <a:gd name="T17" fmla="*/ 30 h 265"/>
                <a:gd name="T18" fmla="*/ 94 w 223"/>
                <a:gd name="T19" fmla="*/ 45 h 265"/>
                <a:gd name="T20" fmla="*/ 94 w 223"/>
                <a:gd name="T21" fmla="*/ 59 h 265"/>
                <a:gd name="T22" fmla="*/ 94 w 223"/>
                <a:gd name="T23" fmla="*/ 73 h 265"/>
                <a:gd name="T24" fmla="*/ 89 w 223"/>
                <a:gd name="T25" fmla="*/ 82 h 265"/>
                <a:gd name="T26" fmla="*/ 77 w 223"/>
                <a:gd name="T27" fmla="*/ 90 h 265"/>
                <a:gd name="T28" fmla="*/ 70 w 223"/>
                <a:gd name="T29" fmla="*/ 97 h 265"/>
                <a:gd name="T30" fmla="*/ 73 w 223"/>
                <a:gd name="T31" fmla="*/ 109 h 265"/>
                <a:gd name="T32" fmla="*/ 73 w 223"/>
                <a:gd name="T33" fmla="*/ 123 h 265"/>
                <a:gd name="T34" fmla="*/ 58 w 223"/>
                <a:gd name="T35" fmla="*/ 127 h 265"/>
                <a:gd name="T36" fmla="*/ 37 w 223"/>
                <a:gd name="T37" fmla="*/ 127 h 265"/>
                <a:gd name="T38" fmla="*/ 16 w 223"/>
                <a:gd name="T39" fmla="*/ 127 h 265"/>
                <a:gd name="T40" fmla="*/ 0 w 223"/>
                <a:gd name="T41" fmla="*/ 130 h 265"/>
                <a:gd name="T42" fmla="*/ 0 w 223"/>
                <a:gd name="T43" fmla="*/ 132 h 265"/>
                <a:gd name="T44" fmla="*/ 7 w 223"/>
                <a:gd name="T45" fmla="*/ 142 h 265"/>
                <a:gd name="T46" fmla="*/ 11 w 223"/>
                <a:gd name="T47" fmla="*/ 146 h 265"/>
                <a:gd name="T48" fmla="*/ 9 w 223"/>
                <a:gd name="T49" fmla="*/ 165 h 265"/>
                <a:gd name="T50" fmla="*/ 9 w 223"/>
                <a:gd name="T51" fmla="*/ 170 h 265"/>
                <a:gd name="T52" fmla="*/ 16 w 223"/>
                <a:gd name="T53" fmla="*/ 191 h 265"/>
                <a:gd name="T54" fmla="*/ 7 w 223"/>
                <a:gd name="T55" fmla="*/ 227 h 265"/>
                <a:gd name="T56" fmla="*/ 4 w 223"/>
                <a:gd name="T57" fmla="*/ 236 h 265"/>
                <a:gd name="T58" fmla="*/ 9 w 223"/>
                <a:gd name="T59" fmla="*/ 227 h 265"/>
                <a:gd name="T60" fmla="*/ 18 w 223"/>
                <a:gd name="T61" fmla="*/ 229 h 265"/>
                <a:gd name="T62" fmla="*/ 30 w 223"/>
                <a:gd name="T63" fmla="*/ 227 h 265"/>
                <a:gd name="T64" fmla="*/ 33 w 223"/>
                <a:gd name="T65" fmla="*/ 224 h 265"/>
                <a:gd name="T66" fmla="*/ 47 w 223"/>
                <a:gd name="T67" fmla="*/ 227 h 265"/>
                <a:gd name="T68" fmla="*/ 54 w 223"/>
                <a:gd name="T69" fmla="*/ 236 h 265"/>
                <a:gd name="T70" fmla="*/ 58 w 223"/>
                <a:gd name="T71" fmla="*/ 236 h 265"/>
                <a:gd name="T72" fmla="*/ 61 w 223"/>
                <a:gd name="T73" fmla="*/ 236 h 265"/>
                <a:gd name="T74" fmla="*/ 66 w 223"/>
                <a:gd name="T75" fmla="*/ 248 h 265"/>
                <a:gd name="T76" fmla="*/ 68 w 223"/>
                <a:gd name="T77" fmla="*/ 250 h 265"/>
                <a:gd name="T78" fmla="*/ 70 w 223"/>
                <a:gd name="T79" fmla="*/ 255 h 265"/>
                <a:gd name="T80" fmla="*/ 75 w 223"/>
                <a:gd name="T81" fmla="*/ 257 h 265"/>
                <a:gd name="T82" fmla="*/ 82 w 223"/>
                <a:gd name="T83" fmla="*/ 265 h 265"/>
                <a:gd name="T84" fmla="*/ 89 w 223"/>
                <a:gd name="T85" fmla="*/ 260 h 265"/>
                <a:gd name="T86" fmla="*/ 94 w 223"/>
                <a:gd name="T87" fmla="*/ 250 h 265"/>
                <a:gd name="T88" fmla="*/ 103 w 223"/>
                <a:gd name="T89" fmla="*/ 253 h 265"/>
                <a:gd name="T90" fmla="*/ 110 w 223"/>
                <a:gd name="T91" fmla="*/ 253 h 265"/>
                <a:gd name="T92" fmla="*/ 120 w 223"/>
                <a:gd name="T93" fmla="*/ 250 h 265"/>
                <a:gd name="T94" fmla="*/ 132 w 223"/>
                <a:gd name="T95" fmla="*/ 250 h 265"/>
                <a:gd name="T96" fmla="*/ 136 w 223"/>
                <a:gd name="T97" fmla="*/ 246 h 265"/>
                <a:gd name="T98" fmla="*/ 146 w 223"/>
                <a:gd name="T99" fmla="*/ 250 h 265"/>
                <a:gd name="T100" fmla="*/ 200 w 223"/>
                <a:gd name="T101" fmla="*/ 250 h 265"/>
                <a:gd name="T102" fmla="*/ 207 w 223"/>
                <a:gd name="T103" fmla="*/ 229 h 265"/>
                <a:gd name="T104" fmla="*/ 202 w 223"/>
                <a:gd name="T105" fmla="*/ 205 h 265"/>
                <a:gd name="T106" fmla="*/ 202 w 223"/>
                <a:gd name="T107" fmla="*/ 179 h 265"/>
                <a:gd name="T108" fmla="*/ 200 w 223"/>
                <a:gd name="T109" fmla="*/ 153 h 265"/>
                <a:gd name="T110" fmla="*/ 198 w 223"/>
                <a:gd name="T111" fmla="*/ 127 h 265"/>
                <a:gd name="T112" fmla="*/ 195 w 223"/>
                <a:gd name="T113" fmla="*/ 101 h 265"/>
                <a:gd name="T114" fmla="*/ 193 w 223"/>
                <a:gd name="T115" fmla="*/ 75 h 265"/>
                <a:gd name="T116" fmla="*/ 193 w 223"/>
                <a:gd name="T117" fmla="*/ 4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3" h="265">
                  <a:moveTo>
                    <a:pt x="11" y="161"/>
                  </a:moveTo>
                  <a:lnTo>
                    <a:pt x="11" y="158"/>
                  </a:lnTo>
                  <a:lnTo>
                    <a:pt x="9" y="158"/>
                  </a:lnTo>
                  <a:lnTo>
                    <a:pt x="9" y="158"/>
                  </a:lnTo>
                  <a:lnTo>
                    <a:pt x="9" y="161"/>
                  </a:lnTo>
                  <a:lnTo>
                    <a:pt x="9" y="163"/>
                  </a:lnTo>
                  <a:lnTo>
                    <a:pt x="9" y="163"/>
                  </a:lnTo>
                  <a:lnTo>
                    <a:pt x="11" y="161"/>
                  </a:lnTo>
                  <a:close/>
                  <a:moveTo>
                    <a:pt x="205" y="49"/>
                  </a:moveTo>
                  <a:lnTo>
                    <a:pt x="209" y="49"/>
                  </a:lnTo>
                  <a:lnTo>
                    <a:pt x="219" y="49"/>
                  </a:lnTo>
                  <a:lnTo>
                    <a:pt x="223" y="49"/>
                  </a:lnTo>
                  <a:lnTo>
                    <a:pt x="221" y="47"/>
                  </a:lnTo>
                  <a:lnTo>
                    <a:pt x="216" y="42"/>
                  </a:lnTo>
                  <a:lnTo>
                    <a:pt x="212" y="40"/>
                  </a:lnTo>
                  <a:lnTo>
                    <a:pt x="209" y="38"/>
                  </a:lnTo>
                  <a:lnTo>
                    <a:pt x="205" y="35"/>
                  </a:lnTo>
                  <a:lnTo>
                    <a:pt x="202" y="33"/>
                  </a:lnTo>
                  <a:lnTo>
                    <a:pt x="200" y="30"/>
                  </a:lnTo>
                  <a:lnTo>
                    <a:pt x="195" y="28"/>
                  </a:lnTo>
                  <a:lnTo>
                    <a:pt x="193" y="26"/>
                  </a:lnTo>
                  <a:lnTo>
                    <a:pt x="188" y="23"/>
                  </a:lnTo>
                  <a:lnTo>
                    <a:pt x="186" y="21"/>
                  </a:lnTo>
                  <a:lnTo>
                    <a:pt x="183" y="19"/>
                  </a:lnTo>
                  <a:lnTo>
                    <a:pt x="179" y="16"/>
                  </a:lnTo>
                  <a:lnTo>
                    <a:pt x="176" y="14"/>
                  </a:lnTo>
                  <a:lnTo>
                    <a:pt x="172" y="12"/>
                  </a:lnTo>
                  <a:lnTo>
                    <a:pt x="169" y="9"/>
                  </a:lnTo>
                  <a:lnTo>
                    <a:pt x="167" y="7"/>
                  </a:lnTo>
                  <a:lnTo>
                    <a:pt x="162" y="4"/>
                  </a:lnTo>
                  <a:lnTo>
                    <a:pt x="160" y="2"/>
                  </a:lnTo>
                  <a:lnTo>
                    <a:pt x="155" y="0"/>
                  </a:lnTo>
                  <a:lnTo>
                    <a:pt x="155" y="4"/>
                  </a:lnTo>
                  <a:lnTo>
                    <a:pt x="155" y="9"/>
                  </a:lnTo>
                  <a:lnTo>
                    <a:pt x="155" y="12"/>
                  </a:lnTo>
                  <a:lnTo>
                    <a:pt x="155" y="16"/>
                  </a:lnTo>
                  <a:lnTo>
                    <a:pt x="155" y="21"/>
                  </a:lnTo>
                  <a:lnTo>
                    <a:pt x="155" y="26"/>
                  </a:lnTo>
                  <a:lnTo>
                    <a:pt x="155" y="28"/>
                  </a:lnTo>
                  <a:lnTo>
                    <a:pt x="139" y="28"/>
                  </a:lnTo>
                  <a:lnTo>
                    <a:pt x="134" y="28"/>
                  </a:lnTo>
                  <a:lnTo>
                    <a:pt x="110" y="28"/>
                  </a:lnTo>
                  <a:lnTo>
                    <a:pt x="108" y="28"/>
                  </a:lnTo>
                  <a:lnTo>
                    <a:pt x="94" y="28"/>
                  </a:lnTo>
                  <a:lnTo>
                    <a:pt x="94" y="30"/>
                  </a:lnTo>
                  <a:lnTo>
                    <a:pt x="94" y="33"/>
                  </a:lnTo>
                  <a:lnTo>
                    <a:pt x="94" y="35"/>
                  </a:lnTo>
                  <a:lnTo>
                    <a:pt x="94" y="40"/>
                  </a:lnTo>
                  <a:lnTo>
                    <a:pt x="94" y="42"/>
                  </a:lnTo>
                  <a:lnTo>
                    <a:pt x="94" y="45"/>
                  </a:lnTo>
                  <a:lnTo>
                    <a:pt x="94" y="47"/>
                  </a:lnTo>
                  <a:lnTo>
                    <a:pt x="94" y="52"/>
                  </a:lnTo>
                  <a:lnTo>
                    <a:pt x="94" y="54"/>
                  </a:lnTo>
                  <a:lnTo>
                    <a:pt x="94" y="56"/>
                  </a:lnTo>
                  <a:lnTo>
                    <a:pt x="94" y="59"/>
                  </a:lnTo>
                  <a:lnTo>
                    <a:pt x="94" y="61"/>
                  </a:lnTo>
                  <a:lnTo>
                    <a:pt x="94" y="66"/>
                  </a:lnTo>
                  <a:lnTo>
                    <a:pt x="94" y="68"/>
                  </a:lnTo>
                  <a:lnTo>
                    <a:pt x="94" y="71"/>
                  </a:lnTo>
                  <a:lnTo>
                    <a:pt x="94" y="73"/>
                  </a:lnTo>
                  <a:lnTo>
                    <a:pt x="94" y="75"/>
                  </a:lnTo>
                  <a:lnTo>
                    <a:pt x="94" y="80"/>
                  </a:lnTo>
                  <a:lnTo>
                    <a:pt x="91" y="82"/>
                  </a:lnTo>
                  <a:lnTo>
                    <a:pt x="91" y="82"/>
                  </a:lnTo>
                  <a:lnTo>
                    <a:pt x="89" y="82"/>
                  </a:lnTo>
                  <a:lnTo>
                    <a:pt x="87" y="85"/>
                  </a:lnTo>
                  <a:lnTo>
                    <a:pt x="82" y="85"/>
                  </a:lnTo>
                  <a:lnTo>
                    <a:pt x="82" y="85"/>
                  </a:lnTo>
                  <a:lnTo>
                    <a:pt x="80" y="87"/>
                  </a:lnTo>
                  <a:lnTo>
                    <a:pt x="77" y="90"/>
                  </a:lnTo>
                  <a:lnTo>
                    <a:pt x="73" y="92"/>
                  </a:lnTo>
                  <a:lnTo>
                    <a:pt x="73" y="94"/>
                  </a:lnTo>
                  <a:lnTo>
                    <a:pt x="70" y="94"/>
                  </a:lnTo>
                  <a:lnTo>
                    <a:pt x="70" y="97"/>
                  </a:lnTo>
                  <a:lnTo>
                    <a:pt x="70" y="97"/>
                  </a:lnTo>
                  <a:lnTo>
                    <a:pt x="73" y="101"/>
                  </a:lnTo>
                  <a:lnTo>
                    <a:pt x="73" y="101"/>
                  </a:lnTo>
                  <a:lnTo>
                    <a:pt x="73" y="104"/>
                  </a:lnTo>
                  <a:lnTo>
                    <a:pt x="73" y="106"/>
                  </a:lnTo>
                  <a:lnTo>
                    <a:pt x="73" y="109"/>
                  </a:lnTo>
                  <a:lnTo>
                    <a:pt x="73" y="113"/>
                  </a:lnTo>
                  <a:lnTo>
                    <a:pt x="73" y="116"/>
                  </a:lnTo>
                  <a:lnTo>
                    <a:pt x="73" y="118"/>
                  </a:lnTo>
                  <a:lnTo>
                    <a:pt x="73" y="120"/>
                  </a:lnTo>
                  <a:lnTo>
                    <a:pt x="73" y="123"/>
                  </a:lnTo>
                  <a:lnTo>
                    <a:pt x="73" y="127"/>
                  </a:lnTo>
                  <a:lnTo>
                    <a:pt x="70" y="127"/>
                  </a:lnTo>
                  <a:lnTo>
                    <a:pt x="66" y="127"/>
                  </a:lnTo>
                  <a:lnTo>
                    <a:pt x="61" y="127"/>
                  </a:lnTo>
                  <a:lnTo>
                    <a:pt x="58" y="127"/>
                  </a:lnTo>
                  <a:lnTo>
                    <a:pt x="54" y="127"/>
                  </a:lnTo>
                  <a:lnTo>
                    <a:pt x="49" y="127"/>
                  </a:lnTo>
                  <a:lnTo>
                    <a:pt x="44" y="127"/>
                  </a:lnTo>
                  <a:lnTo>
                    <a:pt x="40" y="127"/>
                  </a:lnTo>
                  <a:lnTo>
                    <a:pt x="37" y="127"/>
                  </a:lnTo>
                  <a:lnTo>
                    <a:pt x="33" y="127"/>
                  </a:lnTo>
                  <a:lnTo>
                    <a:pt x="28" y="127"/>
                  </a:lnTo>
                  <a:lnTo>
                    <a:pt x="23" y="127"/>
                  </a:lnTo>
                  <a:lnTo>
                    <a:pt x="21" y="127"/>
                  </a:lnTo>
                  <a:lnTo>
                    <a:pt x="16" y="127"/>
                  </a:lnTo>
                  <a:lnTo>
                    <a:pt x="11" y="127"/>
                  </a:lnTo>
                  <a:lnTo>
                    <a:pt x="7" y="127"/>
                  </a:lnTo>
                  <a:lnTo>
                    <a:pt x="4" y="127"/>
                  </a:lnTo>
                  <a:lnTo>
                    <a:pt x="2" y="127"/>
                  </a:lnTo>
                  <a:lnTo>
                    <a:pt x="0" y="130"/>
                  </a:lnTo>
                  <a:lnTo>
                    <a:pt x="0" y="132"/>
                  </a:lnTo>
                  <a:lnTo>
                    <a:pt x="0" y="135"/>
                  </a:lnTo>
                  <a:lnTo>
                    <a:pt x="0" y="137"/>
                  </a:lnTo>
                  <a:lnTo>
                    <a:pt x="0" y="132"/>
                  </a:lnTo>
                  <a:lnTo>
                    <a:pt x="0" y="132"/>
                  </a:lnTo>
                  <a:lnTo>
                    <a:pt x="2" y="132"/>
                  </a:lnTo>
                  <a:lnTo>
                    <a:pt x="2" y="132"/>
                  </a:lnTo>
                  <a:lnTo>
                    <a:pt x="4" y="137"/>
                  </a:lnTo>
                  <a:lnTo>
                    <a:pt x="7" y="142"/>
                  </a:lnTo>
                  <a:lnTo>
                    <a:pt x="7" y="142"/>
                  </a:lnTo>
                  <a:lnTo>
                    <a:pt x="9" y="142"/>
                  </a:lnTo>
                  <a:lnTo>
                    <a:pt x="9" y="139"/>
                  </a:lnTo>
                  <a:lnTo>
                    <a:pt x="9" y="139"/>
                  </a:lnTo>
                  <a:lnTo>
                    <a:pt x="9" y="142"/>
                  </a:lnTo>
                  <a:lnTo>
                    <a:pt x="11" y="146"/>
                  </a:lnTo>
                  <a:lnTo>
                    <a:pt x="14" y="149"/>
                  </a:lnTo>
                  <a:lnTo>
                    <a:pt x="14" y="151"/>
                  </a:lnTo>
                  <a:lnTo>
                    <a:pt x="14" y="153"/>
                  </a:lnTo>
                  <a:lnTo>
                    <a:pt x="11" y="158"/>
                  </a:lnTo>
                  <a:lnTo>
                    <a:pt x="9" y="165"/>
                  </a:lnTo>
                  <a:lnTo>
                    <a:pt x="11" y="165"/>
                  </a:lnTo>
                  <a:lnTo>
                    <a:pt x="9" y="168"/>
                  </a:lnTo>
                  <a:lnTo>
                    <a:pt x="9" y="168"/>
                  </a:lnTo>
                  <a:lnTo>
                    <a:pt x="7" y="168"/>
                  </a:lnTo>
                  <a:lnTo>
                    <a:pt x="9" y="170"/>
                  </a:lnTo>
                  <a:lnTo>
                    <a:pt x="11" y="172"/>
                  </a:lnTo>
                  <a:lnTo>
                    <a:pt x="14" y="175"/>
                  </a:lnTo>
                  <a:lnTo>
                    <a:pt x="14" y="182"/>
                  </a:lnTo>
                  <a:lnTo>
                    <a:pt x="14" y="187"/>
                  </a:lnTo>
                  <a:lnTo>
                    <a:pt x="16" y="191"/>
                  </a:lnTo>
                  <a:lnTo>
                    <a:pt x="16" y="198"/>
                  </a:lnTo>
                  <a:lnTo>
                    <a:pt x="14" y="205"/>
                  </a:lnTo>
                  <a:lnTo>
                    <a:pt x="11" y="215"/>
                  </a:lnTo>
                  <a:lnTo>
                    <a:pt x="9" y="220"/>
                  </a:lnTo>
                  <a:lnTo>
                    <a:pt x="7" y="227"/>
                  </a:lnTo>
                  <a:lnTo>
                    <a:pt x="7" y="229"/>
                  </a:lnTo>
                  <a:lnTo>
                    <a:pt x="4" y="234"/>
                  </a:lnTo>
                  <a:lnTo>
                    <a:pt x="4" y="243"/>
                  </a:lnTo>
                  <a:lnTo>
                    <a:pt x="4" y="241"/>
                  </a:lnTo>
                  <a:lnTo>
                    <a:pt x="4" y="236"/>
                  </a:lnTo>
                  <a:lnTo>
                    <a:pt x="7" y="234"/>
                  </a:lnTo>
                  <a:lnTo>
                    <a:pt x="7" y="234"/>
                  </a:lnTo>
                  <a:lnTo>
                    <a:pt x="7" y="231"/>
                  </a:lnTo>
                  <a:lnTo>
                    <a:pt x="9" y="229"/>
                  </a:lnTo>
                  <a:lnTo>
                    <a:pt x="9" y="227"/>
                  </a:lnTo>
                  <a:lnTo>
                    <a:pt x="11" y="227"/>
                  </a:lnTo>
                  <a:lnTo>
                    <a:pt x="11" y="227"/>
                  </a:lnTo>
                  <a:lnTo>
                    <a:pt x="14" y="229"/>
                  </a:lnTo>
                  <a:lnTo>
                    <a:pt x="16" y="229"/>
                  </a:lnTo>
                  <a:lnTo>
                    <a:pt x="18" y="229"/>
                  </a:lnTo>
                  <a:lnTo>
                    <a:pt x="21" y="229"/>
                  </a:lnTo>
                  <a:lnTo>
                    <a:pt x="23" y="227"/>
                  </a:lnTo>
                  <a:lnTo>
                    <a:pt x="25" y="227"/>
                  </a:lnTo>
                  <a:lnTo>
                    <a:pt x="28" y="227"/>
                  </a:lnTo>
                  <a:lnTo>
                    <a:pt x="30" y="227"/>
                  </a:lnTo>
                  <a:lnTo>
                    <a:pt x="30" y="224"/>
                  </a:lnTo>
                  <a:lnTo>
                    <a:pt x="30" y="224"/>
                  </a:lnTo>
                  <a:lnTo>
                    <a:pt x="33" y="224"/>
                  </a:lnTo>
                  <a:lnTo>
                    <a:pt x="33" y="224"/>
                  </a:lnTo>
                  <a:lnTo>
                    <a:pt x="33" y="224"/>
                  </a:lnTo>
                  <a:lnTo>
                    <a:pt x="33" y="224"/>
                  </a:lnTo>
                  <a:lnTo>
                    <a:pt x="35" y="224"/>
                  </a:lnTo>
                  <a:lnTo>
                    <a:pt x="37" y="224"/>
                  </a:lnTo>
                  <a:lnTo>
                    <a:pt x="42" y="224"/>
                  </a:lnTo>
                  <a:lnTo>
                    <a:pt x="47" y="227"/>
                  </a:lnTo>
                  <a:lnTo>
                    <a:pt x="49" y="229"/>
                  </a:lnTo>
                  <a:lnTo>
                    <a:pt x="51" y="231"/>
                  </a:lnTo>
                  <a:lnTo>
                    <a:pt x="51" y="234"/>
                  </a:lnTo>
                  <a:lnTo>
                    <a:pt x="51" y="234"/>
                  </a:lnTo>
                  <a:lnTo>
                    <a:pt x="54" y="236"/>
                  </a:lnTo>
                  <a:lnTo>
                    <a:pt x="54" y="236"/>
                  </a:lnTo>
                  <a:lnTo>
                    <a:pt x="56" y="236"/>
                  </a:lnTo>
                  <a:lnTo>
                    <a:pt x="56" y="236"/>
                  </a:lnTo>
                  <a:lnTo>
                    <a:pt x="56" y="236"/>
                  </a:lnTo>
                  <a:lnTo>
                    <a:pt x="58" y="236"/>
                  </a:lnTo>
                  <a:lnTo>
                    <a:pt x="58" y="236"/>
                  </a:lnTo>
                  <a:lnTo>
                    <a:pt x="61" y="236"/>
                  </a:lnTo>
                  <a:lnTo>
                    <a:pt x="61" y="236"/>
                  </a:lnTo>
                  <a:lnTo>
                    <a:pt x="61" y="236"/>
                  </a:lnTo>
                  <a:lnTo>
                    <a:pt x="61" y="236"/>
                  </a:lnTo>
                  <a:lnTo>
                    <a:pt x="61" y="239"/>
                  </a:lnTo>
                  <a:lnTo>
                    <a:pt x="63" y="239"/>
                  </a:lnTo>
                  <a:lnTo>
                    <a:pt x="63" y="241"/>
                  </a:lnTo>
                  <a:lnTo>
                    <a:pt x="63" y="246"/>
                  </a:lnTo>
                  <a:lnTo>
                    <a:pt x="66" y="248"/>
                  </a:lnTo>
                  <a:lnTo>
                    <a:pt x="66" y="248"/>
                  </a:lnTo>
                  <a:lnTo>
                    <a:pt x="68" y="248"/>
                  </a:lnTo>
                  <a:lnTo>
                    <a:pt x="68" y="248"/>
                  </a:lnTo>
                  <a:lnTo>
                    <a:pt x="68" y="250"/>
                  </a:lnTo>
                  <a:lnTo>
                    <a:pt x="68" y="250"/>
                  </a:lnTo>
                  <a:lnTo>
                    <a:pt x="68" y="250"/>
                  </a:lnTo>
                  <a:lnTo>
                    <a:pt x="70" y="250"/>
                  </a:lnTo>
                  <a:lnTo>
                    <a:pt x="70" y="253"/>
                  </a:lnTo>
                  <a:lnTo>
                    <a:pt x="73" y="255"/>
                  </a:lnTo>
                  <a:lnTo>
                    <a:pt x="70" y="255"/>
                  </a:lnTo>
                  <a:lnTo>
                    <a:pt x="70" y="255"/>
                  </a:lnTo>
                  <a:lnTo>
                    <a:pt x="73" y="255"/>
                  </a:lnTo>
                  <a:lnTo>
                    <a:pt x="73" y="255"/>
                  </a:lnTo>
                  <a:lnTo>
                    <a:pt x="73" y="257"/>
                  </a:lnTo>
                  <a:lnTo>
                    <a:pt x="75" y="257"/>
                  </a:lnTo>
                  <a:lnTo>
                    <a:pt x="77" y="260"/>
                  </a:lnTo>
                  <a:lnTo>
                    <a:pt x="77" y="260"/>
                  </a:lnTo>
                  <a:lnTo>
                    <a:pt x="80" y="262"/>
                  </a:lnTo>
                  <a:lnTo>
                    <a:pt x="82" y="265"/>
                  </a:lnTo>
                  <a:lnTo>
                    <a:pt x="82" y="265"/>
                  </a:lnTo>
                  <a:lnTo>
                    <a:pt x="84" y="265"/>
                  </a:lnTo>
                  <a:lnTo>
                    <a:pt x="84" y="265"/>
                  </a:lnTo>
                  <a:lnTo>
                    <a:pt x="87" y="265"/>
                  </a:lnTo>
                  <a:lnTo>
                    <a:pt x="89" y="262"/>
                  </a:lnTo>
                  <a:lnTo>
                    <a:pt x="89" y="260"/>
                  </a:lnTo>
                  <a:lnTo>
                    <a:pt x="89" y="257"/>
                  </a:lnTo>
                  <a:lnTo>
                    <a:pt x="89" y="255"/>
                  </a:lnTo>
                  <a:lnTo>
                    <a:pt x="91" y="253"/>
                  </a:lnTo>
                  <a:lnTo>
                    <a:pt x="91" y="250"/>
                  </a:lnTo>
                  <a:lnTo>
                    <a:pt x="94" y="250"/>
                  </a:lnTo>
                  <a:lnTo>
                    <a:pt x="94" y="248"/>
                  </a:lnTo>
                  <a:lnTo>
                    <a:pt x="96" y="246"/>
                  </a:lnTo>
                  <a:lnTo>
                    <a:pt x="96" y="248"/>
                  </a:lnTo>
                  <a:lnTo>
                    <a:pt x="99" y="248"/>
                  </a:lnTo>
                  <a:lnTo>
                    <a:pt x="103" y="253"/>
                  </a:lnTo>
                  <a:lnTo>
                    <a:pt x="106" y="255"/>
                  </a:lnTo>
                  <a:lnTo>
                    <a:pt x="106" y="257"/>
                  </a:lnTo>
                  <a:lnTo>
                    <a:pt x="108" y="257"/>
                  </a:lnTo>
                  <a:lnTo>
                    <a:pt x="108" y="255"/>
                  </a:lnTo>
                  <a:lnTo>
                    <a:pt x="110" y="253"/>
                  </a:lnTo>
                  <a:lnTo>
                    <a:pt x="110" y="250"/>
                  </a:lnTo>
                  <a:lnTo>
                    <a:pt x="113" y="250"/>
                  </a:lnTo>
                  <a:lnTo>
                    <a:pt x="115" y="250"/>
                  </a:lnTo>
                  <a:lnTo>
                    <a:pt x="117" y="250"/>
                  </a:lnTo>
                  <a:lnTo>
                    <a:pt x="120" y="250"/>
                  </a:lnTo>
                  <a:lnTo>
                    <a:pt x="120" y="253"/>
                  </a:lnTo>
                  <a:lnTo>
                    <a:pt x="122" y="253"/>
                  </a:lnTo>
                  <a:lnTo>
                    <a:pt x="124" y="253"/>
                  </a:lnTo>
                  <a:lnTo>
                    <a:pt x="129" y="253"/>
                  </a:lnTo>
                  <a:lnTo>
                    <a:pt x="132" y="250"/>
                  </a:lnTo>
                  <a:lnTo>
                    <a:pt x="134" y="250"/>
                  </a:lnTo>
                  <a:lnTo>
                    <a:pt x="134" y="250"/>
                  </a:lnTo>
                  <a:lnTo>
                    <a:pt x="134" y="248"/>
                  </a:lnTo>
                  <a:lnTo>
                    <a:pt x="134" y="248"/>
                  </a:lnTo>
                  <a:lnTo>
                    <a:pt x="136" y="246"/>
                  </a:lnTo>
                  <a:lnTo>
                    <a:pt x="136" y="246"/>
                  </a:lnTo>
                  <a:lnTo>
                    <a:pt x="136" y="248"/>
                  </a:lnTo>
                  <a:lnTo>
                    <a:pt x="136" y="250"/>
                  </a:lnTo>
                  <a:lnTo>
                    <a:pt x="139" y="250"/>
                  </a:lnTo>
                  <a:lnTo>
                    <a:pt x="146" y="250"/>
                  </a:lnTo>
                  <a:lnTo>
                    <a:pt x="150" y="250"/>
                  </a:lnTo>
                  <a:lnTo>
                    <a:pt x="169" y="250"/>
                  </a:lnTo>
                  <a:lnTo>
                    <a:pt x="172" y="250"/>
                  </a:lnTo>
                  <a:lnTo>
                    <a:pt x="190" y="250"/>
                  </a:lnTo>
                  <a:lnTo>
                    <a:pt x="200" y="250"/>
                  </a:lnTo>
                  <a:lnTo>
                    <a:pt x="207" y="250"/>
                  </a:lnTo>
                  <a:lnTo>
                    <a:pt x="207" y="243"/>
                  </a:lnTo>
                  <a:lnTo>
                    <a:pt x="209" y="239"/>
                  </a:lnTo>
                  <a:lnTo>
                    <a:pt x="209" y="234"/>
                  </a:lnTo>
                  <a:lnTo>
                    <a:pt x="207" y="229"/>
                  </a:lnTo>
                  <a:lnTo>
                    <a:pt x="205" y="227"/>
                  </a:lnTo>
                  <a:lnTo>
                    <a:pt x="205" y="222"/>
                  </a:lnTo>
                  <a:lnTo>
                    <a:pt x="205" y="217"/>
                  </a:lnTo>
                  <a:lnTo>
                    <a:pt x="205" y="213"/>
                  </a:lnTo>
                  <a:lnTo>
                    <a:pt x="202" y="205"/>
                  </a:lnTo>
                  <a:lnTo>
                    <a:pt x="202" y="201"/>
                  </a:lnTo>
                  <a:lnTo>
                    <a:pt x="202" y="196"/>
                  </a:lnTo>
                  <a:lnTo>
                    <a:pt x="202" y="191"/>
                  </a:lnTo>
                  <a:lnTo>
                    <a:pt x="202" y="184"/>
                  </a:lnTo>
                  <a:lnTo>
                    <a:pt x="202" y="179"/>
                  </a:lnTo>
                  <a:lnTo>
                    <a:pt x="200" y="175"/>
                  </a:lnTo>
                  <a:lnTo>
                    <a:pt x="200" y="170"/>
                  </a:lnTo>
                  <a:lnTo>
                    <a:pt x="200" y="165"/>
                  </a:lnTo>
                  <a:lnTo>
                    <a:pt x="200" y="158"/>
                  </a:lnTo>
                  <a:lnTo>
                    <a:pt x="200" y="153"/>
                  </a:lnTo>
                  <a:lnTo>
                    <a:pt x="200" y="149"/>
                  </a:lnTo>
                  <a:lnTo>
                    <a:pt x="198" y="144"/>
                  </a:lnTo>
                  <a:lnTo>
                    <a:pt x="198" y="137"/>
                  </a:lnTo>
                  <a:lnTo>
                    <a:pt x="198" y="132"/>
                  </a:lnTo>
                  <a:lnTo>
                    <a:pt x="198" y="127"/>
                  </a:lnTo>
                  <a:lnTo>
                    <a:pt x="198" y="123"/>
                  </a:lnTo>
                  <a:lnTo>
                    <a:pt x="198" y="118"/>
                  </a:lnTo>
                  <a:lnTo>
                    <a:pt x="195" y="111"/>
                  </a:lnTo>
                  <a:lnTo>
                    <a:pt x="195" y="106"/>
                  </a:lnTo>
                  <a:lnTo>
                    <a:pt x="195" y="101"/>
                  </a:lnTo>
                  <a:lnTo>
                    <a:pt x="195" y="97"/>
                  </a:lnTo>
                  <a:lnTo>
                    <a:pt x="195" y="90"/>
                  </a:lnTo>
                  <a:lnTo>
                    <a:pt x="195" y="85"/>
                  </a:lnTo>
                  <a:lnTo>
                    <a:pt x="195" y="80"/>
                  </a:lnTo>
                  <a:lnTo>
                    <a:pt x="193" y="75"/>
                  </a:lnTo>
                  <a:lnTo>
                    <a:pt x="193" y="71"/>
                  </a:lnTo>
                  <a:lnTo>
                    <a:pt x="193" y="64"/>
                  </a:lnTo>
                  <a:lnTo>
                    <a:pt x="193" y="59"/>
                  </a:lnTo>
                  <a:lnTo>
                    <a:pt x="193" y="54"/>
                  </a:lnTo>
                  <a:lnTo>
                    <a:pt x="193" y="49"/>
                  </a:lnTo>
                  <a:lnTo>
                    <a:pt x="198" y="49"/>
                  </a:lnTo>
                  <a:lnTo>
                    <a:pt x="205" y="4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0" name="Freeform 286"/>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1" name="Freeform 287"/>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2" name="Freeform 288"/>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3" name="Freeform 289"/>
            <p:cNvSpPr>
              <a:spLocks/>
            </p:cNvSpPr>
            <p:nvPr userDrawn="1"/>
          </p:nvSpPr>
          <p:spPr bwMode="auto">
            <a:xfrm>
              <a:off x="2529" y="2493"/>
              <a:ext cx="4" cy="10"/>
            </a:xfrm>
            <a:custGeom>
              <a:avLst/>
              <a:gdLst>
                <a:gd name="T0" fmla="*/ 4 w 4"/>
                <a:gd name="T1" fmla="*/ 7 h 10"/>
                <a:gd name="T2" fmla="*/ 4 w 4"/>
                <a:gd name="T3" fmla="*/ 5 h 10"/>
                <a:gd name="T4" fmla="*/ 4 w 4"/>
                <a:gd name="T5" fmla="*/ 5 h 10"/>
                <a:gd name="T6" fmla="*/ 4 w 4"/>
                <a:gd name="T7" fmla="*/ 3 h 10"/>
                <a:gd name="T8" fmla="*/ 4 w 4"/>
                <a:gd name="T9" fmla="*/ 3 h 10"/>
                <a:gd name="T10" fmla="*/ 4 w 4"/>
                <a:gd name="T11" fmla="*/ 3 h 10"/>
                <a:gd name="T12" fmla="*/ 2 w 4"/>
                <a:gd name="T13" fmla="*/ 3 h 10"/>
                <a:gd name="T14" fmla="*/ 0 w 4"/>
                <a:gd name="T15" fmla="*/ 0 h 10"/>
                <a:gd name="T16" fmla="*/ 0 w 4"/>
                <a:gd name="T17" fmla="*/ 0 h 10"/>
                <a:gd name="T18" fmla="*/ 0 w 4"/>
                <a:gd name="T19" fmla="*/ 0 h 10"/>
                <a:gd name="T20" fmla="*/ 0 w 4"/>
                <a:gd name="T21" fmla="*/ 3 h 10"/>
                <a:gd name="T22" fmla="*/ 0 w 4"/>
                <a:gd name="T23" fmla="*/ 5 h 10"/>
                <a:gd name="T24" fmla="*/ 0 w 4"/>
                <a:gd name="T25" fmla="*/ 5 h 10"/>
                <a:gd name="T26" fmla="*/ 2 w 4"/>
                <a:gd name="T27" fmla="*/ 7 h 10"/>
                <a:gd name="T28" fmla="*/ 0 w 4"/>
                <a:gd name="T29" fmla="*/ 7 h 10"/>
                <a:gd name="T30" fmla="*/ 0 w 4"/>
                <a:gd name="T31" fmla="*/ 7 h 10"/>
                <a:gd name="T32" fmla="*/ 0 w 4"/>
                <a:gd name="T33" fmla="*/ 10 h 10"/>
                <a:gd name="T34" fmla="*/ 4 w 4"/>
                <a:gd name="T35" fmla="*/ 10 h 10"/>
                <a:gd name="T36" fmla="*/ 4 w 4"/>
                <a:gd name="T37" fmla="*/ 10 h 10"/>
                <a:gd name="T38" fmla="*/ 4 w 4"/>
                <a:gd name="T39" fmla="*/ 10 h 10"/>
                <a:gd name="T40" fmla="*/ 4 w 4"/>
                <a:gd name="T41" fmla="*/ 10 h 10"/>
                <a:gd name="T42" fmla="*/ 4 w 4"/>
                <a:gd name="T4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4" y="7"/>
                  </a:moveTo>
                  <a:lnTo>
                    <a:pt x="4" y="5"/>
                  </a:lnTo>
                  <a:lnTo>
                    <a:pt x="4" y="5"/>
                  </a:lnTo>
                  <a:lnTo>
                    <a:pt x="4" y="3"/>
                  </a:lnTo>
                  <a:lnTo>
                    <a:pt x="4" y="3"/>
                  </a:lnTo>
                  <a:lnTo>
                    <a:pt x="4" y="3"/>
                  </a:lnTo>
                  <a:lnTo>
                    <a:pt x="2" y="3"/>
                  </a:lnTo>
                  <a:lnTo>
                    <a:pt x="0" y="0"/>
                  </a:lnTo>
                  <a:lnTo>
                    <a:pt x="0" y="0"/>
                  </a:lnTo>
                  <a:lnTo>
                    <a:pt x="0" y="0"/>
                  </a:lnTo>
                  <a:lnTo>
                    <a:pt x="0" y="3"/>
                  </a:lnTo>
                  <a:lnTo>
                    <a:pt x="0" y="5"/>
                  </a:lnTo>
                  <a:lnTo>
                    <a:pt x="0" y="5"/>
                  </a:lnTo>
                  <a:lnTo>
                    <a:pt x="2" y="7"/>
                  </a:lnTo>
                  <a:lnTo>
                    <a:pt x="0" y="7"/>
                  </a:lnTo>
                  <a:lnTo>
                    <a:pt x="0" y="7"/>
                  </a:lnTo>
                  <a:lnTo>
                    <a:pt x="0" y="10"/>
                  </a:lnTo>
                  <a:lnTo>
                    <a:pt x="4" y="10"/>
                  </a:lnTo>
                  <a:lnTo>
                    <a:pt x="4" y="10"/>
                  </a:lnTo>
                  <a:lnTo>
                    <a:pt x="4" y="10"/>
                  </a:lnTo>
                  <a:lnTo>
                    <a:pt x="4" y="10"/>
                  </a:lnTo>
                  <a:lnTo>
                    <a:pt x="4"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4" name="Freeform 290"/>
            <p:cNvSpPr>
              <a:spLocks/>
            </p:cNvSpPr>
            <p:nvPr userDrawn="1"/>
          </p:nvSpPr>
          <p:spPr bwMode="auto">
            <a:xfrm>
              <a:off x="3429" y="2280"/>
              <a:ext cx="304" cy="313"/>
            </a:xfrm>
            <a:custGeom>
              <a:avLst/>
              <a:gdLst>
                <a:gd name="T0" fmla="*/ 285 w 304"/>
                <a:gd name="T1" fmla="*/ 126 h 313"/>
                <a:gd name="T2" fmla="*/ 288 w 304"/>
                <a:gd name="T3" fmla="*/ 119 h 313"/>
                <a:gd name="T4" fmla="*/ 280 w 304"/>
                <a:gd name="T5" fmla="*/ 107 h 313"/>
                <a:gd name="T6" fmla="*/ 262 w 304"/>
                <a:gd name="T7" fmla="*/ 100 h 313"/>
                <a:gd name="T8" fmla="*/ 250 w 304"/>
                <a:gd name="T9" fmla="*/ 88 h 313"/>
                <a:gd name="T10" fmla="*/ 229 w 304"/>
                <a:gd name="T11" fmla="*/ 67 h 313"/>
                <a:gd name="T12" fmla="*/ 182 w 304"/>
                <a:gd name="T13" fmla="*/ 31 h 313"/>
                <a:gd name="T14" fmla="*/ 137 w 304"/>
                <a:gd name="T15" fmla="*/ 0 h 313"/>
                <a:gd name="T16" fmla="*/ 111 w 304"/>
                <a:gd name="T17" fmla="*/ 22 h 313"/>
                <a:gd name="T18" fmla="*/ 113 w 304"/>
                <a:gd name="T19" fmla="*/ 62 h 313"/>
                <a:gd name="T20" fmla="*/ 118 w 304"/>
                <a:gd name="T21" fmla="*/ 104 h 313"/>
                <a:gd name="T22" fmla="*/ 120 w 304"/>
                <a:gd name="T23" fmla="*/ 147 h 313"/>
                <a:gd name="T24" fmla="*/ 127 w 304"/>
                <a:gd name="T25" fmla="*/ 185 h 313"/>
                <a:gd name="T26" fmla="*/ 68 w 304"/>
                <a:gd name="T27" fmla="*/ 201 h 313"/>
                <a:gd name="T28" fmla="*/ 52 w 304"/>
                <a:gd name="T29" fmla="*/ 199 h 313"/>
                <a:gd name="T30" fmla="*/ 38 w 304"/>
                <a:gd name="T31" fmla="*/ 201 h 313"/>
                <a:gd name="T32" fmla="*/ 24 w 304"/>
                <a:gd name="T33" fmla="*/ 208 h 313"/>
                <a:gd name="T34" fmla="*/ 9 w 304"/>
                <a:gd name="T35" fmla="*/ 201 h 313"/>
                <a:gd name="T36" fmla="*/ 2 w 304"/>
                <a:gd name="T37" fmla="*/ 216 h 313"/>
                <a:gd name="T38" fmla="*/ 5 w 304"/>
                <a:gd name="T39" fmla="*/ 227 h 313"/>
                <a:gd name="T40" fmla="*/ 2 w 304"/>
                <a:gd name="T41" fmla="*/ 239 h 313"/>
                <a:gd name="T42" fmla="*/ 9 w 304"/>
                <a:gd name="T43" fmla="*/ 244 h 313"/>
                <a:gd name="T44" fmla="*/ 14 w 304"/>
                <a:gd name="T45" fmla="*/ 253 h 313"/>
                <a:gd name="T46" fmla="*/ 14 w 304"/>
                <a:gd name="T47" fmla="*/ 265 h 313"/>
                <a:gd name="T48" fmla="*/ 17 w 304"/>
                <a:gd name="T49" fmla="*/ 275 h 313"/>
                <a:gd name="T50" fmla="*/ 26 w 304"/>
                <a:gd name="T51" fmla="*/ 277 h 313"/>
                <a:gd name="T52" fmla="*/ 33 w 304"/>
                <a:gd name="T53" fmla="*/ 270 h 313"/>
                <a:gd name="T54" fmla="*/ 47 w 304"/>
                <a:gd name="T55" fmla="*/ 272 h 313"/>
                <a:gd name="T56" fmla="*/ 52 w 304"/>
                <a:gd name="T57" fmla="*/ 265 h 313"/>
                <a:gd name="T58" fmla="*/ 59 w 304"/>
                <a:gd name="T59" fmla="*/ 270 h 313"/>
                <a:gd name="T60" fmla="*/ 66 w 304"/>
                <a:gd name="T61" fmla="*/ 284 h 313"/>
                <a:gd name="T62" fmla="*/ 68 w 304"/>
                <a:gd name="T63" fmla="*/ 289 h 313"/>
                <a:gd name="T64" fmla="*/ 68 w 304"/>
                <a:gd name="T65" fmla="*/ 294 h 313"/>
                <a:gd name="T66" fmla="*/ 71 w 304"/>
                <a:gd name="T67" fmla="*/ 305 h 313"/>
                <a:gd name="T68" fmla="*/ 80 w 304"/>
                <a:gd name="T69" fmla="*/ 313 h 313"/>
                <a:gd name="T70" fmla="*/ 87 w 304"/>
                <a:gd name="T71" fmla="*/ 310 h 313"/>
                <a:gd name="T72" fmla="*/ 97 w 304"/>
                <a:gd name="T73" fmla="*/ 313 h 313"/>
                <a:gd name="T74" fmla="*/ 101 w 304"/>
                <a:gd name="T75" fmla="*/ 308 h 313"/>
                <a:gd name="T76" fmla="*/ 106 w 304"/>
                <a:gd name="T77" fmla="*/ 305 h 313"/>
                <a:gd name="T78" fmla="*/ 108 w 304"/>
                <a:gd name="T79" fmla="*/ 305 h 313"/>
                <a:gd name="T80" fmla="*/ 111 w 304"/>
                <a:gd name="T81" fmla="*/ 313 h 313"/>
                <a:gd name="T82" fmla="*/ 123 w 304"/>
                <a:gd name="T83" fmla="*/ 308 h 313"/>
                <a:gd name="T84" fmla="*/ 125 w 304"/>
                <a:gd name="T85" fmla="*/ 294 h 313"/>
                <a:gd name="T86" fmla="*/ 127 w 304"/>
                <a:gd name="T87" fmla="*/ 279 h 313"/>
                <a:gd name="T88" fmla="*/ 139 w 304"/>
                <a:gd name="T89" fmla="*/ 272 h 313"/>
                <a:gd name="T90" fmla="*/ 141 w 304"/>
                <a:gd name="T91" fmla="*/ 260 h 313"/>
                <a:gd name="T92" fmla="*/ 149 w 304"/>
                <a:gd name="T93" fmla="*/ 246 h 313"/>
                <a:gd name="T94" fmla="*/ 165 w 304"/>
                <a:gd name="T95" fmla="*/ 246 h 313"/>
                <a:gd name="T96" fmla="*/ 172 w 304"/>
                <a:gd name="T97" fmla="*/ 239 h 313"/>
                <a:gd name="T98" fmla="*/ 186 w 304"/>
                <a:gd name="T99" fmla="*/ 230 h 313"/>
                <a:gd name="T100" fmla="*/ 203 w 304"/>
                <a:gd name="T101" fmla="*/ 216 h 313"/>
                <a:gd name="T102" fmla="*/ 217 w 304"/>
                <a:gd name="T103" fmla="*/ 211 h 313"/>
                <a:gd name="T104" fmla="*/ 238 w 304"/>
                <a:gd name="T105" fmla="*/ 213 h 313"/>
                <a:gd name="T106" fmla="*/ 271 w 304"/>
                <a:gd name="T107" fmla="*/ 204 h 313"/>
                <a:gd name="T108" fmla="*/ 290 w 304"/>
                <a:gd name="T109" fmla="*/ 201 h 313"/>
                <a:gd name="T110" fmla="*/ 299 w 304"/>
                <a:gd name="T111" fmla="*/ 190 h 313"/>
                <a:gd name="T112" fmla="*/ 304 w 304"/>
                <a:gd name="T113"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4" h="313">
                  <a:moveTo>
                    <a:pt x="299" y="126"/>
                  </a:moveTo>
                  <a:lnTo>
                    <a:pt x="295" y="126"/>
                  </a:lnTo>
                  <a:lnTo>
                    <a:pt x="290" y="126"/>
                  </a:lnTo>
                  <a:lnTo>
                    <a:pt x="290" y="126"/>
                  </a:lnTo>
                  <a:lnTo>
                    <a:pt x="288" y="128"/>
                  </a:lnTo>
                  <a:lnTo>
                    <a:pt x="288" y="126"/>
                  </a:lnTo>
                  <a:lnTo>
                    <a:pt x="288" y="126"/>
                  </a:lnTo>
                  <a:lnTo>
                    <a:pt x="285" y="126"/>
                  </a:lnTo>
                  <a:lnTo>
                    <a:pt x="285" y="123"/>
                  </a:lnTo>
                  <a:lnTo>
                    <a:pt x="283" y="123"/>
                  </a:lnTo>
                  <a:lnTo>
                    <a:pt x="285" y="121"/>
                  </a:lnTo>
                  <a:lnTo>
                    <a:pt x="285" y="121"/>
                  </a:lnTo>
                  <a:lnTo>
                    <a:pt x="285" y="121"/>
                  </a:lnTo>
                  <a:lnTo>
                    <a:pt x="285" y="119"/>
                  </a:lnTo>
                  <a:lnTo>
                    <a:pt x="288" y="119"/>
                  </a:lnTo>
                  <a:lnTo>
                    <a:pt x="288" y="119"/>
                  </a:lnTo>
                  <a:lnTo>
                    <a:pt x="285" y="116"/>
                  </a:lnTo>
                  <a:lnTo>
                    <a:pt x="285" y="114"/>
                  </a:lnTo>
                  <a:lnTo>
                    <a:pt x="285" y="112"/>
                  </a:lnTo>
                  <a:lnTo>
                    <a:pt x="285" y="112"/>
                  </a:lnTo>
                  <a:lnTo>
                    <a:pt x="285" y="109"/>
                  </a:lnTo>
                  <a:lnTo>
                    <a:pt x="285" y="109"/>
                  </a:lnTo>
                  <a:lnTo>
                    <a:pt x="283" y="107"/>
                  </a:lnTo>
                  <a:lnTo>
                    <a:pt x="280" y="107"/>
                  </a:lnTo>
                  <a:lnTo>
                    <a:pt x="278" y="107"/>
                  </a:lnTo>
                  <a:lnTo>
                    <a:pt x="276" y="107"/>
                  </a:lnTo>
                  <a:lnTo>
                    <a:pt x="273" y="104"/>
                  </a:lnTo>
                  <a:lnTo>
                    <a:pt x="271" y="104"/>
                  </a:lnTo>
                  <a:lnTo>
                    <a:pt x="269" y="102"/>
                  </a:lnTo>
                  <a:lnTo>
                    <a:pt x="269" y="100"/>
                  </a:lnTo>
                  <a:lnTo>
                    <a:pt x="262" y="100"/>
                  </a:lnTo>
                  <a:lnTo>
                    <a:pt x="262" y="100"/>
                  </a:lnTo>
                  <a:lnTo>
                    <a:pt x="259" y="100"/>
                  </a:lnTo>
                  <a:lnTo>
                    <a:pt x="259" y="97"/>
                  </a:lnTo>
                  <a:lnTo>
                    <a:pt x="257" y="95"/>
                  </a:lnTo>
                  <a:lnTo>
                    <a:pt x="257" y="95"/>
                  </a:lnTo>
                  <a:lnTo>
                    <a:pt x="257" y="95"/>
                  </a:lnTo>
                  <a:lnTo>
                    <a:pt x="252" y="90"/>
                  </a:lnTo>
                  <a:lnTo>
                    <a:pt x="250" y="90"/>
                  </a:lnTo>
                  <a:lnTo>
                    <a:pt x="250" y="88"/>
                  </a:lnTo>
                  <a:lnTo>
                    <a:pt x="250" y="88"/>
                  </a:lnTo>
                  <a:lnTo>
                    <a:pt x="250" y="86"/>
                  </a:lnTo>
                  <a:lnTo>
                    <a:pt x="250" y="83"/>
                  </a:lnTo>
                  <a:lnTo>
                    <a:pt x="250" y="83"/>
                  </a:lnTo>
                  <a:lnTo>
                    <a:pt x="245" y="81"/>
                  </a:lnTo>
                  <a:lnTo>
                    <a:pt x="240" y="76"/>
                  </a:lnTo>
                  <a:lnTo>
                    <a:pt x="233" y="71"/>
                  </a:lnTo>
                  <a:lnTo>
                    <a:pt x="229" y="67"/>
                  </a:lnTo>
                  <a:lnTo>
                    <a:pt x="222" y="62"/>
                  </a:lnTo>
                  <a:lnTo>
                    <a:pt x="217" y="57"/>
                  </a:lnTo>
                  <a:lnTo>
                    <a:pt x="210" y="52"/>
                  </a:lnTo>
                  <a:lnTo>
                    <a:pt x="205" y="48"/>
                  </a:lnTo>
                  <a:lnTo>
                    <a:pt x="198" y="43"/>
                  </a:lnTo>
                  <a:lnTo>
                    <a:pt x="193" y="41"/>
                  </a:lnTo>
                  <a:lnTo>
                    <a:pt x="186" y="36"/>
                  </a:lnTo>
                  <a:lnTo>
                    <a:pt x="182" y="31"/>
                  </a:lnTo>
                  <a:lnTo>
                    <a:pt x="177" y="26"/>
                  </a:lnTo>
                  <a:lnTo>
                    <a:pt x="170" y="22"/>
                  </a:lnTo>
                  <a:lnTo>
                    <a:pt x="165" y="17"/>
                  </a:lnTo>
                  <a:lnTo>
                    <a:pt x="158" y="12"/>
                  </a:lnTo>
                  <a:lnTo>
                    <a:pt x="153" y="7"/>
                  </a:lnTo>
                  <a:lnTo>
                    <a:pt x="149" y="5"/>
                  </a:lnTo>
                  <a:lnTo>
                    <a:pt x="141" y="0"/>
                  </a:lnTo>
                  <a:lnTo>
                    <a:pt x="137" y="0"/>
                  </a:lnTo>
                  <a:lnTo>
                    <a:pt x="127" y="0"/>
                  </a:lnTo>
                  <a:lnTo>
                    <a:pt x="123" y="0"/>
                  </a:lnTo>
                  <a:lnTo>
                    <a:pt x="116" y="0"/>
                  </a:lnTo>
                  <a:lnTo>
                    <a:pt x="111" y="0"/>
                  </a:lnTo>
                  <a:lnTo>
                    <a:pt x="111" y="5"/>
                  </a:lnTo>
                  <a:lnTo>
                    <a:pt x="111" y="10"/>
                  </a:lnTo>
                  <a:lnTo>
                    <a:pt x="111" y="15"/>
                  </a:lnTo>
                  <a:lnTo>
                    <a:pt x="111" y="22"/>
                  </a:lnTo>
                  <a:lnTo>
                    <a:pt x="111" y="26"/>
                  </a:lnTo>
                  <a:lnTo>
                    <a:pt x="113" y="31"/>
                  </a:lnTo>
                  <a:lnTo>
                    <a:pt x="113" y="36"/>
                  </a:lnTo>
                  <a:lnTo>
                    <a:pt x="113" y="41"/>
                  </a:lnTo>
                  <a:lnTo>
                    <a:pt x="113" y="48"/>
                  </a:lnTo>
                  <a:lnTo>
                    <a:pt x="113" y="52"/>
                  </a:lnTo>
                  <a:lnTo>
                    <a:pt x="113" y="57"/>
                  </a:lnTo>
                  <a:lnTo>
                    <a:pt x="113" y="62"/>
                  </a:lnTo>
                  <a:lnTo>
                    <a:pt x="116" y="69"/>
                  </a:lnTo>
                  <a:lnTo>
                    <a:pt x="116" y="74"/>
                  </a:lnTo>
                  <a:lnTo>
                    <a:pt x="116" y="78"/>
                  </a:lnTo>
                  <a:lnTo>
                    <a:pt x="116" y="83"/>
                  </a:lnTo>
                  <a:lnTo>
                    <a:pt x="116" y="88"/>
                  </a:lnTo>
                  <a:lnTo>
                    <a:pt x="116" y="95"/>
                  </a:lnTo>
                  <a:lnTo>
                    <a:pt x="118" y="100"/>
                  </a:lnTo>
                  <a:lnTo>
                    <a:pt x="118" y="104"/>
                  </a:lnTo>
                  <a:lnTo>
                    <a:pt x="118" y="109"/>
                  </a:lnTo>
                  <a:lnTo>
                    <a:pt x="118" y="116"/>
                  </a:lnTo>
                  <a:lnTo>
                    <a:pt x="118" y="121"/>
                  </a:lnTo>
                  <a:lnTo>
                    <a:pt x="118" y="126"/>
                  </a:lnTo>
                  <a:lnTo>
                    <a:pt x="120" y="130"/>
                  </a:lnTo>
                  <a:lnTo>
                    <a:pt x="120" y="135"/>
                  </a:lnTo>
                  <a:lnTo>
                    <a:pt x="120" y="142"/>
                  </a:lnTo>
                  <a:lnTo>
                    <a:pt x="120" y="147"/>
                  </a:lnTo>
                  <a:lnTo>
                    <a:pt x="120" y="152"/>
                  </a:lnTo>
                  <a:lnTo>
                    <a:pt x="120" y="156"/>
                  </a:lnTo>
                  <a:lnTo>
                    <a:pt x="123" y="164"/>
                  </a:lnTo>
                  <a:lnTo>
                    <a:pt x="123" y="168"/>
                  </a:lnTo>
                  <a:lnTo>
                    <a:pt x="123" y="173"/>
                  </a:lnTo>
                  <a:lnTo>
                    <a:pt x="123" y="178"/>
                  </a:lnTo>
                  <a:lnTo>
                    <a:pt x="125" y="180"/>
                  </a:lnTo>
                  <a:lnTo>
                    <a:pt x="127" y="185"/>
                  </a:lnTo>
                  <a:lnTo>
                    <a:pt x="127" y="190"/>
                  </a:lnTo>
                  <a:lnTo>
                    <a:pt x="125" y="194"/>
                  </a:lnTo>
                  <a:lnTo>
                    <a:pt x="125" y="201"/>
                  </a:lnTo>
                  <a:lnTo>
                    <a:pt x="118" y="201"/>
                  </a:lnTo>
                  <a:lnTo>
                    <a:pt x="108" y="201"/>
                  </a:lnTo>
                  <a:lnTo>
                    <a:pt x="90" y="201"/>
                  </a:lnTo>
                  <a:lnTo>
                    <a:pt x="87" y="201"/>
                  </a:lnTo>
                  <a:lnTo>
                    <a:pt x="68" y="201"/>
                  </a:lnTo>
                  <a:lnTo>
                    <a:pt x="64" y="201"/>
                  </a:lnTo>
                  <a:lnTo>
                    <a:pt x="57" y="201"/>
                  </a:lnTo>
                  <a:lnTo>
                    <a:pt x="54" y="201"/>
                  </a:lnTo>
                  <a:lnTo>
                    <a:pt x="54" y="199"/>
                  </a:lnTo>
                  <a:lnTo>
                    <a:pt x="54" y="197"/>
                  </a:lnTo>
                  <a:lnTo>
                    <a:pt x="54" y="197"/>
                  </a:lnTo>
                  <a:lnTo>
                    <a:pt x="52" y="199"/>
                  </a:lnTo>
                  <a:lnTo>
                    <a:pt x="52" y="199"/>
                  </a:lnTo>
                  <a:lnTo>
                    <a:pt x="52" y="201"/>
                  </a:lnTo>
                  <a:lnTo>
                    <a:pt x="52" y="201"/>
                  </a:lnTo>
                  <a:lnTo>
                    <a:pt x="50" y="201"/>
                  </a:lnTo>
                  <a:lnTo>
                    <a:pt x="47" y="204"/>
                  </a:lnTo>
                  <a:lnTo>
                    <a:pt x="42" y="204"/>
                  </a:lnTo>
                  <a:lnTo>
                    <a:pt x="40" y="204"/>
                  </a:lnTo>
                  <a:lnTo>
                    <a:pt x="38" y="204"/>
                  </a:lnTo>
                  <a:lnTo>
                    <a:pt x="38" y="201"/>
                  </a:lnTo>
                  <a:lnTo>
                    <a:pt x="35" y="201"/>
                  </a:lnTo>
                  <a:lnTo>
                    <a:pt x="33" y="201"/>
                  </a:lnTo>
                  <a:lnTo>
                    <a:pt x="31" y="201"/>
                  </a:lnTo>
                  <a:lnTo>
                    <a:pt x="28" y="201"/>
                  </a:lnTo>
                  <a:lnTo>
                    <a:pt x="28" y="204"/>
                  </a:lnTo>
                  <a:lnTo>
                    <a:pt x="26" y="206"/>
                  </a:lnTo>
                  <a:lnTo>
                    <a:pt x="26" y="208"/>
                  </a:lnTo>
                  <a:lnTo>
                    <a:pt x="24" y="208"/>
                  </a:lnTo>
                  <a:lnTo>
                    <a:pt x="24" y="206"/>
                  </a:lnTo>
                  <a:lnTo>
                    <a:pt x="21" y="204"/>
                  </a:lnTo>
                  <a:lnTo>
                    <a:pt x="17" y="199"/>
                  </a:lnTo>
                  <a:lnTo>
                    <a:pt x="14" y="199"/>
                  </a:lnTo>
                  <a:lnTo>
                    <a:pt x="14" y="197"/>
                  </a:lnTo>
                  <a:lnTo>
                    <a:pt x="12" y="199"/>
                  </a:lnTo>
                  <a:lnTo>
                    <a:pt x="12" y="201"/>
                  </a:lnTo>
                  <a:lnTo>
                    <a:pt x="9" y="201"/>
                  </a:lnTo>
                  <a:lnTo>
                    <a:pt x="9" y="204"/>
                  </a:lnTo>
                  <a:lnTo>
                    <a:pt x="7" y="206"/>
                  </a:lnTo>
                  <a:lnTo>
                    <a:pt x="7" y="208"/>
                  </a:lnTo>
                  <a:lnTo>
                    <a:pt x="7" y="211"/>
                  </a:lnTo>
                  <a:lnTo>
                    <a:pt x="7" y="213"/>
                  </a:lnTo>
                  <a:lnTo>
                    <a:pt x="5" y="216"/>
                  </a:lnTo>
                  <a:lnTo>
                    <a:pt x="2" y="216"/>
                  </a:lnTo>
                  <a:lnTo>
                    <a:pt x="2" y="216"/>
                  </a:lnTo>
                  <a:lnTo>
                    <a:pt x="0" y="216"/>
                  </a:lnTo>
                  <a:lnTo>
                    <a:pt x="2" y="218"/>
                  </a:lnTo>
                  <a:lnTo>
                    <a:pt x="0" y="220"/>
                  </a:lnTo>
                  <a:lnTo>
                    <a:pt x="0" y="223"/>
                  </a:lnTo>
                  <a:lnTo>
                    <a:pt x="2" y="225"/>
                  </a:lnTo>
                  <a:lnTo>
                    <a:pt x="2" y="225"/>
                  </a:lnTo>
                  <a:lnTo>
                    <a:pt x="2" y="227"/>
                  </a:lnTo>
                  <a:lnTo>
                    <a:pt x="5" y="227"/>
                  </a:lnTo>
                  <a:lnTo>
                    <a:pt x="5" y="230"/>
                  </a:lnTo>
                  <a:lnTo>
                    <a:pt x="5" y="232"/>
                  </a:lnTo>
                  <a:lnTo>
                    <a:pt x="5" y="234"/>
                  </a:lnTo>
                  <a:lnTo>
                    <a:pt x="5" y="234"/>
                  </a:lnTo>
                  <a:lnTo>
                    <a:pt x="5" y="237"/>
                  </a:lnTo>
                  <a:lnTo>
                    <a:pt x="5" y="237"/>
                  </a:lnTo>
                  <a:lnTo>
                    <a:pt x="2" y="237"/>
                  </a:lnTo>
                  <a:lnTo>
                    <a:pt x="2" y="239"/>
                  </a:lnTo>
                  <a:lnTo>
                    <a:pt x="5" y="242"/>
                  </a:lnTo>
                  <a:lnTo>
                    <a:pt x="7" y="244"/>
                  </a:lnTo>
                  <a:lnTo>
                    <a:pt x="7" y="244"/>
                  </a:lnTo>
                  <a:lnTo>
                    <a:pt x="7" y="246"/>
                  </a:lnTo>
                  <a:lnTo>
                    <a:pt x="7" y="246"/>
                  </a:lnTo>
                  <a:lnTo>
                    <a:pt x="7" y="246"/>
                  </a:lnTo>
                  <a:lnTo>
                    <a:pt x="7" y="246"/>
                  </a:lnTo>
                  <a:lnTo>
                    <a:pt x="9" y="244"/>
                  </a:lnTo>
                  <a:lnTo>
                    <a:pt x="9" y="246"/>
                  </a:lnTo>
                  <a:lnTo>
                    <a:pt x="12" y="246"/>
                  </a:lnTo>
                  <a:lnTo>
                    <a:pt x="12" y="246"/>
                  </a:lnTo>
                  <a:lnTo>
                    <a:pt x="12" y="249"/>
                  </a:lnTo>
                  <a:lnTo>
                    <a:pt x="12" y="249"/>
                  </a:lnTo>
                  <a:lnTo>
                    <a:pt x="14" y="251"/>
                  </a:lnTo>
                  <a:lnTo>
                    <a:pt x="14" y="253"/>
                  </a:lnTo>
                  <a:lnTo>
                    <a:pt x="14" y="253"/>
                  </a:lnTo>
                  <a:lnTo>
                    <a:pt x="14" y="253"/>
                  </a:lnTo>
                  <a:lnTo>
                    <a:pt x="14" y="256"/>
                  </a:lnTo>
                  <a:lnTo>
                    <a:pt x="14" y="258"/>
                  </a:lnTo>
                  <a:lnTo>
                    <a:pt x="14" y="260"/>
                  </a:lnTo>
                  <a:lnTo>
                    <a:pt x="14" y="263"/>
                  </a:lnTo>
                  <a:lnTo>
                    <a:pt x="14" y="263"/>
                  </a:lnTo>
                  <a:lnTo>
                    <a:pt x="14" y="265"/>
                  </a:lnTo>
                  <a:lnTo>
                    <a:pt x="14" y="265"/>
                  </a:lnTo>
                  <a:lnTo>
                    <a:pt x="14" y="268"/>
                  </a:lnTo>
                  <a:lnTo>
                    <a:pt x="14" y="268"/>
                  </a:lnTo>
                  <a:lnTo>
                    <a:pt x="14" y="270"/>
                  </a:lnTo>
                  <a:lnTo>
                    <a:pt x="12" y="270"/>
                  </a:lnTo>
                  <a:lnTo>
                    <a:pt x="12" y="270"/>
                  </a:lnTo>
                  <a:lnTo>
                    <a:pt x="14" y="272"/>
                  </a:lnTo>
                  <a:lnTo>
                    <a:pt x="17" y="275"/>
                  </a:lnTo>
                  <a:lnTo>
                    <a:pt x="17" y="275"/>
                  </a:lnTo>
                  <a:lnTo>
                    <a:pt x="19" y="275"/>
                  </a:lnTo>
                  <a:lnTo>
                    <a:pt x="19" y="272"/>
                  </a:lnTo>
                  <a:lnTo>
                    <a:pt x="21" y="270"/>
                  </a:lnTo>
                  <a:lnTo>
                    <a:pt x="21" y="270"/>
                  </a:lnTo>
                  <a:lnTo>
                    <a:pt x="24" y="270"/>
                  </a:lnTo>
                  <a:lnTo>
                    <a:pt x="24" y="272"/>
                  </a:lnTo>
                  <a:lnTo>
                    <a:pt x="26" y="275"/>
                  </a:lnTo>
                  <a:lnTo>
                    <a:pt x="26" y="277"/>
                  </a:lnTo>
                  <a:lnTo>
                    <a:pt x="26" y="277"/>
                  </a:lnTo>
                  <a:lnTo>
                    <a:pt x="28" y="277"/>
                  </a:lnTo>
                  <a:lnTo>
                    <a:pt x="28" y="277"/>
                  </a:lnTo>
                  <a:lnTo>
                    <a:pt x="28" y="277"/>
                  </a:lnTo>
                  <a:lnTo>
                    <a:pt x="28" y="275"/>
                  </a:lnTo>
                  <a:lnTo>
                    <a:pt x="28" y="275"/>
                  </a:lnTo>
                  <a:lnTo>
                    <a:pt x="31" y="272"/>
                  </a:lnTo>
                  <a:lnTo>
                    <a:pt x="33" y="270"/>
                  </a:lnTo>
                  <a:lnTo>
                    <a:pt x="33" y="270"/>
                  </a:lnTo>
                  <a:lnTo>
                    <a:pt x="35" y="270"/>
                  </a:lnTo>
                  <a:lnTo>
                    <a:pt x="38" y="270"/>
                  </a:lnTo>
                  <a:lnTo>
                    <a:pt x="40" y="272"/>
                  </a:lnTo>
                  <a:lnTo>
                    <a:pt x="45" y="275"/>
                  </a:lnTo>
                  <a:lnTo>
                    <a:pt x="45" y="275"/>
                  </a:lnTo>
                  <a:lnTo>
                    <a:pt x="45" y="275"/>
                  </a:lnTo>
                  <a:lnTo>
                    <a:pt x="47" y="272"/>
                  </a:lnTo>
                  <a:lnTo>
                    <a:pt x="47" y="270"/>
                  </a:lnTo>
                  <a:lnTo>
                    <a:pt x="50" y="270"/>
                  </a:lnTo>
                  <a:lnTo>
                    <a:pt x="52" y="270"/>
                  </a:lnTo>
                  <a:lnTo>
                    <a:pt x="52" y="270"/>
                  </a:lnTo>
                  <a:lnTo>
                    <a:pt x="52" y="268"/>
                  </a:lnTo>
                  <a:lnTo>
                    <a:pt x="52" y="268"/>
                  </a:lnTo>
                  <a:lnTo>
                    <a:pt x="52" y="268"/>
                  </a:lnTo>
                  <a:lnTo>
                    <a:pt x="52" y="265"/>
                  </a:lnTo>
                  <a:lnTo>
                    <a:pt x="52" y="265"/>
                  </a:lnTo>
                  <a:lnTo>
                    <a:pt x="52" y="265"/>
                  </a:lnTo>
                  <a:lnTo>
                    <a:pt x="54" y="265"/>
                  </a:lnTo>
                  <a:lnTo>
                    <a:pt x="54" y="265"/>
                  </a:lnTo>
                  <a:lnTo>
                    <a:pt x="57" y="265"/>
                  </a:lnTo>
                  <a:lnTo>
                    <a:pt x="59" y="265"/>
                  </a:lnTo>
                  <a:lnTo>
                    <a:pt x="59" y="268"/>
                  </a:lnTo>
                  <a:lnTo>
                    <a:pt x="59" y="270"/>
                  </a:lnTo>
                  <a:lnTo>
                    <a:pt x="61" y="272"/>
                  </a:lnTo>
                  <a:lnTo>
                    <a:pt x="61" y="277"/>
                  </a:lnTo>
                  <a:lnTo>
                    <a:pt x="61" y="279"/>
                  </a:lnTo>
                  <a:lnTo>
                    <a:pt x="61" y="282"/>
                  </a:lnTo>
                  <a:lnTo>
                    <a:pt x="64" y="282"/>
                  </a:lnTo>
                  <a:lnTo>
                    <a:pt x="64" y="282"/>
                  </a:lnTo>
                  <a:lnTo>
                    <a:pt x="64" y="282"/>
                  </a:lnTo>
                  <a:lnTo>
                    <a:pt x="66" y="284"/>
                  </a:lnTo>
                  <a:lnTo>
                    <a:pt x="66" y="284"/>
                  </a:lnTo>
                  <a:lnTo>
                    <a:pt x="66" y="286"/>
                  </a:lnTo>
                  <a:lnTo>
                    <a:pt x="68" y="286"/>
                  </a:lnTo>
                  <a:lnTo>
                    <a:pt x="71" y="286"/>
                  </a:lnTo>
                  <a:lnTo>
                    <a:pt x="71" y="289"/>
                  </a:lnTo>
                  <a:lnTo>
                    <a:pt x="71" y="289"/>
                  </a:lnTo>
                  <a:lnTo>
                    <a:pt x="68" y="289"/>
                  </a:lnTo>
                  <a:lnTo>
                    <a:pt x="68" y="289"/>
                  </a:lnTo>
                  <a:lnTo>
                    <a:pt x="68" y="291"/>
                  </a:lnTo>
                  <a:lnTo>
                    <a:pt x="66" y="291"/>
                  </a:lnTo>
                  <a:lnTo>
                    <a:pt x="64" y="294"/>
                  </a:lnTo>
                  <a:lnTo>
                    <a:pt x="64" y="296"/>
                  </a:lnTo>
                  <a:lnTo>
                    <a:pt x="66" y="296"/>
                  </a:lnTo>
                  <a:lnTo>
                    <a:pt x="66" y="296"/>
                  </a:lnTo>
                  <a:lnTo>
                    <a:pt x="66" y="296"/>
                  </a:lnTo>
                  <a:lnTo>
                    <a:pt x="68" y="294"/>
                  </a:lnTo>
                  <a:lnTo>
                    <a:pt x="68" y="296"/>
                  </a:lnTo>
                  <a:lnTo>
                    <a:pt x="71" y="296"/>
                  </a:lnTo>
                  <a:lnTo>
                    <a:pt x="71" y="296"/>
                  </a:lnTo>
                  <a:lnTo>
                    <a:pt x="71" y="298"/>
                  </a:lnTo>
                  <a:lnTo>
                    <a:pt x="71" y="298"/>
                  </a:lnTo>
                  <a:lnTo>
                    <a:pt x="71" y="301"/>
                  </a:lnTo>
                  <a:lnTo>
                    <a:pt x="71" y="303"/>
                  </a:lnTo>
                  <a:lnTo>
                    <a:pt x="71" y="305"/>
                  </a:lnTo>
                  <a:lnTo>
                    <a:pt x="73" y="308"/>
                  </a:lnTo>
                  <a:lnTo>
                    <a:pt x="78" y="310"/>
                  </a:lnTo>
                  <a:lnTo>
                    <a:pt x="78" y="310"/>
                  </a:lnTo>
                  <a:lnTo>
                    <a:pt x="78" y="313"/>
                  </a:lnTo>
                  <a:lnTo>
                    <a:pt x="78" y="313"/>
                  </a:lnTo>
                  <a:lnTo>
                    <a:pt x="78" y="313"/>
                  </a:lnTo>
                  <a:lnTo>
                    <a:pt x="78" y="313"/>
                  </a:lnTo>
                  <a:lnTo>
                    <a:pt x="80" y="313"/>
                  </a:lnTo>
                  <a:lnTo>
                    <a:pt x="83" y="310"/>
                  </a:lnTo>
                  <a:lnTo>
                    <a:pt x="83" y="308"/>
                  </a:lnTo>
                  <a:lnTo>
                    <a:pt x="85" y="308"/>
                  </a:lnTo>
                  <a:lnTo>
                    <a:pt x="85" y="308"/>
                  </a:lnTo>
                  <a:lnTo>
                    <a:pt x="87" y="308"/>
                  </a:lnTo>
                  <a:lnTo>
                    <a:pt x="87" y="308"/>
                  </a:lnTo>
                  <a:lnTo>
                    <a:pt x="87" y="310"/>
                  </a:lnTo>
                  <a:lnTo>
                    <a:pt x="87" y="310"/>
                  </a:lnTo>
                  <a:lnTo>
                    <a:pt x="90" y="310"/>
                  </a:lnTo>
                  <a:lnTo>
                    <a:pt x="92" y="313"/>
                  </a:lnTo>
                  <a:lnTo>
                    <a:pt x="94" y="313"/>
                  </a:lnTo>
                  <a:lnTo>
                    <a:pt x="94" y="313"/>
                  </a:lnTo>
                  <a:lnTo>
                    <a:pt x="94" y="313"/>
                  </a:lnTo>
                  <a:lnTo>
                    <a:pt x="94" y="313"/>
                  </a:lnTo>
                  <a:lnTo>
                    <a:pt x="97" y="313"/>
                  </a:lnTo>
                  <a:lnTo>
                    <a:pt x="97" y="313"/>
                  </a:lnTo>
                  <a:lnTo>
                    <a:pt x="94" y="310"/>
                  </a:lnTo>
                  <a:lnTo>
                    <a:pt x="97" y="310"/>
                  </a:lnTo>
                  <a:lnTo>
                    <a:pt x="97" y="310"/>
                  </a:lnTo>
                  <a:lnTo>
                    <a:pt x="97" y="310"/>
                  </a:lnTo>
                  <a:lnTo>
                    <a:pt x="99" y="310"/>
                  </a:lnTo>
                  <a:lnTo>
                    <a:pt x="99" y="310"/>
                  </a:lnTo>
                  <a:lnTo>
                    <a:pt x="101" y="310"/>
                  </a:lnTo>
                  <a:lnTo>
                    <a:pt x="101" y="308"/>
                  </a:lnTo>
                  <a:lnTo>
                    <a:pt x="101" y="305"/>
                  </a:lnTo>
                  <a:lnTo>
                    <a:pt x="101" y="305"/>
                  </a:lnTo>
                  <a:lnTo>
                    <a:pt x="101" y="303"/>
                  </a:lnTo>
                  <a:lnTo>
                    <a:pt x="101" y="303"/>
                  </a:lnTo>
                  <a:lnTo>
                    <a:pt x="104" y="305"/>
                  </a:lnTo>
                  <a:lnTo>
                    <a:pt x="104" y="305"/>
                  </a:lnTo>
                  <a:lnTo>
                    <a:pt x="106" y="305"/>
                  </a:lnTo>
                  <a:lnTo>
                    <a:pt x="106" y="305"/>
                  </a:lnTo>
                  <a:lnTo>
                    <a:pt x="106" y="303"/>
                  </a:lnTo>
                  <a:lnTo>
                    <a:pt x="106" y="303"/>
                  </a:lnTo>
                  <a:lnTo>
                    <a:pt x="106" y="303"/>
                  </a:lnTo>
                  <a:lnTo>
                    <a:pt x="106" y="303"/>
                  </a:lnTo>
                  <a:lnTo>
                    <a:pt x="108" y="301"/>
                  </a:lnTo>
                  <a:lnTo>
                    <a:pt x="108" y="301"/>
                  </a:lnTo>
                  <a:lnTo>
                    <a:pt x="108" y="303"/>
                  </a:lnTo>
                  <a:lnTo>
                    <a:pt x="108" y="305"/>
                  </a:lnTo>
                  <a:lnTo>
                    <a:pt x="111" y="305"/>
                  </a:lnTo>
                  <a:lnTo>
                    <a:pt x="111" y="308"/>
                  </a:lnTo>
                  <a:lnTo>
                    <a:pt x="111" y="308"/>
                  </a:lnTo>
                  <a:lnTo>
                    <a:pt x="111" y="310"/>
                  </a:lnTo>
                  <a:lnTo>
                    <a:pt x="108" y="310"/>
                  </a:lnTo>
                  <a:lnTo>
                    <a:pt x="108" y="310"/>
                  </a:lnTo>
                  <a:lnTo>
                    <a:pt x="111" y="313"/>
                  </a:lnTo>
                  <a:lnTo>
                    <a:pt x="111" y="313"/>
                  </a:lnTo>
                  <a:lnTo>
                    <a:pt x="113" y="313"/>
                  </a:lnTo>
                  <a:lnTo>
                    <a:pt x="113" y="313"/>
                  </a:lnTo>
                  <a:lnTo>
                    <a:pt x="116" y="310"/>
                  </a:lnTo>
                  <a:lnTo>
                    <a:pt x="116" y="310"/>
                  </a:lnTo>
                  <a:lnTo>
                    <a:pt x="116" y="310"/>
                  </a:lnTo>
                  <a:lnTo>
                    <a:pt x="116" y="308"/>
                  </a:lnTo>
                  <a:lnTo>
                    <a:pt x="120" y="308"/>
                  </a:lnTo>
                  <a:lnTo>
                    <a:pt x="123" y="308"/>
                  </a:lnTo>
                  <a:lnTo>
                    <a:pt x="123" y="308"/>
                  </a:lnTo>
                  <a:lnTo>
                    <a:pt x="123" y="305"/>
                  </a:lnTo>
                  <a:lnTo>
                    <a:pt x="123" y="305"/>
                  </a:lnTo>
                  <a:lnTo>
                    <a:pt x="123" y="303"/>
                  </a:lnTo>
                  <a:lnTo>
                    <a:pt x="125" y="301"/>
                  </a:lnTo>
                  <a:lnTo>
                    <a:pt x="125" y="296"/>
                  </a:lnTo>
                  <a:lnTo>
                    <a:pt x="123" y="294"/>
                  </a:lnTo>
                  <a:lnTo>
                    <a:pt x="125" y="294"/>
                  </a:lnTo>
                  <a:lnTo>
                    <a:pt x="125" y="294"/>
                  </a:lnTo>
                  <a:lnTo>
                    <a:pt x="127" y="291"/>
                  </a:lnTo>
                  <a:lnTo>
                    <a:pt x="127" y="286"/>
                  </a:lnTo>
                  <a:lnTo>
                    <a:pt x="127" y="284"/>
                  </a:lnTo>
                  <a:lnTo>
                    <a:pt x="127" y="284"/>
                  </a:lnTo>
                  <a:lnTo>
                    <a:pt x="127" y="282"/>
                  </a:lnTo>
                  <a:lnTo>
                    <a:pt x="127" y="282"/>
                  </a:lnTo>
                  <a:lnTo>
                    <a:pt x="127" y="279"/>
                  </a:lnTo>
                  <a:lnTo>
                    <a:pt x="127" y="277"/>
                  </a:lnTo>
                  <a:lnTo>
                    <a:pt x="127" y="277"/>
                  </a:lnTo>
                  <a:lnTo>
                    <a:pt x="130" y="275"/>
                  </a:lnTo>
                  <a:lnTo>
                    <a:pt x="130" y="275"/>
                  </a:lnTo>
                  <a:lnTo>
                    <a:pt x="134" y="275"/>
                  </a:lnTo>
                  <a:lnTo>
                    <a:pt x="137" y="275"/>
                  </a:lnTo>
                  <a:lnTo>
                    <a:pt x="139" y="272"/>
                  </a:lnTo>
                  <a:lnTo>
                    <a:pt x="139" y="272"/>
                  </a:lnTo>
                  <a:lnTo>
                    <a:pt x="141" y="272"/>
                  </a:lnTo>
                  <a:lnTo>
                    <a:pt x="141" y="270"/>
                  </a:lnTo>
                  <a:lnTo>
                    <a:pt x="141" y="268"/>
                  </a:lnTo>
                  <a:lnTo>
                    <a:pt x="144" y="268"/>
                  </a:lnTo>
                  <a:lnTo>
                    <a:pt x="144" y="263"/>
                  </a:lnTo>
                  <a:lnTo>
                    <a:pt x="144" y="263"/>
                  </a:lnTo>
                  <a:lnTo>
                    <a:pt x="144" y="260"/>
                  </a:lnTo>
                  <a:lnTo>
                    <a:pt x="141" y="260"/>
                  </a:lnTo>
                  <a:lnTo>
                    <a:pt x="146" y="258"/>
                  </a:lnTo>
                  <a:lnTo>
                    <a:pt x="146" y="256"/>
                  </a:lnTo>
                  <a:lnTo>
                    <a:pt x="146" y="253"/>
                  </a:lnTo>
                  <a:lnTo>
                    <a:pt x="146" y="251"/>
                  </a:lnTo>
                  <a:lnTo>
                    <a:pt x="146" y="251"/>
                  </a:lnTo>
                  <a:lnTo>
                    <a:pt x="146" y="249"/>
                  </a:lnTo>
                  <a:lnTo>
                    <a:pt x="149" y="249"/>
                  </a:lnTo>
                  <a:lnTo>
                    <a:pt x="149" y="246"/>
                  </a:lnTo>
                  <a:lnTo>
                    <a:pt x="151" y="246"/>
                  </a:lnTo>
                  <a:lnTo>
                    <a:pt x="153" y="244"/>
                  </a:lnTo>
                  <a:lnTo>
                    <a:pt x="153" y="246"/>
                  </a:lnTo>
                  <a:lnTo>
                    <a:pt x="160" y="249"/>
                  </a:lnTo>
                  <a:lnTo>
                    <a:pt x="160" y="249"/>
                  </a:lnTo>
                  <a:lnTo>
                    <a:pt x="160" y="249"/>
                  </a:lnTo>
                  <a:lnTo>
                    <a:pt x="163" y="249"/>
                  </a:lnTo>
                  <a:lnTo>
                    <a:pt x="165" y="246"/>
                  </a:lnTo>
                  <a:lnTo>
                    <a:pt x="165" y="244"/>
                  </a:lnTo>
                  <a:lnTo>
                    <a:pt x="165" y="242"/>
                  </a:lnTo>
                  <a:lnTo>
                    <a:pt x="165" y="239"/>
                  </a:lnTo>
                  <a:lnTo>
                    <a:pt x="167" y="239"/>
                  </a:lnTo>
                  <a:lnTo>
                    <a:pt x="170" y="239"/>
                  </a:lnTo>
                  <a:lnTo>
                    <a:pt x="170" y="239"/>
                  </a:lnTo>
                  <a:lnTo>
                    <a:pt x="172" y="239"/>
                  </a:lnTo>
                  <a:lnTo>
                    <a:pt x="172" y="239"/>
                  </a:lnTo>
                  <a:lnTo>
                    <a:pt x="172" y="237"/>
                  </a:lnTo>
                  <a:lnTo>
                    <a:pt x="172" y="237"/>
                  </a:lnTo>
                  <a:lnTo>
                    <a:pt x="172" y="232"/>
                  </a:lnTo>
                  <a:lnTo>
                    <a:pt x="174" y="230"/>
                  </a:lnTo>
                  <a:lnTo>
                    <a:pt x="177" y="227"/>
                  </a:lnTo>
                  <a:lnTo>
                    <a:pt x="179" y="227"/>
                  </a:lnTo>
                  <a:lnTo>
                    <a:pt x="182" y="227"/>
                  </a:lnTo>
                  <a:lnTo>
                    <a:pt x="186" y="230"/>
                  </a:lnTo>
                  <a:lnTo>
                    <a:pt x="189" y="227"/>
                  </a:lnTo>
                  <a:lnTo>
                    <a:pt x="189" y="223"/>
                  </a:lnTo>
                  <a:lnTo>
                    <a:pt x="191" y="223"/>
                  </a:lnTo>
                  <a:lnTo>
                    <a:pt x="193" y="223"/>
                  </a:lnTo>
                  <a:lnTo>
                    <a:pt x="196" y="220"/>
                  </a:lnTo>
                  <a:lnTo>
                    <a:pt x="196" y="220"/>
                  </a:lnTo>
                  <a:lnTo>
                    <a:pt x="198" y="218"/>
                  </a:lnTo>
                  <a:lnTo>
                    <a:pt x="203" y="216"/>
                  </a:lnTo>
                  <a:lnTo>
                    <a:pt x="207" y="216"/>
                  </a:lnTo>
                  <a:lnTo>
                    <a:pt x="207" y="216"/>
                  </a:lnTo>
                  <a:lnTo>
                    <a:pt x="210" y="213"/>
                  </a:lnTo>
                  <a:lnTo>
                    <a:pt x="212" y="211"/>
                  </a:lnTo>
                  <a:lnTo>
                    <a:pt x="214" y="208"/>
                  </a:lnTo>
                  <a:lnTo>
                    <a:pt x="217" y="208"/>
                  </a:lnTo>
                  <a:lnTo>
                    <a:pt x="217" y="211"/>
                  </a:lnTo>
                  <a:lnTo>
                    <a:pt x="217" y="211"/>
                  </a:lnTo>
                  <a:lnTo>
                    <a:pt x="219" y="211"/>
                  </a:lnTo>
                  <a:lnTo>
                    <a:pt x="222" y="211"/>
                  </a:lnTo>
                  <a:lnTo>
                    <a:pt x="226" y="211"/>
                  </a:lnTo>
                  <a:lnTo>
                    <a:pt x="229" y="213"/>
                  </a:lnTo>
                  <a:lnTo>
                    <a:pt x="231" y="211"/>
                  </a:lnTo>
                  <a:lnTo>
                    <a:pt x="231" y="211"/>
                  </a:lnTo>
                  <a:lnTo>
                    <a:pt x="233" y="211"/>
                  </a:lnTo>
                  <a:lnTo>
                    <a:pt x="238" y="213"/>
                  </a:lnTo>
                  <a:lnTo>
                    <a:pt x="243" y="211"/>
                  </a:lnTo>
                  <a:lnTo>
                    <a:pt x="243" y="211"/>
                  </a:lnTo>
                  <a:lnTo>
                    <a:pt x="247" y="208"/>
                  </a:lnTo>
                  <a:lnTo>
                    <a:pt x="250" y="206"/>
                  </a:lnTo>
                  <a:lnTo>
                    <a:pt x="255" y="206"/>
                  </a:lnTo>
                  <a:lnTo>
                    <a:pt x="259" y="204"/>
                  </a:lnTo>
                  <a:lnTo>
                    <a:pt x="264" y="204"/>
                  </a:lnTo>
                  <a:lnTo>
                    <a:pt x="271" y="204"/>
                  </a:lnTo>
                  <a:lnTo>
                    <a:pt x="276" y="204"/>
                  </a:lnTo>
                  <a:lnTo>
                    <a:pt x="280" y="204"/>
                  </a:lnTo>
                  <a:lnTo>
                    <a:pt x="280" y="201"/>
                  </a:lnTo>
                  <a:lnTo>
                    <a:pt x="283" y="201"/>
                  </a:lnTo>
                  <a:lnTo>
                    <a:pt x="283" y="201"/>
                  </a:lnTo>
                  <a:lnTo>
                    <a:pt x="288" y="204"/>
                  </a:lnTo>
                  <a:lnTo>
                    <a:pt x="290" y="204"/>
                  </a:lnTo>
                  <a:lnTo>
                    <a:pt x="290" y="201"/>
                  </a:lnTo>
                  <a:lnTo>
                    <a:pt x="295" y="197"/>
                  </a:lnTo>
                  <a:lnTo>
                    <a:pt x="297" y="197"/>
                  </a:lnTo>
                  <a:lnTo>
                    <a:pt x="297" y="197"/>
                  </a:lnTo>
                  <a:lnTo>
                    <a:pt x="297" y="194"/>
                  </a:lnTo>
                  <a:lnTo>
                    <a:pt x="297" y="194"/>
                  </a:lnTo>
                  <a:lnTo>
                    <a:pt x="297" y="192"/>
                  </a:lnTo>
                  <a:lnTo>
                    <a:pt x="299" y="192"/>
                  </a:lnTo>
                  <a:lnTo>
                    <a:pt x="299" y="190"/>
                  </a:lnTo>
                  <a:lnTo>
                    <a:pt x="299" y="185"/>
                  </a:lnTo>
                  <a:lnTo>
                    <a:pt x="302" y="182"/>
                  </a:lnTo>
                  <a:lnTo>
                    <a:pt x="304" y="178"/>
                  </a:lnTo>
                  <a:lnTo>
                    <a:pt x="304" y="173"/>
                  </a:lnTo>
                  <a:lnTo>
                    <a:pt x="304" y="171"/>
                  </a:lnTo>
                  <a:lnTo>
                    <a:pt x="304" y="168"/>
                  </a:lnTo>
                  <a:lnTo>
                    <a:pt x="304" y="164"/>
                  </a:lnTo>
                  <a:lnTo>
                    <a:pt x="304" y="156"/>
                  </a:lnTo>
                  <a:lnTo>
                    <a:pt x="304" y="152"/>
                  </a:lnTo>
                  <a:lnTo>
                    <a:pt x="304" y="145"/>
                  </a:lnTo>
                  <a:lnTo>
                    <a:pt x="304" y="140"/>
                  </a:lnTo>
                  <a:lnTo>
                    <a:pt x="304" y="133"/>
                  </a:lnTo>
                  <a:lnTo>
                    <a:pt x="304" y="128"/>
                  </a:lnTo>
                  <a:lnTo>
                    <a:pt x="304" y="123"/>
                  </a:lnTo>
                  <a:lnTo>
                    <a:pt x="299" y="1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5" name="Freeform 291"/>
            <p:cNvSpPr>
              <a:spLocks noEditPoints="1"/>
            </p:cNvSpPr>
            <p:nvPr userDrawn="1"/>
          </p:nvSpPr>
          <p:spPr bwMode="auto">
            <a:xfrm>
              <a:off x="5510" y="2661"/>
              <a:ext cx="358" cy="128"/>
            </a:xfrm>
            <a:custGeom>
              <a:avLst/>
              <a:gdLst>
                <a:gd name="T0" fmla="*/ 212 w 358"/>
                <a:gd name="T1" fmla="*/ 90 h 128"/>
                <a:gd name="T2" fmla="*/ 26 w 358"/>
                <a:gd name="T3" fmla="*/ 83 h 128"/>
                <a:gd name="T4" fmla="*/ 330 w 358"/>
                <a:gd name="T5" fmla="*/ 57 h 128"/>
                <a:gd name="T6" fmla="*/ 66 w 358"/>
                <a:gd name="T7" fmla="*/ 78 h 128"/>
                <a:gd name="T8" fmla="*/ 64 w 358"/>
                <a:gd name="T9" fmla="*/ 45 h 128"/>
                <a:gd name="T10" fmla="*/ 40 w 358"/>
                <a:gd name="T11" fmla="*/ 17 h 128"/>
                <a:gd name="T12" fmla="*/ 31 w 358"/>
                <a:gd name="T13" fmla="*/ 26 h 128"/>
                <a:gd name="T14" fmla="*/ 21 w 358"/>
                <a:gd name="T15" fmla="*/ 26 h 128"/>
                <a:gd name="T16" fmla="*/ 19 w 358"/>
                <a:gd name="T17" fmla="*/ 21 h 128"/>
                <a:gd name="T18" fmla="*/ 14 w 358"/>
                <a:gd name="T19" fmla="*/ 12 h 128"/>
                <a:gd name="T20" fmla="*/ 2 w 358"/>
                <a:gd name="T21" fmla="*/ 5 h 128"/>
                <a:gd name="T22" fmla="*/ 5 w 358"/>
                <a:gd name="T23" fmla="*/ 28 h 128"/>
                <a:gd name="T24" fmla="*/ 14 w 358"/>
                <a:gd name="T25" fmla="*/ 64 h 128"/>
                <a:gd name="T26" fmla="*/ 26 w 358"/>
                <a:gd name="T27" fmla="*/ 85 h 128"/>
                <a:gd name="T28" fmla="*/ 52 w 358"/>
                <a:gd name="T29" fmla="*/ 106 h 128"/>
                <a:gd name="T30" fmla="*/ 73 w 358"/>
                <a:gd name="T31" fmla="*/ 116 h 128"/>
                <a:gd name="T32" fmla="*/ 78 w 358"/>
                <a:gd name="T33" fmla="*/ 116 h 128"/>
                <a:gd name="T34" fmla="*/ 356 w 358"/>
                <a:gd name="T35" fmla="*/ 33 h 128"/>
                <a:gd name="T36" fmla="*/ 344 w 358"/>
                <a:gd name="T37" fmla="*/ 26 h 128"/>
                <a:gd name="T38" fmla="*/ 332 w 358"/>
                <a:gd name="T39" fmla="*/ 26 h 128"/>
                <a:gd name="T40" fmla="*/ 330 w 358"/>
                <a:gd name="T41" fmla="*/ 21 h 128"/>
                <a:gd name="T42" fmla="*/ 325 w 358"/>
                <a:gd name="T43" fmla="*/ 12 h 128"/>
                <a:gd name="T44" fmla="*/ 318 w 358"/>
                <a:gd name="T45" fmla="*/ 0 h 128"/>
                <a:gd name="T46" fmla="*/ 311 w 358"/>
                <a:gd name="T47" fmla="*/ 5 h 128"/>
                <a:gd name="T48" fmla="*/ 299 w 358"/>
                <a:gd name="T49" fmla="*/ 17 h 128"/>
                <a:gd name="T50" fmla="*/ 290 w 358"/>
                <a:gd name="T51" fmla="*/ 28 h 128"/>
                <a:gd name="T52" fmla="*/ 288 w 358"/>
                <a:gd name="T53" fmla="*/ 40 h 128"/>
                <a:gd name="T54" fmla="*/ 285 w 358"/>
                <a:gd name="T55" fmla="*/ 54 h 128"/>
                <a:gd name="T56" fmla="*/ 278 w 358"/>
                <a:gd name="T57" fmla="*/ 45 h 128"/>
                <a:gd name="T58" fmla="*/ 276 w 358"/>
                <a:gd name="T59" fmla="*/ 52 h 128"/>
                <a:gd name="T60" fmla="*/ 273 w 358"/>
                <a:gd name="T61" fmla="*/ 62 h 128"/>
                <a:gd name="T62" fmla="*/ 266 w 358"/>
                <a:gd name="T63" fmla="*/ 54 h 128"/>
                <a:gd name="T64" fmla="*/ 259 w 358"/>
                <a:gd name="T65" fmla="*/ 50 h 128"/>
                <a:gd name="T66" fmla="*/ 245 w 358"/>
                <a:gd name="T67" fmla="*/ 76 h 128"/>
                <a:gd name="T68" fmla="*/ 215 w 358"/>
                <a:gd name="T69" fmla="*/ 90 h 128"/>
                <a:gd name="T70" fmla="*/ 210 w 358"/>
                <a:gd name="T71" fmla="*/ 95 h 128"/>
                <a:gd name="T72" fmla="*/ 210 w 358"/>
                <a:gd name="T73" fmla="*/ 111 h 128"/>
                <a:gd name="T74" fmla="*/ 207 w 358"/>
                <a:gd name="T75" fmla="*/ 118 h 128"/>
                <a:gd name="T76" fmla="*/ 193 w 358"/>
                <a:gd name="T77" fmla="*/ 111 h 128"/>
                <a:gd name="T78" fmla="*/ 179 w 358"/>
                <a:gd name="T79" fmla="*/ 109 h 128"/>
                <a:gd name="T80" fmla="*/ 189 w 358"/>
                <a:gd name="T81" fmla="*/ 121 h 128"/>
                <a:gd name="T82" fmla="*/ 205 w 358"/>
                <a:gd name="T83" fmla="*/ 125 h 128"/>
                <a:gd name="T84" fmla="*/ 222 w 358"/>
                <a:gd name="T85" fmla="*/ 125 h 128"/>
                <a:gd name="T86" fmla="*/ 231 w 358"/>
                <a:gd name="T87" fmla="*/ 116 h 128"/>
                <a:gd name="T88" fmla="*/ 245 w 358"/>
                <a:gd name="T89" fmla="*/ 116 h 128"/>
                <a:gd name="T90" fmla="*/ 259 w 358"/>
                <a:gd name="T91" fmla="*/ 116 h 128"/>
                <a:gd name="T92" fmla="*/ 273 w 358"/>
                <a:gd name="T93" fmla="*/ 114 h 128"/>
                <a:gd name="T94" fmla="*/ 276 w 358"/>
                <a:gd name="T95" fmla="*/ 104 h 128"/>
                <a:gd name="T96" fmla="*/ 283 w 358"/>
                <a:gd name="T97" fmla="*/ 95 h 128"/>
                <a:gd name="T98" fmla="*/ 281 w 358"/>
                <a:gd name="T99" fmla="*/ 88 h 128"/>
                <a:gd name="T100" fmla="*/ 290 w 358"/>
                <a:gd name="T101" fmla="*/ 80 h 128"/>
                <a:gd name="T102" fmla="*/ 290 w 358"/>
                <a:gd name="T103" fmla="*/ 69 h 128"/>
                <a:gd name="T104" fmla="*/ 295 w 358"/>
                <a:gd name="T105" fmla="*/ 54 h 128"/>
                <a:gd name="T106" fmla="*/ 309 w 358"/>
                <a:gd name="T107" fmla="*/ 54 h 128"/>
                <a:gd name="T108" fmla="*/ 325 w 358"/>
                <a:gd name="T109" fmla="*/ 59 h 128"/>
                <a:gd name="T110" fmla="*/ 337 w 358"/>
                <a:gd name="T111" fmla="*/ 57 h 128"/>
                <a:gd name="T112" fmla="*/ 339 w 358"/>
                <a:gd name="T113" fmla="*/ 47 h 128"/>
                <a:gd name="T114" fmla="*/ 356 w 358"/>
                <a:gd name="T115" fmla="*/ 3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8" h="128">
                  <a:moveTo>
                    <a:pt x="212" y="97"/>
                  </a:moveTo>
                  <a:lnTo>
                    <a:pt x="212" y="95"/>
                  </a:lnTo>
                  <a:lnTo>
                    <a:pt x="212" y="95"/>
                  </a:lnTo>
                  <a:lnTo>
                    <a:pt x="212" y="92"/>
                  </a:lnTo>
                  <a:lnTo>
                    <a:pt x="212" y="90"/>
                  </a:lnTo>
                  <a:lnTo>
                    <a:pt x="212" y="88"/>
                  </a:lnTo>
                  <a:lnTo>
                    <a:pt x="212" y="88"/>
                  </a:lnTo>
                  <a:lnTo>
                    <a:pt x="212" y="90"/>
                  </a:lnTo>
                  <a:lnTo>
                    <a:pt x="212" y="95"/>
                  </a:lnTo>
                  <a:lnTo>
                    <a:pt x="212" y="97"/>
                  </a:lnTo>
                  <a:close/>
                  <a:moveTo>
                    <a:pt x="26" y="83"/>
                  </a:moveTo>
                  <a:lnTo>
                    <a:pt x="26" y="83"/>
                  </a:lnTo>
                  <a:lnTo>
                    <a:pt x="24" y="83"/>
                  </a:lnTo>
                  <a:lnTo>
                    <a:pt x="24" y="83"/>
                  </a:lnTo>
                  <a:lnTo>
                    <a:pt x="24" y="85"/>
                  </a:lnTo>
                  <a:lnTo>
                    <a:pt x="26" y="83"/>
                  </a:lnTo>
                  <a:lnTo>
                    <a:pt x="26" y="83"/>
                  </a:lnTo>
                  <a:close/>
                  <a:moveTo>
                    <a:pt x="330" y="57"/>
                  </a:moveTo>
                  <a:lnTo>
                    <a:pt x="328" y="57"/>
                  </a:lnTo>
                  <a:lnTo>
                    <a:pt x="328" y="57"/>
                  </a:lnTo>
                  <a:lnTo>
                    <a:pt x="328" y="59"/>
                  </a:lnTo>
                  <a:lnTo>
                    <a:pt x="330" y="59"/>
                  </a:lnTo>
                  <a:lnTo>
                    <a:pt x="332" y="59"/>
                  </a:lnTo>
                  <a:lnTo>
                    <a:pt x="330" y="57"/>
                  </a:lnTo>
                  <a:lnTo>
                    <a:pt x="330" y="57"/>
                  </a:lnTo>
                  <a:close/>
                  <a:moveTo>
                    <a:pt x="76" y="99"/>
                  </a:moveTo>
                  <a:lnTo>
                    <a:pt x="73" y="95"/>
                  </a:lnTo>
                  <a:lnTo>
                    <a:pt x="73" y="92"/>
                  </a:lnTo>
                  <a:lnTo>
                    <a:pt x="66" y="88"/>
                  </a:lnTo>
                  <a:lnTo>
                    <a:pt x="66" y="88"/>
                  </a:lnTo>
                  <a:lnTo>
                    <a:pt x="66" y="85"/>
                  </a:lnTo>
                  <a:lnTo>
                    <a:pt x="66" y="78"/>
                  </a:lnTo>
                  <a:lnTo>
                    <a:pt x="64" y="76"/>
                  </a:lnTo>
                  <a:lnTo>
                    <a:pt x="66" y="73"/>
                  </a:lnTo>
                  <a:lnTo>
                    <a:pt x="64" y="69"/>
                  </a:lnTo>
                  <a:lnTo>
                    <a:pt x="64" y="66"/>
                  </a:lnTo>
                  <a:lnTo>
                    <a:pt x="64" y="64"/>
                  </a:lnTo>
                  <a:lnTo>
                    <a:pt x="64" y="54"/>
                  </a:lnTo>
                  <a:lnTo>
                    <a:pt x="64" y="47"/>
                  </a:lnTo>
                  <a:lnTo>
                    <a:pt x="64" y="45"/>
                  </a:lnTo>
                  <a:lnTo>
                    <a:pt x="59" y="36"/>
                  </a:lnTo>
                  <a:lnTo>
                    <a:pt x="57" y="33"/>
                  </a:lnTo>
                  <a:lnTo>
                    <a:pt x="54" y="31"/>
                  </a:lnTo>
                  <a:lnTo>
                    <a:pt x="52" y="28"/>
                  </a:lnTo>
                  <a:lnTo>
                    <a:pt x="52" y="28"/>
                  </a:lnTo>
                  <a:lnTo>
                    <a:pt x="47" y="24"/>
                  </a:lnTo>
                  <a:lnTo>
                    <a:pt x="43" y="17"/>
                  </a:lnTo>
                  <a:lnTo>
                    <a:pt x="40" y="17"/>
                  </a:lnTo>
                  <a:lnTo>
                    <a:pt x="38" y="14"/>
                  </a:lnTo>
                  <a:lnTo>
                    <a:pt x="38" y="17"/>
                  </a:lnTo>
                  <a:lnTo>
                    <a:pt x="38" y="19"/>
                  </a:lnTo>
                  <a:lnTo>
                    <a:pt x="35" y="21"/>
                  </a:lnTo>
                  <a:lnTo>
                    <a:pt x="35" y="21"/>
                  </a:lnTo>
                  <a:lnTo>
                    <a:pt x="33" y="24"/>
                  </a:lnTo>
                  <a:lnTo>
                    <a:pt x="33" y="24"/>
                  </a:lnTo>
                  <a:lnTo>
                    <a:pt x="31" y="26"/>
                  </a:lnTo>
                  <a:lnTo>
                    <a:pt x="31" y="24"/>
                  </a:lnTo>
                  <a:lnTo>
                    <a:pt x="31" y="24"/>
                  </a:lnTo>
                  <a:lnTo>
                    <a:pt x="28" y="24"/>
                  </a:lnTo>
                  <a:lnTo>
                    <a:pt x="28" y="21"/>
                  </a:lnTo>
                  <a:lnTo>
                    <a:pt x="28" y="21"/>
                  </a:lnTo>
                  <a:lnTo>
                    <a:pt x="26" y="24"/>
                  </a:lnTo>
                  <a:lnTo>
                    <a:pt x="21" y="24"/>
                  </a:lnTo>
                  <a:lnTo>
                    <a:pt x="21" y="26"/>
                  </a:lnTo>
                  <a:lnTo>
                    <a:pt x="21" y="26"/>
                  </a:lnTo>
                  <a:lnTo>
                    <a:pt x="21" y="28"/>
                  </a:lnTo>
                  <a:lnTo>
                    <a:pt x="19" y="28"/>
                  </a:lnTo>
                  <a:lnTo>
                    <a:pt x="19" y="26"/>
                  </a:lnTo>
                  <a:lnTo>
                    <a:pt x="19" y="26"/>
                  </a:lnTo>
                  <a:lnTo>
                    <a:pt x="17" y="26"/>
                  </a:lnTo>
                  <a:lnTo>
                    <a:pt x="17" y="24"/>
                  </a:lnTo>
                  <a:lnTo>
                    <a:pt x="19" y="21"/>
                  </a:lnTo>
                  <a:lnTo>
                    <a:pt x="19" y="19"/>
                  </a:lnTo>
                  <a:lnTo>
                    <a:pt x="19" y="17"/>
                  </a:lnTo>
                  <a:lnTo>
                    <a:pt x="19" y="14"/>
                  </a:lnTo>
                  <a:lnTo>
                    <a:pt x="19" y="14"/>
                  </a:lnTo>
                  <a:lnTo>
                    <a:pt x="17" y="14"/>
                  </a:lnTo>
                  <a:lnTo>
                    <a:pt x="14" y="14"/>
                  </a:lnTo>
                  <a:lnTo>
                    <a:pt x="14" y="12"/>
                  </a:lnTo>
                  <a:lnTo>
                    <a:pt x="14" y="12"/>
                  </a:lnTo>
                  <a:lnTo>
                    <a:pt x="12" y="10"/>
                  </a:lnTo>
                  <a:lnTo>
                    <a:pt x="12" y="10"/>
                  </a:lnTo>
                  <a:lnTo>
                    <a:pt x="10" y="10"/>
                  </a:lnTo>
                  <a:lnTo>
                    <a:pt x="10" y="10"/>
                  </a:lnTo>
                  <a:lnTo>
                    <a:pt x="5" y="10"/>
                  </a:lnTo>
                  <a:lnTo>
                    <a:pt x="2" y="5"/>
                  </a:lnTo>
                  <a:lnTo>
                    <a:pt x="2" y="5"/>
                  </a:lnTo>
                  <a:lnTo>
                    <a:pt x="2" y="5"/>
                  </a:lnTo>
                  <a:lnTo>
                    <a:pt x="2" y="7"/>
                  </a:lnTo>
                  <a:lnTo>
                    <a:pt x="0" y="10"/>
                  </a:lnTo>
                  <a:lnTo>
                    <a:pt x="0" y="12"/>
                  </a:lnTo>
                  <a:lnTo>
                    <a:pt x="2" y="14"/>
                  </a:lnTo>
                  <a:lnTo>
                    <a:pt x="2" y="17"/>
                  </a:lnTo>
                  <a:lnTo>
                    <a:pt x="5" y="21"/>
                  </a:lnTo>
                  <a:lnTo>
                    <a:pt x="7" y="24"/>
                  </a:lnTo>
                  <a:lnTo>
                    <a:pt x="5" y="28"/>
                  </a:lnTo>
                  <a:lnTo>
                    <a:pt x="10" y="40"/>
                  </a:lnTo>
                  <a:lnTo>
                    <a:pt x="12" y="47"/>
                  </a:lnTo>
                  <a:lnTo>
                    <a:pt x="12" y="54"/>
                  </a:lnTo>
                  <a:lnTo>
                    <a:pt x="12" y="57"/>
                  </a:lnTo>
                  <a:lnTo>
                    <a:pt x="14" y="59"/>
                  </a:lnTo>
                  <a:lnTo>
                    <a:pt x="14" y="62"/>
                  </a:lnTo>
                  <a:lnTo>
                    <a:pt x="14" y="62"/>
                  </a:lnTo>
                  <a:lnTo>
                    <a:pt x="14" y="64"/>
                  </a:lnTo>
                  <a:lnTo>
                    <a:pt x="14" y="66"/>
                  </a:lnTo>
                  <a:lnTo>
                    <a:pt x="17" y="66"/>
                  </a:lnTo>
                  <a:lnTo>
                    <a:pt x="19" y="71"/>
                  </a:lnTo>
                  <a:lnTo>
                    <a:pt x="21" y="73"/>
                  </a:lnTo>
                  <a:lnTo>
                    <a:pt x="26" y="78"/>
                  </a:lnTo>
                  <a:lnTo>
                    <a:pt x="26" y="80"/>
                  </a:lnTo>
                  <a:lnTo>
                    <a:pt x="26" y="83"/>
                  </a:lnTo>
                  <a:lnTo>
                    <a:pt x="26" y="85"/>
                  </a:lnTo>
                  <a:lnTo>
                    <a:pt x="26" y="88"/>
                  </a:lnTo>
                  <a:lnTo>
                    <a:pt x="28" y="88"/>
                  </a:lnTo>
                  <a:lnTo>
                    <a:pt x="28" y="90"/>
                  </a:lnTo>
                  <a:lnTo>
                    <a:pt x="35" y="92"/>
                  </a:lnTo>
                  <a:lnTo>
                    <a:pt x="35" y="95"/>
                  </a:lnTo>
                  <a:lnTo>
                    <a:pt x="43" y="99"/>
                  </a:lnTo>
                  <a:lnTo>
                    <a:pt x="50" y="104"/>
                  </a:lnTo>
                  <a:lnTo>
                    <a:pt x="52" y="106"/>
                  </a:lnTo>
                  <a:lnTo>
                    <a:pt x="57" y="109"/>
                  </a:lnTo>
                  <a:lnTo>
                    <a:pt x="64" y="114"/>
                  </a:lnTo>
                  <a:lnTo>
                    <a:pt x="66" y="116"/>
                  </a:lnTo>
                  <a:lnTo>
                    <a:pt x="66" y="116"/>
                  </a:lnTo>
                  <a:lnTo>
                    <a:pt x="66" y="118"/>
                  </a:lnTo>
                  <a:lnTo>
                    <a:pt x="68" y="118"/>
                  </a:lnTo>
                  <a:lnTo>
                    <a:pt x="71" y="116"/>
                  </a:lnTo>
                  <a:lnTo>
                    <a:pt x="73" y="116"/>
                  </a:lnTo>
                  <a:lnTo>
                    <a:pt x="76" y="116"/>
                  </a:lnTo>
                  <a:lnTo>
                    <a:pt x="76" y="116"/>
                  </a:lnTo>
                  <a:lnTo>
                    <a:pt x="76" y="114"/>
                  </a:lnTo>
                  <a:lnTo>
                    <a:pt x="76" y="114"/>
                  </a:lnTo>
                  <a:lnTo>
                    <a:pt x="76" y="114"/>
                  </a:lnTo>
                  <a:lnTo>
                    <a:pt x="78" y="114"/>
                  </a:lnTo>
                  <a:lnTo>
                    <a:pt x="78" y="116"/>
                  </a:lnTo>
                  <a:lnTo>
                    <a:pt x="78" y="116"/>
                  </a:lnTo>
                  <a:lnTo>
                    <a:pt x="78" y="116"/>
                  </a:lnTo>
                  <a:lnTo>
                    <a:pt x="80" y="118"/>
                  </a:lnTo>
                  <a:lnTo>
                    <a:pt x="80" y="118"/>
                  </a:lnTo>
                  <a:lnTo>
                    <a:pt x="83" y="116"/>
                  </a:lnTo>
                  <a:lnTo>
                    <a:pt x="83" y="116"/>
                  </a:lnTo>
                  <a:lnTo>
                    <a:pt x="80" y="111"/>
                  </a:lnTo>
                  <a:lnTo>
                    <a:pt x="76" y="99"/>
                  </a:lnTo>
                  <a:close/>
                  <a:moveTo>
                    <a:pt x="356" y="33"/>
                  </a:moveTo>
                  <a:lnTo>
                    <a:pt x="356" y="33"/>
                  </a:lnTo>
                  <a:lnTo>
                    <a:pt x="356" y="33"/>
                  </a:lnTo>
                  <a:lnTo>
                    <a:pt x="354" y="33"/>
                  </a:lnTo>
                  <a:lnTo>
                    <a:pt x="351" y="33"/>
                  </a:lnTo>
                  <a:lnTo>
                    <a:pt x="351" y="33"/>
                  </a:lnTo>
                  <a:lnTo>
                    <a:pt x="347" y="28"/>
                  </a:lnTo>
                  <a:lnTo>
                    <a:pt x="344" y="28"/>
                  </a:lnTo>
                  <a:lnTo>
                    <a:pt x="344" y="26"/>
                  </a:lnTo>
                  <a:lnTo>
                    <a:pt x="342" y="26"/>
                  </a:lnTo>
                  <a:lnTo>
                    <a:pt x="342" y="26"/>
                  </a:lnTo>
                  <a:lnTo>
                    <a:pt x="339" y="24"/>
                  </a:lnTo>
                  <a:lnTo>
                    <a:pt x="339" y="24"/>
                  </a:lnTo>
                  <a:lnTo>
                    <a:pt x="337" y="24"/>
                  </a:lnTo>
                  <a:lnTo>
                    <a:pt x="335" y="26"/>
                  </a:lnTo>
                  <a:lnTo>
                    <a:pt x="335" y="26"/>
                  </a:lnTo>
                  <a:lnTo>
                    <a:pt x="332" y="26"/>
                  </a:lnTo>
                  <a:lnTo>
                    <a:pt x="332" y="26"/>
                  </a:lnTo>
                  <a:lnTo>
                    <a:pt x="332" y="24"/>
                  </a:lnTo>
                  <a:lnTo>
                    <a:pt x="335" y="24"/>
                  </a:lnTo>
                  <a:lnTo>
                    <a:pt x="335" y="24"/>
                  </a:lnTo>
                  <a:lnTo>
                    <a:pt x="335" y="21"/>
                  </a:lnTo>
                  <a:lnTo>
                    <a:pt x="332" y="19"/>
                  </a:lnTo>
                  <a:lnTo>
                    <a:pt x="330" y="21"/>
                  </a:lnTo>
                  <a:lnTo>
                    <a:pt x="330" y="21"/>
                  </a:lnTo>
                  <a:lnTo>
                    <a:pt x="323" y="21"/>
                  </a:lnTo>
                  <a:lnTo>
                    <a:pt x="325" y="21"/>
                  </a:lnTo>
                  <a:lnTo>
                    <a:pt x="325" y="19"/>
                  </a:lnTo>
                  <a:lnTo>
                    <a:pt x="325" y="19"/>
                  </a:lnTo>
                  <a:lnTo>
                    <a:pt x="325" y="17"/>
                  </a:lnTo>
                  <a:lnTo>
                    <a:pt x="328" y="14"/>
                  </a:lnTo>
                  <a:lnTo>
                    <a:pt x="328" y="12"/>
                  </a:lnTo>
                  <a:lnTo>
                    <a:pt x="325" y="12"/>
                  </a:lnTo>
                  <a:lnTo>
                    <a:pt x="325" y="10"/>
                  </a:lnTo>
                  <a:lnTo>
                    <a:pt x="325" y="10"/>
                  </a:lnTo>
                  <a:lnTo>
                    <a:pt x="323" y="7"/>
                  </a:lnTo>
                  <a:lnTo>
                    <a:pt x="321" y="7"/>
                  </a:lnTo>
                  <a:lnTo>
                    <a:pt x="318" y="5"/>
                  </a:lnTo>
                  <a:lnTo>
                    <a:pt x="318" y="2"/>
                  </a:lnTo>
                  <a:lnTo>
                    <a:pt x="318" y="2"/>
                  </a:lnTo>
                  <a:lnTo>
                    <a:pt x="318" y="0"/>
                  </a:lnTo>
                  <a:lnTo>
                    <a:pt x="318" y="0"/>
                  </a:lnTo>
                  <a:lnTo>
                    <a:pt x="316" y="0"/>
                  </a:lnTo>
                  <a:lnTo>
                    <a:pt x="316" y="0"/>
                  </a:lnTo>
                  <a:lnTo>
                    <a:pt x="314" y="2"/>
                  </a:lnTo>
                  <a:lnTo>
                    <a:pt x="311" y="7"/>
                  </a:lnTo>
                  <a:lnTo>
                    <a:pt x="311" y="7"/>
                  </a:lnTo>
                  <a:lnTo>
                    <a:pt x="309" y="7"/>
                  </a:lnTo>
                  <a:lnTo>
                    <a:pt x="311" y="5"/>
                  </a:lnTo>
                  <a:lnTo>
                    <a:pt x="311" y="5"/>
                  </a:lnTo>
                  <a:lnTo>
                    <a:pt x="311" y="2"/>
                  </a:lnTo>
                  <a:lnTo>
                    <a:pt x="311" y="0"/>
                  </a:lnTo>
                  <a:lnTo>
                    <a:pt x="309" y="0"/>
                  </a:lnTo>
                  <a:lnTo>
                    <a:pt x="309" y="0"/>
                  </a:lnTo>
                  <a:lnTo>
                    <a:pt x="304" y="7"/>
                  </a:lnTo>
                  <a:lnTo>
                    <a:pt x="304" y="10"/>
                  </a:lnTo>
                  <a:lnTo>
                    <a:pt x="299" y="17"/>
                  </a:lnTo>
                  <a:lnTo>
                    <a:pt x="297" y="19"/>
                  </a:lnTo>
                  <a:lnTo>
                    <a:pt x="297" y="24"/>
                  </a:lnTo>
                  <a:lnTo>
                    <a:pt x="295" y="26"/>
                  </a:lnTo>
                  <a:lnTo>
                    <a:pt x="295" y="28"/>
                  </a:lnTo>
                  <a:lnTo>
                    <a:pt x="292" y="31"/>
                  </a:lnTo>
                  <a:lnTo>
                    <a:pt x="292" y="31"/>
                  </a:lnTo>
                  <a:lnTo>
                    <a:pt x="290" y="31"/>
                  </a:lnTo>
                  <a:lnTo>
                    <a:pt x="290" y="28"/>
                  </a:lnTo>
                  <a:lnTo>
                    <a:pt x="290" y="28"/>
                  </a:lnTo>
                  <a:lnTo>
                    <a:pt x="288" y="28"/>
                  </a:lnTo>
                  <a:lnTo>
                    <a:pt x="285" y="33"/>
                  </a:lnTo>
                  <a:lnTo>
                    <a:pt x="285" y="33"/>
                  </a:lnTo>
                  <a:lnTo>
                    <a:pt x="288" y="36"/>
                  </a:lnTo>
                  <a:lnTo>
                    <a:pt x="290" y="38"/>
                  </a:lnTo>
                  <a:lnTo>
                    <a:pt x="288" y="40"/>
                  </a:lnTo>
                  <a:lnTo>
                    <a:pt x="288" y="40"/>
                  </a:lnTo>
                  <a:lnTo>
                    <a:pt x="285" y="43"/>
                  </a:lnTo>
                  <a:lnTo>
                    <a:pt x="285" y="43"/>
                  </a:lnTo>
                  <a:lnTo>
                    <a:pt x="281" y="43"/>
                  </a:lnTo>
                  <a:lnTo>
                    <a:pt x="281" y="45"/>
                  </a:lnTo>
                  <a:lnTo>
                    <a:pt x="283" y="47"/>
                  </a:lnTo>
                  <a:lnTo>
                    <a:pt x="283" y="50"/>
                  </a:lnTo>
                  <a:lnTo>
                    <a:pt x="283" y="52"/>
                  </a:lnTo>
                  <a:lnTo>
                    <a:pt x="285" y="54"/>
                  </a:lnTo>
                  <a:lnTo>
                    <a:pt x="285" y="54"/>
                  </a:lnTo>
                  <a:lnTo>
                    <a:pt x="285" y="54"/>
                  </a:lnTo>
                  <a:lnTo>
                    <a:pt x="283" y="54"/>
                  </a:lnTo>
                  <a:lnTo>
                    <a:pt x="283" y="54"/>
                  </a:lnTo>
                  <a:lnTo>
                    <a:pt x="281" y="54"/>
                  </a:lnTo>
                  <a:lnTo>
                    <a:pt x="281" y="50"/>
                  </a:lnTo>
                  <a:lnTo>
                    <a:pt x="278" y="47"/>
                  </a:lnTo>
                  <a:lnTo>
                    <a:pt x="278" y="45"/>
                  </a:lnTo>
                  <a:lnTo>
                    <a:pt x="278" y="43"/>
                  </a:lnTo>
                  <a:lnTo>
                    <a:pt x="278" y="45"/>
                  </a:lnTo>
                  <a:lnTo>
                    <a:pt x="276" y="45"/>
                  </a:lnTo>
                  <a:lnTo>
                    <a:pt x="273" y="47"/>
                  </a:lnTo>
                  <a:lnTo>
                    <a:pt x="273" y="47"/>
                  </a:lnTo>
                  <a:lnTo>
                    <a:pt x="273" y="47"/>
                  </a:lnTo>
                  <a:lnTo>
                    <a:pt x="273" y="50"/>
                  </a:lnTo>
                  <a:lnTo>
                    <a:pt x="276" y="52"/>
                  </a:lnTo>
                  <a:lnTo>
                    <a:pt x="276" y="52"/>
                  </a:lnTo>
                  <a:lnTo>
                    <a:pt x="276" y="54"/>
                  </a:lnTo>
                  <a:lnTo>
                    <a:pt x="276" y="54"/>
                  </a:lnTo>
                  <a:lnTo>
                    <a:pt x="276" y="57"/>
                  </a:lnTo>
                  <a:lnTo>
                    <a:pt x="276" y="57"/>
                  </a:lnTo>
                  <a:lnTo>
                    <a:pt x="276" y="59"/>
                  </a:lnTo>
                  <a:lnTo>
                    <a:pt x="273" y="59"/>
                  </a:lnTo>
                  <a:lnTo>
                    <a:pt x="273" y="62"/>
                  </a:lnTo>
                  <a:lnTo>
                    <a:pt x="271" y="62"/>
                  </a:lnTo>
                  <a:lnTo>
                    <a:pt x="271" y="62"/>
                  </a:lnTo>
                  <a:lnTo>
                    <a:pt x="271" y="59"/>
                  </a:lnTo>
                  <a:lnTo>
                    <a:pt x="269" y="57"/>
                  </a:lnTo>
                  <a:lnTo>
                    <a:pt x="269" y="57"/>
                  </a:lnTo>
                  <a:lnTo>
                    <a:pt x="266" y="57"/>
                  </a:lnTo>
                  <a:lnTo>
                    <a:pt x="266" y="57"/>
                  </a:lnTo>
                  <a:lnTo>
                    <a:pt x="266" y="54"/>
                  </a:lnTo>
                  <a:lnTo>
                    <a:pt x="264" y="54"/>
                  </a:lnTo>
                  <a:lnTo>
                    <a:pt x="264" y="52"/>
                  </a:lnTo>
                  <a:lnTo>
                    <a:pt x="264" y="52"/>
                  </a:lnTo>
                  <a:lnTo>
                    <a:pt x="262" y="50"/>
                  </a:lnTo>
                  <a:lnTo>
                    <a:pt x="262" y="50"/>
                  </a:lnTo>
                  <a:lnTo>
                    <a:pt x="262" y="50"/>
                  </a:lnTo>
                  <a:lnTo>
                    <a:pt x="259" y="50"/>
                  </a:lnTo>
                  <a:lnTo>
                    <a:pt x="259" y="50"/>
                  </a:lnTo>
                  <a:lnTo>
                    <a:pt x="259" y="52"/>
                  </a:lnTo>
                  <a:lnTo>
                    <a:pt x="259" y="54"/>
                  </a:lnTo>
                  <a:lnTo>
                    <a:pt x="259" y="57"/>
                  </a:lnTo>
                  <a:lnTo>
                    <a:pt x="259" y="57"/>
                  </a:lnTo>
                  <a:lnTo>
                    <a:pt x="255" y="62"/>
                  </a:lnTo>
                  <a:lnTo>
                    <a:pt x="250" y="69"/>
                  </a:lnTo>
                  <a:lnTo>
                    <a:pt x="248" y="71"/>
                  </a:lnTo>
                  <a:lnTo>
                    <a:pt x="245" y="76"/>
                  </a:lnTo>
                  <a:lnTo>
                    <a:pt x="243" y="78"/>
                  </a:lnTo>
                  <a:lnTo>
                    <a:pt x="243" y="80"/>
                  </a:lnTo>
                  <a:lnTo>
                    <a:pt x="240" y="80"/>
                  </a:lnTo>
                  <a:lnTo>
                    <a:pt x="238" y="83"/>
                  </a:lnTo>
                  <a:lnTo>
                    <a:pt x="226" y="85"/>
                  </a:lnTo>
                  <a:lnTo>
                    <a:pt x="219" y="88"/>
                  </a:lnTo>
                  <a:lnTo>
                    <a:pt x="217" y="88"/>
                  </a:lnTo>
                  <a:lnTo>
                    <a:pt x="215" y="90"/>
                  </a:lnTo>
                  <a:lnTo>
                    <a:pt x="215" y="92"/>
                  </a:lnTo>
                  <a:lnTo>
                    <a:pt x="215" y="95"/>
                  </a:lnTo>
                  <a:lnTo>
                    <a:pt x="215" y="95"/>
                  </a:lnTo>
                  <a:lnTo>
                    <a:pt x="215" y="97"/>
                  </a:lnTo>
                  <a:lnTo>
                    <a:pt x="215" y="97"/>
                  </a:lnTo>
                  <a:lnTo>
                    <a:pt x="212" y="97"/>
                  </a:lnTo>
                  <a:lnTo>
                    <a:pt x="212" y="97"/>
                  </a:lnTo>
                  <a:lnTo>
                    <a:pt x="210" y="95"/>
                  </a:lnTo>
                  <a:lnTo>
                    <a:pt x="210" y="97"/>
                  </a:lnTo>
                  <a:lnTo>
                    <a:pt x="210" y="99"/>
                  </a:lnTo>
                  <a:lnTo>
                    <a:pt x="210" y="99"/>
                  </a:lnTo>
                  <a:lnTo>
                    <a:pt x="210" y="102"/>
                  </a:lnTo>
                  <a:lnTo>
                    <a:pt x="210" y="104"/>
                  </a:lnTo>
                  <a:lnTo>
                    <a:pt x="210" y="104"/>
                  </a:lnTo>
                  <a:lnTo>
                    <a:pt x="210" y="106"/>
                  </a:lnTo>
                  <a:lnTo>
                    <a:pt x="210" y="111"/>
                  </a:lnTo>
                  <a:lnTo>
                    <a:pt x="207" y="111"/>
                  </a:lnTo>
                  <a:lnTo>
                    <a:pt x="207" y="111"/>
                  </a:lnTo>
                  <a:lnTo>
                    <a:pt x="207" y="114"/>
                  </a:lnTo>
                  <a:lnTo>
                    <a:pt x="207" y="116"/>
                  </a:lnTo>
                  <a:lnTo>
                    <a:pt x="207" y="116"/>
                  </a:lnTo>
                  <a:lnTo>
                    <a:pt x="210" y="118"/>
                  </a:lnTo>
                  <a:lnTo>
                    <a:pt x="210" y="118"/>
                  </a:lnTo>
                  <a:lnTo>
                    <a:pt x="207" y="118"/>
                  </a:lnTo>
                  <a:lnTo>
                    <a:pt x="205" y="114"/>
                  </a:lnTo>
                  <a:lnTo>
                    <a:pt x="205" y="114"/>
                  </a:lnTo>
                  <a:lnTo>
                    <a:pt x="203" y="114"/>
                  </a:lnTo>
                  <a:lnTo>
                    <a:pt x="200" y="114"/>
                  </a:lnTo>
                  <a:lnTo>
                    <a:pt x="196" y="111"/>
                  </a:lnTo>
                  <a:lnTo>
                    <a:pt x="193" y="111"/>
                  </a:lnTo>
                  <a:lnTo>
                    <a:pt x="193" y="111"/>
                  </a:lnTo>
                  <a:lnTo>
                    <a:pt x="193" y="111"/>
                  </a:lnTo>
                  <a:lnTo>
                    <a:pt x="189" y="111"/>
                  </a:lnTo>
                  <a:lnTo>
                    <a:pt x="186" y="111"/>
                  </a:lnTo>
                  <a:lnTo>
                    <a:pt x="184" y="109"/>
                  </a:lnTo>
                  <a:lnTo>
                    <a:pt x="182" y="106"/>
                  </a:lnTo>
                  <a:lnTo>
                    <a:pt x="182" y="106"/>
                  </a:lnTo>
                  <a:lnTo>
                    <a:pt x="182" y="104"/>
                  </a:lnTo>
                  <a:lnTo>
                    <a:pt x="179" y="106"/>
                  </a:lnTo>
                  <a:lnTo>
                    <a:pt x="179" y="109"/>
                  </a:lnTo>
                  <a:lnTo>
                    <a:pt x="179" y="109"/>
                  </a:lnTo>
                  <a:lnTo>
                    <a:pt x="182" y="109"/>
                  </a:lnTo>
                  <a:lnTo>
                    <a:pt x="182" y="114"/>
                  </a:lnTo>
                  <a:lnTo>
                    <a:pt x="184" y="114"/>
                  </a:lnTo>
                  <a:lnTo>
                    <a:pt x="184" y="116"/>
                  </a:lnTo>
                  <a:lnTo>
                    <a:pt x="186" y="118"/>
                  </a:lnTo>
                  <a:lnTo>
                    <a:pt x="186" y="118"/>
                  </a:lnTo>
                  <a:lnTo>
                    <a:pt x="189" y="121"/>
                  </a:lnTo>
                  <a:lnTo>
                    <a:pt x="189" y="121"/>
                  </a:lnTo>
                  <a:lnTo>
                    <a:pt x="191" y="121"/>
                  </a:lnTo>
                  <a:lnTo>
                    <a:pt x="193" y="125"/>
                  </a:lnTo>
                  <a:lnTo>
                    <a:pt x="196" y="128"/>
                  </a:lnTo>
                  <a:lnTo>
                    <a:pt x="196" y="128"/>
                  </a:lnTo>
                  <a:lnTo>
                    <a:pt x="198" y="128"/>
                  </a:lnTo>
                  <a:lnTo>
                    <a:pt x="200" y="128"/>
                  </a:lnTo>
                  <a:lnTo>
                    <a:pt x="205" y="125"/>
                  </a:lnTo>
                  <a:lnTo>
                    <a:pt x="207" y="125"/>
                  </a:lnTo>
                  <a:lnTo>
                    <a:pt x="207" y="125"/>
                  </a:lnTo>
                  <a:lnTo>
                    <a:pt x="212" y="125"/>
                  </a:lnTo>
                  <a:lnTo>
                    <a:pt x="215" y="125"/>
                  </a:lnTo>
                  <a:lnTo>
                    <a:pt x="217" y="125"/>
                  </a:lnTo>
                  <a:lnTo>
                    <a:pt x="217" y="125"/>
                  </a:lnTo>
                  <a:lnTo>
                    <a:pt x="219" y="125"/>
                  </a:lnTo>
                  <a:lnTo>
                    <a:pt x="222" y="125"/>
                  </a:lnTo>
                  <a:lnTo>
                    <a:pt x="222" y="125"/>
                  </a:lnTo>
                  <a:lnTo>
                    <a:pt x="224" y="123"/>
                  </a:lnTo>
                  <a:lnTo>
                    <a:pt x="226" y="123"/>
                  </a:lnTo>
                  <a:lnTo>
                    <a:pt x="226" y="121"/>
                  </a:lnTo>
                  <a:lnTo>
                    <a:pt x="229" y="118"/>
                  </a:lnTo>
                  <a:lnTo>
                    <a:pt x="229" y="116"/>
                  </a:lnTo>
                  <a:lnTo>
                    <a:pt x="229" y="116"/>
                  </a:lnTo>
                  <a:lnTo>
                    <a:pt x="231" y="116"/>
                  </a:lnTo>
                  <a:lnTo>
                    <a:pt x="233" y="114"/>
                  </a:lnTo>
                  <a:lnTo>
                    <a:pt x="243" y="114"/>
                  </a:lnTo>
                  <a:lnTo>
                    <a:pt x="243" y="114"/>
                  </a:lnTo>
                  <a:lnTo>
                    <a:pt x="243" y="116"/>
                  </a:lnTo>
                  <a:lnTo>
                    <a:pt x="243" y="116"/>
                  </a:lnTo>
                  <a:lnTo>
                    <a:pt x="243" y="116"/>
                  </a:lnTo>
                  <a:lnTo>
                    <a:pt x="245" y="116"/>
                  </a:lnTo>
                  <a:lnTo>
                    <a:pt x="245" y="116"/>
                  </a:lnTo>
                  <a:lnTo>
                    <a:pt x="250" y="118"/>
                  </a:lnTo>
                  <a:lnTo>
                    <a:pt x="252" y="118"/>
                  </a:lnTo>
                  <a:lnTo>
                    <a:pt x="252" y="118"/>
                  </a:lnTo>
                  <a:lnTo>
                    <a:pt x="255" y="121"/>
                  </a:lnTo>
                  <a:lnTo>
                    <a:pt x="257" y="121"/>
                  </a:lnTo>
                  <a:lnTo>
                    <a:pt x="257" y="118"/>
                  </a:lnTo>
                  <a:lnTo>
                    <a:pt x="259" y="118"/>
                  </a:lnTo>
                  <a:lnTo>
                    <a:pt x="259" y="116"/>
                  </a:lnTo>
                  <a:lnTo>
                    <a:pt x="262" y="116"/>
                  </a:lnTo>
                  <a:lnTo>
                    <a:pt x="264" y="116"/>
                  </a:lnTo>
                  <a:lnTo>
                    <a:pt x="266" y="116"/>
                  </a:lnTo>
                  <a:lnTo>
                    <a:pt x="269" y="116"/>
                  </a:lnTo>
                  <a:lnTo>
                    <a:pt x="271" y="116"/>
                  </a:lnTo>
                  <a:lnTo>
                    <a:pt x="271" y="116"/>
                  </a:lnTo>
                  <a:lnTo>
                    <a:pt x="273" y="116"/>
                  </a:lnTo>
                  <a:lnTo>
                    <a:pt x="273" y="114"/>
                  </a:lnTo>
                  <a:lnTo>
                    <a:pt x="273" y="111"/>
                  </a:lnTo>
                  <a:lnTo>
                    <a:pt x="276" y="109"/>
                  </a:lnTo>
                  <a:lnTo>
                    <a:pt x="276" y="109"/>
                  </a:lnTo>
                  <a:lnTo>
                    <a:pt x="276" y="106"/>
                  </a:lnTo>
                  <a:lnTo>
                    <a:pt x="276" y="106"/>
                  </a:lnTo>
                  <a:lnTo>
                    <a:pt x="276" y="106"/>
                  </a:lnTo>
                  <a:lnTo>
                    <a:pt x="278" y="104"/>
                  </a:lnTo>
                  <a:lnTo>
                    <a:pt x="276" y="104"/>
                  </a:lnTo>
                  <a:lnTo>
                    <a:pt x="276" y="104"/>
                  </a:lnTo>
                  <a:lnTo>
                    <a:pt x="276" y="102"/>
                  </a:lnTo>
                  <a:lnTo>
                    <a:pt x="276" y="99"/>
                  </a:lnTo>
                  <a:lnTo>
                    <a:pt x="276" y="99"/>
                  </a:lnTo>
                  <a:lnTo>
                    <a:pt x="278" y="99"/>
                  </a:lnTo>
                  <a:lnTo>
                    <a:pt x="281" y="97"/>
                  </a:lnTo>
                  <a:lnTo>
                    <a:pt x="283" y="95"/>
                  </a:lnTo>
                  <a:lnTo>
                    <a:pt x="283" y="95"/>
                  </a:lnTo>
                  <a:lnTo>
                    <a:pt x="283" y="95"/>
                  </a:lnTo>
                  <a:lnTo>
                    <a:pt x="283" y="92"/>
                  </a:lnTo>
                  <a:lnTo>
                    <a:pt x="283" y="92"/>
                  </a:lnTo>
                  <a:lnTo>
                    <a:pt x="281" y="92"/>
                  </a:lnTo>
                  <a:lnTo>
                    <a:pt x="281" y="90"/>
                  </a:lnTo>
                  <a:lnTo>
                    <a:pt x="281" y="90"/>
                  </a:lnTo>
                  <a:lnTo>
                    <a:pt x="283" y="88"/>
                  </a:lnTo>
                  <a:lnTo>
                    <a:pt x="281" y="88"/>
                  </a:lnTo>
                  <a:lnTo>
                    <a:pt x="281" y="88"/>
                  </a:lnTo>
                  <a:lnTo>
                    <a:pt x="283" y="85"/>
                  </a:lnTo>
                  <a:lnTo>
                    <a:pt x="283" y="83"/>
                  </a:lnTo>
                  <a:lnTo>
                    <a:pt x="285" y="83"/>
                  </a:lnTo>
                  <a:lnTo>
                    <a:pt x="285" y="83"/>
                  </a:lnTo>
                  <a:lnTo>
                    <a:pt x="288" y="83"/>
                  </a:lnTo>
                  <a:lnTo>
                    <a:pt x="288" y="83"/>
                  </a:lnTo>
                  <a:lnTo>
                    <a:pt x="290" y="80"/>
                  </a:lnTo>
                  <a:lnTo>
                    <a:pt x="290" y="80"/>
                  </a:lnTo>
                  <a:lnTo>
                    <a:pt x="290" y="78"/>
                  </a:lnTo>
                  <a:lnTo>
                    <a:pt x="290" y="76"/>
                  </a:lnTo>
                  <a:lnTo>
                    <a:pt x="290" y="76"/>
                  </a:lnTo>
                  <a:lnTo>
                    <a:pt x="290" y="73"/>
                  </a:lnTo>
                  <a:lnTo>
                    <a:pt x="290" y="73"/>
                  </a:lnTo>
                  <a:lnTo>
                    <a:pt x="290" y="71"/>
                  </a:lnTo>
                  <a:lnTo>
                    <a:pt x="290" y="69"/>
                  </a:lnTo>
                  <a:lnTo>
                    <a:pt x="290" y="64"/>
                  </a:lnTo>
                  <a:lnTo>
                    <a:pt x="290" y="64"/>
                  </a:lnTo>
                  <a:lnTo>
                    <a:pt x="290" y="62"/>
                  </a:lnTo>
                  <a:lnTo>
                    <a:pt x="292" y="59"/>
                  </a:lnTo>
                  <a:lnTo>
                    <a:pt x="292" y="57"/>
                  </a:lnTo>
                  <a:lnTo>
                    <a:pt x="295" y="54"/>
                  </a:lnTo>
                  <a:lnTo>
                    <a:pt x="295" y="54"/>
                  </a:lnTo>
                  <a:lnTo>
                    <a:pt x="295" y="54"/>
                  </a:lnTo>
                  <a:lnTo>
                    <a:pt x="297" y="57"/>
                  </a:lnTo>
                  <a:lnTo>
                    <a:pt x="299" y="54"/>
                  </a:lnTo>
                  <a:lnTo>
                    <a:pt x="302" y="54"/>
                  </a:lnTo>
                  <a:lnTo>
                    <a:pt x="304" y="54"/>
                  </a:lnTo>
                  <a:lnTo>
                    <a:pt x="304" y="54"/>
                  </a:lnTo>
                  <a:lnTo>
                    <a:pt x="304" y="57"/>
                  </a:lnTo>
                  <a:lnTo>
                    <a:pt x="306" y="54"/>
                  </a:lnTo>
                  <a:lnTo>
                    <a:pt x="309" y="54"/>
                  </a:lnTo>
                  <a:lnTo>
                    <a:pt x="309" y="54"/>
                  </a:lnTo>
                  <a:lnTo>
                    <a:pt x="309" y="54"/>
                  </a:lnTo>
                  <a:lnTo>
                    <a:pt x="311" y="54"/>
                  </a:lnTo>
                  <a:lnTo>
                    <a:pt x="314" y="54"/>
                  </a:lnTo>
                  <a:lnTo>
                    <a:pt x="318" y="54"/>
                  </a:lnTo>
                  <a:lnTo>
                    <a:pt x="321" y="57"/>
                  </a:lnTo>
                  <a:lnTo>
                    <a:pt x="325" y="59"/>
                  </a:lnTo>
                  <a:lnTo>
                    <a:pt x="325" y="59"/>
                  </a:lnTo>
                  <a:lnTo>
                    <a:pt x="328" y="59"/>
                  </a:lnTo>
                  <a:lnTo>
                    <a:pt x="328" y="59"/>
                  </a:lnTo>
                  <a:lnTo>
                    <a:pt x="328" y="57"/>
                  </a:lnTo>
                  <a:lnTo>
                    <a:pt x="330" y="54"/>
                  </a:lnTo>
                  <a:lnTo>
                    <a:pt x="330" y="54"/>
                  </a:lnTo>
                  <a:lnTo>
                    <a:pt x="332" y="57"/>
                  </a:lnTo>
                  <a:lnTo>
                    <a:pt x="335" y="57"/>
                  </a:lnTo>
                  <a:lnTo>
                    <a:pt x="337" y="57"/>
                  </a:lnTo>
                  <a:lnTo>
                    <a:pt x="339" y="54"/>
                  </a:lnTo>
                  <a:lnTo>
                    <a:pt x="342" y="54"/>
                  </a:lnTo>
                  <a:lnTo>
                    <a:pt x="344" y="54"/>
                  </a:lnTo>
                  <a:lnTo>
                    <a:pt x="344" y="54"/>
                  </a:lnTo>
                  <a:lnTo>
                    <a:pt x="347" y="54"/>
                  </a:lnTo>
                  <a:lnTo>
                    <a:pt x="347" y="52"/>
                  </a:lnTo>
                  <a:lnTo>
                    <a:pt x="344" y="52"/>
                  </a:lnTo>
                  <a:lnTo>
                    <a:pt x="339" y="47"/>
                  </a:lnTo>
                  <a:lnTo>
                    <a:pt x="337" y="45"/>
                  </a:lnTo>
                  <a:lnTo>
                    <a:pt x="339" y="40"/>
                  </a:lnTo>
                  <a:lnTo>
                    <a:pt x="339" y="40"/>
                  </a:lnTo>
                  <a:lnTo>
                    <a:pt x="342" y="40"/>
                  </a:lnTo>
                  <a:lnTo>
                    <a:pt x="344" y="43"/>
                  </a:lnTo>
                  <a:lnTo>
                    <a:pt x="347" y="43"/>
                  </a:lnTo>
                  <a:lnTo>
                    <a:pt x="351" y="40"/>
                  </a:lnTo>
                  <a:lnTo>
                    <a:pt x="356" y="38"/>
                  </a:lnTo>
                  <a:lnTo>
                    <a:pt x="356" y="38"/>
                  </a:lnTo>
                  <a:lnTo>
                    <a:pt x="356" y="38"/>
                  </a:lnTo>
                  <a:lnTo>
                    <a:pt x="358" y="36"/>
                  </a:lnTo>
                  <a:lnTo>
                    <a:pt x="358" y="36"/>
                  </a:lnTo>
                  <a:lnTo>
                    <a:pt x="356"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6" name="Freeform 292"/>
            <p:cNvSpPr>
              <a:spLocks noEditPoints="1"/>
            </p:cNvSpPr>
            <p:nvPr userDrawn="1"/>
          </p:nvSpPr>
          <p:spPr bwMode="auto">
            <a:xfrm>
              <a:off x="4256" y="3006"/>
              <a:ext cx="59" cy="163"/>
            </a:xfrm>
            <a:custGeom>
              <a:avLst/>
              <a:gdLst>
                <a:gd name="T0" fmla="*/ 38 w 59"/>
                <a:gd name="T1" fmla="*/ 57 h 163"/>
                <a:gd name="T2" fmla="*/ 40 w 59"/>
                <a:gd name="T3" fmla="*/ 55 h 163"/>
                <a:gd name="T4" fmla="*/ 38 w 59"/>
                <a:gd name="T5" fmla="*/ 55 h 163"/>
                <a:gd name="T6" fmla="*/ 38 w 59"/>
                <a:gd name="T7" fmla="*/ 57 h 163"/>
                <a:gd name="T8" fmla="*/ 59 w 59"/>
                <a:gd name="T9" fmla="*/ 116 h 163"/>
                <a:gd name="T10" fmla="*/ 52 w 59"/>
                <a:gd name="T11" fmla="*/ 102 h 163"/>
                <a:gd name="T12" fmla="*/ 43 w 59"/>
                <a:gd name="T13" fmla="*/ 88 h 163"/>
                <a:gd name="T14" fmla="*/ 36 w 59"/>
                <a:gd name="T15" fmla="*/ 83 h 163"/>
                <a:gd name="T16" fmla="*/ 36 w 59"/>
                <a:gd name="T17" fmla="*/ 69 h 163"/>
                <a:gd name="T18" fmla="*/ 33 w 59"/>
                <a:gd name="T19" fmla="*/ 59 h 163"/>
                <a:gd name="T20" fmla="*/ 36 w 59"/>
                <a:gd name="T21" fmla="*/ 52 h 163"/>
                <a:gd name="T22" fmla="*/ 43 w 59"/>
                <a:gd name="T23" fmla="*/ 45 h 163"/>
                <a:gd name="T24" fmla="*/ 43 w 59"/>
                <a:gd name="T25" fmla="*/ 43 h 163"/>
                <a:gd name="T26" fmla="*/ 40 w 59"/>
                <a:gd name="T27" fmla="*/ 40 h 163"/>
                <a:gd name="T28" fmla="*/ 38 w 59"/>
                <a:gd name="T29" fmla="*/ 36 h 163"/>
                <a:gd name="T30" fmla="*/ 38 w 59"/>
                <a:gd name="T31" fmla="*/ 29 h 163"/>
                <a:gd name="T32" fmla="*/ 38 w 59"/>
                <a:gd name="T33" fmla="*/ 24 h 163"/>
                <a:gd name="T34" fmla="*/ 38 w 59"/>
                <a:gd name="T35" fmla="*/ 17 h 163"/>
                <a:gd name="T36" fmla="*/ 33 w 59"/>
                <a:gd name="T37" fmla="*/ 7 h 163"/>
                <a:gd name="T38" fmla="*/ 26 w 59"/>
                <a:gd name="T39" fmla="*/ 3 h 163"/>
                <a:gd name="T40" fmla="*/ 26 w 59"/>
                <a:gd name="T41" fmla="*/ 5 h 163"/>
                <a:gd name="T42" fmla="*/ 21 w 59"/>
                <a:gd name="T43" fmla="*/ 5 h 163"/>
                <a:gd name="T44" fmla="*/ 14 w 59"/>
                <a:gd name="T45" fmla="*/ 3 h 163"/>
                <a:gd name="T46" fmla="*/ 7 w 59"/>
                <a:gd name="T47" fmla="*/ 0 h 163"/>
                <a:gd name="T48" fmla="*/ 7 w 59"/>
                <a:gd name="T49" fmla="*/ 3 h 163"/>
                <a:gd name="T50" fmla="*/ 10 w 59"/>
                <a:gd name="T51" fmla="*/ 5 h 163"/>
                <a:gd name="T52" fmla="*/ 12 w 59"/>
                <a:gd name="T53" fmla="*/ 5 h 163"/>
                <a:gd name="T54" fmla="*/ 14 w 59"/>
                <a:gd name="T55" fmla="*/ 12 h 163"/>
                <a:gd name="T56" fmla="*/ 19 w 59"/>
                <a:gd name="T57" fmla="*/ 17 h 163"/>
                <a:gd name="T58" fmla="*/ 21 w 59"/>
                <a:gd name="T59" fmla="*/ 24 h 163"/>
                <a:gd name="T60" fmla="*/ 14 w 59"/>
                <a:gd name="T61" fmla="*/ 31 h 163"/>
                <a:gd name="T62" fmla="*/ 14 w 59"/>
                <a:gd name="T63" fmla="*/ 33 h 163"/>
                <a:gd name="T64" fmla="*/ 12 w 59"/>
                <a:gd name="T65" fmla="*/ 43 h 163"/>
                <a:gd name="T66" fmla="*/ 12 w 59"/>
                <a:gd name="T67" fmla="*/ 48 h 163"/>
                <a:gd name="T68" fmla="*/ 12 w 59"/>
                <a:gd name="T69" fmla="*/ 57 h 163"/>
                <a:gd name="T70" fmla="*/ 17 w 59"/>
                <a:gd name="T71" fmla="*/ 62 h 163"/>
                <a:gd name="T72" fmla="*/ 12 w 59"/>
                <a:gd name="T73" fmla="*/ 66 h 163"/>
                <a:gd name="T74" fmla="*/ 7 w 59"/>
                <a:gd name="T75" fmla="*/ 74 h 163"/>
                <a:gd name="T76" fmla="*/ 7 w 59"/>
                <a:gd name="T77" fmla="*/ 81 h 163"/>
                <a:gd name="T78" fmla="*/ 5 w 59"/>
                <a:gd name="T79" fmla="*/ 85 h 163"/>
                <a:gd name="T80" fmla="*/ 0 w 59"/>
                <a:gd name="T81" fmla="*/ 90 h 163"/>
                <a:gd name="T82" fmla="*/ 3 w 59"/>
                <a:gd name="T83" fmla="*/ 93 h 163"/>
                <a:gd name="T84" fmla="*/ 5 w 59"/>
                <a:gd name="T85" fmla="*/ 95 h 163"/>
                <a:gd name="T86" fmla="*/ 7 w 59"/>
                <a:gd name="T87" fmla="*/ 97 h 163"/>
                <a:gd name="T88" fmla="*/ 10 w 59"/>
                <a:gd name="T89" fmla="*/ 97 h 163"/>
                <a:gd name="T90" fmla="*/ 19 w 59"/>
                <a:gd name="T91" fmla="*/ 109 h 163"/>
                <a:gd name="T92" fmla="*/ 24 w 59"/>
                <a:gd name="T93" fmla="*/ 107 h 163"/>
                <a:gd name="T94" fmla="*/ 31 w 59"/>
                <a:gd name="T95" fmla="*/ 107 h 163"/>
                <a:gd name="T96" fmla="*/ 36 w 59"/>
                <a:gd name="T97" fmla="*/ 116 h 163"/>
                <a:gd name="T98" fmla="*/ 33 w 59"/>
                <a:gd name="T99" fmla="*/ 128 h 163"/>
                <a:gd name="T100" fmla="*/ 29 w 59"/>
                <a:gd name="T101" fmla="*/ 135 h 163"/>
                <a:gd name="T102" fmla="*/ 31 w 59"/>
                <a:gd name="T103" fmla="*/ 142 h 163"/>
                <a:gd name="T104" fmla="*/ 31 w 59"/>
                <a:gd name="T105" fmla="*/ 145 h 163"/>
                <a:gd name="T106" fmla="*/ 40 w 59"/>
                <a:gd name="T107" fmla="*/ 156 h 163"/>
                <a:gd name="T108" fmla="*/ 43 w 59"/>
                <a:gd name="T109" fmla="*/ 161 h 163"/>
                <a:gd name="T110" fmla="*/ 45 w 59"/>
                <a:gd name="T111" fmla="*/ 163 h 163"/>
                <a:gd name="T112" fmla="*/ 47 w 59"/>
                <a:gd name="T113" fmla="*/ 156 h 163"/>
                <a:gd name="T114" fmla="*/ 45 w 59"/>
                <a:gd name="T115" fmla="*/ 149 h 163"/>
                <a:gd name="T116" fmla="*/ 50 w 59"/>
                <a:gd name="T117" fmla="*/ 142 h 163"/>
                <a:gd name="T118" fmla="*/ 57 w 59"/>
                <a:gd name="T119" fmla="*/ 140 h 163"/>
                <a:gd name="T120" fmla="*/ 59 w 59"/>
                <a:gd name="T121" fmla="*/ 11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 h="163">
                  <a:moveTo>
                    <a:pt x="38" y="55"/>
                  </a:moveTo>
                  <a:lnTo>
                    <a:pt x="38" y="57"/>
                  </a:lnTo>
                  <a:lnTo>
                    <a:pt x="38" y="57"/>
                  </a:lnTo>
                  <a:lnTo>
                    <a:pt x="38" y="57"/>
                  </a:lnTo>
                  <a:lnTo>
                    <a:pt x="40" y="57"/>
                  </a:lnTo>
                  <a:lnTo>
                    <a:pt x="40" y="57"/>
                  </a:lnTo>
                  <a:lnTo>
                    <a:pt x="40" y="57"/>
                  </a:lnTo>
                  <a:lnTo>
                    <a:pt x="40" y="55"/>
                  </a:lnTo>
                  <a:lnTo>
                    <a:pt x="40" y="55"/>
                  </a:lnTo>
                  <a:lnTo>
                    <a:pt x="40" y="55"/>
                  </a:lnTo>
                  <a:lnTo>
                    <a:pt x="38" y="55"/>
                  </a:lnTo>
                  <a:close/>
                  <a:moveTo>
                    <a:pt x="38" y="55"/>
                  </a:moveTo>
                  <a:lnTo>
                    <a:pt x="36" y="55"/>
                  </a:lnTo>
                  <a:lnTo>
                    <a:pt x="36" y="55"/>
                  </a:lnTo>
                  <a:lnTo>
                    <a:pt x="38" y="57"/>
                  </a:lnTo>
                  <a:lnTo>
                    <a:pt x="38" y="57"/>
                  </a:lnTo>
                  <a:lnTo>
                    <a:pt x="38" y="55"/>
                  </a:lnTo>
                  <a:lnTo>
                    <a:pt x="38" y="55"/>
                  </a:lnTo>
                  <a:lnTo>
                    <a:pt x="38" y="55"/>
                  </a:lnTo>
                  <a:close/>
                  <a:moveTo>
                    <a:pt x="59" y="116"/>
                  </a:moveTo>
                  <a:lnTo>
                    <a:pt x="59" y="116"/>
                  </a:lnTo>
                  <a:lnTo>
                    <a:pt x="59" y="111"/>
                  </a:lnTo>
                  <a:lnTo>
                    <a:pt x="57" y="107"/>
                  </a:lnTo>
                  <a:lnTo>
                    <a:pt x="52" y="102"/>
                  </a:lnTo>
                  <a:lnTo>
                    <a:pt x="50" y="100"/>
                  </a:lnTo>
                  <a:lnTo>
                    <a:pt x="47" y="95"/>
                  </a:lnTo>
                  <a:lnTo>
                    <a:pt x="45" y="90"/>
                  </a:lnTo>
                  <a:lnTo>
                    <a:pt x="43" y="88"/>
                  </a:lnTo>
                  <a:lnTo>
                    <a:pt x="40" y="88"/>
                  </a:lnTo>
                  <a:lnTo>
                    <a:pt x="38" y="85"/>
                  </a:lnTo>
                  <a:lnTo>
                    <a:pt x="36" y="85"/>
                  </a:lnTo>
                  <a:lnTo>
                    <a:pt x="36" y="83"/>
                  </a:lnTo>
                  <a:lnTo>
                    <a:pt x="36" y="81"/>
                  </a:lnTo>
                  <a:lnTo>
                    <a:pt x="36" y="78"/>
                  </a:lnTo>
                  <a:lnTo>
                    <a:pt x="36" y="74"/>
                  </a:lnTo>
                  <a:lnTo>
                    <a:pt x="36" y="69"/>
                  </a:lnTo>
                  <a:lnTo>
                    <a:pt x="36" y="66"/>
                  </a:lnTo>
                  <a:lnTo>
                    <a:pt x="33" y="64"/>
                  </a:lnTo>
                  <a:lnTo>
                    <a:pt x="33" y="59"/>
                  </a:lnTo>
                  <a:lnTo>
                    <a:pt x="33" y="59"/>
                  </a:lnTo>
                  <a:lnTo>
                    <a:pt x="33" y="57"/>
                  </a:lnTo>
                  <a:lnTo>
                    <a:pt x="36" y="55"/>
                  </a:lnTo>
                  <a:lnTo>
                    <a:pt x="36" y="52"/>
                  </a:lnTo>
                  <a:lnTo>
                    <a:pt x="36" y="52"/>
                  </a:lnTo>
                  <a:lnTo>
                    <a:pt x="38" y="48"/>
                  </a:lnTo>
                  <a:lnTo>
                    <a:pt x="38" y="48"/>
                  </a:lnTo>
                  <a:lnTo>
                    <a:pt x="38" y="45"/>
                  </a:lnTo>
                  <a:lnTo>
                    <a:pt x="43" y="45"/>
                  </a:lnTo>
                  <a:lnTo>
                    <a:pt x="45" y="45"/>
                  </a:lnTo>
                  <a:lnTo>
                    <a:pt x="45" y="45"/>
                  </a:lnTo>
                  <a:lnTo>
                    <a:pt x="43" y="43"/>
                  </a:lnTo>
                  <a:lnTo>
                    <a:pt x="43" y="43"/>
                  </a:lnTo>
                  <a:lnTo>
                    <a:pt x="43" y="40"/>
                  </a:lnTo>
                  <a:lnTo>
                    <a:pt x="40" y="40"/>
                  </a:lnTo>
                  <a:lnTo>
                    <a:pt x="40" y="40"/>
                  </a:lnTo>
                  <a:lnTo>
                    <a:pt x="40" y="40"/>
                  </a:lnTo>
                  <a:lnTo>
                    <a:pt x="40" y="38"/>
                  </a:lnTo>
                  <a:lnTo>
                    <a:pt x="40" y="38"/>
                  </a:lnTo>
                  <a:lnTo>
                    <a:pt x="38" y="36"/>
                  </a:lnTo>
                  <a:lnTo>
                    <a:pt x="38" y="36"/>
                  </a:lnTo>
                  <a:lnTo>
                    <a:pt x="38" y="36"/>
                  </a:lnTo>
                  <a:lnTo>
                    <a:pt x="38" y="33"/>
                  </a:lnTo>
                  <a:lnTo>
                    <a:pt x="38" y="31"/>
                  </a:lnTo>
                  <a:lnTo>
                    <a:pt x="38" y="29"/>
                  </a:lnTo>
                  <a:lnTo>
                    <a:pt x="38" y="29"/>
                  </a:lnTo>
                  <a:lnTo>
                    <a:pt x="38" y="26"/>
                  </a:lnTo>
                  <a:lnTo>
                    <a:pt x="38" y="24"/>
                  </a:lnTo>
                  <a:lnTo>
                    <a:pt x="38" y="24"/>
                  </a:lnTo>
                  <a:lnTo>
                    <a:pt x="38" y="22"/>
                  </a:lnTo>
                  <a:lnTo>
                    <a:pt x="38" y="22"/>
                  </a:lnTo>
                  <a:lnTo>
                    <a:pt x="38" y="19"/>
                  </a:lnTo>
                  <a:lnTo>
                    <a:pt x="38" y="17"/>
                  </a:lnTo>
                  <a:lnTo>
                    <a:pt x="36" y="14"/>
                  </a:lnTo>
                  <a:lnTo>
                    <a:pt x="36" y="14"/>
                  </a:lnTo>
                  <a:lnTo>
                    <a:pt x="36" y="12"/>
                  </a:lnTo>
                  <a:lnTo>
                    <a:pt x="33" y="7"/>
                  </a:lnTo>
                  <a:lnTo>
                    <a:pt x="33" y="7"/>
                  </a:lnTo>
                  <a:lnTo>
                    <a:pt x="29" y="3"/>
                  </a:lnTo>
                  <a:lnTo>
                    <a:pt x="26" y="3"/>
                  </a:lnTo>
                  <a:lnTo>
                    <a:pt x="26" y="3"/>
                  </a:lnTo>
                  <a:lnTo>
                    <a:pt x="26" y="3"/>
                  </a:lnTo>
                  <a:lnTo>
                    <a:pt x="26" y="5"/>
                  </a:lnTo>
                  <a:lnTo>
                    <a:pt x="26" y="5"/>
                  </a:lnTo>
                  <a:lnTo>
                    <a:pt x="26" y="5"/>
                  </a:lnTo>
                  <a:lnTo>
                    <a:pt x="26" y="5"/>
                  </a:lnTo>
                  <a:lnTo>
                    <a:pt x="24" y="5"/>
                  </a:lnTo>
                  <a:lnTo>
                    <a:pt x="24" y="5"/>
                  </a:lnTo>
                  <a:lnTo>
                    <a:pt x="21" y="5"/>
                  </a:lnTo>
                  <a:lnTo>
                    <a:pt x="19" y="5"/>
                  </a:lnTo>
                  <a:lnTo>
                    <a:pt x="17" y="5"/>
                  </a:lnTo>
                  <a:lnTo>
                    <a:pt x="17" y="5"/>
                  </a:lnTo>
                  <a:lnTo>
                    <a:pt x="14" y="3"/>
                  </a:lnTo>
                  <a:lnTo>
                    <a:pt x="12" y="3"/>
                  </a:lnTo>
                  <a:lnTo>
                    <a:pt x="12" y="3"/>
                  </a:lnTo>
                  <a:lnTo>
                    <a:pt x="7" y="0"/>
                  </a:lnTo>
                  <a:lnTo>
                    <a:pt x="7" y="0"/>
                  </a:lnTo>
                  <a:lnTo>
                    <a:pt x="7" y="0"/>
                  </a:lnTo>
                  <a:lnTo>
                    <a:pt x="7" y="0"/>
                  </a:lnTo>
                  <a:lnTo>
                    <a:pt x="7" y="3"/>
                  </a:lnTo>
                  <a:lnTo>
                    <a:pt x="7" y="3"/>
                  </a:lnTo>
                  <a:lnTo>
                    <a:pt x="7" y="5"/>
                  </a:lnTo>
                  <a:lnTo>
                    <a:pt x="7" y="5"/>
                  </a:lnTo>
                  <a:lnTo>
                    <a:pt x="10" y="5"/>
                  </a:lnTo>
                  <a:lnTo>
                    <a:pt x="10" y="5"/>
                  </a:lnTo>
                  <a:lnTo>
                    <a:pt x="10" y="5"/>
                  </a:lnTo>
                  <a:lnTo>
                    <a:pt x="12" y="5"/>
                  </a:lnTo>
                  <a:lnTo>
                    <a:pt x="12" y="5"/>
                  </a:lnTo>
                  <a:lnTo>
                    <a:pt x="12" y="5"/>
                  </a:lnTo>
                  <a:lnTo>
                    <a:pt x="12" y="7"/>
                  </a:lnTo>
                  <a:lnTo>
                    <a:pt x="14" y="10"/>
                  </a:lnTo>
                  <a:lnTo>
                    <a:pt x="14" y="10"/>
                  </a:lnTo>
                  <a:lnTo>
                    <a:pt x="14" y="12"/>
                  </a:lnTo>
                  <a:lnTo>
                    <a:pt x="14" y="14"/>
                  </a:lnTo>
                  <a:lnTo>
                    <a:pt x="17" y="14"/>
                  </a:lnTo>
                  <a:lnTo>
                    <a:pt x="17" y="17"/>
                  </a:lnTo>
                  <a:lnTo>
                    <a:pt x="19" y="17"/>
                  </a:lnTo>
                  <a:lnTo>
                    <a:pt x="19" y="19"/>
                  </a:lnTo>
                  <a:lnTo>
                    <a:pt x="19" y="22"/>
                  </a:lnTo>
                  <a:lnTo>
                    <a:pt x="19" y="24"/>
                  </a:lnTo>
                  <a:lnTo>
                    <a:pt x="21" y="24"/>
                  </a:lnTo>
                  <a:lnTo>
                    <a:pt x="21" y="26"/>
                  </a:lnTo>
                  <a:lnTo>
                    <a:pt x="17" y="29"/>
                  </a:lnTo>
                  <a:lnTo>
                    <a:pt x="17" y="29"/>
                  </a:lnTo>
                  <a:lnTo>
                    <a:pt x="14" y="31"/>
                  </a:lnTo>
                  <a:lnTo>
                    <a:pt x="14" y="31"/>
                  </a:lnTo>
                  <a:lnTo>
                    <a:pt x="12" y="31"/>
                  </a:lnTo>
                  <a:lnTo>
                    <a:pt x="12" y="31"/>
                  </a:lnTo>
                  <a:lnTo>
                    <a:pt x="14" y="33"/>
                  </a:lnTo>
                  <a:lnTo>
                    <a:pt x="14" y="36"/>
                  </a:lnTo>
                  <a:lnTo>
                    <a:pt x="14" y="38"/>
                  </a:lnTo>
                  <a:lnTo>
                    <a:pt x="14" y="38"/>
                  </a:lnTo>
                  <a:lnTo>
                    <a:pt x="12" y="43"/>
                  </a:lnTo>
                  <a:lnTo>
                    <a:pt x="12" y="43"/>
                  </a:lnTo>
                  <a:lnTo>
                    <a:pt x="12" y="45"/>
                  </a:lnTo>
                  <a:lnTo>
                    <a:pt x="12" y="45"/>
                  </a:lnTo>
                  <a:lnTo>
                    <a:pt x="12" y="48"/>
                  </a:lnTo>
                  <a:lnTo>
                    <a:pt x="14" y="48"/>
                  </a:lnTo>
                  <a:lnTo>
                    <a:pt x="14" y="50"/>
                  </a:lnTo>
                  <a:lnTo>
                    <a:pt x="14" y="52"/>
                  </a:lnTo>
                  <a:lnTo>
                    <a:pt x="12" y="57"/>
                  </a:lnTo>
                  <a:lnTo>
                    <a:pt x="14" y="62"/>
                  </a:lnTo>
                  <a:lnTo>
                    <a:pt x="14" y="62"/>
                  </a:lnTo>
                  <a:lnTo>
                    <a:pt x="17" y="62"/>
                  </a:lnTo>
                  <a:lnTo>
                    <a:pt x="17" y="62"/>
                  </a:lnTo>
                  <a:lnTo>
                    <a:pt x="17" y="64"/>
                  </a:lnTo>
                  <a:lnTo>
                    <a:pt x="14" y="64"/>
                  </a:lnTo>
                  <a:lnTo>
                    <a:pt x="14" y="66"/>
                  </a:lnTo>
                  <a:lnTo>
                    <a:pt x="12" y="66"/>
                  </a:lnTo>
                  <a:lnTo>
                    <a:pt x="7" y="69"/>
                  </a:lnTo>
                  <a:lnTo>
                    <a:pt x="7" y="69"/>
                  </a:lnTo>
                  <a:lnTo>
                    <a:pt x="7" y="71"/>
                  </a:lnTo>
                  <a:lnTo>
                    <a:pt x="7" y="74"/>
                  </a:lnTo>
                  <a:lnTo>
                    <a:pt x="7" y="74"/>
                  </a:lnTo>
                  <a:lnTo>
                    <a:pt x="7" y="76"/>
                  </a:lnTo>
                  <a:lnTo>
                    <a:pt x="7" y="78"/>
                  </a:lnTo>
                  <a:lnTo>
                    <a:pt x="7" y="81"/>
                  </a:lnTo>
                  <a:lnTo>
                    <a:pt x="7" y="81"/>
                  </a:lnTo>
                  <a:lnTo>
                    <a:pt x="5" y="81"/>
                  </a:lnTo>
                  <a:lnTo>
                    <a:pt x="5" y="83"/>
                  </a:lnTo>
                  <a:lnTo>
                    <a:pt x="5" y="85"/>
                  </a:lnTo>
                  <a:lnTo>
                    <a:pt x="3" y="88"/>
                  </a:lnTo>
                  <a:lnTo>
                    <a:pt x="3" y="88"/>
                  </a:lnTo>
                  <a:lnTo>
                    <a:pt x="0" y="88"/>
                  </a:lnTo>
                  <a:lnTo>
                    <a:pt x="0" y="90"/>
                  </a:lnTo>
                  <a:lnTo>
                    <a:pt x="3" y="90"/>
                  </a:lnTo>
                  <a:lnTo>
                    <a:pt x="3" y="90"/>
                  </a:lnTo>
                  <a:lnTo>
                    <a:pt x="3" y="90"/>
                  </a:lnTo>
                  <a:lnTo>
                    <a:pt x="3" y="93"/>
                  </a:lnTo>
                  <a:lnTo>
                    <a:pt x="3" y="93"/>
                  </a:lnTo>
                  <a:lnTo>
                    <a:pt x="3" y="93"/>
                  </a:lnTo>
                  <a:lnTo>
                    <a:pt x="5" y="93"/>
                  </a:lnTo>
                  <a:lnTo>
                    <a:pt x="5" y="95"/>
                  </a:lnTo>
                  <a:lnTo>
                    <a:pt x="7" y="97"/>
                  </a:lnTo>
                  <a:lnTo>
                    <a:pt x="7" y="97"/>
                  </a:lnTo>
                  <a:lnTo>
                    <a:pt x="7" y="97"/>
                  </a:lnTo>
                  <a:lnTo>
                    <a:pt x="7" y="97"/>
                  </a:lnTo>
                  <a:lnTo>
                    <a:pt x="7" y="97"/>
                  </a:lnTo>
                  <a:lnTo>
                    <a:pt x="10" y="97"/>
                  </a:lnTo>
                  <a:lnTo>
                    <a:pt x="10" y="95"/>
                  </a:lnTo>
                  <a:lnTo>
                    <a:pt x="10" y="97"/>
                  </a:lnTo>
                  <a:lnTo>
                    <a:pt x="12" y="97"/>
                  </a:lnTo>
                  <a:lnTo>
                    <a:pt x="14" y="104"/>
                  </a:lnTo>
                  <a:lnTo>
                    <a:pt x="17" y="107"/>
                  </a:lnTo>
                  <a:lnTo>
                    <a:pt x="19" y="109"/>
                  </a:lnTo>
                  <a:lnTo>
                    <a:pt x="19" y="109"/>
                  </a:lnTo>
                  <a:lnTo>
                    <a:pt x="19" y="109"/>
                  </a:lnTo>
                  <a:lnTo>
                    <a:pt x="21" y="109"/>
                  </a:lnTo>
                  <a:lnTo>
                    <a:pt x="24" y="107"/>
                  </a:lnTo>
                  <a:lnTo>
                    <a:pt x="26" y="107"/>
                  </a:lnTo>
                  <a:lnTo>
                    <a:pt x="26" y="107"/>
                  </a:lnTo>
                  <a:lnTo>
                    <a:pt x="29" y="107"/>
                  </a:lnTo>
                  <a:lnTo>
                    <a:pt x="31" y="107"/>
                  </a:lnTo>
                  <a:lnTo>
                    <a:pt x="31" y="107"/>
                  </a:lnTo>
                  <a:lnTo>
                    <a:pt x="33" y="109"/>
                  </a:lnTo>
                  <a:lnTo>
                    <a:pt x="36" y="114"/>
                  </a:lnTo>
                  <a:lnTo>
                    <a:pt x="36" y="116"/>
                  </a:lnTo>
                  <a:lnTo>
                    <a:pt x="36" y="119"/>
                  </a:lnTo>
                  <a:lnTo>
                    <a:pt x="36" y="121"/>
                  </a:lnTo>
                  <a:lnTo>
                    <a:pt x="33" y="126"/>
                  </a:lnTo>
                  <a:lnTo>
                    <a:pt x="33" y="128"/>
                  </a:lnTo>
                  <a:lnTo>
                    <a:pt x="31" y="130"/>
                  </a:lnTo>
                  <a:lnTo>
                    <a:pt x="31" y="133"/>
                  </a:lnTo>
                  <a:lnTo>
                    <a:pt x="29" y="135"/>
                  </a:lnTo>
                  <a:lnTo>
                    <a:pt x="29" y="135"/>
                  </a:lnTo>
                  <a:lnTo>
                    <a:pt x="29" y="137"/>
                  </a:lnTo>
                  <a:lnTo>
                    <a:pt x="29" y="137"/>
                  </a:lnTo>
                  <a:lnTo>
                    <a:pt x="31" y="140"/>
                  </a:lnTo>
                  <a:lnTo>
                    <a:pt x="31" y="142"/>
                  </a:lnTo>
                  <a:lnTo>
                    <a:pt x="31" y="142"/>
                  </a:lnTo>
                  <a:lnTo>
                    <a:pt x="31" y="145"/>
                  </a:lnTo>
                  <a:lnTo>
                    <a:pt x="31" y="145"/>
                  </a:lnTo>
                  <a:lnTo>
                    <a:pt x="31" y="145"/>
                  </a:lnTo>
                  <a:lnTo>
                    <a:pt x="33" y="147"/>
                  </a:lnTo>
                  <a:lnTo>
                    <a:pt x="36" y="149"/>
                  </a:lnTo>
                  <a:lnTo>
                    <a:pt x="38" y="152"/>
                  </a:lnTo>
                  <a:lnTo>
                    <a:pt x="40" y="156"/>
                  </a:lnTo>
                  <a:lnTo>
                    <a:pt x="43" y="156"/>
                  </a:lnTo>
                  <a:lnTo>
                    <a:pt x="43" y="156"/>
                  </a:lnTo>
                  <a:lnTo>
                    <a:pt x="45" y="159"/>
                  </a:lnTo>
                  <a:lnTo>
                    <a:pt x="43" y="161"/>
                  </a:lnTo>
                  <a:lnTo>
                    <a:pt x="43" y="161"/>
                  </a:lnTo>
                  <a:lnTo>
                    <a:pt x="43" y="163"/>
                  </a:lnTo>
                  <a:lnTo>
                    <a:pt x="43" y="163"/>
                  </a:lnTo>
                  <a:lnTo>
                    <a:pt x="45" y="163"/>
                  </a:lnTo>
                  <a:lnTo>
                    <a:pt x="45" y="163"/>
                  </a:lnTo>
                  <a:lnTo>
                    <a:pt x="47" y="163"/>
                  </a:lnTo>
                  <a:lnTo>
                    <a:pt x="47" y="163"/>
                  </a:lnTo>
                  <a:lnTo>
                    <a:pt x="47" y="156"/>
                  </a:lnTo>
                  <a:lnTo>
                    <a:pt x="47" y="154"/>
                  </a:lnTo>
                  <a:lnTo>
                    <a:pt x="45" y="152"/>
                  </a:lnTo>
                  <a:lnTo>
                    <a:pt x="45" y="152"/>
                  </a:lnTo>
                  <a:lnTo>
                    <a:pt x="45" y="149"/>
                  </a:lnTo>
                  <a:lnTo>
                    <a:pt x="47" y="147"/>
                  </a:lnTo>
                  <a:lnTo>
                    <a:pt x="47" y="145"/>
                  </a:lnTo>
                  <a:lnTo>
                    <a:pt x="47" y="145"/>
                  </a:lnTo>
                  <a:lnTo>
                    <a:pt x="50" y="142"/>
                  </a:lnTo>
                  <a:lnTo>
                    <a:pt x="54" y="142"/>
                  </a:lnTo>
                  <a:lnTo>
                    <a:pt x="54" y="142"/>
                  </a:lnTo>
                  <a:lnTo>
                    <a:pt x="57" y="140"/>
                  </a:lnTo>
                  <a:lnTo>
                    <a:pt x="57" y="140"/>
                  </a:lnTo>
                  <a:lnTo>
                    <a:pt x="57" y="133"/>
                  </a:lnTo>
                  <a:lnTo>
                    <a:pt x="59" y="128"/>
                  </a:lnTo>
                  <a:lnTo>
                    <a:pt x="57" y="123"/>
                  </a:lnTo>
                  <a:lnTo>
                    <a:pt x="59" y="119"/>
                  </a:lnTo>
                  <a:lnTo>
                    <a:pt x="59" y="11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7" name="Freeform 293"/>
            <p:cNvSpPr>
              <a:spLocks/>
            </p:cNvSpPr>
            <p:nvPr userDrawn="1"/>
          </p:nvSpPr>
          <p:spPr bwMode="auto">
            <a:xfrm>
              <a:off x="4445" y="3063"/>
              <a:ext cx="139" cy="284"/>
            </a:xfrm>
            <a:custGeom>
              <a:avLst/>
              <a:gdLst>
                <a:gd name="T0" fmla="*/ 134 w 139"/>
                <a:gd name="T1" fmla="*/ 52 h 284"/>
                <a:gd name="T2" fmla="*/ 132 w 139"/>
                <a:gd name="T3" fmla="*/ 21 h 284"/>
                <a:gd name="T4" fmla="*/ 125 w 139"/>
                <a:gd name="T5" fmla="*/ 9 h 284"/>
                <a:gd name="T6" fmla="*/ 120 w 139"/>
                <a:gd name="T7" fmla="*/ 2 h 284"/>
                <a:gd name="T8" fmla="*/ 115 w 139"/>
                <a:gd name="T9" fmla="*/ 5 h 284"/>
                <a:gd name="T10" fmla="*/ 111 w 139"/>
                <a:gd name="T11" fmla="*/ 7 h 284"/>
                <a:gd name="T12" fmla="*/ 113 w 139"/>
                <a:gd name="T13" fmla="*/ 19 h 284"/>
                <a:gd name="T14" fmla="*/ 101 w 139"/>
                <a:gd name="T15" fmla="*/ 31 h 284"/>
                <a:gd name="T16" fmla="*/ 96 w 139"/>
                <a:gd name="T17" fmla="*/ 33 h 284"/>
                <a:gd name="T18" fmla="*/ 92 w 139"/>
                <a:gd name="T19" fmla="*/ 36 h 284"/>
                <a:gd name="T20" fmla="*/ 94 w 139"/>
                <a:gd name="T21" fmla="*/ 40 h 284"/>
                <a:gd name="T22" fmla="*/ 89 w 139"/>
                <a:gd name="T23" fmla="*/ 52 h 284"/>
                <a:gd name="T24" fmla="*/ 89 w 139"/>
                <a:gd name="T25" fmla="*/ 54 h 284"/>
                <a:gd name="T26" fmla="*/ 85 w 139"/>
                <a:gd name="T27" fmla="*/ 62 h 284"/>
                <a:gd name="T28" fmla="*/ 85 w 139"/>
                <a:gd name="T29" fmla="*/ 57 h 284"/>
                <a:gd name="T30" fmla="*/ 82 w 139"/>
                <a:gd name="T31" fmla="*/ 57 h 284"/>
                <a:gd name="T32" fmla="*/ 78 w 139"/>
                <a:gd name="T33" fmla="*/ 64 h 284"/>
                <a:gd name="T34" fmla="*/ 78 w 139"/>
                <a:gd name="T35" fmla="*/ 69 h 284"/>
                <a:gd name="T36" fmla="*/ 75 w 139"/>
                <a:gd name="T37" fmla="*/ 71 h 284"/>
                <a:gd name="T38" fmla="*/ 68 w 139"/>
                <a:gd name="T39" fmla="*/ 69 h 284"/>
                <a:gd name="T40" fmla="*/ 61 w 139"/>
                <a:gd name="T41" fmla="*/ 78 h 284"/>
                <a:gd name="T42" fmla="*/ 61 w 139"/>
                <a:gd name="T43" fmla="*/ 80 h 284"/>
                <a:gd name="T44" fmla="*/ 56 w 139"/>
                <a:gd name="T45" fmla="*/ 78 h 284"/>
                <a:gd name="T46" fmla="*/ 49 w 139"/>
                <a:gd name="T47" fmla="*/ 80 h 284"/>
                <a:gd name="T48" fmla="*/ 47 w 139"/>
                <a:gd name="T49" fmla="*/ 83 h 284"/>
                <a:gd name="T50" fmla="*/ 42 w 139"/>
                <a:gd name="T51" fmla="*/ 80 h 284"/>
                <a:gd name="T52" fmla="*/ 35 w 139"/>
                <a:gd name="T53" fmla="*/ 85 h 284"/>
                <a:gd name="T54" fmla="*/ 26 w 139"/>
                <a:gd name="T55" fmla="*/ 88 h 284"/>
                <a:gd name="T56" fmla="*/ 16 w 139"/>
                <a:gd name="T57" fmla="*/ 111 h 284"/>
                <a:gd name="T58" fmla="*/ 16 w 139"/>
                <a:gd name="T59" fmla="*/ 123 h 284"/>
                <a:gd name="T60" fmla="*/ 21 w 139"/>
                <a:gd name="T61" fmla="*/ 140 h 284"/>
                <a:gd name="T62" fmla="*/ 23 w 139"/>
                <a:gd name="T63" fmla="*/ 151 h 284"/>
                <a:gd name="T64" fmla="*/ 23 w 139"/>
                <a:gd name="T65" fmla="*/ 166 h 284"/>
                <a:gd name="T66" fmla="*/ 16 w 139"/>
                <a:gd name="T67" fmla="*/ 177 h 284"/>
                <a:gd name="T68" fmla="*/ 9 w 139"/>
                <a:gd name="T69" fmla="*/ 192 h 284"/>
                <a:gd name="T70" fmla="*/ 2 w 139"/>
                <a:gd name="T71" fmla="*/ 201 h 284"/>
                <a:gd name="T72" fmla="*/ 0 w 139"/>
                <a:gd name="T73" fmla="*/ 206 h 284"/>
                <a:gd name="T74" fmla="*/ 0 w 139"/>
                <a:gd name="T75" fmla="*/ 218 h 284"/>
                <a:gd name="T76" fmla="*/ 5 w 139"/>
                <a:gd name="T77" fmla="*/ 232 h 284"/>
                <a:gd name="T78" fmla="*/ 7 w 139"/>
                <a:gd name="T79" fmla="*/ 241 h 284"/>
                <a:gd name="T80" fmla="*/ 5 w 139"/>
                <a:gd name="T81" fmla="*/ 253 h 284"/>
                <a:gd name="T82" fmla="*/ 9 w 139"/>
                <a:gd name="T83" fmla="*/ 265 h 284"/>
                <a:gd name="T84" fmla="*/ 9 w 139"/>
                <a:gd name="T85" fmla="*/ 272 h 284"/>
                <a:gd name="T86" fmla="*/ 16 w 139"/>
                <a:gd name="T87" fmla="*/ 279 h 284"/>
                <a:gd name="T88" fmla="*/ 28 w 139"/>
                <a:gd name="T89" fmla="*/ 284 h 284"/>
                <a:gd name="T90" fmla="*/ 40 w 139"/>
                <a:gd name="T91" fmla="*/ 281 h 284"/>
                <a:gd name="T92" fmla="*/ 56 w 139"/>
                <a:gd name="T93" fmla="*/ 277 h 284"/>
                <a:gd name="T94" fmla="*/ 68 w 139"/>
                <a:gd name="T95" fmla="*/ 267 h 284"/>
                <a:gd name="T96" fmla="*/ 71 w 139"/>
                <a:gd name="T97" fmla="*/ 255 h 284"/>
                <a:gd name="T98" fmla="*/ 75 w 139"/>
                <a:gd name="T99" fmla="*/ 244 h 284"/>
                <a:gd name="T100" fmla="*/ 82 w 139"/>
                <a:gd name="T101" fmla="*/ 220 h 284"/>
                <a:gd name="T102" fmla="*/ 96 w 139"/>
                <a:gd name="T103" fmla="*/ 187 h 284"/>
                <a:gd name="T104" fmla="*/ 106 w 139"/>
                <a:gd name="T105" fmla="*/ 156 h 284"/>
                <a:gd name="T106" fmla="*/ 115 w 139"/>
                <a:gd name="T107" fmla="*/ 132 h 284"/>
                <a:gd name="T108" fmla="*/ 118 w 139"/>
                <a:gd name="T109" fmla="*/ 109 h 284"/>
                <a:gd name="T110" fmla="*/ 122 w 139"/>
                <a:gd name="T111" fmla="*/ 99 h 284"/>
                <a:gd name="T112" fmla="*/ 125 w 139"/>
                <a:gd name="T113" fmla="*/ 95 h 284"/>
                <a:gd name="T114" fmla="*/ 125 w 139"/>
                <a:gd name="T115" fmla="*/ 85 h 284"/>
                <a:gd name="T116" fmla="*/ 122 w 139"/>
                <a:gd name="T117" fmla="*/ 76 h 284"/>
                <a:gd name="T118" fmla="*/ 127 w 139"/>
                <a:gd name="T119" fmla="*/ 71 h 284"/>
                <a:gd name="T120" fmla="*/ 132 w 139"/>
                <a:gd name="T121" fmla="*/ 80 h 284"/>
                <a:gd name="T122" fmla="*/ 134 w 139"/>
                <a:gd name="T123" fmla="*/ 8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 h="284">
                  <a:moveTo>
                    <a:pt x="139" y="64"/>
                  </a:moveTo>
                  <a:lnTo>
                    <a:pt x="137" y="59"/>
                  </a:lnTo>
                  <a:lnTo>
                    <a:pt x="134" y="57"/>
                  </a:lnTo>
                  <a:lnTo>
                    <a:pt x="134" y="52"/>
                  </a:lnTo>
                  <a:lnTo>
                    <a:pt x="134" y="40"/>
                  </a:lnTo>
                  <a:lnTo>
                    <a:pt x="132" y="31"/>
                  </a:lnTo>
                  <a:lnTo>
                    <a:pt x="132" y="26"/>
                  </a:lnTo>
                  <a:lnTo>
                    <a:pt x="132" y="21"/>
                  </a:lnTo>
                  <a:lnTo>
                    <a:pt x="129" y="19"/>
                  </a:lnTo>
                  <a:lnTo>
                    <a:pt x="129" y="17"/>
                  </a:lnTo>
                  <a:lnTo>
                    <a:pt x="125" y="12"/>
                  </a:lnTo>
                  <a:lnTo>
                    <a:pt x="125" y="9"/>
                  </a:lnTo>
                  <a:lnTo>
                    <a:pt x="125" y="7"/>
                  </a:lnTo>
                  <a:lnTo>
                    <a:pt x="122" y="5"/>
                  </a:lnTo>
                  <a:lnTo>
                    <a:pt x="120" y="2"/>
                  </a:lnTo>
                  <a:lnTo>
                    <a:pt x="120" y="2"/>
                  </a:lnTo>
                  <a:lnTo>
                    <a:pt x="120" y="0"/>
                  </a:lnTo>
                  <a:lnTo>
                    <a:pt x="120" y="0"/>
                  </a:lnTo>
                  <a:lnTo>
                    <a:pt x="118" y="0"/>
                  </a:lnTo>
                  <a:lnTo>
                    <a:pt x="115" y="5"/>
                  </a:lnTo>
                  <a:lnTo>
                    <a:pt x="113" y="7"/>
                  </a:lnTo>
                  <a:lnTo>
                    <a:pt x="113" y="7"/>
                  </a:lnTo>
                  <a:lnTo>
                    <a:pt x="111" y="7"/>
                  </a:lnTo>
                  <a:lnTo>
                    <a:pt x="111" y="7"/>
                  </a:lnTo>
                  <a:lnTo>
                    <a:pt x="111" y="12"/>
                  </a:lnTo>
                  <a:lnTo>
                    <a:pt x="113" y="14"/>
                  </a:lnTo>
                  <a:lnTo>
                    <a:pt x="113" y="17"/>
                  </a:lnTo>
                  <a:lnTo>
                    <a:pt x="113" y="19"/>
                  </a:lnTo>
                  <a:lnTo>
                    <a:pt x="111" y="24"/>
                  </a:lnTo>
                  <a:lnTo>
                    <a:pt x="106" y="28"/>
                  </a:lnTo>
                  <a:lnTo>
                    <a:pt x="104" y="28"/>
                  </a:lnTo>
                  <a:lnTo>
                    <a:pt x="101" y="31"/>
                  </a:lnTo>
                  <a:lnTo>
                    <a:pt x="101" y="33"/>
                  </a:lnTo>
                  <a:lnTo>
                    <a:pt x="99" y="36"/>
                  </a:lnTo>
                  <a:lnTo>
                    <a:pt x="99" y="33"/>
                  </a:lnTo>
                  <a:lnTo>
                    <a:pt x="96" y="33"/>
                  </a:lnTo>
                  <a:lnTo>
                    <a:pt x="96" y="31"/>
                  </a:lnTo>
                  <a:lnTo>
                    <a:pt x="94" y="33"/>
                  </a:lnTo>
                  <a:lnTo>
                    <a:pt x="94" y="33"/>
                  </a:lnTo>
                  <a:lnTo>
                    <a:pt x="92" y="36"/>
                  </a:lnTo>
                  <a:lnTo>
                    <a:pt x="92" y="36"/>
                  </a:lnTo>
                  <a:lnTo>
                    <a:pt x="92" y="38"/>
                  </a:lnTo>
                  <a:lnTo>
                    <a:pt x="94" y="40"/>
                  </a:lnTo>
                  <a:lnTo>
                    <a:pt x="94" y="40"/>
                  </a:lnTo>
                  <a:lnTo>
                    <a:pt x="94" y="40"/>
                  </a:lnTo>
                  <a:lnTo>
                    <a:pt x="94" y="43"/>
                  </a:lnTo>
                  <a:lnTo>
                    <a:pt x="89" y="47"/>
                  </a:lnTo>
                  <a:lnTo>
                    <a:pt x="89" y="52"/>
                  </a:lnTo>
                  <a:lnTo>
                    <a:pt x="94" y="54"/>
                  </a:lnTo>
                  <a:lnTo>
                    <a:pt x="92" y="54"/>
                  </a:lnTo>
                  <a:lnTo>
                    <a:pt x="89" y="54"/>
                  </a:lnTo>
                  <a:lnTo>
                    <a:pt x="89" y="54"/>
                  </a:lnTo>
                  <a:lnTo>
                    <a:pt x="87" y="57"/>
                  </a:lnTo>
                  <a:lnTo>
                    <a:pt x="87" y="59"/>
                  </a:lnTo>
                  <a:lnTo>
                    <a:pt x="85" y="62"/>
                  </a:lnTo>
                  <a:lnTo>
                    <a:pt x="85" y="62"/>
                  </a:lnTo>
                  <a:lnTo>
                    <a:pt x="82" y="62"/>
                  </a:lnTo>
                  <a:lnTo>
                    <a:pt x="82" y="59"/>
                  </a:lnTo>
                  <a:lnTo>
                    <a:pt x="85" y="59"/>
                  </a:lnTo>
                  <a:lnTo>
                    <a:pt x="85" y="57"/>
                  </a:lnTo>
                  <a:lnTo>
                    <a:pt x="85" y="57"/>
                  </a:lnTo>
                  <a:lnTo>
                    <a:pt x="85" y="54"/>
                  </a:lnTo>
                  <a:lnTo>
                    <a:pt x="82" y="54"/>
                  </a:lnTo>
                  <a:lnTo>
                    <a:pt x="82" y="57"/>
                  </a:lnTo>
                  <a:lnTo>
                    <a:pt x="80" y="57"/>
                  </a:lnTo>
                  <a:lnTo>
                    <a:pt x="80" y="59"/>
                  </a:lnTo>
                  <a:lnTo>
                    <a:pt x="78" y="62"/>
                  </a:lnTo>
                  <a:lnTo>
                    <a:pt x="78" y="64"/>
                  </a:lnTo>
                  <a:lnTo>
                    <a:pt x="78" y="66"/>
                  </a:lnTo>
                  <a:lnTo>
                    <a:pt x="78" y="66"/>
                  </a:lnTo>
                  <a:lnTo>
                    <a:pt x="78" y="69"/>
                  </a:lnTo>
                  <a:lnTo>
                    <a:pt x="78" y="69"/>
                  </a:lnTo>
                  <a:lnTo>
                    <a:pt x="75" y="71"/>
                  </a:lnTo>
                  <a:lnTo>
                    <a:pt x="75" y="71"/>
                  </a:lnTo>
                  <a:lnTo>
                    <a:pt x="75" y="71"/>
                  </a:lnTo>
                  <a:lnTo>
                    <a:pt x="75" y="71"/>
                  </a:lnTo>
                  <a:lnTo>
                    <a:pt x="75" y="66"/>
                  </a:lnTo>
                  <a:lnTo>
                    <a:pt x="73" y="66"/>
                  </a:lnTo>
                  <a:lnTo>
                    <a:pt x="73" y="66"/>
                  </a:lnTo>
                  <a:lnTo>
                    <a:pt x="68" y="69"/>
                  </a:lnTo>
                  <a:lnTo>
                    <a:pt x="66" y="73"/>
                  </a:lnTo>
                  <a:lnTo>
                    <a:pt x="63" y="73"/>
                  </a:lnTo>
                  <a:lnTo>
                    <a:pt x="61" y="76"/>
                  </a:lnTo>
                  <a:lnTo>
                    <a:pt x="61" y="78"/>
                  </a:lnTo>
                  <a:lnTo>
                    <a:pt x="61" y="78"/>
                  </a:lnTo>
                  <a:lnTo>
                    <a:pt x="63" y="80"/>
                  </a:lnTo>
                  <a:lnTo>
                    <a:pt x="63" y="80"/>
                  </a:lnTo>
                  <a:lnTo>
                    <a:pt x="61" y="80"/>
                  </a:lnTo>
                  <a:lnTo>
                    <a:pt x="61" y="80"/>
                  </a:lnTo>
                  <a:lnTo>
                    <a:pt x="59" y="78"/>
                  </a:lnTo>
                  <a:lnTo>
                    <a:pt x="59" y="78"/>
                  </a:lnTo>
                  <a:lnTo>
                    <a:pt x="56" y="78"/>
                  </a:lnTo>
                  <a:lnTo>
                    <a:pt x="54" y="78"/>
                  </a:lnTo>
                  <a:lnTo>
                    <a:pt x="49" y="78"/>
                  </a:lnTo>
                  <a:lnTo>
                    <a:pt x="49" y="78"/>
                  </a:lnTo>
                  <a:lnTo>
                    <a:pt x="49" y="80"/>
                  </a:lnTo>
                  <a:lnTo>
                    <a:pt x="49" y="80"/>
                  </a:lnTo>
                  <a:lnTo>
                    <a:pt x="49" y="83"/>
                  </a:lnTo>
                  <a:lnTo>
                    <a:pt x="47" y="83"/>
                  </a:lnTo>
                  <a:lnTo>
                    <a:pt x="47" y="83"/>
                  </a:lnTo>
                  <a:lnTo>
                    <a:pt x="45" y="83"/>
                  </a:lnTo>
                  <a:lnTo>
                    <a:pt x="42" y="83"/>
                  </a:lnTo>
                  <a:lnTo>
                    <a:pt x="42" y="83"/>
                  </a:lnTo>
                  <a:lnTo>
                    <a:pt x="42" y="80"/>
                  </a:lnTo>
                  <a:lnTo>
                    <a:pt x="40" y="83"/>
                  </a:lnTo>
                  <a:lnTo>
                    <a:pt x="38" y="85"/>
                  </a:lnTo>
                  <a:lnTo>
                    <a:pt x="35" y="85"/>
                  </a:lnTo>
                  <a:lnTo>
                    <a:pt x="35" y="85"/>
                  </a:lnTo>
                  <a:lnTo>
                    <a:pt x="28" y="88"/>
                  </a:lnTo>
                  <a:lnTo>
                    <a:pt x="28" y="88"/>
                  </a:lnTo>
                  <a:lnTo>
                    <a:pt x="26" y="88"/>
                  </a:lnTo>
                  <a:lnTo>
                    <a:pt x="26" y="88"/>
                  </a:lnTo>
                  <a:lnTo>
                    <a:pt x="26" y="92"/>
                  </a:lnTo>
                  <a:lnTo>
                    <a:pt x="26" y="95"/>
                  </a:lnTo>
                  <a:lnTo>
                    <a:pt x="26" y="97"/>
                  </a:lnTo>
                  <a:lnTo>
                    <a:pt x="16" y="111"/>
                  </a:lnTo>
                  <a:lnTo>
                    <a:pt x="16" y="116"/>
                  </a:lnTo>
                  <a:lnTo>
                    <a:pt x="16" y="118"/>
                  </a:lnTo>
                  <a:lnTo>
                    <a:pt x="16" y="121"/>
                  </a:lnTo>
                  <a:lnTo>
                    <a:pt x="16" y="123"/>
                  </a:lnTo>
                  <a:lnTo>
                    <a:pt x="16" y="130"/>
                  </a:lnTo>
                  <a:lnTo>
                    <a:pt x="19" y="135"/>
                  </a:lnTo>
                  <a:lnTo>
                    <a:pt x="19" y="137"/>
                  </a:lnTo>
                  <a:lnTo>
                    <a:pt x="21" y="140"/>
                  </a:lnTo>
                  <a:lnTo>
                    <a:pt x="21" y="142"/>
                  </a:lnTo>
                  <a:lnTo>
                    <a:pt x="21" y="147"/>
                  </a:lnTo>
                  <a:lnTo>
                    <a:pt x="21" y="147"/>
                  </a:lnTo>
                  <a:lnTo>
                    <a:pt x="23" y="151"/>
                  </a:lnTo>
                  <a:lnTo>
                    <a:pt x="23" y="154"/>
                  </a:lnTo>
                  <a:lnTo>
                    <a:pt x="23" y="158"/>
                  </a:lnTo>
                  <a:lnTo>
                    <a:pt x="23" y="161"/>
                  </a:lnTo>
                  <a:lnTo>
                    <a:pt x="23" y="166"/>
                  </a:lnTo>
                  <a:lnTo>
                    <a:pt x="21" y="168"/>
                  </a:lnTo>
                  <a:lnTo>
                    <a:pt x="21" y="170"/>
                  </a:lnTo>
                  <a:lnTo>
                    <a:pt x="19" y="175"/>
                  </a:lnTo>
                  <a:lnTo>
                    <a:pt x="16" y="177"/>
                  </a:lnTo>
                  <a:lnTo>
                    <a:pt x="16" y="180"/>
                  </a:lnTo>
                  <a:lnTo>
                    <a:pt x="12" y="184"/>
                  </a:lnTo>
                  <a:lnTo>
                    <a:pt x="12" y="189"/>
                  </a:lnTo>
                  <a:lnTo>
                    <a:pt x="9" y="192"/>
                  </a:lnTo>
                  <a:lnTo>
                    <a:pt x="9" y="194"/>
                  </a:lnTo>
                  <a:lnTo>
                    <a:pt x="7" y="194"/>
                  </a:lnTo>
                  <a:lnTo>
                    <a:pt x="5" y="196"/>
                  </a:lnTo>
                  <a:lnTo>
                    <a:pt x="2" y="201"/>
                  </a:lnTo>
                  <a:lnTo>
                    <a:pt x="2" y="203"/>
                  </a:lnTo>
                  <a:lnTo>
                    <a:pt x="2" y="203"/>
                  </a:lnTo>
                  <a:lnTo>
                    <a:pt x="2" y="206"/>
                  </a:lnTo>
                  <a:lnTo>
                    <a:pt x="0" y="206"/>
                  </a:lnTo>
                  <a:lnTo>
                    <a:pt x="0" y="208"/>
                  </a:lnTo>
                  <a:lnTo>
                    <a:pt x="0" y="210"/>
                  </a:lnTo>
                  <a:lnTo>
                    <a:pt x="0" y="215"/>
                  </a:lnTo>
                  <a:lnTo>
                    <a:pt x="0" y="218"/>
                  </a:lnTo>
                  <a:lnTo>
                    <a:pt x="0" y="225"/>
                  </a:lnTo>
                  <a:lnTo>
                    <a:pt x="0" y="227"/>
                  </a:lnTo>
                  <a:lnTo>
                    <a:pt x="0" y="227"/>
                  </a:lnTo>
                  <a:lnTo>
                    <a:pt x="5" y="232"/>
                  </a:lnTo>
                  <a:lnTo>
                    <a:pt x="5" y="234"/>
                  </a:lnTo>
                  <a:lnTo>
                    <a:pt x="5" y="236"/>
                  </a:lnTo>
                  <a:lnTo>
                    <a:pt x="7" y="239"/>
                  </a:lnTo>
                  <a:lnTo>
                    <a:pt x="7" y="241"/>
                  </a:lnTo>
                  <a:lnTo>
                    <a:pt x="5" y="244"/>
                  </a:lnTo>
                  <a:lnTo>
                    <a:pt x="5" y="246"/>
                  </a:lnTo>
                  <a:lnTo>
                    <a:pt x="5" y="251"/>
                  </a:lnTo>
                  <a:lnTo>
                    <a:pt x="5" y="253"/>
                  </a:lnTo>
                  <a:lnTo>
                    <a:pt x="5" y="258"/>
                  </a:lnTo>
                  <a:lnTo>
                    <a:pt x="5" y="260"/>
                  </a:lnTo>
                  <a:lnTo>
                    <a:pt x="7" y="262"/>
                  </a:lnTo>
                  <a:lnTo>
                    <a:pt x="9" y="265"/>
                  </a:lnTo>
                  <a:lnTo>
                    <a:pt x="9" y="267"/>
                  </a:lnTo>
                  <a:lnTo>
                    <a:pt x="9" y="270"/>
                  </a:lnTo>
                  <a:lnTo>
                    <a:pt x="9" y="272"/>
                  </a:lnTo>
                  <a:lnTo>
                    <a:pt x="9" y="272"/>
                  </a:lnTo>
                  <a:lnTo>
                    <a:pt x="12" y="272"/>
                  </a:lnTo>
                  <a:lnTo>
                    <a:pt x="14" y="274"/>
                  </a:lnTo>
                  <a:lnTo>
                    <a:pt x="16" y="277"/>
                  </a:lnTo>
                  <a:lnTo>
                    <a:pt x="16" y="279"/>
                  </a:lnTo>
                  <a:lnTo>
                    <a:pt x="19" y="279"/>
                  </a:lnTo>
                  <a:lnTo>
                    <a:pt x="21" y="279"/>
                  </a:lnTo>
                  <a:lnTo>
                    <a:pt x="23" y="279"/>
                  </a:lnTo>
                  <a:lnTo>
                    <a:pt x="28" y="284"/>
                  </a:lnTo>
                  <a:lnTo>
                    <a:pt x="30" y="284"/>
                  </a:lnTo>
                  <a:lnTo>
                    <a:pt x="35" y="284"/>
                  </a:lnTo>
                  <a:lnTo>
                    <a:pt x="38" y="284"/>
                  </a:lnTo>
                  <a:lnTo>
                    <a:pt x="40" y="281"/>
                  </a:lnTo>
                  <a:lnTo>
                    <a:pt x="45" y="279"/>
                  </a:lnTo>
                  <a:lnTo>
                    <a:pt x="47" y="277"/>
                  </a:lnTo>
                  <a:lnTo>
                    <a:pt x="52" y="277"/>
                  </a:lnTo>
                  <a:lnTo>
                    <a:pt x="56" y="277"/>
                  </a:lnTo>
                  <a:lnTo>
                    <a:pt x="59" y="277"/>
                  </a:lnTo>
                  <a:lnTo>
                    <a:pt x="63" y="274"/>
                  </a:lnTo>
                  <a:lnTo>
                    <a:pt x="63" y="272"/>
                  </a:lnTo>
                  <a:lnTo>
                    <a:pt x="68" y="267"/>
                  </a:lnTo>
                  <a:lnTo>
                    <a:pt x="68" y="262"/>
                  </a:lnTo>
                  <a:lnTo>
                    <a:pt x="71" y="260"/>
                  </a:lnTo>
                  <a:lnTo>
                    <a:pt x="71" y="258"/>
                  </a:lnTo>
                  <a:lnTo>
                    <a:pt x="71" y="255"/>
                  </a:lnTo>
                  <a:lnTo>
                    <a:pt x="73" y="253"/>
                  </a:lnTo>
                  <a:lnTo>
                    <a:pt x="75" y="248"/>
                  </a:lnTo>
                  <a:lnTo>
                    <a:pt x="75" y="246"/>
                  </a:lnTo>
                  <a:lnTo>
                    <a:pt x="75" y="244"/>
                  </a:lnTo>
                  <a:lnTo>
                    <a:pt x="80" y="234"/>
                  </a:lnTo>
                  <a:lnTo>
                    <a:pt x="80" y="229"/>
                  </a:lnTo>
                  <a:lnTo>
                    <a:pt x="82" y="225"/>
                  </a:lnTo>
                  <a:lnTo>
                    <a:pt x="82" y="220"/>
                  </a:lnTo>
                  <a:lnTo>
                    <a:pt x="85" y="218"/>
                  </a:lnTo>
                  <a:lnTo>
                    <a:pt x="89" y="206"/>
                  </a:lnTo>
                  <a:lnTo>
                    <a:pt x="92" y="196"/>
                  </a:lnTo>
                  <a:lnTo>
                    <a:pt x="96" y="187"/>
                  </a:lnTo>
                  <a:lnTo>
                    <a:pt x="99" y="177"/>
                  </a:lnTo>
                  <a:lnTo>
                    <a:pt x="101" y="170"/>
                  </a:lnTo>
                  <a:lnTo>
                    <a:pt x="104" y="166"/>
                  </a:lnTo>
                  <a:lnTo>
                    <a:pt x="106" y="156"/>
                  </a:lnTo>
                  <a:lnTo>
                    <a:pt x="108" y="149"/>
                  </a:lnTo>
                  <a:lnTo>
                    <a:pt x="111" y="142"/>
                  </a:lnTo>
                  <a:lnTo>
                    <a:pt x="113" y="137"/>
                  </a:lnTo>
                  <a:lnTo>
                    <a:pt x="115" y="132"/>
                  </a:lnTo>
                  <a:lnTo>
                    <a:pt x="118" y="123"/>
                  </a:lnTo>
                  <a:lnTo>
                    <a:pt x="118" y="118"/>
                  </a:lnTo>
                  <a:lnTo>
                    <a:pt x="118" y="111"/>
                  </a:lnTo>
                  <a:lnTo>
                    <a:pt x="118" y="109"/>
                  </a:lnTo>
                  <a:lnTo>
                    <a:pt x="120" y="104"/>
                  </a:lnTo>
                  <a:lnTo>
                    <a:pt x="120" y="102"/>
                  </a:lnTo>
                  <a:lnTo>
                    <a:pt x="122" y="102"/>
                  </a:lnTo>
                  <a:lnTo>
                    <a:pt x="122" y="99"/>
                  </a:lnTo>
                  <a:lnTo>
                    <a:pt x="125" y="99"/>
                  </a:lnTo>
                  <a:lnTo>
                    <a:pt x="122" y="99"/>
                  </a:lnTo>
                  <a:lnTo>
                    <a:pt x="122" y="97"/>
                  </a:lnTo>
                  <a:lnTo>
                    <a:pt x="125" y="95"/>
                  </a:lnTo>
                  <a:lnTo>
                    <a:pt x="125" y="92"/>
                  </a:lnTo>
                  <a:lnTo>
                    <a:pt x="125" y="88"/>
                  </a:lnTo>
                  <a:lnTo>
                    <a:pt x="125" y="85"/>
                  </a:lnTo>
                  <a:lnTo>
                    <a:pt x="125" y="85"/>
                  </a:lnTo>
                  <a:lnTo>
                    <a:pt x="125" y="85"/>
                  </a:lnTo>
                  <a:lnTo>
                    <a:pt x="125" y="80"/>
                  </a:lnTo>
                  <a:lnTo>
                    <a:pt x="125" y="78"/>
                  </a:lnTo>
                  <a:lnTo>
                    <a:pt x="122" y="76"/>
                  </a:lnTo>
                  <a:lnTo>
                    <a:pt x="122" y="73"/>
                  </a:lnTo>
                  <a:lnTo>
                    <a:pt x="122" y="73"/>
                  </a:lnTo>
                  <a:lnTo>
                    <a:pt x="125" y="71"/>
                  </a:lnTo>
                  <a:lnTo>
                    <a:pt x="127" y="71"/>
                  </a:lnTo>
                  <a:lnTo>
                    <a:pt x="127" y="71"/>
                  </a:lnTo>
                  <a:lnTo>
                    <a:pt x="127" y="73"/>
                  </a:lnTo>
                  <a:lnTo>
                    <a:pt x="129" y="78"/>
                  </a:lnTo>
                  <a:lnTo>
                    <a:pt x="132" y="80"/>
                  </a:lnTo>
                  <a:lnTo>
                    <a:pt x="132" y="83"/>
                  </a:lnTo>
                  <a:lnTo>
                    <a:pt x="134" y="83"/>
                  </a:lnTo>
                  <a:lnTo>
                    <a:pt x="134" y="80"/>
                  </a:lnTo>
                  <a:lnTo>
                    <a:pt x="134" y="80"/>
                  </a:lnTo>
                  <a:lnTo>
                    <a:pt x="137" y="76"/>
                  </a:lnTo>
                  <a:lnTo>
                    <a:pt x="139" y="69"/>
                  </a:lnTo>
                  <a:lnTo>
                    <a:pt x="139" y="6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8" name="Freeform 294"/>
            <p:cNvSpPr>
              <a:spLocks/>
            </p:cNvSpPr>
            <p:nvPr userDrawn="1"/>
          </p:nvSpPr>
          <p:spPr bwMode="auto">
            <a:xfrm>
              <a:off x="4018" y="1914"/>
              <a:ext cx="43" cy="33"/>
            </a:xfrm>
            <a:custGeom>
              <a:avLst/>
              <a:gdLst>
                <a:gd name="T0" fmla="*/ 43 w 43"/>
                <a:gd name="T1" fmla="*/ 14 h 33"/>
                <a:gd name="T2" fmla="*/ 40 w 43"/>
                <a:gd name="T3" fmla="*/ 12 h 33"/>
                <a:gd name="T4" fmla="*/ 40 w 43"/>
                <a:gd name="T5" fmla="*/ 7 h 33"/>
                <a:gd name="T6" fmla="*/ 36 w 43"/>
                <a:gd name="T7" fmla="*/ 7 h 33"/>
                <a:gd name="T8" fmla="*/ 31 w 43"/>
                <a:gd name="T9" fmla="*/ 2 h 33"/>
                <a:gd name="T10" fmla="*/ 31 w 43"/>
                <a:gd name="T11" fmla="*/ 2 h 33"/>
                <a:gd name="T12" fmla="*/ 29 w 43"/>
                <a:gd name="T13" fmla="*/ 2 h 33"/>
                <a:gd name="T14" fmla="*/ 26 w 43"/>
                <a:gd name="T15" fmla="*/ 2 h 33"/>
                <a:gd name="T16" fmla="*/ 24 w 43"/>
                <a:gd name="T17" fmla="*/ 2 h 33"/>
                <a:gd name="T18" fmla="*/ 21 w 43"/>
                <a:gd name="T19" fmla="*/ 2 h 33"/>
                <a:gd name="T20" fmla="*/ 19 w 43"/>
                <a:gd name="T21" fmla="*/ 2 h 33"/>
                <a:gd name="T22" fmla="*/ 14 w 43"/>
                <a:gd name="T23" fmla="*/ 5 h 33"/>
                <a:gd name="T24" fmla="*/ 14 w 43"/>
                <a:gd name="T25" fmla="*/ 5 h 33"/>
                <a:gd name="T26" fmla="*/ 12 w 43"/>
                <a:gd name="T27" fmla="*/ 7 h 33"/>
                <a:gd name="T28" fmla="*/ 12 w 43"/>
                <a:gd name="T29" fmla="*/ 5 h 33"/>
                <a:gd name="T30" fmla="*/ 5 w 43"/>
                <a:gd name="T31" fmla="*/ 7 h 33"/>
                <a:gd name="T32" fmla="*/ 5 w 43"/>
                <a:gd name="T33" fmla="*/ 9 h 33"/>
                <a:gd name="T34" fmla="*/ 5 w 43"/>
                <a:gd name="T35" fmla="*/ 12 h 33"/>
                <a:gd name="T36" fmla="*/ 3 w 43"/>
                <a:gd name="T37" fmla="*/ 12 h 33"/>
                <a:gd name="T38" fmla="*/ 0 w 43"/>
                <a:gd name="T39" fmla="*/ 14 h 33"/>
                <a:gd name="T40" fmla="*/ 0 w 43"/>
                <a:gd name="T41" fmla="*/ 16 h 33"/>
                <a:gd name="T42" fmla="*/ 0 w 43"/>
                <a:gd name="T43" fmla="*/ 19 h 33"/>
                <a:gd name="T44" fmla="*/ 0 w 43"/>
                <a:gd name="T45" fmla="*/ 21 h 33"/>
                <a:gd name="T46" fmla="*/ 3 w 43"/>
                <a:gd name="T47" fmla="*/ 26 h 33"/>
                <a:gd name="T48" fmla="*/ 5 w 43"/>
                <a:gd name="T49" fmla="*/ 28 h 33"/>
                <a:gd name="T50" fmla="*/ 5 w 43"/>
                <a:gd name="T51" fmla="*/ 31 h 33"/>
                <a:gd name="T52" fmla="*/ 10 w 43"/>
                <a:gd name="T53" fmla="*/ 31 h 33"/>
                <a:gd name="T54" fmla="*/ 10 w 43"/>
                <a:gd name="T55" fmla="*/ 33 h 33"/>
                <a:gd name="T56" fmla="*/ 12 w 43"/>
                <a:gd name="T57" fmla="*/ 31 h 33"/>
                <a:gd name="T58" fmla="*/ 17 w 43"/>
                <a:gd name="T59" fmla="*/ 31 h 33"/>
                <a:gd name="T60" fmla="*/ 19 w 43"/>
                <a:gd name="T61" fmla="*/ 31 h 33"/>
                <a:gd name="T62" fmla="*/ 24 w 43"/>
                <a:gd name="T63" fmla="*/ 31 h 33"/>
                <a:gd name="T64" fmla="*/ 26 w 43"/>
                <a:gd name="T65" fmla="*/ 26 h 33"/>
                <a:gd name="T66" fmla="*/ 31 w 43"/>
                <a:gd name="T67" fmla="*/ 26 h 33"/>
                <a:gd name="T68" fmla="*/ 33 w 43"/>
                <a:gd name="T69" fmla="*/ 26 h 33"/>
                <a:gd name="T70" fmla="*/ 38 w 43"/>
                <a:gd name="T71" fmla="*/ 26 h 33"/>
                <a:gd name="T72" fmla="*/ 40 w 43"/>
                <a:gd name="T73" fmla="*/ 24 h 33"/>
                <a:gd name="T74" fmla="*/ 40 w 43"/>
                <a:gd name="T75" fmla="*/ 21 h 33"/>
                <a:gd name="T76" fmla="*/ 43 w 43"/>
                <a:gd name="T77" fmla="*/ 21 h 33"/>
                <a:gd name="T78" fmla="*/ 43 w 43"/>
                <a:gd name="T79"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 h="33">
                  <a:moveTo>
                    <a:pt x="43" y="14"/>
                  </a:moveTo>
                  <a:lnTo>
                    <a:pt x="43" y="14"/>
                  </a:lnTo>
                  <a:lnTo>
                    <a:pt x="43" y="12"/>
                  </a:lnTo>
                  <a:lnTo>
                    <a:pt x="40" y="12"/>
                  </a:lnTo>
                  <a:lnTo>
                    <a:pt x="40" y="9"/>
                  </a:lnTo>
                  <a:lnTo>
                    <a:pt x="40" y="7"/>
                  </a:lnTo>
                  <a:lnTo>
                    <a:pt x="38" y="7"/>
                  </a:lnTo>
                  <a:lnTo>
                    <a:pt x="36" y="7"/>
                  </a:lnTo>
                  <a:lnTo>
                    <a:pt x="33" y="5"/>
                  </a:lnTo>
                  <a:lnTo>
                    <a:pt x="31" y="2"/>
                  </a:lnTo>
                  <a:lnTo>
                    <a:pt x="31" y="2"/>
                  </a:lnTo>
                  <a:lnTo>
                    <a:pt x="31" y="2"/>
                  </a:lnTo>
                  <a:lnTo>
                    <a:pt x="29" y="0"/>
                  </a:lnTo>
                  <a:lnTo>
                    <a:pt x="29" y="2"/>
                  </a:lnTo>
                  <a:lnTo>
                    <a:pt x="26" y="2"/>
                  </a:lnTo>
                  <a:lnTo>
                    <a:pt x="26" y="2"/>
                  </a:lnTo>
                  <a:lnTo>
                    <a:pt x="24" y="2"/>
                  </a:lnTo>
                  <a:lnTo>
                    <a:pt x="24" y="2"/>
                  </a:lnTo>
                  <a:lnTo>
                    <a:pt x="21" y="2"/>
                  </a:lnTo>
                  <a:lnTo>
                    <a:pt x="21" y="2"/>
                  </a:lnTo>
                  <a:lnTo>
                    <a:pt x="19" y="2"/>
                  </a:lnTo>
                  <a:lnTo>
                    <a:pt x="19" y="2"/>
                  </a:lnTo>
                  <a:lnTo>
                    <a:pt x="19" y="2"/>
                  </a:lnTo>
                  <a:lnTo>
                    <a:pt x="14" y="5"/>
                  </a:lnTo>
                  <a:lnTo>
                    <a:pt x="14" y="5"/>
                  </a:lnTo>
                  <a:lnTo>
                    <a:pt x="14" y="5"/>
                  </a:lnTo>
                  <a:lnTo>
                    <a:pt x="14" y="7"/>
                  </a:lnTo>
                  <a:lnTo>
                    <a:pt x="12" y="7"/>
                  </a:lnTo>
                  <a:lnTo>
                    <a:pt x="12" y="5"/>
                  </a:lnTo>
                  <a:lnTo>
                    <a:pt x="12" y="5"/>
                  </a:lnTo>
                  <a:lnTo>
                    <a:pt x="10" y="5"/>
                  </a:lnTo>
                  <a:lnTo>
                    <a:pt x="5" y="7"/>
                  </a:lnTo>
                  <a:lnTo>
                    <a:pt x="5" y="7"/>
                  </a:lnTo>
                  <a:lnTo>
                    <a:pt x="5" y="9"/>
                  </a:lnTo>
                  <a:lnTo>
                    <a:pt x="5" y="12"/>
                  </a:lnTo>
                  <a:lnTo>
                    <a:pt x="5" y="12"/>
                  </a:lnTo>
                  <a:lnTo>
                    <a:pt x="3" y="12"/>
                  </a:lnTo>
                  <a:lnTo>
                    <a:pt x="3" y="12"/>
                  </a:lnTo>
                  <a:lnTo>
                    <a:pt x="0" y="12"/>
                  </a:lnTo>
                  <a:lnTo>
                    <a:pt x="0" y="14"/>
                  </a:lnTo>
                  <a:lnTo>
                    <a:pt x="0" y="16"/>
                  </a:lnTo>
                  <a:lnTo>
                    <a:pt x="0" y="16"/>
                  </a:lnTo>
                  <a:lnTo>
                    <a:pt x="0" y="16"/>
                  </a:lnTo>
                  <a:lnTo>
                    <a:pt x="0" y="19"/>
                  </a:lnTo>
                  <a:lnTo>
                    <a:pt x="0" y="21"/>
                  </a:lnTo>
                  <a:lnTo>
                    <a:pt x="0" y="21"/>
                  </a:lnTo>
                  <a:lnTo>
                    <a:pt x="0" y="24"/>
                  </a:lnTo>
                  <a:lnTo>
                    <a:pt x="3" y="26"/>
                  </a:lnTo>
                  <a:lnTo>
                    <a:pt x="3" y="28"/>
                  </a:lnTo>
                  <a:lnTo>
                    <a:pt x="5" y="28"/>
                  </a:lnTo>
                  <a:lnTo>
                    <a:pt x="5" y="31"/>
                  </a:lnTo>
                  <a:lnTo>
                    <a:pt x="5" y="31"/>
                  </a:lnTo>
                  <a:lnTo>
                    <a:pt x="7" y="31"/>
                  </a:lnTo>
                  <a:lnTo>
                    <a:pt x="10" y="31"/>
                  </a:lnTo>
                  <a:lnTo>
                    <a:pt x="10" y="31"/>
                  </a:lnTo>
                  <a:lnTo>
                    <a:pt x="10" y="33"/>
                  </a:lnTo>
                  <a:lnTo>
                    <a:pt x="12" y="31"/>
                  </a:lnTo>
                  <a:lnTo>
                    <a:pt x="12" y="31"/>
                  </a:lnTo>
                  <a:lnTo>
                    <a:pt x="14" y="31"/>
                  </a:lnTo>
                  <a:lnTo>
                    <a:pt x="17" y="31"/>
                  </a:lnTo>
                  <a:lnTo>
                    <a:pt x="17" y="31"/>
                  </a:lnTo>
                  <a:lnTo>
                    <a:pt x="19" y="31"/>
                  </a:lnTo>
                  <a:lnTo>
                    <a:pt x="21" y="31"/>
                  </a:lnTo>
                  <a:lnTo>
                    <a:pt x="24" y="31"/>
                  </a:lnTo>
                  <a:lnTo>
                    <a:pt x="26" y="26"/>
                  </a:lnTo>
                  <a:lnTo>
                    <a:pt x="26" y="26"/>
                  </a:lnTo>
                  <a:lnTo>
                    <a:pt x="29" y="26"/>
                  </a:lnTo>
                  <a:lnTo>
                    <a:pt x="31" y="26"/>
                  </a:lnTo>
                  <a:lnTo>
                    <a:pt x="31" y="26"/>
                  </a:lnTo>
                  <a:lnTo>
                    <a:pt x="33" y="26"/>
                  </a:lnTo>
                  <a:lnTo>
                    <a:pt x="36" y="26"/>
                  </a:lnTo>
                  <a:lnTo>
                    <a:pt x="38" y="26"/>
                  </a:lnTo>
                  <a:lnTo>
                    <a:pt x="38" y="26"/>
                  </a:lnTo>
                  <a:lnTo>
                    <a:pt x="40" y="24"/>
                  </a:lnTo>
                  <a:lnTo>
                    <a:pt x="40" y="21"/>
                  </a:lnTo>
                  <a:lnTo>
                    <a:pt x="40" y="21"/>
                  </a:lnTo>
                  <a:lnTo>
                    <a:pt x="43" y="21"/>
                  </a:lnTo>
                  <a:lnTo>
                    <a:pt x="43" y="21"/>
                  </a:lnTo>
                  <a:lnTo>
                    <a:pt x="43" y="16"/>
                  </a:lnTo>
                  <a:lnTo>
                    <a:pt x="43" y="14"/>
                  </a:lnTo>
                  <a:lnTo>
                    <a:pt x="4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9" name="Freeform 295"/>
            <p:cNvSpPr>
              <a:spLocks/>
            </p:cNvSpPr>
            <p:nvPr userDrawn="1"/>
          </p:nvSpPr>
          <p:spPr bwMode="auto">
            <a:xfrm>
              <a:off x="5722" y="2337"/>
              <a:ext cx="0" cy="3"/>
            </a:xfrm>
            <a:custGeom>
              <a:avLst/>
              <a:gdLst>
                <a:gd name="T0" fmla="*/ 0 h 3"/>
                <a:gd name="T1" fmla="*/ 0 h 3"/>
                <a:gd name="T2" fmla="*/ 3 h 3"/>
                <a:gd name="T3" fmla="*/ 3 h 3"/>
                <a:gd name="T4" fmla="*/ 3 h 3"/>
                <a:gd name="T5" fmla="*/ 3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0"/>
                  </a:lnTo>
                  <a:lnTo>
                    <a:pt x="0" y="3"/>
                  </a:lnTo>
                  <a:lnTo>
                    <a:pt x="0" y="3"/>
                  </a:lnTo>
                  <a:lnTo>
                    <a:pt x="0" y="3"/>
                  </a:lnTo>
                  <a:lnTo>
                    <a:pt x="0" y="3"/>
                  </a:lnTo>
                  <a:lnTo>
                    <a:pt x="0" y="3"/>
                  </a:lnTo>
                  <a:lnTo>
                    <a:pt x="0" y="3"/>
                  </a:lnTo>
                  <a:lnTo>
                    <a:pt x="0"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0" name="Freeform 296"/>
            <p:cNvSpPr>
              <a:spLocks/>
            </p:cNvSpPr>
            <p:nvPr userDrawn="1"/>
          </p:nvSpPr>
          <p:spPr bwMode="auto">
            <a:xfrm>
              <a:off x="3773" y="1753"/>
              <a:ext cx="12" cy="14"/>
            </a:xfrm>
            <a:custGeom>
              <a:avLst/>
              <a:gdLst>
                <a:gd name="T0" fmla="*/ 12 w 12"/>
                <a:gd name="T1" fmla="*/ 7 h 14"/>
                <a:gd name="T2" fmla="*/ 10 w 12"/>
                <a:gd name="T3" fmla="*/ 7 h 14"/>
                <a:gd name="T4" fmla="*/ 10 w 12"/>
                <a:gd name="T5" fmla="*/ 7 h 14"/>
                <a:gd name="T6" fmla="*/ 7 w 12"/>
                <a:gd name="T7" fmla="*/ 5 h 14"/>
                <a:gd name="T8" fmla="*/ 7 w 12"/>
                <a:gd name="T9" fmla="*/ 5 h 14"/>
                <a:gd name="T10" fmla="*/ 5 w 12"/>
                <a:gd name="T11" fmla="*/ 5 h 14"/>
                <a:gd name="T12" fmla="*/ 5 w 12"/>
                <a:gd name="T13" fmla="*/ 2 h 14"/>
                <a:gd name="T14" fmla="*/ 5 w 12"/>
                <a:gd name="T15" fmla="*/ 2 h 14"/>
                <a:gd name="T16" fmla="*/ 5 w 12"/>
                <a:gd name="T17" fmla="*/ 0 h 14"/>
                <a:gd name="T18" fmla="*/ 5 w 12"/>
                <a:gd name="T19" fmla="*/ 0 h 14"/>
                <a:gd name="T20" fmla="*/ 5 w 12"/>
                <a:gd name="T21" fmla="*/ 0 h 14"/>
                <a:gd name="T22" fmla="*/ 5 w 12"/>
                <a:gd name="T23" fmla="*/ 0 h 14"/>
                <a:gd name="T24" fmla="*/ 2 w 12"/>
                <a:gd name="T25" fmla="*/ 0 h 14"/>
                <a:gd name="T26" fmla="*/ 2 w 12"/>
                <a:gd name="T27" fmla="*/ 2 h 14"/>
                <a:gd name="T28" fmla="*/ 0 w 12"/>
                <a:gd name="T29" fmla="*/ 2 h 14"/>
                <a:gd name="T30" fmla="*/ 0 w 12"/>
                <a:gd name="T31" fmla="*/ 5 h 14"/>
                <a:gd name="T32" fmla="*/ 0 w 12"/>
                <a:gd name="T33" fmla="*/ 5 h 14"/>
                <a:gd name="T34" fmla="*/ 0 w 12"/>
                <a:gd name="T35" fmla="*/ 5 h 14"/>
                <a:gd name="T36" fmla="*/ 0 w 12"/>
                <a:gd name="T37" fmla="*/ 7 h 14"/>
                <a:gd name="T38" fmla="*/ 0 w 12"/>
                <a:gd name="T39" fmla="*/ 7 h 14"/>
                <a:gd name="T40" fmla="*/ 0 w 12"/>
                <a:gd name="T41" fmla="*/ 7 h 14"/>
                <a:gd name="T42" fmla="*/ 0 w 12"/>
                <a:gd name="T43" fmla="*/ 7 h 14"/>
                <a:gd name="T44" fmla="*/ 0 w 12"/>
                <a:gd name="T45" fmla="*/ 10 h 14"/>
                <a:gd name="T46" fmla="*/ 2 w 12"/>
                <a:gd name="T47" fmla="*/ 10 h 14"/>
                <a:gd name="T48" fmla="*/ 0 w 12"/>
                <a:gd name="T49" fmla="*/ 12 h 14"/>
                <a:gd name="T50" fmla="*/ 0 w 12"/>
                <a:gd name="T51" fmla="*/ 12 h 14"/>
                <a:gd name="T52" fmla="*/ 0 w 12"/>
                <a:gd name="T53" fmla="*/ 12 h 14"/>
                <a:gd name="T54" fmla="*/ 0 w 12"/>
                <a:gd name="T55" fmla="*/ 12 h 14"/>
                <a:gd name="T56" fmla="*/ 0 w 12"/>
                <a:gd name="T57" fmla="*/ 14 h 14"/>
                <a:gd name="T58" fmla="*/ 2 w 12"/>
                <a:gd name="T59" fmla="*/ 14 h 14"/>
                <a:gd name="T60" fmla="*/ 2 w 12"/>
                <a:gd name="T61" fmla="*/ 14 h 14"/>
                <a:gd name="T62" fmla="*/ 2 w 12"/>
                <a:gd name="T63" fmla="*/ 14 h 14"/>
                <a:gd name="T64" fmla="*/ 2 w 12"/>
                <a:gd name="T65" fmla="*/ 14 h 14"/>
                <a:gd name="T66" fmla="*/ 5 w 12"/>
                <a:gd name="T67" fmla="*/ 14 h 14"/>
                <a:gd name="T68" fmla="*/ 5 w 12"/>
                <a:gd name="T69" fmla="*/ 14 h 14"/>
                <a:gd name="T70" fmla="*/ 7 w 12"/>
                <a:gd name="T71" fmla="*/ 14 h 14"/>
                <a:gd name="T72" fmla="*/ 7 w 12"/>
                <a:gd name="T73" fmla="*/ 14 h 14"/>
                <a:gd name="T74" fmla="*/ 7 w 12"/>
                <a:gd name="T75" fmla="*/ 14 h 14"/>
                <a:gd name="T76" fmla="*/ 10 w 12"/>
                <a:gd name="T77" fmla="*/ 14 h 14"/>
                <a:gd name="T78" fmla="*/ 10 w 12"/>
                <a:gd name="T79" fmla="*/ 14 h 14"/>
                <a:gd name="T80" fmla="*/ 10 w 12"/>
                <a:gd name="T81" fmla="*/ 12 h 14"/>
                <a:gd name="T82" fmla="*/ 10 w 12"/>
                <a:gd name="T83" fmla="*/ 10 h 14"/>
                <a:gd name="T84" fmla="*/ 10 w 12"/>
                <a:gd name="T85" fmla="*/ 10 h 14"/>
                <a:gd name="T86" fmla="*/ 12 w 12"/>
                <a:gd name="T87" fmla="*/ 10 h 14"/>
                <a:gd name="T88" fmla="*/ 12 w 12"/>
                <a:gd name="T89" fmla="*/ 7 h 14"/>
                <a:gd name="T90" fmla="*/ 12 w 12"/>
                <a:gd name="T9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14">
                  <a:moveTo>
                    <a:pt x="12" y="7"/>
                  </a:moveTo>
                  <a:lnTo>
                    <a:pt x="10" y="7"/>
                  </a:lnTo>
                  <a:lnTo>
                    <a:pt x="10" y="7"/>
                  </a:lnTo>
                  <a:lnTo>
                    <a:pt x="7" y="5"/>
                  </a:lnTo>
                  <a:lnTo>
                    <a:pt x="7" y="5"/>
                  </a:lnTo>
                  <a:lnTo>
                    <a:pt x="5" y="5"/>
                  </a:lnTo>
                  <a:lnTo>
                    <a:pt x="5" y="2"/>
                  </a:lnTo>
                  <a:lnTo>
                    <a:pt x="5" y="2"/>
                  </a:lnTo>
                  <a:lnTo>
                    <a:pt x="5" y="0"/>
                  </a:lnTo>
                  <a:lnTo>
                    <a:pt x="5" y="0"/>
                  </a:lnTo>
                  <a:lnTo>
                    <a:pt x="5" y="0"/>
                  </a:lnTo>
                  <a:lnTo>
                    <a:pt x="5" y="0"/>
                  </a:lnTo>
                  <a:lnTo>
                    <a:pt x="2" y="0"/>
                  </a:lnTo>
                  <a:lnTo>
                    <a:pt x="2" y="2"/>
                  </a:lnTo>
                  <a:lnTo>
                    <a:pt x="0" y="2"/>
                  </a:lnTo>
                  <a:lnTo>
                    <a:pt x="0" y="5"/>
                  </a:lnTo>
                  <a:lnTo>
                    <a:pt x="0" y="5"/>
                  </a:lnTo>
                  <a:lnTo>
                    <a:pt x="0" y="5"/>
                  </a:lnTo>
                  <a:lnTo>
                    <a:pt x="0" y="7"/>
                  </a:lnTo>
                  <a:lnTo>
                    <a:pt x="0" y="7"/>
                  </a:lnTo>
                  <a:lnTo>
                    <a:pt x="0" y="7"/>
                  </a:lnTo>
                  <a:lnTo>
                    <a:pt x="0" y="7"/>
                  </a:lnTo>
                  <a:lnTo>
                    <a:pt x="0" y="10"/>
                  </a:lnTo>
                  <a:lnTo>
                    <a:pt x="2" y="10"/>
                  </a:lnTo>
                  <a:lnTo>
                    <a:pt x="0" y="12"/>
                  </a:lnTo>
                  <a:lnTo>
                    <a:pt x="0" y="12"/>
                  </a:lnTo>
                  <a:lnTo>
                    <a:pt x="0" y="12"/>
                  </a:lnTo>
                  <a:lnTo>
                    <a:pt x="0" y="12"/>
                  </a:lnTo>
                  <a:lnTo>
                    <a:pt x="0" y="14"/>
                  </a:lnTo>
                  <a:lnTo>
                    <a:pt x="2" y="14"/>
                  </a:lnTo>
                  <a:lnTo>
                    <a:pt x="2" y="14"/>
                  </a:lnTo>
                  <a:lnTo>
                    <a:pt x="2" y="14"/>
                  </a:lnTo>
                  <a:lnTo>
                    <a:pt x="2" y="14"/>
                  </a:lnTo>
                  <a:lnTo>
                    <a:pt x="5" y="14"/>
                  </a:lnTo>
                  <a:lnTo>
                    <a:pt x="5" y="14"/>
                  </a:lnTo>
                  <a:lnTo>
                    <a:pt x="7" y="14"/>
                  </a:lnTo>
                  <a:lnTo>
                    <a:pt x="7" y="14"/>
                  </a:lnTo>
                  <a:lnTo>
                    <a:pt x="7" y="14"/>
                  </a:lnTo>
                  <a:lnTo>
                    <a:pt x="10" y="14"/>
                  </a:lnTo>
                  <a:lnTo>
                    <a:pt x="10" y="14"/>
                  </a:lnTo>
                  <a:lnTo>
                    <a:pt x="10" y="12"/>
                  </a:lnTo>
                  <a:lnTo>
                    <a:pt x="10" y="10"/>
                  </a:lnTo>
                  <a:lnTo>
                    <a:pt x="10" y="10"/>
                  </a:lnTo>
                  <a:lnTo>
                    <a:pt x="12" y="10"/>
                  </a:lnTo>
                  <a:lnTo>
                    <a:pt x="12" y="7"/>
                  </a:lnTo>
                  <a:lnTo>
                    <a:pt x="12"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1" name="Freeform 297"/>
            <p:cNvSpPr>
              <a:spLocks noEditPoints="1"/>
            </p:cNvSpPr>
            <p:nvPr userDrawn="1"/>
          </p:nvSpPr>
          <p:spPr bwMode="auto">
            <a:xfrm>
              <a:off x="4011" y="1628"/>
              <a:ext cx="90" cy="49"/>
            </a:xfrm>
            <a:custGeom>
              <a:avLst/>
              <a:gdLst>
                <a:gd name="T0" fmla="*/ 0 w 90"/>
                <a:gd name="T1" fmla="*/ 19 h 49"/>
                <a:gd name="T2" fmla="*/ 3 w 90"/>
                <a:gd name="T3" fmla="*/ 21 h 49"/>
                <a:gd name="T4" fmla="*/ 3 w 90"/>
                <a:gd name="T5" fmla="*/ 14 h 49"/>
                <a:gd name="T6" fmla="*/ 90 w 90"/>
                <a:gd name="T7" fmla="*/ 21 h 49"/>
                <a:gd name="T8" fmla="*/ 85 w 90"/>
                <a:gd name="T9" fmla="*/ 21 h 49"/>
                <a:gd name="T10" fmla="*/ 87 w 90"/>
                <a:gd name="T11" fmla="*/ 14 h 49"/>
                <a:gd name="T12" fmla="*/ 85 w 90"/>
                <a:gd name="T13" fmla="*/ 14 h 49"/>
                <a:gd name="T14" fmla="*/ 78 w 90"/>
                <a:gd name="T15" fmla="*/ 9 h 49"/>
                <a:gd name="T16" fmla="*/ 71 w 90"/>
                <a:gd name="T17" fmla="*/ 5 h 49"/>
                <a:gd name="T18" fmla="*/ 61 w 90"/>
                <a:gd name="T19" fmla="*/ 5 h 49"/>
                <a:gd name="T20" fmla="*/ 59 w 90"/>
                <a:gd name="T21" fmla="*/ 0 h 49"/>
                <a:gd name="T22" fmla="*/ 54 w 90"/>
                <a:gd name="T23" fmla="*/ 2 h 49"/>
                <a:gd name="T24" fmla="*/ 47 w 90"/>
                <a:gd name="T25" fmla="*/ 2 h 49"/>
                <a:gd name="T26" fmla="*/ 40 w 90"/>
                <a:gd name="T27" fmla="*/ 0 h 49"/>
                <a:gd name="T28" fmla="*/ 33 w 90"/>
                <a:gd name="T29" fmla="*/ 0 h 49"/>
                <a:gd name="T30" fmla="*/ 28 w 90"/>
                <a:gd name="T31" fmla="*/ 0 h 49"/>
                <a:gd name="T32" fmla="*/ 21 w 90"/>
                <a:gd name="T33" fmla="*/ 0 h 49"/>
                <a:gd name="T34" fmla="*/ 12 w 90"/>
                <a:gd name="T35" fmla="*/ 2 h 49"/>
                <a:gd name="T36" fmla="*/ 0 w 90"/>
                <a:gd name="T37" fmla="*/ 7 h 49"/>
                <a:gd name="T38" fmla="*/ 3 w 90"/>
                <a:gd name="T39" fmla="*/ 14 h 49"/>
                <a:gd name="T40" fmla="*/ 5 w 90"/>
                <a:gd name="T41" fmla="*/ 21 h 49"/>
                <a:gd name="T42" fmla="*/ 7 w 90"/>
                <a:gd name="T43" fmla="*/ 21 h 49"/>
                <a:gd name="T44" fmla="*/ 12 w 90"/>
                <a:gd name="T45" fmla="*/ 23 h 49"/>
                <a:gd name="T46" fmla="*/ 19 w 90"/>
                <a:gd name="T47" fmla="*/ 26 h 49"/>
                <a:gd name="T48" fmla="*/ 26 w 90"/>
                <a:gd name="T49" fmla="*/ 28 h 49"/>
                <a:gd name="T50" fmla="*/ 31 w 90"/>
                <a:gd name="T51" fmla="*/ 31 h 49"/>
                <a:gd name="T52" fmla="*/ 28 w 90"/>
                <a:gd name="T53" fmla="*/ 38 h 49"/>
                <a:gd name="T54" fmla="*/ 31 w 90"/>
                <a:gd name="T55" fmla="*/ 40 h 49"/>
                <a:gd name="T56" fmla="*/ 33 w 90"/>
                <a:gd name="T57" fmla="*/ 40 h 49"/>
                <a:gd name="T58" fmla="*/ 36 w 90"/>
                <a:gd name="T59" fmla="*/ 42 h 49"/>
                <a:gd name="T60" fmla="*/ 40 w 90"/>
                <a:gd name="T61" fmla="*/ 42 h 49"/>
                <a:gd name="T62" fmla="*/ 43 w 90"/>
                <a:gd name="T63" fmla="*/ 47 h 49"/>
                <a:gd name="T64" fmla="*/ 43 w 90"/>
                <a:gd name="T65" fmla="*/ 49 h 49"/>
                <a:gd name="T66" fmla="*/ 50 w 90"/>
                <a:gd name="T67" fmla="*/ 49 h 49"/>
                <a:gd name="T68" fmla="*/ 52 w 90"/>
                <a:gd name="T69" fmla="*/ 49 h 49"/>
                <a:gd name="T70" fmla="*/ 57 w 90"/>
                <a:gd name="T71" fmla="*/ 49 h 49"/>
                <a:gd name="T72" fmla="*/ 61 w 90"/>
                <a:gd name="T73" fmla="*/ 47 h 49"/>
                <a:gd name="T74" fmla="*/ 66 w 90"/>
                <a:gd name="T75" fmla="*/ 45 h 49"/>
                <a:gd name="T76" fmla="*/ 69 w 90"/>
                <a:gd name="T77" fmla="*/ 42 h 49"/>
                <a:gd name="T78" fmla="*/ 73 w 90"/>
                <a:gd name="T79" fmla="*/ 42 h 49"/>
                <a:gd name="T80" fmla="*/ 73 w 90"/>
                <a:gd name="T81" fmla="*/ 45 h 49"/>
                <a:gd name="T82" fmla="*/ 78 w 90"/>
                <a:gd name="T83" fmla="*/ 45 h 49"/>
                <a:gd name="T84" fmla="*/ 76 w 90"/>
                <a:gd name="T85" fmla="*/ 42 h 49"/>
                <a:gd name="T86" fmla="*/ 73 w 90"/>
                <a:gd name="T87" fmla="*/ 40 h 49"/>
                <a:gd name="T88" fmla="*/ 73 w 90"/>
                <a:gd name="T89" fmla="*/ 38 h 49"/>
                <a:gd name="T90" fmla="*/ 76 w 90"/>
                <a:gd name="T91" fmla="*/ 35 h 49"/>
                <a:gd name="T92" fmla="*/ 76 w 90"/>
                <a:gd name="T93" fmla="*/ 31 h 49"/>
                <a:gd name="T94" fmla="*/ 80 w 90"/>
                <a:gd name="T95" fmla="*/ 28 h 49"/>
                <a:gd name="T96" fmla="*/ 83 w 90"/>
                <a:gd name="T97" fmla="*/ 26 h 49"/>
                <a:gd name="T98" fmla="*/ 87 w 90"/>
                <a:gd name="T99" fmla="*/ 26 h 49"/>
                <a:gd name="T100" fmla="*/ 90 w 90"/>
                <a:gd name="T101"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49">
                  <a:moveTo>
                    <a:pt x="3" y="16"/>
                  </a:moveTo>
                  <a:lnTo>
                    <a:pt x="3" y="19"/>
                  </a:lnTo>
                  <a:lnTo>
                    <a:pt x="0" y="19"/>
                  </a:lnTo>
                  <a:lnTo>
                    <a:pt x="0" y="21"/>
                  </a:lnTo>
                  <a:lnTo>
                    <a:pt x="0" y="21"/>
                  </a:lnTo>
                  <a:lnTo>
                    <a:pt x="3" y="21"/>
                  </a:lnTo>
                  <a:lnTo>
                    <a:pt x="3" y="19"/>
                  </a:lnTo>
                  <a:lnTo>
                    <a:pt x="3" y="16"/>
                  </a:lnTo>
                  <a:lnTo>
                    <a:pt x="3" y="14"/>
                  </a:lnTo>
                  <a:lnTo>
                    <a:pt x="3" y="16"/>
                  </a:lnTo>
                  <a:close/>
                  <a:moveTo>
                    <a:pt x="90" y="21"/>
                  </a:moveTo>
                  <a:lnTo>
                    <a:pt x="90" y="21"/>
                  </a:lnTo>
                  <a:lnTo>
                    <a:pt x="87" y="21"/>
                  </a:lnTo>
                  <a:lnTo>
                    <a:pt x="85" y="21"/>
                  </a:lnTo>
                  <a:lnTo>
                    <a:pt x="85" y="21"/>
                  </a:lnTo>
                  <a:lnTo>
                    <a:pt x="87" y="19"/>
                  </a:lnTo>
                  <a:lnTo>
                    <a:pt x="87" y="16"/>
                  </a:lnTo>
                  <a:lnTo>
                    <a:pt x="87" y="14"/>
                  </a:lnTo>
                  <a:lnTo>
                    <a:pt x="87" y="14"/>
                  </a:lnTo>
                  <a:lnTo>
                    <a:pt x="87" y="14"/>
                  </a:lnTo>
                  <a:lnTo>
                    <a:pt x="85" y="14"/>
                  </a:lnTo>
                  <a:lnTo>
                    <a:pt x="83" y="12"/>
                  </a:lnTo>
                  <a:lnTo>
                    <a:pt x="80" y="12"/>
                  </a:lnTo>
                  <a:lnTo>
                    <a:pt x="78" y="9"/>
                  </a:lnTo>
                  <a:lnTo>
                    <a:pt x="78" y="9"/>
                  </a:lnTo>
                  <a:lnTo>
                    <a:pt x="76" y="7"/>
                  </a:lnTo>
                  <a:lnTo>
                    <a:pt x="71" y="5"/>
                  </a:lnTo>
                  <a:lnTo>
                    <a:pt x="71" y="5"/>
                  </a:lnTo>
                  <a:lnTo>
                    <a:pt x="64" y="5"/>
                  </a:lnTo>
                  <a:lnTo>
                    <a:pt x="61" y="5"/>
                  </a:lnTo>
                  <a:lnTo>
                    <a:pt x="61" y="2"/>
                  </a:lnTo>
                  <a:lnTo>
                    <a:pt x="59" y="0"/>
                  </a:lnTo>
                  <a:lnTo>
                    <a:pt x="59" y="0"/>
                  </a:lnTo>
                  <a:lnTo>
                    <a:pt x="57" y="0"/>
                  </a:lnTo>
                  <a:lnTo>
                    <a:pt x="57" y="0"/>
                  </a:lnTo>
                  <a:lnTo>
                    <a:pt x="54" y="2"/>
                  </a:lnTo>
                  <a:lnTo>
                    <a:pt x="54" y="2"/>
                  </a:lnTo>
                  <a:lnTo>
                    <a:pt x="52" y="2"/>
                  </a:lnTo>
                  <a:lnTo>
                    <a:pt x="47" y="2"/>
                  </a:lnTo>
                  <a:lnTo>
                    <a:pt x="45" y="2"/>
                  </a:lnTo>
                  <a:lnTo>
                    <a:pt x="43" y="0"/>
                  </a:lnTo>
                  <a:lnTo>
                    <a:pt x="40" y="0"/>
                  </a:lnTo>
                  <a:lnTo>
                    <a:pt x="40" y="0"/>
                  </a:lnTo>
                  <a:lnTo>
                    <a:pt x="33" y="0"/>
                  </a:lnTo>
                  <a:lnTo>
                    <a:pt x="33" y="0"/>
                  </a:lnTo>
                  <a:lnTo>
                    <a:pt x="31" y="2"/>
                  </a:lnTo>
                  <a:lnTo>
                    <a:pt x="31" y="0"/>
                  </a:lnTo>
                  <a:lnTo>
                    <a:pt x="28" y="0"/>
                  </a:lnTo>
                  <a:lnTo>
                    <a:pt x="26" y="0"/>
                  </a:lnTo>
                  <a:lnTo>
                    <a:pt x="24" y="0"/>
                  </a:lnTo>
                  <a:lnTo>
                    <a:pt x="21" y="0"/>
                  </a:lnTo>
                  <a:lnTo>
                    <a:pt x="17" y="0"/>
                  </a:lnTo>
                  <a:lnTo>
                    <a:pt x="17" y="0"/>
                  </a:lnTo>
                  <a:lnTo>
                    <a:pt x="12" y="2"/>
                  </a:lnTo>
                  <a:lnTo>
                    <a:pt x="10" y="2"/>
                  </a:lnTo>
                  <a:lnTo>
                    <a:pt x="5" y="5"/>
                  </a:lnTo>
                  <a:lnTo>
                    <a:pt x="0" y="7"/>
                  </a:lnTo>
                  <a:lnTo>
                    <a:pt x="0" y="7"/>
                  </a:lnTo>
                  <a:lnTo>
                    <a:pt x="3" y="12"/>
                  </a:lnTo>
                  <a:lnTo>
                    <a:pt x="3" y="14"/>
                  </a:lnTo>
                  <a:lnTo>
                    <a:pt x="5" y="19"/>
                  </a:lnTo>
                  <a:lnTo>
                    <a:pt x="5" y="21"/>
                  </a:lnTo>
                  <a:lnTo>
                    <a:pt x="5" y="21"/>
                  </a:lnTo>
                  <a:lnTo>
                    <a:pt x="5" y="21"/>
                  </a:lnTo>
                  <a:lnTo>
                    <a:pt x="5" y="21"/>
                  </a:lnTo>
                  <a:lnTo>
                    <a:pt x="7" y="21"/>
                  </a:lnTo>
                  <a:lnTo>
                    <a:pt x="7" y="23"/>
                  </a:lnTo>
                  <a:lnTo>
                    <a:pt x="10" y="23"/>
                  </a:lnTo>
                  <a:lnTo>
                    <a:pt x="12" y="23"/>
                  </a:lnTo>
                  <a:lnTo>
                    <a:pt x="14" y="26"/>
                  </a:lnTo>
                  <a:lnTo>
                    <a:pt x="19" y="26"/>
                  </a:lnTo>
                  <a:lnTo>
                    <a:pt x="19" y="26"/>
                  </a:lnTo>
                  <a:lnTo>
                    <a:pt x="21" y="26"/>
                  </a:lnTo>
                  <a:lnTo>
                    <a:pt x="26" y="26"/>
                  </a:lnTo>
                  <a:lnTo>
                    <a:pt x="26" y="28"/>
                  </a:lnTo>
                  <a:lnTo>
                    <a:pt x="28" y="28"/>
                  </a:lnTo>
                  <a:lnTo>
                    <a:pt x="31" y="31"/>
                  </a:lnTo>
                  <a:lnTo>
                    <a:pt x="31" y="31"/>
                  </a:lnTo>
                  <a:lnTo>
                    <a:pt x="28" y="35"/>
                  </a:lnTo>
                  <a:lnTo>
                    <a:pt x="28" y="35"/>
                  </a:lnTo>
                  <a:lnTo>
                    <a:pt x="28" y="38"/>
                  </a:lnTo>
                  <a:lnTo>
                    <a:pt x="28" y="40"/>
                  </a:lnTo>
                  <a:lnTo>
                    <a:pt x="31" y="40"/>
                  </a:lnTo>
                  <a:lnTo>
                    <a:pt x="31" y="40"/>
                  </a:lnTo>
                  <a:lnTo>
                    <a:pt x="31" y="40"/>
                  </a:lnTo>
                  <a:lnTo>
                    <a:pt x="33" y="40"/>
                  </a:lnTo>
                  <a:lnTo>
                    <a:pt x="33" y="40"/>
                  </a:lnTo>
                  <a:lnTo>
                    <a:pt x="33" y="40"/>
                  </a:lnTo>
                  <a:lnTo>
                    <a:pt x="36" y="42"/>
                  </a:lnTo>
                  <a:lnTo>
                    <a:pt x="36" y="42"/>
                  </a:lnTo>
                  <a:lnTo>
                    <a:pt x="36" y="42"/>
                  </a:lnTo>
                  <a:lnTo>
                    <a:pt x="38" y="42"/>
                  </a:lnTo>
                  <a:lnTo>
                    <a:pt x="40" y="42"/>
                  </a:lnTo>
                  <a:lnTo>
                    <a:pt x="40" y="45"/>
                  </a:lnTo>
                  <a:lnTo>
                    <a:pt x="43" y="45"/>
                  </a:lnTo>
                  <a:lnTo>
                    <a:pt x="43" y="47"/>
                  </a:lnTo>
                  <a:lnTo>
                    <a:pt x="43" y="47"/>
                  </a:lnTo>
                  <a:lnTo>
                    <a:pt x="43" y="49"/>
                  </a:lnTo>
                  <a:lnTo>
                    <a:pt x="43" y="49"/>
                  </a:lnTo>
                  <a:lnTo>
                    <a:pt x="45" y="49"/>
                  </a:lnTo>
                  <a:lnTo>
                    <a:pt x="47" y="49"/>
                  </a:lnTo>
                  <a:lnTo>
                    <a:pt x="50" y="49"/>
                  </a:lnTo>
                  <a:lnTo>
                    <a:pt x="50" y="49"/>
                  </a:lnTo>
                  <a:lnTo>
                    <a:pt x="52" y="49"/>
                  </a:lnTo>
                  <a:lnTo>
                    <a:pt x="52" y="49"/>
                  </a:lnTo>
                  <a:lnTo>
                    <a:pt x="54" y="49"/>
                  </a:lnTo>
                  <a:lnTo>
                    <a:pt x="54" y="49"/>
                  </a:lnTo>
                  <a:lnTo>
                    <a:pt x="57" y="49"/>
                  </a:lnTo>
                  <a:lnTo>
                    <a:pt x="59" y="47"/>
                  </a:lnTo>
                  <a:lnTo>
                    <a:pt x="61" y="47"/>
                  </a:lnTo>
                  <a:lnTo>
                    <a:pt x="61" y="47"/>
                  </a:lnTo>
                  <a:lnTo>
                    <a:pt x="61" y="45"/>
                  </a:lnTo>
                  <a:lnTo>
                    <a:pt x="64" y="45"/>
                  </a:lnTo>
                  <a:lnTo>
                    <a:pt x="66" y="45"/>
                  </a:lnTo>
                  <a:lnTo>
                    <a:pt x="66" y="45"/>
                  </a:lnTo>
                  <a:lnTo>
                    <a:pt x="69" y="42"/>
                  </a:lnTo>
                  <a:lnTo>
                    <a:pt x="69" y="42"/>
                  </a:lnTo>
                  <a:lnTo>
                    <a:pt x="71" y="42"/>
                  </a:lnTo>
                  <a:lnTo>
                    <a:pt x="73" y="42"/>
                  </a:lnTo>
                  <a:lnTo>
                    <a:pt x="73" y="42"/>
                  </a:lnTo>
                  <a:lnTo>
                    <a:pt x="73" y="42"/>
                  </a:lnTo>
                  <a:lnTo>
                    <a:pt x="73" y="45"/>
                  </a:lnTo>
                  <a:lnTo>
                    <a:pt x="73" y="45"/>
                  </a:lnTo>
                  <a:lnTo>
                    <a:pt x="73" y="45"/>
                  </a:lnTo>
                  <a:lnTo>
                    <a:pt x="76" y="45"/>
                  </a:lnTo>
                  <a:lnTo>
                    <a:pt x="78" y="45"/>
                  </a:lnTo>
                  <a:lnTo>
                    <a:pt x="78" y="45"/>
                  </a:lnTo>
                  <a:lnTo>
                    <a:pt x="78" y="42"/>
                  </a:lnTo>
                  <a:lnTo>
                    <a:pt x="76" y="42"/>
                  </a:lnTo>
                  <a:lnTo>
                    <a:pt x="76" y="42"/>
                  </a:lnTo>
                  <a:lnTo>
                    <a:pt x="76" y="40"/>
                  </a:lnTo>
                  <a:lnTo>
                    <a:pt x="73" y="40"/>
                  </a:lnTo>
                  <a:lnTo>
                    <a:pt x="73" y="40"/>
                  </a:lnTo>
                  <a:lnTo>
                    <a:pt x="73" y="40"/>
                  </a:lnTo>
                  <a:lnTo>
                    <a:pt x="73" y="38"/>
                  </a:lnTo>
                  <a:lnTo>
                    <a:pt x="76" y="38"/>
                  </a:lnTo>
                  <a:lnTo>
                    <a:pt x="76" y="35"/>
                  </a:lnTo>
                  <a:lnTo>
                    <a:pt x="76" y="35"/>
                  </a:lnTo>
                  <a:lnTo>
                    <a:pt x="76" y="35"/>
                  </a:lnTo>
                  <a:lnTo>
                    <a:pt x="76" y="33"/>
                  </a:lnTo>
                  <a:lnTo>
                    <a:pt x="76" y="31"/>
                  </a:lnTo>
                  <a:lnTo>
                    <a:pt x="78" y="28"/>
                  </a:lnTo>
                  <a:lnTo>
                    <a:pt x="78" y="28"/>
                  </a:lnTo>
                  <a:lnTo>
                    <a:pt x="80" y="28"/>
                  </a:lnTo>
                  <a:lnTo>
                    <a:pt x="83" y="28"/>
                  </a:lnTo>
                  <a:lnTo>
                    <a:pt x="83" y="26"/>
                  </a:lnTo>
                  <a:lnTo>
                    <a:pt x="83" y="26"/>
                  </a:lnTo>
                  <a:lnTo>
                    <a:pt x="83" y="26"/>
                  </a:lnTo>
                  <a:lnTo>
                    <a:pt x="83" y="23"/>
                  </a:lnTo>
                  <a:lnTo>
                    <a:pt x="87" y="26"/>
                  </a:lnTo>
                  <a:lnTo>
                    <a:pt x="90" y="23"/>
                  </a:lnTo>
                  <a:lnTo>
                    <a:pt x="90" y="23"/>
                  </a:lnTo>
                  <a:lnTo>
                    <a:pt x="90" y="23"/>
                  </a:lnTo>
                  <a:lnTo>
                    <a:pt x="90" y="21"/>
                  </a:lnTo>
                  <a:lnTo>
                    <a:pt x="90"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2" name="Freeform 298"/>
            <p:cNvSpPr>
              <a:spLocks/>
            </p:cNvSpPr>
            <p:nvPr userDrawn="1"/>
          </p:nvSpPr>
          <p:spPr bwMode="auto">
            <a:xfrm>
              <a:off x="3832" y="1812"/>
              <a:ext cx="2" cy="5"/>
            </a:xfrm>
            <a:custGeom>
              <a:avLst/>
              <a:gdLst>
                <a:gd name="T0" fmla="*/ 2 w 2"/>
                <a:gd name="T1" fmla="*/ 3 h 5"/>
                <a:gd name="T2" fmla="*/ 2 w 2"/>
                <a:gd name="T3" fmla="*/ 3 h 5"/>
                <a:gd name="T4" fmla="*/ 2 w 2"/>
                <a:gd name="T5" fmla="*/ 3 h 5"/>
                <a:gd name="T6" fmla="*/ 2 w 2"/>
                <a:gd name="T7" fmla="*/ 3 h 5"/>
                <a:gd name="T8" fmla="*/ 2 w 2"/>
                <a:gd name="T9" fmla="*/ 0 h 5"/>
                <a:gd name="T10" fmla="*/ 2 w 2"/>
                <a:gd name="T11" fmla="*/ 0 h 5"/>
                <a:gd name="T12" fmla="*/ 0 w 2"/>
                <a:gd name="T13" fmla="*/ 0 h 5"/>
                <a:gd name="T14" fmla="*/ 0 w 2"/>
                <a:gd name="T15" fmla="*/ 3 h 5"/>
                <a:gd name="T16" fmla="*/ 0 w 2"/>
                <a:gd name="T17" fmla="*/ 5 h 5"/>
                <a:gd name="T18" fmla="*/ 0 w 2"/>
                <a:gd name="T19" fmla="*/ 5 h 5"/>
                <a:gd name="T20" fmla="*/ 0 w 2"/>
                <a:gd name="T21" fmla="*/ 5 h 5"/>
                <a:gd name="T22" fmla="*/ 2 w 2"/>
                <a:gd name="T23" fmla="*/ 5 h 5"/>
                <a:gd name="T24" fmla="*/ 2 w 2"/>
                <a:gd name="T25" fmla="*/ 5 h 5"/>
                <a:gd name="T26" fmla="*/ 2 w 2"/>
                <a:gd name="T27" fmla="*/ 5 h 5"/>
                <a:gd name="T28" fmla="*/ 2 w 2"/>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5">
                  <a:moveTo>
                    <a:pt x="2" y="3"/>
                  </a:moveTo>
                  <a:lnTo>
                    <a:pt x="2" y="3"/>
                  </a:lnTo>
                  <a:lnTo>
                    <a:pt x="2" y="3"/>
                  </a:lnTo>
                  <a:lnTo>
                    <a:pt x="2" y="3"/>
                  </a:lnTo>
                  <a:lnTo>
                    <a:pt x="2" y="0"/>
                  </a:lnTo>
                  <a:lnTo>
                    <a:pt x="2" y="0"/>
                  </a:lnTo>
                  <a:lnTo>
                    <a:pt x="0" y="0"/>
                  </a:lnTo>
                  <a:lnTo>
                    <a:pt x="0" y="3"/>
                  </a:lnTo>
                  <a:lnTo>
                    <a:pt x="0" y="5"/>
                  </a:lnTo>
                  <a:lnTo>
                    <a:pt x="0" y="5"/>
                  </a:lnTo>
                  <a:lnTo>
                    <a:pt x="0" y="5"/>
                  </a:lnTo>
                  <a:lnTo>
                    <a:pt x="2" y="5"/>
                  </a:lnTo>
                  <a:lnTo>
                    <a:pt x="2" y="5"/>
                  </a:lnTo>
                  <a:lnTo>
                    <a:pt x="2" y="5"/>
                  </a:lnTo>
                  <a:lnTo>
                    <a:pt x="2"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3" name="Freeform 299"/>
            <p:cNvSpPr>
              <a:spLocks/>
            </p:cNvSpPr>
            <p:nvPr userDrawn="1"/>
          </p:nvSpPr>
          <p:spPr bwMode="auto">
            <a:xfrm>
              <a:off x="3827" y="2108"/>
              <a:ext cx="286" cy="288"/>
            </a:xfrm>
            <a:custGeom>
              <a:avLst/>
              <a:gdLst>
                <a:gd name="T0" fmla="*/ 286 w 286"/>
                <a:gd name="T1" fmla="*/ 232 h 288"/>
                <a:gd name="T2" fmla="*/ 283 w 286"/>
                <a:gd name="T3" fmla="*/ 208 h 288"/>
                <a:gd name="T4" fmla="*/ 283 w 286"/>
                <a:gd name="T5" fmla="*/ 184 h 288"/>
                <a:gd name="T6" fmla="*/ 283 w 286"/>
                <a:gd name="T7" fmla="*/ 161 h 288"/>
                <a:gd name="T8" fmla="*/ 283 w 286"/>
                <a:gd name="T9" fmla="*/ 137 h 288"/>
                <a:gd name="T10" fmla="*/ 281 w 286"/>
                <a:gd name="T11" fmla="*/ 111 h 288"/>
                <a:gd name="T12" fmla="*/ 281 w 286"/>
                <a:gd name="T13" fmla="*/ 87 h 288"/>
                <a:gd name="T14" fmla="*/ 276 w 286"/>
                <a:gd name="T15" fmla="*/ 71 h 288"/>
                <a:gd name="T16" fmla="*/ 278 w 286"/>
                <a:gd name="T17" fmla="*/ 57 h 288"/>
                <a:gd name="T18" fmla="*/ 276 w 286"/>
                <a:gd name="T19" fmla="*/ 45 h 288"/>
                <a:gd name="T20" fmla="*/ 281 w 286"/>
                <a:gd name="T21" fmla="*/ 33 h 288"/>
                <a:gd name="T22" fmla="*/ 278 w 286"/>
                <a:gd name="T23" fmla="*/ 26 h 288"/>
                <a:gd name="T24" fmla="*/ 262 w 286"/>
                <a:gd name="T25" fmla="*/ 23 h 288"/>
                <a:gd name="T26" fmla="*/ 245 w 286"/>
                <a:gd name="T27" fmla="*/ 16 h 288"/>
                <a:gd name="T28" fmla="*/ 234 w 286"/>
                <a:gd name="T29" fmla="*/ 7 h 288"/>
                <a:gd name="T30" fmla="*/ 217 w 286"/>
                <a:gd name="T31" fmla="*/ 5 h 288"/>
                <a:gd name="T32" fmla="*/ 196 w 286"/>
                <a:gd name="T33" fmla="*/ 16 h 288"/>
                <a:gd name="T34" fmla="*/ 189 w 286"/>
                <a:gd name="T35" fmla="*/ 33 h 288"/>
                <a:gd name="T36" fmla="*/ 194 w 286"/>
                <a:gd name="T37" fmla="*/ 47 h 288"/>
                <a:gd name="T38" fmla="*/ 175 w 286"/>
                <a:gd name="T39" fmla="*/ 61 h 288"/>
                <a:gd name="T40" fmla="*/ 151 w 286"/>
                <a:gd name="T41" fmla="*/ 47 h 288"/>
                <a:gd name="T42" fmla="*/ 116 w 286"/>
                <a:gd name="T43" fmla="*/ 38 h 288"/>
                <a:gd name="T44" fmla="*/ 109 w 286"/>
                <a:gd name="T45" fmla="*/ 26 h 288"/>
                <a:gd name="T46" fmla="*/ 90 w 286"/>
                <a:gd name="T47" fmla="*/ 12 h 288"/>
                <a:gd name="T48" fmla="*/ 76 w 286"/>
                <a:gd name="T49" fmla="*/ 7 h 288"/>
                <a:gd name="T50" fmla="*/ 52 w 286"/>
                <a:gd name="T51" fmla="*/ 7 h 288"/>
                <a:gd name="T52" fmla="*/ 38 w 286"/>
                <a:gd name="T53" fmla="*/ 5 h 288"/>
                <a:gd name="T54" fmla="*/ 40 w 286"/>
                <a:gd name="T55" fmla="*/ 14 h 288"/>
                <a:gd name="T56" fmla="*/ 26 w 286"/>
                <a:gd name="T57" fmla="*/ 23 h 288"/>
                <a:gd name="T58" fmla="*/ 22 w 286"/>
                <a:gd name="T59" fmla="*/ 28 h 288"/>
                <a:gd name="T60" fmla="*/ 14 w 286"/>
                <a:gd name="T61" fmla="*/ 33 h 288"/>
                <a:gd name="T62" fmla="*/ 17 w 286"/>
                <a:gd name="T63" fmla="*/ 47 h 288"/>
                <a:gd name="T64" fmla="*/ 10 w 286"/>
                <a:gd name="T65" fmla="*/ 59 h 288"/>
                <a:gd name="T66" fmla="*/ 0 w 286"/>
                <a:gd name="T67" fmla="*/ 64 h 288"/>
                <a:gd name="T68" fmla="*/ 7 w 286"/>
                <a:gd name="T69" fmla="*/ 80 h 288"/>
                <a:gd name="T70" fmla="*/ 10 w 286"/>
                <a:gd name="T71" fmla="*/ 109 h 288"/>
                <a:gd name="T72" fmla="*/ 10 w 286"/>
                <a:gd name="T73" fmla="*/ 130 h 288"/>
                <a:gd name="T74" fmla="*/ 7 w 286"/>
                <a:gd name="T75" fmla="*/ 142 h 288"/>
                <a:gd name="T76" fmla="*/ 5 w 286"/>
                <a:gd name="T77" fmla="*/ 153 h 288"/>
                <a:gd name="T78" fmla="*/ 14 w 286"/>
                <a:gd name="T79" fmla="*/ 177 h 288"/>
                <a:gd name="T80" fmla="*/ 19 w 286"/>
                <a:gd name="T81" fmla="*/ 182 h 288"/>
                <a:gd name="T82" fmla="*/ 43 w 286"/>
                <a:gd name="T83" fmla="*/ 191 h 288"/>
                <a:gd name="T84" fmla="*/ 66 w 286"/>
                <a:gd name="T85" fmla="*/ 208 h 288"/>
                <a:gd name="T86" fmla="*/ 90 w 286"/>
                <a:gd name="T87" fmla="*/ 222 h 288"/>
                <a:gd name="T88" fmla="*/ 109 w 286"/>
                <a:gd name="T89" fmla="*/ 210 h 288"/>
                <a:gd name="T90" fmla="*/ 144 w 286"/>
                <a:gd name="T91" fmla="*/ 217 h 288"/>
                <a:gd name="T92" fmla="*/ 189 w 286"/>
                <a:gd name="T93" fmla="*/ 243 h 288"/>
                <a:gd name="T94" fmla="*/ 231 w 286"/>
                <a:gd name="T95" fmla="*/ 269 h 288"/>
                <a:gd name="T96" fmla="*/ 267 w 286"/>
                <a:gd name="T97" fmla="*/ 286 h 288"/>
                <a:gd name="T98" fmla="*/ 276 w 286"/>
                <a:gd name="T99" fmla="*/ 279 h 288"/>
                <a:gd name="T100" fmla="*/ 286 w 286"/>
                <a:gd name="T101"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6" h="288">
                  <a:moveTo>
                    <a:pt x="286" y="267"/>
                  </a:moveTo>
                  <a:lnTo>
                    <a:pt x="286" y="258"/>
                  </a:lnTo>
                  <a:lnTo>
                    <a:pt x="286" y="246"/>
                  </a:lnTo>
                  <a:lnTo>
                    <a:pt x="286" y="236"/>
                  </a:lnTo>
                  <a:lnTo>
                    <a:pt x="286" y="232"/>
                  </a:lnTo>
                  <a:lnTo>
                    <a:pt x="286" y="227"/>
                  </a:lnTo>
                  <a:lnTo>
                    <a:pt x="286" y="222"/>
                  </a:lnTo>
                  <a:lnTo>
                    <a:pt x="283" y="217"/>
                  </a:lnTo>
                  <a:lnTo>
                    <a:pt x="283" y="213"/>
                  </a:lnTo>
                  <a:lnTo>
                    <a:pt x="283" y="208"/>
                  </a:lnTo>
                  <a:lnTo>
                    <a:pt x="283" y="203"/>
                  </a:lnTo>
                  <a:lnTo>
                    <a:pt x="283" y="198"/>
                  </a:lnTo>
                  <a:lnTo>
                    <a:pt x="283" y="194"/>
                  </a:lnTo>
                  <a:lnTo>
                    <a:pt x="283" y="189"/>
                  </a:lnTo>
                  <a:lnTo>
                    <a:pt x="283" y="184"/>
                  </a:lnTo>
                  <a:lnTo>
                    <a:pt x="283" y="179"/>
                  </a:lnTo>
                  <a:lnTo>
                    <a:pt x="283" y="175"/>
                  </a:lnTo>
                  <a:lnTo>
                    <a:pt x="283" y="170"/>
                  </a:lnTo>
                  <a:lnTo>
                    <a:pt x="283" y="165"/>
                  </a:lnTo>
                  <a:lnTo>
                    <a:pt x="283" y="161"/>
                  </a:lnTo>
                  <a:lnTo>
                    <a:pt x="283" y="156"/>
                  </a:lnTo>
                  <a:lnTo>
                    <a:pt x="283" y="151"/>
                  </a:lnTo>
                  <a:lnTo>
                    <a:pt x="283" y="146"/>
                  </a:lnTo>
                  <a:lnTo>
                    <a:pt x="283" y="142"/>
                  </a:lnTo>
                  <a:lnTo>
                    <a:pt x="283" y="137"/>
                  </a:lnTo>
                  <a:lnTo>
                    <a:pt x="283" y="132"/>
                  </a:lnTo>
                  <a:lnTo>
                    <a:pt x="281" y="127"/>
                  </a:lnTo>
                  <a:lnTo>
                    <a:pt x="281" y="123"/>
                  </a:lnTo>
                  <a:lnTo>
                    <a:pt x="281" y="116"/>
                  </a:lnTo>
                  <a:lnTo>
                    <a:pt x="281" y="111"/>
                  </a:lnTo>
                  <a:lnTo>
                    <a:pt x="281" y="106"/>
                  </a:lnTo>
                  <a:lnTo>
                    <a:pt x="281" y="101"/>
                  </a:lnTo>
                  <a:lnTo>
                    <a:pt x="281" y="97"/>
                  </a:lnTo>
                  <a:lnTo>
                    <a:pt x="281" y="92"/>
                  </a:lnTo>
                  <a:lnTo>
                    <a:pt x="281" y="87"/>
                  </a:lnTo>
                  <a:lnTo>
                    <a:pt x="281" y="83"/>
                  </a:lnTo>
                  <a:lnTo>
                    <a:pt x="281" y="83"/>
                  </a:lnTo>
                  <a:lnTo>
                    <a:pt x="278" y="80"/>
                  </a:lnTo>
                  <a:lnTo>
                    <a:pt x="278" y="75"/>
                  </a:lnTo>
                  <a:lnTo>
                    <a:pt x="276" y="71"/>
                  </a:lnTo>
                  <a:lnTo>
                    <a:pt x="276" y="68"/>
                  </a:lnTo>
                  <a:lnTo>
                    <a:pt x="276" y="64"/>
                  </a:lnTo>
                  <a:lnTo>
                    <a:pt x="274" y="61"/>
                  </a:lnTo>
                  <a:lnTo>
                    <a:pt x="276" y="61"/>
                  </a:lnTo>
                  <a:lnTo>
                    <a:pt x="278" y="57"/>
                  </a:lnTo>
                  <a:lnTo>
                    <a:pt x="278" y="54"/>
                  </a:lnTo>
                  <a:lnTo>
                    <a:pt x="278" y="52"/>
                  </a:lnTo>
                  <a:lnTo>
                    <a:pt x="278" y="49"/>
                  </a:lnTo>
                  <a:lnTo>
                    <a:pt x="278" y="47"/>
                  </a:lnTo>
                  <a:lnTo>
                    <a:pt x="276" y="45"/>
                  </a:lnTo>
                  <a:lnTo>
                    <a:pt x="276" y="42"/>
                  </a:lnTo>
                  <a:lnTo>
                    <a:pt x="276" y="38"/>
                  </a:lnTo>
                  <a:lnTo>
                    <a:pt x="278" y="35"/>
                  </a:lnTo>
                  <a:lnTo>
                    <a:pt x="278" y="35"/>
                  </a:lnTo>
                  <a:lnTo>
                    <a:pt x="281" y="33"/>
                  </a:lnTo>
                  <a:lnTo>
                    <a:pt x="281" y="33"/>
                  </a:lnTo>
                  <a:lnTo>
                    <a:pt x="281" y="31"/>
                  </a:lnTo>
                  <a:lnTo>
                    <a:pt x="281" y="31"/>
                  </a:lnTo>
                  <a:lnTo>
                    <a:pt x="278" y="26"/>
                  </a:lnTo>
                  <a:lnTo>
                    <a:pt x="278" y="26"/>
                  </a:lnTo>
                  <a:lnTo>
                    <a:pt x="276" y="26"/>
                  </a:lnTo>
                  <a:lnTo>
                    <a:pt x="274" y="23"/>
                  </a:lnTo>
                  <a:lnTo>
                    <a:pt x="269" y="23"/>
                  </a:lnTo>
                  <a:lnTo>
                    <a:pt x="262" y="23"/>
                  </a:lnTo>
                  <a:lnTo>
                    <a:pt x="262" y="23"/>
                  </a:lnTo>
                  <a:lnTo>
                    <a:pt x="260" y="21"/>
                  </a:lnTo>
                  <a:lnTo>
                    <a:pt x="257" y="21"/>
                  </a:lnTo>
                  <a:lnTo>
                    <a:pt x="248" y="19"/>
                  </a:lnTo>
                  <a:lnTo>
                    <a:pt x="245" y="16"/>
                  </a:lnTo>
                  <a:lnTo>
                    <a:pt x="245" y="16"/>
                  </a:lnTo>
                  <a:lnTo>
                    <a:pt x="245" y="14"/>
                  </a:lnTo>
                  <a:lnTo>
                    <a:pt x="243" y="12"/>
                  </a:lnTo>
                  <a:lnTo>
                    <a:pt x="241" y="9"/>
                  </a:lnTo>
                  <a:lnTo>
                    <a:pt x="238" y="9"/>
                  </a:lnTo>
                  <a:lnTo>
                    <a:pt x="234" y="7"/>
                  </a:lnTo>
                  <a:lnTo>
                    <a:pt x="231" y="7"/>
                  </a:lnTo>
                  <a:lnTo>
                    <a:pt x="229" y="5"/>
                  </a:lnTo>
                  <a:lnTo>
                    <a:pt x="222" y="5"/>
                  </a:lnTo>
                  <a:lnTo>
                    <a:pt x="220" y="5"/>
                  </a:lnTo>
                  <a:lnTo>
                    <a:pt x="217" y="5"/>
                  </a:lnTo>
                  <a:lnTo>
                    <a:pt x="215" y="7"/>
                  </a:lnTo>
                  <a:lnTo>
                    <a:pt x="212" y="7"/>
                  </a:lnTo>
                  <a:lnTo>
                    <a:pt x="208" y="7"/>
                  </a:lnTo>
                  <a:lnTo>
                    <a:pt x="201" y="12"/>
                  </a:lnTo>
                  <a:lnTo>
                    <a:pt x="196" y="16"/>
                  </a:lnTo>
                  <a:lnTo>
                    <a:pt x="191" y="19"/>
                  </a:lnTo>
                  <a:lnTo>
                    <a:pt x="191" y="21"/>
                  </a:lnTo>
                  <a:lnTo>
                    <a:pt x="189" y="23"/>
                  </a:lnTo>
                  <a:lnTo>
                    <a:pt x="189" y="28"/>
                  </a:lnTo>
                  <a:lnTo>
                    <a:pt x="189" y="33"/>
                  </a:lnTo>
                  <a:lnTo>
                    <a:pt x="191" y="38"/>
                  </a:lnTo>
                  <a:lnTo>
                    <a:pt x="191" y="40"/>
                  </a:lnTo>
                  <a:lnTo>
                    <a:pt x="194" y="42"/>
                  </a:lnTo>
                  <a:lnTo>
                    <a:pt x="194" y="45"/>
                  </a:lnTo>
                  <a:lnTo>
                    <a:pt x="194" y="47"/>
                  </a:lnTo>
                  <a:lnTo>
                    <a:pt x="191" y="49"/>
                  </a:lnTo>
                  <a:lnTo>
                    <a:pt x="187" y="57"/>
                  </a:lnTo>
                  <a:lnTo>
                    <a:pt x="184" y="59"/>
                  </a:lnTo>
                  <a:lnTo>
                    <a:pt x="177" y="61"/>
                  </a:lnTo>
                  <a:lnTo>
                    <a:pt x="175" y="61"/>
                  </a:lnTo>
                  <a:lnTo>
                    <a:pt x="172" y="61"/>
                  </a:lnTo>
                  <a:lnTo>
                    <a:pt x="168" y="57"/>
                  </a:lnTo>
                  <a:lnTo>
                    <a:pt x="158" y="49"/>
                  </a:lnTo>
                  <a:lnTo>
                    <a:pt x="154" y="49"/>
                  </a:lnTo>
                  <a:lnTo>
                    <a:pt x="151" y="47"/>
                  </a:lnTo>
                  <a:lnTo>
                    <a:pt x="144" y="45"/>
                  </a:lnTo>
                  <a:lnTo>
                    <a:pt x="132" y="40"/>
                  </a:lnTo>
                  <a:lnTo>
                    <a:pt x="128" y="40"/>
                  </a:lnTo>
                  <a:lnTo>
                    <a:pt x="121" y="40"/>
                  </a:lnTo>
                  <a:lnTo>
                    <a:pt x="116" y="38"/>
                  </a:lnTo>
                  <a:lnTo>
                    <a:pt x="113" y="35"/>
                  </a:lnTo>
                  <a:lnTo>
                    <a:pt x="111" y="35"/>
                  </a:lnTo>
                  <a:lnTo>
                    <a:pt x="111" y="31"/>
                  </a:lnTo>
                  <a:lnTo>
                    <a:pt x="109" y="28"/>
                  </a:lnTo>
                  <a:lnTo>
                    <a:pt x="109" y="26"/>
                  </a:lnTo>
                  <a:lnTo>
                    <a:pt x="106" y="21"/>
                  </a:lnTo>
                  <a:lnTo>
                    <a:pt x="106" y="19"/>
                  </a:lnTo>
                  <a:lnTo>
                    <a:pt x="104" y="16"/>
                  </a:lnTo>
                  <a:lnTo>
                    <a:pt x="92" y="14"/>
                  </a:lnTo>
                  <a:lnTo>
                    <a:pt x="90" y="12"/>
                  </a:lnTo>
                  <a:lnTo>
                    <a:pt x="88" y="9"/>
                  </a:lnTo>
                  <a:lnTo>
                    <a:pt x="85" y="9"/>
                  </a:lnTo>
                  <a:lnTo>
                    <a:pt x="80" y="7"/>
                  </a:lnTo>
                  <a:lnTo>
                    <a:pt x="78" y="7"/>
                  </a:lnTo>
                  <a:lnTo>
                    <a:pt x="76" y="7"/>
                  </a:lnTo>
                  <a:lnTo>
                    <a:pt x="71" y="5"/>
                  </a:lnTo>
                  <a:lnTo>
                    <a:pt x="69" y="5"/>
                  </a:lnTo>
                  <a:lnTo>
                    <a:pt x="62" y="7"/>
                  </a:lnTo>
                  <a:lnTo>
                    <a:pt x="55" y="7"/>
                  </a:lnTo>
                  <a:lnTo>
                    <a:pt x="52" y="7"/>
                  </a:lnTo>
                  <a:lnTo>
                    <a:pt x="45" y="2"/>
                  </a:lnTo>
                  <a:lnTo>
                    <a:pt x="43" y="0"/>
                  </a:lnTo>
                  <a:lnTo>
                    <a:pt x="38" y="0"/>
                  </a:lnTo>
                  <a:lnTo>
                    <a:pt x="38" y="0"/>
                  </a:lnTo>
                  <a:lnTo>
                    <a:pt x="38" y="5"/>
                  </a:lnTo>
                  <a:lnTo>
                    <a:pt x="38" y="5"/>
                  </a:lnTo>
                  <a:lnTo>
                    <a:pt x="38" y="7"/>
                  </a:lnTo>
                  <a:lnTo>
                    <a:pt x="38" y="12"/>
                  </a:lnTo>
                  <a:lnTo>
                    <a:pt x="40" y="14"/>
                  </a:lnTo>
                  <a:lnTo>
                    <a:pt x="40" y="14"/>
                  </a:lnTo>
                  <a:lnTo>
                    <a:pt x="40" y="16"/>
                  </a:lnTo>
                  <a:lnTo>
                    <a:pt x="36" y="16"/>
                  </a:lnTo>
                  <a:lnTo>
                    <a:pt x="33" y="19"/>
                  </a:lnTo>
                  <a:lnTo>
                    <a:pt x="31" y="21"/>
                  </a:lnTo>
                  <a:lnTo>
                    <a:pt x="26" y="23"/>
                  </a:lnTo>
                  <a:lnTo>
                    <a:pt x="26" y="23"/>
                  </a:lnTo>
                  <a:lnTo>
                    <a:pt x="24" y="26"/>
                  </a:lnTo>
                  <a:lnTo>
                    <a:pt x="24" y="26"/>
                  </a:lnTo>
                  <a:lnTo>
                    <a:pt x="24" y="26"/>
                  </a:lnTo>
                  <a:lnTo>
                    <a:pt x="22" y="28"/>
                  </a:lnTo>
                  <a:lnTo>
                    <a:pt x="22" y="31"/>
                  </a:lnTo>
                  <a:lnTo>
                    <a:pt x="17" y="31"/>
                  </a:lnTo>
                  <a:lnTo>
                    <a:pt x="17" y="31"/>
                  </a:lnTo>
                  <a:lnTo>
                    <a:pt x="17" y="33"/>
                  </a:lnTo>
                  <a:lnTo>
                    <a:pt x="14" y="33"/>
                  </a:lnTo>
                  <a:lnTo>
                    <a:pt x="14" y="35"/>
                  </a:lnTo>
                  <a:lnTo>
                    <a:pt x="14" y="40"/>
                  </a:lnTo>
                  <a:lnTo>
                    <a:pt x="17" y="45"/>
                  </a:lnTo>
                  <a:lnTo>
                    <a:pt x="17" y="47"/>
                  </a:lnTo>
                  <a:lnTo>
                    <a:pt x="17" y="47"/>
                  </a:lnTo>
                  <a:lnTo>
                    <a:pt x="17" y="49"/>
                  </a:lnTo>
                  <a:lnTo>
                    <a:pt x="14" y="52"/>
                  </a:lnTo>
                  <a:lnTo>
                    <a:pt x="14" y="54"/>
                  </a:lnTo>
                  <a:lnTo>
                    <a:pt x="12" y="57"/>
                  </a:lnTo>
                  <a:lnTo>
                    <a:pt x="10" y="59"/>
                  </a:lnTo>
                  <a:lnTo>
                    <a:pt x="10" y="59"/>
                  </a:lnTo>
                  <a:lnTo>
                    <a:pt x="5" y="61"/>
                  </a:lnTo>
                  <a:lnTo>
                    <a:pt x="5" y="61"/>
                  </a:lnTo>
                  <a:lnTo>
                    <a:pt x="3" y="64"/>
                  </a:lnTo>
                  <a:lnTo>
                    <a:pt x="0" y="64"/>
                  </a:lnTo>
                  <a:lnTo>
                    <a:pt x="3" y="66"/>
                  </a:lnTo>
                  <a:lnTo>
                    <a:pt x="5" y="71"/>
                  </a:lnTo>
                  <a:lnTo>
                    <a:pt x="5" y="73"/>
                  </a:lnTo>
                  <a:lnTo>
                    <a:pt x="7" y="75"/>
                  </a:lnTo>
                  <a:lnTo>
                    <a:pt x="7" y="80"/>
                  </a:lnTo>
                  <a:lnTo>
                    <a:pt x="10" y="85"/>
                  </a:lnTo>
                  <a:lnTo>
                    <a:pt x="10" y="85"/>
                  </a:lnTo>
                  <a:lnTo>
                    <a:pt x="10" y="87"/>
                  </a:lnTo>
                  <a:lnTo>
                    <a:pt x="10" y="97"/>
                  </a:lnTo>
                  <a:lnTo>
                    <a:pt x="10" y="109"/>
                  </a:lnTo>
                  <a:lnTo>
                    <a:pt x="10" y="113"/>
                  </a:lnTo>
                  <a:lnTo>
                    <a:pt x="10" y="118"/>
                  </a:lnTo>
                  <a:lnTo>
                    <a:pt x="7" y="123"/>
                  </a:lnTo>
                  <a:lnTo>
                    <a:pt x="7" y="125"/>
                  </a:lnTo>
                  <a:lnTo>
                    <a:pt x="10" y="130"/>
                  </a:lnTo>
                  <a:lnTo>
                    <a:pt x="10" y="132"/>
                  </a:lnTo>
                  <a:lnTo>
                    <a:pt x="10" y="132"/>
                  </a:lnTo>
                  <a:lnTo>
                    <a:pt x="10" y="137"/>
                  </a:lnTo>
                  <a:lnTo>
                    <a:pt x="10" y="139"/>
                  </a:lnTo>
                  <a:lnTo>
                    <a:pt x="7" y="142"/>
                  </a:lnTo>
                  <a:lnTo>
                    <a:pt x="3" y="144"/>
                  </a:lnTo>
                  <a:lnTo>
                    <a:pt x="3" y="146"/>
                  </a:lnTo>
                  <a:lnTo>
                    <a:pt x="3" y="149"/>
                  </a:lnTo>
                  <a:lnTo>
                    <a:pt x="3" y="149"/>
                  </a:lnTo>
                  <a:lnTo>
                    <a:pt x="5" y="153"/>
                  </a:lnTo>
                  <a:lnTo>
                    <a:pt x="7" y="158"/>
                  </a:lnTo>
                  <a:lnTo>
                    <a:pt x="12" y="165"/>
                  </a:lnTo>
                  <a:lnTo>
                    <a:pt x="12" y="168"/>
                  </a:lnTo>
                  <a:lnTo>
                    <a:pt x="12" y="170"/>
                  </a:lnTo>
                  <a:lnTo>
                    <a:pt x="14" y="177"/>
                  </a:lnTo>
                  <a:lnTo>
                    <a:pt x="17" y="179"/>
                  </a:lnTo>
                  <a:lnTo>
                    <a:pt x="17" y="179"/>
                  </a:lnTo>
                  <a:lnTo>
                    <a:pt x="19" y="182"/>
                  </a:lnTo>
                  <a:lnTo>
                    <a:pt x="19" y="182"/>
                  </a:lnTo>
                  <a:lnTo>
                    <a:pt x="19" y="182"/>
                  </a:lnTo>
                  <a:lnTo>
                    <a:pt x="24" y="182"/>
                  </a:lnTo>
                  <a:lnTo>
                    <a:pt x="33" y="184"/>
                  </a:lnTo>
                  <a:lnTo>
                    <a:pt x="40" y="187"/>
                  </a:lnTo>
                  <a:lnTo>
                    <a:pt x="40" y="187"/>
                  </a:lnTo>
                  <a:lnTo>
                    <a:pt x="43" y="191"/>
                  </a:lnTo>
                  <a:lnTo>
                    <a:pt x="45" y="196"/>
                  </a:lnTo>
                  <a:lnTo>
                    <a:pt x="45" y="198"/>
                  </a:lnTo>
                  <a:lnTo>
                    <a:pt x="47" y="203"/>
                  </a:lnTo>
                  <a:lnTo>
                    <a:pt x="57" y="205"/>
                  </a:lnTo>
                  <a:lnTo>
                    <a:pt x="66" y="208"/>
                  </a:lnTo>
                  <a:lnTo>
                    <a:pt x="76" y="210"/>
                  </a:lnTo>
                  <a:lnTo>
                    <a:pt x="78" y="213"/>
                  </a:lnTo>
                  <a:lnTo>
                    <a:pt x="83" y="217"/>
                  </a:lnTo>
                  <a:lnTo>
                    <a:pt x="88" y="222"/>
                  </a:lnTo>
                  <a:lnTo>
                    <a:pt x="90" y="222"/>
                  </a:lnTo>
                  <a:lnTo>
                    <a:pt x="90" y="222"/>
                  </a:lnTo>
                  <a:lnTo>
                    <a:pt x="95" y="220"/>
                  </a:lnTo>
                  <a:lnTo>
                    <a:pt x="102" y="215"/>
                  </a:lnTo>
                  <a:lnTo>
                    <a:pt x="102" y="215"/>
                  </a:lnTo>
                  <a:lnTo>
                    <a:pt x="109" y="210"/>
                  </a:lnTo>
                  <a:lnTo>
                    <a:pt x="113" y="208"/>
                  </a:lnTo>
                  <a:lnTo>
                    <a:pt x="121" y="205"/>
                  </a:lnTo>
                  <a:lnTo>
                    <a:pt x="128" y="208"/>
                  </a:lnTo>
                  <a:lnTo>
                    <a:pt x="135" y="213"/>
                  </a:lnTo>
                  <a:lnTo>
                    <a:pt x="144" y="217"/>
                  </a:lnTo>
                  <a:lnTo>
                    <a:pt x="154" y="224"/>
                  </a:lnTo>
                  <a:lnTo>
                    <a:pt x="163" y="229"/>
                  </a:lnTo>
                  <a:lnTo>
                    <a:pt x="170" y="234"/>
                  </a:lnTo>
                  <a:lnTo>
                    <a:pt x="179" y="239"/>
                  </a:lnTo>
                  <a:lnTo>
                    <a:pt x="189" y="243"/>
                  </a:lnTo>
                  <a:lnTo>
                    <a:pt x="196" y="248"/>
                  </a:lnTo>
                  <a:lnTo>
                    <a:pt x="205" y="253"/>
                  </a:lnTo>
                  <a:lnTo>
                    <a:pt x="215" y="258"/>
                  </a:lnTo>
                  <a:lnTo>
                    <a:pt x="224" y="262"/>
                  </a:lnTo>
                  <a:lnTo>
                    <a:pt x="231" y="269"/>
                  </a:lnTo>
                  <a:lnTo>
                    <a:pt x="241" y="274"/>
                  </a:lnTo>
                  <a:lnTo>
                    <a:pt x="250" y="279"/>
                  </a:lnTo>
                  <a:lnTo>
                    <a:pt x="260" y="284"/>
                  </a:lnTo>
                  <a:lnTo>
                    <a:pt x="267" y="288"/>
                  </a:lnTo>
                  <a:lnTo>
                    <a:pt x="267" y="286"/>
                  </a:lnTo>
                  <a:lnTo>
                    <a:pt x="267" y="284"/>
                  </a:lnTo>
                  <a:lnTo>
                    <a:pt x="267" y="281"/>
                  </a:lnTo>
                  <a:lnTo>
                    <a:pt x="267" y="279"/>
                  </a:lnTo>
                  <a:lnTo>
                    <a:pt x="271" y="279"/>
                  </a:lnTo>
                  <a:lnTo>
                    <a:pt x="276" y="279"/>
                  </a:lnTo>
                  <a:lnTo>
                    <a:pt x="281" y="279"/>
                  </a:lnTo>
                  <a:lnTo>
                    <a:pt x="286" y="279"/>
                  </a:lnTo>
                  <a:lnTo>
                    <a:pt x="286" y="276"/>
                  </a:lnTo>
                  <a:lnTo>
                    <a:pt x="286" y="276"/>
                  </a:lnTo>
                  <a:lnTo>
                    <a:pt x="286" y="276"/>
                  </a:lnTo>
                  <a:lnTo>
                    <a:pt x="286" y="276"/>
                  </a:lnTo>
                  <a:lnTo>
                    <a:pt x="286" y="2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4" name="Freeform 300"/>
            <p:cNvSpPr>
              <a:spLocks/>
            </p:cNvSpPr>
            <p:nvPr userDrawn="1"/>
          </p:nvSpPr>
          <p:spPr bwMode="auto">
            <a:xfrm>
              <a:off x="3441" y="2628"/>
              <a:ext cx="75" cy="87"/>
            </a:xfrm>
            <a:custGeom>
              <a:avLst/>
              <a:gdLst>
                <a:gd name="T0" fmla="*/ 73 w 75"/>
                <a:gd name="T1" fmla="*/ 57 h 87"/>
                <a:gd name="T2" fmla="*/ 71 w 75"/>
                <a:gd name="T3" fmla="*/ 54 h 87"/>
                <a:gd name="T4" fmla="*/ 68 w 75"/>
                <a:gd name="T5" fmla="*/ 52 h 87"/>
                <a:gd name="T6" fmla="*/ 66 w 75"/>
                <a:gd name="T7" fmla="*/ 47 h 87"/>
                <a:gd name="T8" fmla="*/ 61 w 75"/>
                <a:gd name="T9" fmla="*/ 47 h 87"/>
                <a:gd name="T10" fmla="*/ 56 w 75"/>
                <a:gd name="T11" fmla="*/ 45 h 87"/>
                <a:gd name="T12" fmla="*/ 54 w 75"/>
                <a:gd name="T13" fmla="*/ 43 h 87"/>
                <a:gd name="T14" fmla="*/ 52 w 75"/>
                <a:gd name="T15" fmla="*/ 43 h 87"/>
                <a:gd name="T16" fmla="*/ 59 w 75"/>
                <a:gd name="T17" fmla="*/ 35 h 87"/>
                <a:gd name="T18" fmla="*/ 59 w 75"/>
                <a:gd name="T19" fmla="*/ 31 h 87"/>
                <a:gd name="T20" fmla="*/ 56 w 75"/>
                <a:gd name="T21" fmla="*/ 21 h 87"/>
                <a:gd name="T22" fmla="*/ 54 w 75"/>
                <a:gd name="T23" fmla="*/ 19 h 87"/>
                <a:gd name="T24" fmla="*/ 52 w 75"/>
                <a:gd name="T25" fmla="*/ 17 h 87"/>
                <a:gd name="T26" fmla="*/ 49 w 75"/>
                <a:gd name="T27" fmla="*/ 21 h 87"/>
                <a:gd name="T28" fmla="*/ 49 w 75"/>
                <a:gd name="T29" fmla="*/ 24 h 87"/>
                <a:gd name="T30" fmla="*/ 47 w 75"/>
                <a:gd name="T31" fmla="*/ 26 h 87"/>
                <a:gd name="T32" fmla="*/ 45 w 75"/>
                <a:gd name="T33" fmla="*/ 28 h 87"/>
                <a:gd name="T34" fmla="*/ 42 w 75"/>
                <a:gd name="T35" fmla="*/ 26 h 87"/>
                <a:gd name="T36" fmla="*/ 40 w 75"/>
                <a:gd name="T37" fmla="*/ 24 h 87"/>
                <a:gd name="T38" fmla="*/ 38 w 75"/>
                <a:gd name="T39" fmla="*/ 24 h 87"/>
                <a:gd name="T40" fmla="*/ 38 w 75"/>
                <a:gd name="T41" fmla="*/ 19 h 87"/>
                <a:gd name="T42" fmla="*/ 38 w 75"/>
                <a:gd name="T43" fmla="*/ 14 h 87"/>
                <a:gd name="T44" fmla="*/ 38 w 75"/>
                <a:gd name="T45" fmla="*/ 12 h 87"/>
                <a:gd name="T46" fmla="*/ 38 w 75"/>
                <a:gd name="T47" fmla="*/ 9 h 87"/>
                <a:gd name="T48" fmla="*/ 35 w 75"/>
                <a:gd name="T49" fmla="*/ 5 h 87"/>
                <a:gd name="T50" fmla="*/ 35 w 75"/>
                <a:gd name="T51" fmla="*/ 2 h 87"/>
                <a:gd name="T52" fmla="*/ 33 w 75"/>
                <a:gd name="T53" fmla="*/ 0 h 87"/>
                <a:gd name="T54" fmla="*/ 33 w 75"/>
                <a:gd name="T55" fmla="*/ 2 h 87"/>
                <a:gd name="T56" fmla="*/ 30 w 75"/>
                <a:gd name="T57" fmla="*/ 0 h 87"/>
                <a:gd name="T58" fmla="*/ 26 w 75"/>
                <a:gd name="T59" fmla="*/ 0 h 87"/>
                <a:gd name="T60" fmla="*/ 21 w 75"/>
                <a:gd name="T61" fmla="*/ 0 h 87"/>
                <a:gd name="T62" fmla="*/ 21 w 75"/>
                <a:gd name="T63" fmla="*/ 7 h 87"/>
                <a:gd name="T64" fmla="*/ 16 w 75"/>
                <a:gd name="T65" fmla="*/ 9 h 87"/>
                <a:gd name="T66" fmla="*/ 14 w 75"/>
                <a:gd name="T67" fmla="*/ 17 h 87"/>
                <a:gd name="T68" fmla="*/ 7 w 75"/>
                <a:gd name="T69" fmla="*/ 24 h 87"/>
                <a:gd name="T70" fmla="*/ 2 w 75"/>
                <a:gd name="T71" fmla="*/ 31 h 87"/>
                <a:gd name="T72" fmla="*/ 2 w 75"/>
                <a:gd name="T73" fmla="*/ 38 h 87"/>
                <a:gd name="T74" fmla="*/ 12 w 75"/>
                <a:gd name="T75" fmla="*/ 47 h 87"/>
                <a:gd name="T76" fmla="*/ 19 w 75"/>
                <a:gd name="T77" fmla="*/ 50 h 87"/>
                <a:gd name="T78" fmla="*/ 38 w 75"/>
                <a:gd name="T79" fmla="*/ 69 h 87"/>
                <a:gd name="T80" fmla="*/ 63 w 75"/>
                <a:gd name="T81" fmla="*/ 85 h 87"/>
                <a:gd name="T82" fmla="*/ 71 w 75"/>
                <a:gd name="T83" fmla="*/ 87 h 87"/>
                <a:gd name="T84" fmla="*/ 71 w 75"/>
                <a:gd name="T85" fmla="*/ 76 h 87"/>
                <a:gd name="T86" fmla="*/ 73 w 75"/>
                <a:gd name="T87" fmla="*/ 71 h 87"/>
                <a:gd name="T88" fmla="*/ 75 w 75"/>
                <a:gd name="T89" fmla="*/ 66 h 87"/>
                <a:gd name="T90" fmla="*/ 75 w 75"/>
                <a:gd name="T91" fmla="*/ 6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 h="87">
                  <a:moveTo>
                    <a:pt x="75" y="61"/>
                  </a:moveTo>
                  <a:lnTo>
                    <a:pt x="73" y="57"/>
                  </a:lnTo>
                  <a:lnTo>
                    <a:pt x="73" y="57"/>
                  </a:lnTo>
                  <a:lnTo>
                    <a:pt x="73" y="57"/>
                  </a:lnTo>
                  <a:lnTo>
                    <a:pt x="73" y="57"/>
                  </a:lnTo>
                  <a:lnTo>
                    <a:pt x="71" y="54"/>
                  </a:lnTo>
                  <a:lnTo>
                    <a:pt x="68" y="54"/>
                  </a:lnTo>
                  <a:lnTo>
                    <a:pt x="68" y="54"/>
                  </a:lnTo>
                  <a:lnTo>
                    <a:pt x="68" y="52"/>
                  </a:lnTo>
                  <a:lnTo>
                    <a:pt x="66" y="52"/>
                  </a:lnTo>
                  <a:lnTo>
                    <a:pt x="66" y="50"/>
                  </a:lnTo>
                  <a:lnTo>
                    <a:pt x="66" y="47"/>
                  </a:lnTo>
                  <a:lnTo>
                    <a:pt x="63" y="47"/>
                  </a:lnTo>
                  <a:lnTo>
                    <a:pt x="63" y="47"/>
                  </a:lnTo>
                  <a:lnTo>
                    <a:pt x="61" y="47"/>
                  </a:lnTo>
                  <a:lnTo>
                    <a:pt x="61" y="47"/>
                  </a:lnTo>
                  <a:lnTo>
                    <a:pt x="59" y="47"/>
                  </a:lnTo>
                  <a:lnTo>
                    <a:pt x="56" y="45"/>
                  </a:lnTo>
                  <a:lnTo>
                    <a:pt x="56" y="45"/>
                  </a:lnTo>
                  <a:lnTo>
                    <a:pt x="56" y="43"/>
                  </a:lnTo>
                  <a:lnTo>
                    <a:pt x="54" y="43"/>
                  </a:lnTo>
                  <a:lnTo>
                    <a:pt x="54" y="43"/>
                  </a:lnTo>
                  <a:lnTo>
                    <a:pt x="54" y="43"/>
                  </a:lnTo>
                  <a:lnTo>
                    <a:pt x="52" y="43"/>
                  </a:lnTo>
                  <a:lnTo>
                    <a:pt x="56" y="38"/>
                  </a:lnTo>
                  <a:lnTo>
                    <a:pt x="59" y="35"/>
                  </a:lnTo>
                  <a:lnTo>
                    <a:pt x="59" y="35"/>
                  </a:lnTo>
                  <a:lnTo>
                    <a:pt x="59" y="33"/>
                  </a:lnTo>
                  <a:lnTo>
                    <a:pt x="59" y="33"/>
                  </a:lnTo>
                  <a:lnTo>
                    <a:pt x="59" y="31"/>
                  </a:lnTo>
                  <a:lnTo>
                    <a:pt x="56" y="24"/>
                  </a:lnTo>
                  <a:lnTo>
                    <a:pt x="56" y="21"/>
                  </a:lnTo>
                  <a:lnTo>
                    <a:pt x="56" y="21"/>
                  </a:lnTo>
                  <a:lnTo>
                    <a:pt x="54" y="21"/>
                  </a:lnTo>
                  <a:lnTo>
                    <a:pt x="54" y="19"/>
                  </a:lnTo>
                  <a:lnTo>
                    <a:pt x="54" y="19"/>
                  </a:lnTo>
                  <a:lnTo>
                    <a:pt x="54" y="17"/>
                  </a:lnTo>
                  <a:lnTo>
                    <a:pt x="52" y="17"/>
                  </a:lnTo>
                  <a:lnTo>
                    <a:pt x="52" y="17"/>
                  </a:lnTo>
                  <a:lnTo>
                    <a:pt x="52" y="19"/>
                  </a:lnTo>
                  <a:lnTo>
                    <a:pt x="52" y="19"/>
                  </a:lnTo>
                  <a:lnTo>
                    <a:pt x="49" y="21"/>
                  </a:lnTo>
                  <a:lnTo>
                    <a:pt x="49" y="21"/>
                  </a:lnTo>
                  <a:lnTo>
                    <a:pt x="49" y="21"/>
                  </a:lnTo>
                  <a:lnTo>
                    <a:pt x="49" y="24"/>
                  </a:lnTo>
                  <a:lnTo>
                    <a:pt x="47" y="26"/>
                  </a:lnTo>
                  <a:lnTo>
                    <a:pt x="47" y="26"/>
                  </a:lnTo>
                  <a:lnTo>
                    <a:pt x="47" y="26"/>
                  </a:lnTo>
                  <a:lnTo>
                    <a:pt x="47" y="26"/>
                  </a:lnTo>
                  <a:lnTo>
                    <a:pt x="47" y="26"/>
                  </a:lnTo>
                  <a:lnTo>
                    <a:pt x="45" y="28"/>
                  </a:lnTo>
                  <a:lnTo>
                    <a:pt x="42" y="28"/>
                  </a:lnTo>
                  <a:lnTo>
                    <a:pt x="42" y="26"/>
                  </a:lnTo>
                  <a:lnTo>
                    <a:pt x="42" y="26"/>
                  </a:lnTo>
                  <a:lnTo>
                    <a:pt x="42" y="26"/>
                  </a:lnTo>
                  <a:lnTo>
                    <a:pt x="40" y="24"/>
                  </a:lnTo>
                  <a:lnTo>
                    <a:pt x="40" y="24"/>
                  </a:lnTo>
                  <a:lnTo>
                    <a:pt x="38" y="24"/>
                  </a:lnTo>
                  <a:lnTo>
                    <a:pt x="38" y="24"/>
                  </a:lnTo>
                  <a:lnTo>
                    <a:pt x="38" y="24"/>
                  </a:lnTo>
                  <a:lnTo>
                    <a:pt x="38" y="24"/>
                  </a:lnTo>
                  <a:lnTo>
                    <a:pt x="38" y="21"/>
                  </a:lnTo>
                  <a:lnTo>
                    <a:pt x="38" y="19"/>
                  </a:lnTo>
                  <a:lnTo>
                    <a:pt x="38" y="19"/>
                  </a:lnTo>
                  <a:lnTo>
                    <a:pt x="38" y="17"/>
                  </a:lnTo>
                  <a:lnTo>
                    <a:pt x="38" y="14"/>
                  </a:lnTo>
                  <a:lnTo>
                    <a:pt x="38" y="14"/>
                  </a:lnTo>
                  <a:lnTo>
                    <a:pt x="38" y="12"/>
                  </a:lnTo>
                  <a:lnTo>
                    <a:pt x="38" y="12"/>
                  </a:lnTo>
                  <a:lnTo>
                    <a:pt x="38" y="9"/>
                  </a:lnTo>
                  <a:lnTo>
                    <a:pt x="38" y="9"/>
                  </a:lnTo>
                  <a:lnTo>
                    <a:pt x="38" y="9"/>
                  </a:lnTo>
                  <a:lnTo>
                    <a:pt x="38" y="7"/>
                  </a:lnTo>
                  <a:lnTo>
                    <a:pt x="35" y="7"/>
                  </a:lnTo>
                  <a:lnTo>
                    <a:pt x="35" y="5"/>
                  </a:lnTo>
                  <a:lnTo>
                    <a:pt x="35" y="5"/>
                  </a:lnTo>
                  <a:lnTo>
                    <a:pt x="35" y="2"/>
                  </a:lnTo>
                  <a:lnTo>
                    <a:pt x="35" y="2"/>
                  </a:lnTo>
                  <a:lnTo>
                    <a:pt x="33" y="2"/>
                  </a:lnTo>
                  <a:lnTo>
                    <a:pt x="33" y="0"/>
                  </a:lnTo>
                  <a:lnTo>
                    <a:pt x="33" y="0"/>
                  </a:lnTo>
                  <a:lnTo>
                    <a:pt x="33" y="0"/>
                  </a:lnTo>
                  <a:lnTo>
                    <a:pt x="33" y="2"/>
                  </a:lnTo>
                  <a:lnTo>
                    <a:pt x="33" y="2"/>
                  </a:lnTo>
                  <a:lnTo>
                    <a:pt x="30" y="0"/>
                  </a:lnTo>
                  <a:lnTo>
                    <a:pt x="30" y="0"/>
                  </a:lnTo>
                  <a:lnTo>
                    <a:pt x="30" y="0"/>
                  </a:lnTo>
                  <a:lnTo>
                    <a:pt x="26" y="2"/>
                  </a:lnTo>
                  <a:lnTo>
                    <a:pt x="26" y="0"/>
                  </a:lnTo>
                  <a:lnTo>
                    <a:pt x="26" y="0"/>
                  </a:lnTo>
                  <a:lnTo>
                    <a:pt x="23" y="0"/>
                  </a:lnTo>
                  <a:lnTo>
                    <a:pt x="23" y="0"/>
                  </a:lnTo>
                  <a:lnTo>
                    <a:pt x="21" y="0"/>
                  </a:lnTo>
                  <a:lnTo>
                    <a:pt x="21" y="2"/>
                  </a:lnTo>
                  <a:lnTo>
                    <a:pt x="21" y="5"/>
                  </a:lnTo>
                  <a:lnTo>
                    <a:pt x="21" y="7"/>
                  </a:lnTo>
                  <a:lnTo>
                    <a:pt x="21" y="7"/>
                  </a:lnTo>
                  <a:lnTo>
                    <a:pt x="19" y="7"/>
                  </a:lnTo>
                  <a:lnTo>
                    <a:pt x="16" y="9"/>
                  </a:lnTo>
                  <a:lnTo>
                    <a:pt x="16" y="14"/>
                  </a:lnTo>
                  <a:lnTo>
                    <a:pt x="14" y="17"/>
                  </a:lnTo>
                  <a:lnTo>
                    <a:pt x="14" y="17"/>
                  </a:lnTo>
                  <a:lnTo>
                    <a:pt x="12" y="21"/>
                  </a:lnTo>
                  <a:lnTo>
                    <a:pt x="9" y="21"/>
                  </a:lnTo>
                  <a:lnTo>
                    <a:pt x="7" y="24"/>
                  </a:lnTo>
                  <a:lnTo>
                    <a:pt x="5" y="26"/>
                  </a:lnTo>
                  <a:lnTo>
                    <a:pt x="5" y="26"/>
                  </a:lnTo>
                  <a:lnTo>
                    <a:pt x="2" y="31"/>
                  </a:lnTo>
                  <a:lnTo>
                    <a:pt x="0" y="33"/>
                  </a:lnTo>
                  <a:lnTo>
                    <a:pt x="0" y="33"/>
                  </a:lnTo>
                  <a:lnTo>
                    <a:pt x="2" y="38"/>
                  </a:lnTo>
                  <a:lnTo>
                    <a:pt x="9" y="40"/>
                  </a:lnTo>
                  <a:lnTo>
                    <a:pt x="12" y="43"/>
                  </a:lnTo>
                  <a:lnTo>
                    <a:pt x="12" y="47"/>
                  </a:lnTo>
                  <a:lnTo>
                    <a:pt x="14" y="47"/>
                  </a:lnTo>
                  <a:lnTo>
                    <a:pt x="16" y="50"/>
                  </a:lnTo>
                  <a:lnTo>
                    <a:pt x="19" y="50"/>
                  </a:lnTo>
                  <a:lnTo>
                    <a:pt x="21" y="52"/>
                  </a:lnTo>
                  <a:lnTo>
                    <a:pt x="33" y="64"/>
                  </a:lnTo>
                  <a:lnTo>
                    <a:pt x="38" y="69"/>
                  </a:lnTo>
                  <a:lnTo>
                    <a:pt x="42" y="73"/>
                  </a:lnTo>
                  <a:lnTo>
                    <a:pt x="59" y="83"/>
                  </a:lnTo>
                  <a:lnTo>
                    <a:pt x="63" y="85"/>
                  </a:lnTo>
                  <a:lnTo>
                    <a:pt x="71" y="87"/>
                  </a:lnTo>
                  <a:lnTo>
                    <a:pt x="73" y="87"/>
                  </a:lnTo>
                  <a:lnTo>
                    <a:pt x="71" y="87"/>
                  </a:lnTo>
                  <a:lnTo>
                    <a:pt x="71" y="83"/>
                  </a:lnTo>
                  <a:lnTo>
                    <a:pt x="71" y="78"/>
                  </a:lnTo>
                  <a:lnTo>
                    <a:pt x="71" y="76"/>
                  </a:lnTo>
                  <a:lnTo>
                    <a:pt x="71" y="73"/>
                  </a:lnTo>
                  <a:lnTo>
                    <a:pt x="71" y="73"/>
                  </a:lnTo>
                  <a:lnTo>
                    <a:pt x="73" y="71"/>
                  </a:lnTo>
                  <a:lnTo>
                    <a:pt x="73" y="71"/>
                  </a:lnTo>
                  <a:lnTo>
                    <a:pt x="73" y="69"/>
                  </a:lnTo>
                  <a:lnTo>
                    <a:pt x="75" y="66"/>
                  </a:lnTo>
                  <a:lnTo>
                    <a:pt x="75" y="64"/>
                  </a:lnTo>
                  <a:lnTo>
                    <a:pt x="75" y="64"/>
                  </a:lnTo>
                  <a:lnTo>
                    <a:pt x="75" y="61"/>
                  </a:lnTo>
                  <a:lnTo>
                    <a:pt x="75" y="6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5" name="Freeform 301"/>
            <p:cNvSpPr>
              <a:spLocks/>
            </p:cNvSpPr>
            <p:nvPr userDrawn="1"/>
          </p:nvSpPr>
          <p:spPr bwMode="auto">
            <a:xfrm>
              <a:off x="4143" y="3411"/>
              <a:ext cx="43" cy="45"/>
            </a:xfrm>
            <a:custGeom>
              <a:avLst/>
              <a:gdLst>
                <a:gd name="T0" fmla="*/ 43 w 43"/>
                <a:gd name="T1" fmla="*/ 11 h 45"/>
                <a:gd name="T2" fmla="*/ 40 w 43"/>
                <a:gd name="T3" fmla="*/ 11 h 45"/>
                <a:gd name="T4" fmla="*/ 38 w 43"/>
                <a:gd name="T5" fmla="*/ 9 h 45"/>
                <a:gd name="T6" fmla="*/ 33 w 43"/>
                <a:gd name="T7" fmla="*/ 4 h 45"/>
                <a:gd name="T8" fmla="*/ 31 w 43"/>
                <a:gd name="T9" fmla="*/ 2 h 45"/>
                <a:gd name="T10" fmla="*/ 31 w 43"/>
                <a:gd name="T11" fmla="*/ 0 h 45"/>
                <a:gd name="T12" fmla="*/ 28 w 43"/>
                <a:gd name="T13" fmla="*/ 0 h 45"/>
                <a:gd name="T14" fmla="*/ 24 w 43"/>
                <a:gd name="T15" fmla="*/ 2 h 45"/>
                <a:gd name="T16" fmla="*/ 19 w 43"/>
                <a:gd name="T17" fmla="*/ 7 h 45"/>
                <a:gd name="T18" fmla="*/ 14 w 43"/>
                <a:gd name="T19" fmla="*/ 7 h 45"/>
                <a:gd name="T20" fmla="*/ 12 w 43"/>
                <a:gd name="T21" fmla="*/ 11 h 45"/>
                <a:gd name="T22" fmla="*/ 10 w 43"/>
                <a:gd name="T23" fmla="*/ 14 h 45"/>
                <a:gd name="T24" fmla="*/ 7 w 43"/>
                <a:gd name="T25" fmla="*/ 16 h 45"/>
                <a:gd name="T26" fmla="*/ 5 w 43"/>
                <a:gd name="T27" fmla="*/ 21 h 45"/>
                <a:gd name="T28" fmla="*/ 2 w 43"/>
                <a:gd name="T29" fmla="*/ 21 h 45"/>
                <a:gd name="T30" fmla="*/ 0 w 43"/>
                <a:gd name="T31" fmla="*/ 23 h 45"/>
                <a:gd name="T32" fmla="*/ 2 w 43"/>
                <a:gd name="T33" fmla="*/ 26 h 45"/>
                <a:gd name="T34" fmla="*/ 5 w 43"/>
                <a:gd name="T35" fmla="*/ 30 h 45"/>
                <a:gd name="T36" fmla="*/ 7 w 43"/>
                <a:gd name="T37" fmla="*/ 33 h 45"/>
                <a:gd name="T38" fmla="*/ 7 w 43"/>
                <a:gd name="T39" fmla="*/ 35 h 45"/>
                <a:gd name="T40" fmla="*/ 7 w 43"/>
                <a:gd name="T41" fmla="*/ 37 h 45"/>
                <a:gd name="T42" fmla="*/ 7 w 43"/>
                <a:gd name="T43" fmla="*/ 37 h 45"/>
                <a:gd name="T44" fmla="*/ 10 w 43"/>
                <a:gd name="T45" fmla="*/ 40 h 45"/>
                <a:gd name="T46" fmla="*/ 12 w 43"/>
                <a:gd name="T47" fmla="*/ 42 h 45"/>
                <a:gd name="T48" fmla="*/ 14 w 43"/>
                <a:gd name="T49" fmla="*/ 42 h 45"/>
                <a:gd name="T50" fmla="*/ 19 w 43"/>
                <a:gd name="T51" fmla="*/ 42 h 45"/>
                <a:gd name="T52" fmla="*/ 19 w 43"/>
                <a:gd name="T53" fmla="*/ 42 h 45"/>
                <a:gd name="T54" fmla="*/ 21 w 43"/>
                <a:gd name="T55" fmla="*/ 40 h 45"/>
                <a:gd name="T56" fmla="*/ 24 w 43"/>
                <a:gd name="T57" fmla="*/ 33 h 45"/>
                <a:gd name="T58" fmla="*/ 26 w 43"/>
                <a:gd name="T59" fmla="*/ 33 h 45"/>
                <a:gd name="T60" fmla="*/ 28 w 43"/>
                <a:gd name="T61" fmla="*/ 33 h 45"/>
                <a:gd name="T62" fmla="*/ 31 w 43"/>
                <a:gd name="T63" fmla="*/ 33 h 45"/>
                <a:gd name="T64" fmla="*/ 35 w 43"/>
                <a:gd name="T65" fmla="*/ 30 h 45"/>
                <a:gd name="T66" fmla="*/ 38 w 43"/>
                <a:gd name="T67" fmla="*/ 28 h 45"/>
                <a:gd name="T68" fmla="*/ 38 w 43"/>
                <a:gd name="T69" fmla="*/ 23 h 45"/>
                <a:gd name="T70" fmla="*/ 40 w 43"/>
                <a:gd name="T71" fmla="*/ 21 h 45"/>
                <a:gd name="T72" fmla="*/ 43 w 43"/>
                <a:gd name="T73" fmla="*/ 19 h 45"/>
                <a:gd name="T74" fmla="*/ 43 w 43"/>
                <a:gd name="T75"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 h="45">
                  <a:moveTo>
                    <a:pt x="43" y="14"/>
                  </a:moveTo>
                  <a:lnTo>
                    <a:pt x="43" y="11"/>
                  </a:lnTo>
                  <a:lnTo>
                    <a:pt x="43" y="11"/>
                  </a:lnTo>
                  <a:lnTo>
                    <a:pt x="40" y="11"/>
                  </a:lnTo>
                  <a:lnTo>
                    <a:pt x="40" y="9"/>
                  </a:lnTo>
                  <a:lnTo>
                    <a:pt x="38" y="9"/>
                  </a:lnTo>
                  <a:lnTo>
                    <a:pt x="35" y="7"/>
                  </a:lnTo>
                  <a:lnTo>
                    <a:pt x="33" y="4"/>
                  </a:lnTo>
                  <a:lnTo>
                    <a:pt x="33" y="4"/>
                  </a:lnTo>
                  <a:lnTo>
                    <a:pt x="31" y="2"/>
                  </a:lnTo>
                  <a:lnTo>
                    <a:pt x="31" y="2"/>
                  </a:lnTo>
                  <a:lnTo>
                    <a:pt x="31" y="0"/>
                  </a:lnTo>
                  <a:lnTo>
                    <a:pt x="31" y="0"/>
                  </a:lnTo>
                  <a:lnTo>
                    <a:pt x="28" y="0"/>
                  </a:lnTo>
                  <a:lnTo>
                    <a:pt x="28" y="2"/>
                  </a:lnTo>
                  <a:lnTo>
                    <a:pt x="24" y="2"/>
                  </a:lnTo>
                  <a:lnTo>
                    <a:pt x="21" y="4"/>
                  </a:lnTo>
                  <a:lnTo>
                    <a:pt x="19" y="7"/>
                  </a:lnTo>
                  <a:lnTo>
                    <a:pt x="17" y="7"/>
                  </a:lnTo>
                  <a:lnTo>
                    <a:pt x="14" y="7"/>
                  </a:lnTo>
                  <a:lnTo>
                    <a:pt x="12" y="9"/>
                  </a:lnTo>
                  <a:lnTo>
                    <a:pt x="12" y="11"/>
                  </a:lnTo>
                  <a:lnTo>
                    <a:pt x="10" y="14"/>
                  </a:lnTo>
                  <a:lnTo>
                    <a:pt x="10" y="14"/>
                  </a:lnTo>
                  <a:lnTo>
                    <a:pt x="10" y="16"/>
                  </a:lnTo>
                  <a:lnTo>
                    <a:pt x="7" y="16"/>
                  </a:lnTo>
                  <a:lnTo>
                    <a:pt x="7" y="19"/>
                  </a:lnTo>
                  <a:lnTo>
                    <a:pt x="5" y="21"/>
                  </a:lnTo>
                  <a:lnTo>
                    <a:pt x="5" y="21"/>
                  </a:lnTo>
                  <a:lnTo>
                    <a:pt x="2" y="21"/>
                  </a:lnTo>
                  <a:lnTo>
                    <a:pt x="0" y="23"/>
                  </a:lnTo>
                  <a:lnTo>
                    <a:pt x="0" y="23"/>
                  </a:lnTo>
                  <a:lnTo>
                    <a:pt x="2" y="26"/>
                  </a:lnTo>
                  <a:lnTo>
                    <a:pt x="2" y="26"/>
                  </a:lnTo>
                  <a:lnTo>
                    <a:pt x="2" y="28"/>
                  </a:lnTo>
                  <a:lnTo>
                    <a:pt x="5" y="30"/>
                  </a:lnTo>
                  <a:lnTo>
                    <a:pt x="5" y="33"/>
                  </a:lnTo>
                  <a:lnTo>
                    <a:pt x="7" y="33"/>
                  </a:lnTo>
                  <a:lnTo>
                    <a:pt x="5" y="35"/>
                  </a:lnTo>
                  <a:lnTo>
                    <a:pt x="7" y="35"/>
                  </a:lnTo>
                  <a:lnTo>
                    <a:pt x="7" y="37"/>
                  </a:lnTo>
                  <a:lnTo>
                    <a:pt x="7" y="37"/>
                  </a:lnTo>
                  <a:lnTo>
                    <a:pt x="7" y="37"/>
                  </a:lnTo>
                  <a:lnTo>
                    <a:pt x="7" y="37"/>
                  </a:lnTo>
                  <a:lnTo>
                    <a:pt x="10" y="37"/>
                  </a:lnTo>
                  <a:lnTo>
                    <a:pt x="10" y="40"/>
                  </a:lnTo>
                  <a:lnTo>
                    <a:pt x="10" y="40"/>
                  </a:lnTo>
                  <a:lnTo>
                    <a:pt x="12" y="42"/>
                  </a:lnTo>
                  <a:lnTo>
                    <a:pt x="12" y="42"/>
                  </a:lnTo>
                  <a:lnTo>
                    <a:pt x="14" y="42"/>
                  </a:lnTo>
                  <a:lnTo>
                    <a:pt x="17" y="45"/>
                  </a:lnTo>
                  <a:lnTo>
                    <a:pt x="19" y="42"/>
                  </a:lnTo>
                  <a:lnTo>
                    <a:pt x="19" y="42"/>
                  </a:lnTo>
                  <a:lnTo>
                    <a:pt x="19" y="42"/>
                  </a:lnTo>
                  <a:lnTo>
                    <a:pt x="19" y="40"/>
                  </a:lnTo>
                  <a:lnTo>
                    <a:pt x="21" y="40"/>
                  </a:lnTo>
                  <a:lnTo>
                    <a:pt x="24" y="35"/>
                  </a:lnTo>
                  <a:lnTo>
                    <a:pt x="24" y="33"/>
                  </a:lnTo>
                  <a:lnTo>
                    <a:pt x="26" y="33"/>
                  </a:lnTo>
                  <a:lnTo>
                    <a:pt x="26" y="33"/>
                  </a:lnTo>
                  <a:lnTo>
                    <a:pt x="28" y="33"/>
                  </a:lnTo>
                  <a:lnTo>
                    <a:pt x="28" y="33"/>
                  </a:lnTo>
                  <a:lnTo>
                    <a:pt x="28" y="33"/>
                  </a:lnTo>
                  <a:lnTo>
                    <a:pt x="31" y="33"/>
                  </a:lnTo>
                  <a:lnTo>
                    <a:pt x="33" y="30"/>
                  </a:lnTo>
                  <a:lnTo>
                    <a:pt x="35" y="30"/>
                  </a:lnTo>
                  <a:lnTo>
                    <a:pt x="35" y="30"/>
                  </a:lnTo>
                  <a:lnTo>
                    <a:pt x="38" y="28"/>
                  </a:lnTo>
                  <a:lnTo>
                    <a:pt x="38" y="26"/>
                  </a:lnTo>
                  <a:lnTo>
                    <a:pt x="38" y="23"/>
                  </a:lnTo>
                  <a:lnTo>
                    <a:pt x="40" y="23"/>
                  </a:lnTo>
                  <a:lnTo>
                    <a:pt x="40" y="21"/>
                  </a:lnTo>
                  <a:lnTo>
                    <a:pt x="40" y="21"/>
                  </a:lnTo>
                  <a:lnTo>
                    <a:pt x="43" y="19"/>
                  </a:lnTo>
                  <a:lnTo>
                    <a:pt x="43" y="16"/>
                  </a:lnTo>
                  <a:lnTo>
                    <a:pt x="43" y="14"/>
                  </a:lnTo>
                  <a:lnTo>
                    <a:pt x="43"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6" name="Freeform 302"/>
            <p:cNvSpPr>
              <a:spLocks/>
            </p:cNvSpPr>
            <p:nvPr userDrawn="1"/>
          </p:nvSpPr>
          <p:spPr bwMode="auto">
            <a:xfrm>
              <a:off x="4282" y="2075"/>
              <a:ext cx="26" cy="35"/>
            </a:xfrm>
            <a:custGeom>
              <a:avLst/>
              <a:gdLst>
                <a:gd name="T0" fmla="*/ 24 w 26"/>
                <a:gd name="T1" fmla="*/ 7 h 35"/>
                <a:gd name="T2" fmla="*/ 21 w 26"/>
                <a:gd name="T3" fmla="*/ 4 h 35"/>
                <a:gd name="T4" fmla="*/ 21 w 26"/>
                <a:gd name="T5" fmla="*/ 4 h 35"/>
                <a:gd name="T6" fmla="*/ 19 w 26"/>
                <a:gd name="T7" fmla="*/ 4 h 35"/>
                <a:gd name="T8" fmla="*/ 19 w 26"/>
                <a:gd name="T9" fmla="*/ 4 h 35"/>
                <a:gd name="T10" fmla="*/ 21 w 26"/>
                <a:gd name="T11" fmla="*/ 2 h 35"/>
                <a:gd name="T12" fmla="*/ 21 w 26"/>
                <a:gd name="T13" fmla="*/ 2 h 35"/>
                <a:gd name="T14" fmla="*/ 21 w 26"/>
                <a:gd name="T15" fmla="*/ 2 h 35"/>
                <a:gd name="T16" fmla="*/ 19 w 26"/>
                <a:gd name="T17" fmla="*/ 0 h 35"/>
                <a:gd name="T18" fmla="*/ 19 w 26"/>
                <a:gd name="T19" fmla="*/ 2 h 35"/>
                <a:gd name="T20" fmla="*/ 17 w 26"/>
                <a:gd name="T21" fmla="*/ 2 h 35"/>
                <a:gd name="T22" fmla="*/ 14 w 26"/>
                <a:gd name="T23" fmla="*/ 2 h 35"/>
                <a:gd name="T24" fmla="*/ 14 w 26"/>
                <a:gd name="T25" fmla="*/ 4 h 35"/>
                <a:gd name="T26" fmla="*/ 12 w 26"/>
                <a:gd name="T27" fmla="*/ 4 h 35"/>
                <a:gd name="T28" fmla="*/ 12 w 26"/>
                <a:gd name="T29" fmla="*/ 7 h 35"/>
                <a:gd name="T30" fmla="*/ 10 w 26"/>
                <a:gd name="T31" fmla="*/ 9 h 35"/>
                <a:gd name="T32" fmla="*/ 7 w 26"/>
                <a:gd name="T33" fmla="*/ 14 h 35"/>
                <a:gd name="T34" fmla="*/ 7 w 26"/>
                <a:gd name="T35" fmla="*/ 19 h 35"/>
                <a:gd name="T36" fmla="*/ 5 w 26"/>
                <a:gd name="T37" fmla="*/ 26 h 35"/>
                <a:gd name="T38" fmla="*/ 3 w 26"/>
                <a:gd name="T39" fmla="*/ 28 h 35"/>
                <a:gd name="T40" fmla="*/ 3 w 26"/>
                <a:gd name="T41" fmla="*/ 30 h 35"/>
                <a:gd name="T42" fmla="*/ 3 w 26"/>
                <a:gd name="T43" fmla="*/ 33 h 35"/>
                <a:gd name="T44" fmla="*/ 0 w 26"/>
                <a:gd name="T45" fmla="*/ 35 h 35"/>
                <a:gd name="T46" fmla="*/ 3 w 26"/>
                <a:gd name="T47" fmla="*/ 35 h 35"/>
                <a:gd name="T48" fmla="*/ 5 w 26"/>
                <a:gd name="T49" fmla="*/ 35 h 35"/>
                <a:gd name="T50" fmla="*/ 7 w 26"/>
                <a:gd name="T51" fmla="*/ 35 h 35"/>
                <a:gd name="T52" fmla="*/ 7 w 26"/>
                <a:gd name="T53" fmla="*/ 33 h 35"/>
                <a:gd name="T54" fmla="*/ 7 w 26"/>
                <a:gd name="T55" fmla="*/ 30 h 35"/>
                <a:gd name="T56" fmla="*/ 10 w 26"/>
                <a:gd name="T57" fmla="*/ 30 h 35"/>
                <a:gd name="T58" fmla="*/ 10 w 26"/>
                <a:gd name="T59" fmla="*/ 30 h 35"/>
                <a:gd name="T60" fmla="*/ 10 w 26"/>
                <a:gd name="T61" fmla="*/ 30 h 35"/>
                <a:gd name="T62" fmla="*/ 12 w 26"/>
                <a:gd name="T63" fmla="*/ 30 h 35"/>
                <a:gd name="T64" fmla="*/ 12 w 26"/>
                <a:gd name="T65" fmla="*/ 28 h 35"/>
                <a:gd name="T66" fmla="*/ 14 w 26"/>
                <a:gd name="T67" fmla="*/ 28 h 35"/>
                <a:gd name="T68" fmla="*/ 14 w 26"/>
                <a:gd name="T69" fmla="*/ 28 h 35"/>
                <a:gd name="T70" fmla="*/ 14 w 26"/>
                <a:gd name="T71" fmla="*/ 26 h 35"/>
                <a:gd name="T72" fmla="*/ 14 w 26"/>
                <a:gd name="T73" fmla="*/ 26 h 35"/>
                <a:gd name="T74" fmla="*/ 14 w 26"/>
                <a:gd name="T75" fmla="*/ 26 h 35"/>
                <a:gd name="T76" fmla="*/ 17 w 26"/>
                <a:gd name="T77" fmla="*/ 23 h 35"/>
                <a:gd name="T78" fmla="*/ 17 w 26"/>
                <a:gd name="T79" fmla="*/ 23 h 35"/>
                <a:gd name="T80" fmla="*/ 17 w 26"/>
                <a:gd name="T81" fmla="*/ 23 h 35"/>
                <a:gd name="T82" fmla="*/ 14 w 26"/>
                <a:gd name="T83" fmla="*/ 23 h 35"/>
                <a:gd name="T84" fmla="*/ 14 w 26"/>
                <a:gd name="T85" fmla="*/ 23 h 35"/>
                <a:gd name="T86" fmla="*/ 14 w 26"/>
                <a:gd name="T87" fmla="*/ 21 h 35"/>
                <a:gd name="T88" fmla="*/ 14 w 26"/>
                <a:gd name="T89" fmla="*/ 21 h 35"/>
                <a:gd name="T90" fmla="*/ 17 w 26"/>
                <a:gd name="T91" fmla="*/ 19 h 35"/>
                <a:gd name="T92" fmla="*/ 17 w 26"/>
                <a:gd name="T93" fmla="*/ 19 h 35"/>
                <a:gd name="T94" fmla="*/ 19 w 26"/>
                <a:gd name="T95" fmla="*/ 19 h 35"/>
                <a:gd name="T96" fmla="*/ 19 w 26"/>
                <a:gd name="T97" fmla="*/ 19 h 35"/>
                <a:gd name="T98" fmla="*/ 21 w 26"/>
                <a:gd name="T99" fmla="*/ 19 h 35"/>
                <a:gd name="T100" fmla="*/ 21 w 26"/>
                <a:gd name="T101" fmla="*/ 19 h 35"/>
                <a:gd name="T102" fmla="*/ 21 w 26"/>
                <a:gd name="T103" fmla="*/ 19 h 35"/>
                <a:gd name="T104" fmla="*/ 21 w 26"/>
                <a:gd name="T105" fmla="*/ 19 h 35"/>
                <a:gd name="T106" fmla="*/ 21 w 26"/>
                <a:gd name="T107" fmla="*/ 16 h 35"/>
                <a:gd name="T108" fmla="*/ 21 w 26"/>
                <a:gd name="T109" fmla="*/ 16 h 35"/>
                <a:gd name="T110" fmla="*/ 21 w 26"/>
                <a:gd name="T111" fmla="*/ 16 h 35"/>
                <a:gd name="T112" fmla="*/ 21 w 26"/>
                <a:gd name="T113" fmla="*/ 14 h 35"/>
                <a:gd name="T114" fmla="*/ 24 w 26"/>
                <a:gd name="T115" fmla="*/ 14 h 35"/>
                <a:gd name="T116" fmla="*/ 24 w 26"/>
                <a:gd name="T117" fmla="*/ 14 h 35"/>
                <a:gd name="T118" fmla="*/ 24 w 26"/>
                <a:gd name="T119" fmla="*/ 12 h 35"/>
                <a:gd name="T120" fmla="*/ 26 w 26"/>
                <a:gd name="T121" fmla="*/ 12 h 35"/>
                <a:gd name="T122" fmla="*/ 24 w 26"/>
                <a:gd name="T123"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35">
                  <a:moveTo>
                    <a:pt x="24" y="7"/>
                  </a:moveTo>
                  <a:lnTo>
                    <a:pt x="21" y="4"/>
                  </a:lnTo>
                  <a:lnTo>
                    <a:pt x="21" y="4"/>
                  </a:lnTo>
                  <a:lnTo>
                    <a:pt x="19" y="4"/>
                  </a:lnTo>
                  <a:lnTo>
                    <a:pt x="19" y="4"/>
                  </a:lnTo>
                  <a:lnTo>
                    <a:pt x="21" y="2"/>
                  </a:lnTo>
                  <a:lnTo>
                    <a:pt x="21" y="2"/>
                  </a:lnTo>
                  <a:lnTo>
                    <a:pt x="21" y="2"/>
                  </a:lnTo>
                  <a:lnTo>
                    <a:pt x="19" y="0"/>
                  </a:lnTo>
                  <a:lnTo>
                    <a:pt x="19" y="2"/>
                  </a:lnTo>
                  <a:lnTo>
                    <a:pt x="17" y="2"/>
                  </a:lnTo>
                  <a:lnTo>
                    <a:pt x="14" y="2"/>
                  </a:lnTo>
                  <a:lnTo>
                    <a:pt x="14" y="4"/>
                  </a:lnTo>
                  <a:lnTo>
                    <a:pt x="12" y="4"/>
                  </a:lnTo>
                  <a:lnTo>
                    <a:pt x="12" y="7"/>
                  </a:lnTo>
                  <a:lnTo>
                    <a:pt x="10" y="9"/>
                  </a:lnTo>
                  <a:lnTo>
                    <a:pt x="7" y="14"/>
                  </a:lnTo>
                  <a:lnTo>
                    <a:pt x="7" y="19"/>
                  </a:lnTo>
                  <a:lnTo>
                    <a:pt x="5" y="26"/>
                  </a:lnTo>
                  <a:lnTo>
                    <a:pt x="3" y="28"/>
                  </a:lnTo>
                  <a:lnTo>
                    <a:pt x="3" y="30"/>
                  </a:lnTo>
                  <a:lnTo>
                    <a:pt x="3" y="33"/>
                  </a:lnTo>
                  <a:lnTo>
                    <a:pt x="0" y="35"/>
                  </a:lnTo>
                  <a:lnTo>
                    <a:pt x="3" y="35"/>
                  </a:lnTo>
                  <a:lnTo>
                    <a:pt x="5" y="35"/>
                  </a:lnTo>
                  <a:lnTo>
                    <a:pt x="7" y="35"/>
                  </a:lnTo>
                  <a:lnTo>
                    <a:pt x="7" y="33"/>
                  </a:lnTo>
                  <a:lnTo>
                    <a:pt x="7" y="30"/>
                  </a:lnTo>
                  <a:lnTo>
                    <a:pt x="10" y="30"/>
                  </a:lnTo>
                  <a:lnTo>
                    <a:pt x="10" y="30"/>
                  </a:lnTo>
                  <a:lnTo>
                    <a:pt x="10" y="30"/>
                  </a:lnTo>
                  <a:lnTo>
                    <a:pt x="12" y="30"/>
                  </a:lnTo>
                  <a:lnTo>
                    <a:pt x="12" y="28"/>
                  </a:lnTo>
                  <a:lnTo>
                    <a:pt x="14" y="28"/>
                  </a:lnTo>
                  <a:lnTo>
                    <a:pt x="14" y="28"/>
                  </a:lnTo>
                  <a:lnTo>
                    <a:pt x="14" y="26"/>
                  </a:lnTo>
                  <a:lnTo>
                    <a:pt x="14" y="26"/>
                  </a:lnTo>
                  <a:lnTo>
                    <a:pt x="14" y="26"/>
                  </a:lnTo>
                  <a:lnTo>
                    <a:pt x="17" y="23"/>
                  </a:lnTo>
                  <a:lnTo>
                    <a:pt x="17" y="23"/>
                  </a:lnTo>
                  <a:lnTo>
                    <a:pt x="17" y="23"/>
                  </a:lnTo>
                  <a:lnTo>
                    <a:pt x="14" y="23"/>
                  </a:lnTo>
                  <a:lnTo>
                    <a:pt x="14" y="23"/>
                  </a:lnTo>
                  <a:lnTo>
                    <a:pt x="14" y="21"/>
                  </a:lnTo>
                  <a:lnTo>
                    <a:pt x="14" y="21"/>
                  </a:lnTo>
                  <a:lnTo>
                    <a:pt x="17" y="19"/>
                  </a:lnTo>
                  <a:lnTo>
                    <a:pt x="17" y="19"/>
                  </a:lnTo>
                  <a:lnTo>
                    <a:pt x="19" y="19"/>
                  </a:lnTo>
                  <a:lnTo>
                    <a:pt x="19" y="19"/>
                  </a:lnTo>
                  <a:lnTo>
                    <a:pt x="21" y="19"/>
                  </a:lnTo>
                  <a:lnTo>
                    <a:pt x="21" y="19"/>
                  </a:lnTo>
                  <a:lnTo>
                    <a:pt x="21" y="19"/>
                  </a:lnTo>
                  <a:lnTo>
                    <a:pt x="21" y="19"/>
                  </a:lnTo>
                  <a:lnTo>
                    <a:pt x="21" y="16"/>
                  </a:lnTo>
                  <a:lnTo>
                    <a:pt x="21" y="16"/>
                  </a:lnTo>
                  <a:lnTo>
                    <a:pt x="21" y="16"/>
                  </a:lnTo>
                  <a:lnTo>
                    <a:pt x="21" y="14"/>
                  </a:lnTo>
                  <a:lnTo>
                    <a:pt x="24" y="14"/>
                  </a:lnTo>
                  <a:lnTo>
                    <a:pt x="24" y="14"/>
                  </a:lnTo>
                  <a:lnTo>
                    <a:pt x="24" y="12"/>
                  </a:lnTo>
                  <a:lnTo>
                    <a:pt x="26" y="12"/>
                  </a:lnTo>
                  <a:lnTo>
                    <a:pt x="24"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7" name="Freeform 303"/>
            <p:cNvSpPr>
              <a:spLocks/>
            </p:cNvSpPr>
            <p:nvPr userDrawn="1"/>
          </p:nvSpPr>
          <p:spPr bwMode="auto">
            <a:xfrm>
              <a:off x="4011" y="1595"/>
              <a:ext cx="111" cy="47"/>
            </a:xfrm>
            <a:custGeom>
              <a:avLst/>
              <a:gdLst>
                <a:gd name="T0" fmla="*/ 109 w 111"/>
                <a:gd name="T1" fmla="*/ 30 h 47"/>
                <a:gd name="T2" fmla="*/ 106 w 111"/>
                <a:gd name="T3" fmla="*/ 28 h 47"/>
                <a:gd name="T4" fmla="*/ 104 w 111"/>
                <a:gd name="T5" fmla="*/ 23 h 47"/>
                <a:gd name="T6" fmla="*/ 102 w 111"/>
                <a:gd name="T7" fmla="*/ 23 h 47"/>
                <a:gd name="T8" fmla="*/ 102 w 111"/>
                <a:gd name="T9" fmla="*/ 19 h 47"/>
                <a:gd name="T10" fmla="*/ 104 w 111"/>
                <a:gd name="T11" fmla="*/ 16 h 47"/>
                <a:gd name="T12" fmla="*/ 102 w 111"/>
                <a:gd name="T13" fmla="*/ 14 h 47"/>
                <a:gd name="T14" fmla="*/ 97 w 111"/>
                <a:gd name="T15" fmla="*/ 12 h 47"/>
                <a:gd name="T16" fmla="*/ 94 w 111"/>
                <a:gd name="T17" fmla="*/ 12 h 47"/>
                <a:gd name="T18" fmla="*/ 90 w 111"/>
                <a:gd name="T19" fmla="*/ 9 h 47"/>
                <a:gd name="T20" fmla="*/ 83 w 111"/>
                <a:gd name="T21" fmla="*/ 9 h 47"/>
                <a:gd name="T22" fmla="*/ 78 w 111"/>
                <a:gd name="T23" fmla="*/ 7 h 47"/>
                <a:gd name="T24" fmla="*/ 73 w 111"/>
                <a:gd name="T25" fmla="*/ 4 h 47"/>
                <a:gd name="T26" fmla="*/ 69 w 111"/>
                <a:gd name="T27" fmla="*/ 2 h 47"/>
                <a:gd name="T28" fmla="*/ 61 w 111"/>
                <a:gd name="T29" fmla="*/ 0 h 47"/>
                <a:gd name="T30" fmla="*/ 61 w 111"/>
                <a:gd name="T31" fmla="*/ 2 h 47"/>
                <a:gd name="T32" fmla="*/ 59 w 111"/>
                <a:gd name="T33" fmla="*/ 0 h 47"/>
                <a:gd name="T34" fmla="*/ 54 w 111"/>
                <a:gd name="T35" fmla="*/ 2 h 47"/>
                <a:gd name="T36" fmla="*/ 47 w 111"/>
                <a:gd name="T37" fmla="*/ 4 h 47"/>
                <a:gd name="T38" fmla="*/ 50 w 111"/>
                <a:gd name="T39" fmla="*/ 14 h 47"/>
                <a:gd name="T40" fmla="*/ 45 w 111"/>
                <a:gd name="T41" fmla="*/ 19 h 47"/>
                <a:gd name="T42" fmla="*/ 33 w 111"/>
                <a:gd name="T43" fmla="*/ 19 h 47"/>
                <a:gd name="T44" fmla="*/ 24 w 111"/>
                <a:gd name="T45" fmla="*/ 9 h 47"/>
                <a:gd name="T46" fmla="*/ 17 w 111"/>
                <a:gd name="T47" fmla="*/ 7 h 47"/>
                <a:gd name="T48" fmla="*/ 5 w 111"/>
                <a:gd name="T49" fmla="*/ 14 h 47"/>
                <a:gd name="T50" fmla="*/ 5 w 111"/>
                <a:gd name="T51" fmla="*/ 21 h 47"/>
                <a:gd name="T52" fmla="*/ 0 w 111"/>
                <a:gd name="T53" fmla="*/ 28 h 47"/>
                <a:gd name="T54" fmla="*/ 5 w 111"/>
                <a:gd name="T55" fmla="*/ 38 h 47"/>
                <a:gd name="T56" fmla="*/ 17 w 111"/>
                <a:gd name="T57" fmla="*/ 33 h 47"/>
                <a:gd name="T58" fmla="*/ 24 w 111"/>
                <a:gd name="T59" fmla="*/ 33 h 47"/>
                <a:gd name="T60" fmla="*/ 31 w 111"/>
                <a:gd name="T61" fmla="*/ 33 h 47"/>
                <a:gd name="T62" fmla="*/ 33 w 111"/>
                <a:gd name="T63" fmla="*/ 33 h 47"/>
                <a:gd name="T64" fmla="*/ 43 w 111"/>
                <a:gd name="T65" fmla="*/ 33 h 47"/>
                <a:gd name="T66" fmla="*/ 52 w 111"/>
                <a:gd name="T67" fmla="*/ 35 h 47"/>
                <a:gd name="T68" fmla="*/ 57 w 111"/>
                <a:gd name="T69" fmla="*/ 33 h 47"/>
                <a:gd name="T70" fmla="*/ 59 w 111"/>
                <a:gd name="T71" fmla="*/ 33 h 47"/>
                <a:gd name="T72" fmla="*/ 64 w 111"/>
                <a:gd name="T73" fmla="*/ 38 h 47"/>
                <a:gd name="T74" fmla="*/ 76 w 111"/>
                <a:gd name="T75" fmla="*/ 40 h 47"/>
                <a:gd name="T76" fmla="*/ 80 w 111"/>
                <a:gd name="T77" fmla="*/ 45 h 47"/>
                <a:gd name="T78" fmla="*/ 87 w 111"/>
                <a:gd name="T79" fmla="*/ 47 h 47"/>
                <a:gd name="T80" fmla="*/ 90 w 111"/>
                <a:gd name="T81" fmla="*/ 47 h 47"/>
                <a:gd name="T82" fmla="*/ 94 w 111"/>
                <a:gd name="T83" fmla="*/ 45 h 47"/>
                <a:gd name="T84" fmla="*/ 99 w 111"/>
                <a:gd name="T85" fmla="*/ 45 h 47"/>
                <a:gd name="T86" fmla="*/ 104 w 111"/>
                <a:gd name="T87" fmla="*/ 42 h 47"/>
                <a:gd name="T88" fmla="*/ 109 w 111"/>
                <a:gd name="T89" fmla="*/ 38 h 47"/>
                <a:gd name="T90" fmla="*/ 111 w 111"/>
                <a:gd name="T91" fmla="*/ 3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1" h="47">
                  <a:moveTo>
                    <a:pt x="111" y="35"/>
                  </a:moveTo>
                  <a:lnTo>
                    <a:pt x="109" y="33"/>
                  </a:lnTo>
                  <a:lnTo>
                    <a:pt x="109" y="30"/>
                  </a:lnTo>
                  <a:lnTo>
                    <a:pt x="109" y="30"/>
                  </a:lnTo>
                  <a:lnTo>
                    <a:pt x="106" y="28"/>
                  </a:lnTo>
                  <a:lnTo>
                    <a:pt x="106" y="28"/>
                  </a:lnTo>
                  <a:lnTo>
                    <a:pt x="106" y="26"/>
                  </a:lnTo>
                  <a:lnTo>
                    <a:pt x="104" y="26"/>
                  </a:lnTo>
                  <a:lnTo>
                    <a:pt x="104" y="23"/>
                  </a:lnTo>
                  <a:lnTo>
                    <a:pt x="104" y="23"/>
                  </a:lnTo>
                  <a:lnTo>
                    <a:pt x="104" y="23"/>
                  </a:lnTo>
                  <a:lnTo>
                    <a:pt x="102" y="23"/>
                  </a:lnTo>
                  <a:lnTo>
                    <a:pt x="102" y="23"/>
                  </a:lnTo>
                  <a:lnTo>
                    <a:pt x="102" y="21"/>
                  </a:lnTo>
                  <a:lnTo>
                    <a:pt x="102" y="19"/>
                  </a:lnTo>
                  <a:lnTo>
                    <a:pt x="102" y="19"/>
                  </a:lnTo>
                  <a:lnTo>
                    <a:pt x="102" y="16"/>
                  </a:lnTo>
                  <a:lnTo>
                    <a:pt x="104" y="16"/>
                  </a:lnTo>
                  <a:lnTo>
                    <a:pt x="104" y="16"/>
                  </a:lnTo>
                  <a:lnTo>
                    <a:pt x="102" y="14"/>
                  </a:lnTo>
                  <a:lnTo>
                    <a:pt x="102" y="14"/>
                  </a:lnTo>
                  <a:lnTo>
                    <a:pt x="99" y="14"/>
                  </a:lnTo>
                  <a:lnTo>
                    <a:pt x="97" y="12"/>
                  </a:lnTo>
                  <a:lnTo>
                    <a:pt x="97" y="12"/>
                  </a:lnTo>
                  <a:lnTo>
                    <a:pt x="97" y="12"/>
                  </a:lnTo>
                  <a:lnTo>
                    <a:pt x="94" y="9"/>
                  </a:lnTo>
                  <a:lnTo>
                    <a:pt x="94" y="12"/>
                  </a:lnTo>
                  <a:lnTo>
                    <a:pt x="92" y="9"/>
                  </a:lnTo>
                  <a:lnTo>
                    <a:pt x="90" y="9"/>
                  </a:lnTo>
                  <a:lnTo>
                    <a:pt x="90" y="9"/>
                  </a:lnTo>
                  <a:lnTo>
                    <a:pt x="87" y="9"/>
                  </a:lnTo>
                  <a:lnTo>
                    <a:pt x="87" y="9"/>
                  </a:lnTo>
                  <a:lnTo>
                    <a:pt x="83" y="9"/>
                  </a:lnTo>
                  <a:lnTo>
                    <a:pt x="80" y="9"/>
                  </a:lnTo>
                  <a:lnTo>
                    <a:pt x="78" y="9"/>
                  </a:lnTo>
                  <a:lnTo>
                    <a:pt x="78" y="7"/>
                  </a:lnTo>
                  <a:lnTo>
                    <a:pt x="73" y="4"/>
                  </a:lnTo>
                  <a:lnTo>
                    <a:pt x="73" y="4"/>
                  </a:lnTo>
                  <a:lnTo>
                    <a:pt x="73" y="4"/>
                  </a:lnTo>
                  <a:lnTo>
                    <a:pt x="71" y="4"/>
                  </a:lnTo>
                  <a:lnTo>
                    <a:pt x="69" y="2"/>
                  </a:lnTo>
                  <a:lnTo>
                    <a:pt x="69" y="2"/>
                  </a:lnTo>
                  <a:lnTo>
                    <a:pt x="66" y="2"/>
                  </a:lnTo>
                  <a:lnTo>
                    <a:pt x="64" y="0"/>
                  </a:lnTo>
                  <a:lnTo>
                    <a:pt x="61" y="0"/>
                  </a:lnTo>
                  <a:lnTo>
                    <a:pt x="61" y="0"/>
                  </a:lnTo>
                  <a:lnTo>
                    <a:pt x="61" y="0"/>
                  </a:lnTo>
                  <a:lnTo>
                    <a:pt x="61" y="2"/>
                  </a:lnTo>
                  <a:lnTo>
                    <a:pt x="61" y="2"/>
                  </a:lnTo>
                  <a:lnTo>
                    <a:pt x="61" y="0"/>
                  </a:lnTo>
                  <a:lnTo>
                    <a:pt x="59" y="0"/>
                  </a:lnTo>
                  <a:lnTo>
                    <a:pt x="57" y="2"/>
                  </a:lnTo>
                  <a:lnTo>
                    <a:pt x="57" y="2"/>
                  </a:lnTo>
                  <a:lnTo>
                    <a:pt x="54" y="2"/>
                  </a:lnTo>
                  <a:lnTo>
                    <a:pt x="50" y="2"/>
                  </a:lnTo>
                  <a:lnTo>
                    <a:pt x="50" y="4"/>
                  </a:lnTo>
                  <a:lnTo>
                    <a:pt x="47" y="4"/>
                  </a:lnTo>
                  <a:lnTo>
                    <a:pt x="47" y="4"/>
                  </a:lnTo>
                  <a:lnTo>
                    <a:pt x="50" y="9"/>
                  </a:lnTo>
                  <a:lnTo>
                    <a:pt x="50" y="14"/>
                  </a:lnTo>
                  <a:lnTo>
                    <a:pt x="50" y="16"/>
                  </a:lnTo>
                  <a:lnTo>
                    <a:pt x="50" y="16"/>
                  </a:lnTo>
                  <a:lnTo>
                    <a:pt x="45" y="19"/>
                  </a:lnTo>
                  <a:lnTo>
                    <a:pt x="43" y="21"/>
                  </a:lnTo>
                  <a:lnTo>
                    <a:pt x="40" y="21"/>
                  </a:lnTo>
                  <a:lnTo>
                    <a:pt x="33" y="19"/>
                  </a:lnTo>
                  <a:lnTo>
                    <a:pt x="31" y="14"/>
                  </a:lnTo>
                  <a:lnTo>
                    <a:pt x="28" y="14"/>
                  </a:lnTo>
                  <a:lnTo>
                    <a:pt x="24" y="9"/>
                  </a:lnTo>
                  <a:lnTo>
                    <a:pt x="24" y="7"/>
                  </a:lnTo>
                  <a:lnTo>
                    <a:pt x="21" y="7"/>
                  </a:lnTo>
                  <a:lnTo>
                    <a:pt x="17" y="7"/>
                  </a:lnTo>
                  <a:lnTo>
                    <a:pt x="12" y="9"/>
                  </a:lnTo>
                  <a:lnTo>
                    <a:pt x="10" y="9"/>
                  </a:lnTo>
                  <a:lnTo>
                    <a:pt x="5" y="14"/>
                  </a:lnTo>
                  <a:lnTo>
                    <a:pt x="5" y="16"/>
                  </a:lnTo>
                  <a:lnTo>
                    <a:pt x="5" y="19"/>
                  </a:lnTo>
                  <a:lnTo>
                    <a:pt x="5" y="21"/>
                  </a:lnTo>
                  <a:lnTo>
                    <a:pt x="3" y="21"/>
                  </a:lnTo>
                  <a:lnTo>
                    <a:pt x="0" y="23"/>
                  </a:lnTo>
                  <a:lnTo>
                    <a:pt x="0" y="28"/>
                  </a:lnTo>
                  <a:lnTo>
                    <a:pt x="0" y="35"/>
                  </a:lnTo>
                  <a:lnTo>
                    <a:pt x="0" y="40"/>
                  </a:lnTo>
                  <a:lnTo>
                    <a:pt x="5" y="38"/>
                  </a:lnTo>
                  <a:lnTo>
                    <a:pt x="10" y="35"/>
                  </a:lnTo>
                  <a:lnTo>
                    <a:pt x="12" y="35"/>
                  </a:lnTo>
                  <a:lnTo>
                    <a:pt x="17" y="33"/>
                  </a:lnTo>
                  <a:lnTo>
                    <a:pt x="17" y="33"/>
                  </a:lnTo>
                  <a:lnTo>
                    <a:pt x="21" y="33"/>
                  </a:lnTo>
                  <a:lnTo>
                    <a:pt x="24" y="33"/>
                  </a:lnTo>
                  <a:lnTo>
                    <a:pt x="26" y="33"/>
                  </a:lnTo>
                  <a:lnTo>
                    <a:pt x="28" y="33"/>
                  </a:lnTo>
                  <a:lnTo>
                    <a:pt x="31" y="33"/>
                  </a:lnTo>
                  <a:lnTo>
                    <a:pt x="31" y="35"/>
                  </a:lnTo>
                  <a:lnTo>
                    <a:pt x="33" y="33"/>
                  </a:lnTo>
                  <a:lnTo>
                    <a:pt x="33" y="33"/>
                  </a:lnTo>
                  <a:lnTo>
                    <a:pt x="40" y="33"/>
                  </a:lnTo>
                  <a:lnTo>
                    <a:pt x="40" y="33"/>
                  </a:lnTo>
                  <a:lnTo>
                    <a:pt x="43" y="33"/>
                  </a:lnTo>
                  <a:lnTo>
                    <a:pt x="45" y="35"/>
                  </a:lnTo>
                  <a:lnTo>
                    <a:pt x="47" y="35"/>
                  </a:lnTo>
                  <a:lnTo>
                    <a:pt x="52" y="35"/>
                  </a:lnTo>
                  <a:lnTo>
                    <a:pt x="54" y="35"/>
                  </a:lnTo>
                  <a:lnTo>
                    <a:pt x="54" y="35"/>
                  </a:lnTo>
                  <a:lnTo>
                    <a:pt x="57" y="33"/>
                  </a:lnTo>
                  <a:lnTo>
                    <a:pt x="57" y="33"/>
                  </a:lnTo>
                  <a:lnTo>
                    <a:pt x="59" y="33"/>
                  </a:lnTo>
                  <a:lnTo>
                    <a:pt x="59" y="33"/>
                  </a:lnTo>
                  <a:lnTo>
                    <a:pt x="61" y="35"/>
                  </a:lnTo>
                  <a:lnTo>
                    <a:pt x="61" y="38"/>
                  </a:lnTo>
                  <a:lnTo>
                    <a:pt x="64" y="38"/>
                  </a:lnTo>
                  <a:lnTo>
                    <a:pt x="71" y="38"/>
                  </a:lnTo>
                  <a:lnTo>
                    <a:pt x="71" y="38"/>
                  </a:lnTo>
                  <a:lnTo>
                    <a:pt x="76" y="40"/>
                  </a:lnTo>
                  <a:lnTo>
                    <a:pt x="78" y="42"/>
                  </a:lnTo>
                  <a:lnTo>
                    <a:pt x="78" y="42"/>
                  </a:lnTo>
                  <a:lnTo>
                    <a:pt x="80" y="45"/>
                  </a:lnTo>
                  <a:lnTo>
                    <a:pt x="83" y="45"/>
                  </a:lnTo>
                  <a:lnTo>
                    <a:pt x="85" y="47"/>
                  </a:lnTo>
                  <a:lnTo>
                    <a:pt x="87" y="47"/>
                  </a:lnTo>
                  <a:lnTo>
                    <a:pt x="87" y="47"/>
                  </a:lnTo>
                  <a:lnTo>
                    <a:pt x="87" y="47"/>
                  </a:lnTo>
                  <a:lnTo>
                    <a:pt x="90" y="47"/>
                  </a:lnTo>
                  <a:lnTo>
                    <a:pt x="90" y="47"/>
                  </a:lnTo>
                  <a:lnTo>
                    <a:pt x="92" y="45"/>
                  </a:lnTo>
                  <a:lnTo>
                    <a:pt x="94" y="45"/>
                  </a:lnTo>
                  <a:lnTo>
                    <a:pt x="97" y="45"/>
                  </a:lnTo>
                  <a:lnTo>
                    <a:pt x="99" y="45"/>
                  </a:lnTo>
                  <a:lnTo>
                    <a:pt x="99" y="45"/>
                  </a:lnTo>
                  <a:lnTo>
                    <a:pt x="102" y="45"/>
                  </a:lnTo>
                  <a:lnTo>
                    <a:pt x="102" y="45"/>
                  </a:lnTo>
                  <a:lnTo>
                    <a:pt x="104" y="42"/>
                  </a:lnTo>
                  <a:lnTo>
                    <a:pt x="104" y="42"/>
                  </a:lnTo>
                  <a:lnTo>
                    <a:pt x="106" y="40"/>
                  </a:lnTo>
                  <a:lnTo>
                    <a:pt x="109" y="38"/>
                  </a:lnTo>
                  <a:lnTo>
                    <a:pt x="109" y="38"/>
                  </a:lnTo>
                  <a:lnTo>
                    <a:pt x="111" y="38"/>
                  </a:lnTo>
                  <a:lnTo>
                    <a:pt x="111" y="38"/>
                  </a:lnTo>
                  <a:lnTo>
                    <a:pt x="111" y="35"/>
                  </a:lnTo>
                  <a:lnTo>
                    <a:pt x="111" y="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8" name="Freeform 304"/>
            <p:cNvSpPr>
              <a:spLocks/>
            </p:cNvSpPr>
            <p:nvPr userDrawn="1"/>
          </p:nvSpPr>
          <p:spPr bwMode="auto">
            <a:xfrm>
              <a:off x="5484" y="2332"/>
              <a:ext cx="151" cy="182"/>
            </a:xfrm>
            <a:custGeom>
              <a:avLst/>
              <a:gdLst>
                <a:gd name="T0" fmla="*/ 142 w 151"/>
                <a:gd name="T1" fmla="*/ 142 h 182"/>
                <a:gd name="T2" fmla="*/ 144 w 151"/>
                <a:gd name="T3" fmla="*/ 138 h 182"/>
                <a:gd name="T4" fmla="*/ 135 w 151"/>
                <a:gd name="T5" fmla="*/ 128 h 182"/>
                <a:gd name="T6" fmla="*/ 130 w 151"/>
                <a:gd name="T7" fmla="*/ 126 h 182"/>
                <a:gd name="T8" fmla="*/ 123 w 151"/>
                <a:gd name="T9" fmla="*/ 114 h 182"/>
                <a:gd name="T10" fmla="*/ 109 w 151"/>
                <a:gd name="T11" fmla="*/ 100 h 182"/>
                <a:gd name="T12" fmla="*/ 99 w 151"/>
                <a:gd name="T13" fmla="*/ 90 h 182"/>
                <a:gd name="T14" fmla="*/ 97 w 151"/>
                <a:gd name="T15" fmla="*/ 83 h 182"/>
                <a:gd name="T16" fmla="*/ 76 w 151"/>
                <a:gd name="T17" fmla="*/ 71 h 182"/>
                <a:gd name="T18" fmla="*/ 73 w 151"/>
                <a:gd name="T19" fmla="*/ 64 h 182"/>
                <a:gd name="T20" fmla="*/ 83 w 151"/>
                <a:gd name="T21" fmla="*/ 62 h 182"/>
                <a:gd name="T22" fmla="*/ 87 w 151"/>
                <a:gd name="T23" fmla="*/ 52 h 182"/>
                <a:gd name="T24" fmla="*/ 83 w 151"/>
                <a:gd name="T25" fmla="*/ 48 h 182"/>
                <a:gd name="T26" fmla="*/ 80 w 151"/>
                <a:gd name="T27" fmla="*/ 43 h 182"/>
                <a:gd name="T28" fmla="*/ 71 w 151"/>
                <a:gd name="T29" fmla="*/ 34 h 182"/>
                <a:gd name="T30" fmla="*/ 59 w 151"/>
                <a:gd name="T31" fmla="*/ 38 h 182"/>
                <a:gd name="T32" fmla="*/ 47 w 151"/>
                <a:gd name="T33" fmla="*/ 22 h 182"/>
                <a:gd name="T34" fmla="*/ 45 w 151"/>
                <a:gd name="T35" fmla="*/ 15 h 182"/>
                <a:gd name="T36" fmla="*/ 43 w 151"/>
                <a:gd name="T37" fmla="*/ 17 h 182"/>
                <a:gd name="T38" fmla="*/ 31 w 151"/>
                <a:gd name="T39" fmla="*/ 3 h 182"/>
                <a:gd name="T40" fmla="*/ 24 w 151"/>
                <a:gd name="T41" fmla="*/ 0 h 182"/>
                <a:gd name="T42" fmla="*/ 21 w 151"/>
                <a:gd name="T43" fmla="*/ 8 h 182"/>
                <a:gd name="T44" fmla="*/ 26 w 151"/>
                <a:gd name="T45" fmla="*/ 19 h 182"/>
                <a:gd name="T46" fmla="*/ 28 w 151"/>
                <a:gd name="T47" fmla="*/ 29 h 182"/>
                <a:gd name="T48" fmla="*/ 21 w 151"/>
                <a:gd name="T49" fmla="*/ 26 h 182"/>
                <a:gd name="T50" fmla="*/ 17 w 151"/>
                <a:gd name="T51" fmla="*/ 24 h 182"/>
                <a:gd name="T52" fmla="*/ 7 w 151"/>
                <a:gd name="T53" fmla="*/ 26 h 182"/>
                <a:gd name="T54" fmla="*/ 7 w 151"/>
                <a:gd name="T55" fmla="*/ 36 h 182"/>
                <a:gd name="T56" fmla="*/ 0 w 151"/>
                <a:gd name="T57" fmla="*/ 41 h 182"/>
                <a:gd name="T58" fmla="*/ 3 w 151"/>
                <a:gd name="T59" fmla="*/ 45 h 182"/>
                <a:gd name="T60" fmla="*/ 7 w 151"/>
                <a:gd name="T61" fmla="*/ 52 h 182"/>
                <a:gd name="T62" fmla="*/ 14 w 151"/>
                <a:gd name="T63" fmla="*/ 64 h 182"/>
                <a:gd name="T64" fmla="*/ 21 w 151"/>
                <a:gd name="T65" fmla="*/ 64 h 182"/>
                <a:gd name="T66" fmla="*/ 24 w 151"/>
                <a:gd name="T67" fmla="*/ 86 h 182"/>
                <a:gd name="T68" fmla="*/ 24 w 151"/>
                <a:gd name="T69" fmla="*/ 93 h 182"/>
                <a:gd name="T70" fmla="*/ 26 w 151"/>
                <a:gd name="T71" fmla="*/ 107 h 182"/>
                <a:gd name="T72" fmla="*/ 36 w 151"/>
                <a:gd name="T73" fmla="*/ 95 h 182"/>
                <a:gd name="T74" fmla="*/ 45 w 151"/>
                <a:gd name="T75" fmla="*/ 93 h 182"/>
                <a:gd name="T76" fmla="*/ 54 w 151"/>
                <a:gd name="T77" fmla="*/ 100 h 182"/>
                <a:gd name="T78" fmla="*/ 59 w 151"/>
                <a:gd name="T79" fmla="*/ 95 h 182"/>
                <a:gd name="T80" fmla="*/ 61 w 151"/>
                <a:gd name="T81" fmla="*/ 88 h 182"/>
                <a:gd name="T82" fmla="*/ 76 w 151"/>
                <a:gd name="T83" fmla="*/ 88 h 182"/>
                <a:gd name="T84" fmla="*/ 92 w 151"/>
                <a:gd name="T85" fmla="*/ 107 h 182"/>
                <a:gd name="T86" fmla="*/ 102 w 151"/>
                <a:gd name="T87" fmla="*/ 133 h 182"/>
                <a:gd name="T88" fmla="*/ 109 w 151"/>
                <a:gd name="T89" fmla="*/ 142 h 182"/>
                <a:gd name="T90" fmla="*/ 113 w 151"/>
                <a:gd name="T91" fmla="*/ 149 h 182"/>
                <a:gd name="T92" fmla="*/ 113 w 151"/>
                <a:gd name="T93" fmla="*/ 164 h 182"/>
                <a:gd name="T94" fmla="*/ 109 w 151"/>
                <a:gd name="T95" fmla="*/ 173 h 182"/>
                <a:gd name="T96" fmla="*/ 116 w 151"/>
                <a:gd name="T97" fmla="*/ 178 h 182"/>
                <a:gd name="T98" fmla="*/ 125 w 151"/>
                <a:gd name="T99" fmla="*/ 178 h 182"/>
                <a:gd name="T100" fmla="*/ 127 w 151"/>
                <a:gd name="T101" fmla="*/ 171 h 182"/>
                <a:gd name="T102" fmla="*/ 135 w 151"/>
                <a:gd name="T103" fmla="*/ 171 h 182"/>
                <a:gd name="T104" fmla="*/ 142 w 151"/>
                <a:gd name="T105" fmla="*/ 171 h 182"/>
                <a:gd name="T106" fmla="*/ 149 w 151"/>
                <a:gd name="T107" fmla="*/ 168 h 182"/>
                <a:gd name="T108" fmla="*/ 149 w 151"/>
                <a:gd name="T109" fmla="*/ 15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1" h="182">
                  <a:moveTo>
                    <a:pt x="151" y="152"/>
                  </a:moveTo>
                  <a:lnTo>
                    <a:pt x="149" y="152"/>
                  </a:lnTo>
                  <a:lnTo>
                    <a:pt x="149" y="149"/>
                  </a:lnTo>
                  <a:lnTo>
                    <a:pt x="146" y="147"/>
                  </a:lnTo>
                  <a:lnTo>
                    <a:pt x="144" y="147"/>
                  </a:lnTo>
                  <a:lnTo>
                    <a:pt x="144" y="145"/>
                  </a:lnTo>
                  <a:lnTo>
                    <a:pt x="142" y="142"/>
                  </a:lnTo>
                  <a:lnTo>
                    <a:pt x="142" y="142"/>
                  </a:lnTo>
                  <a:lnTo>
                    <a:pt x="142" y="142"/>
                  </a:lnTo>
                  <a:lnTo>
                    <a:pt x="144" y="140"/>
                  </a:lnTo>
                  <a:lnTo>
                    <a:pt x="146" y="140"/>
                  </a:lnTo>
                  <a:lnTo>
                    <a:pt x="146" y="138"/>
                  </a:lnTo>
                  <a:lnTo>
                    <a:pt x="144" y="138"/>
                  </a:lnTo>
                  <a:lnTo>
                    <a:pt x="144" y="138"/>
                  </a:lnTo>
                  <a:lnTo>
                    <a:pt x="144" y="135"/>
                  </a:lnTo>
                  <a:lnTo>
                    <a:pt x="142" y="135"/>
                  </a:lnTo>
                  <a:lnTo>
                    <a:pt x="139" y="133"/>
                  </a:lnTo>
                  <a:lnTo>
                    <a:pt x="137" y="130"/>
                  </a:lnTo>
                  <a:lnTo>
                    <a:pt x="135" y="130"/>
                  </a:lnTo>
                  <a:lnTo>
                    <a:pt x="135" y="130"/>
                  </a:lnTo>
                  <a:lnTo>
                    <a:pt x="135" y="128"/>
                  </a:lnTo>
                  <a:lnTo>
                    <a:pt x="135" y="126"/>
                  </a:lnTo>
                  <a:lnTo>
                    <a:pt x="132" y="128"/>
                  </a:lnTo>
                  <a:lnTo>
                    <a:pt x="132" y="128"/>
                  </a:lnTo>
                  <a:lnTo>
                    <a:pt x="132" y="128"/>
                  </a:lnTo>
                  <a:lnTo>
                    <a:pt x="130" y="128"/>
                  </a:lnTo>
                  <a:lnTo>
                    <a:pt x="130" y="126"/>
                  </a:lnTo>
                  <a:lnTo>
                    <a:pt x="130" y="126"/>
                  </a:lnTo>
                  <a:lnTo>
                    <a:pt x="127" y="123"/>
                  </a:lnTo>
                  <a:lnTo>
                    <a:pt x="127" y="121"/>
                  </a:lnTo>
                  <a:lnTo>
                    <a:pt x="127" y="119"/>
                  </a:lnTo>
                  <a:lnTo>
                    <a:pt x="125" y="119"/>
                  </a:lnTo>
                  <a:lnTo>
                    <a:pt x="125" y="116"/>
                  </a:lnTo>
                  <a:lnTo>
                    <a:pt x="125" y="116"/>
                  </a:lnTo>
                  <a:lnTo>
                    <a:pt x="123" y="114"/>
                  </a:lnTo>
                  <a:lnTo>
                    <a:pt x="120" y="112"/>
                  </a:lnTo>
                  <a:lnTo>
                    <a:pt x="116" y="109"/>
                  </a:lnTo>
                  <a:lnTo>
                    <a:pt x="116" y="107"/>
                  </a:lnTo>
                  <a:lnTo>
                    <a:pt x="113" y="107"/>
                  </a:lnTo>
                  <a:lnTo>
                    <a:pt x="111" y="102"/>
                  </a:lnTo>
                  <a:lnTo>
                    <a:pt x="109" y="102"/>
                  </a:lnTo>
                  <a:lnTo>
                    <a:pt x="109" y="100"/>
                  </a:lnTo>
                  <a:lnTo>
                    <a:pt x="106" y="97"/>
                  </a:lnTo>
                  <a:lnTo>
                    <a:pt x="106" y="95"/>
                  </a:lnTo>
                  <a:lnTo>
                    <a:pt x="104" y="95"/>
                  </a:lnTo>
                  <a:lnTo>
                    <a:pt x="104" y="93"/>
                  </a:lnTo>
                  <a:lnTo>
                    <a:pt x="102" y="93"/>
                  </a:lnTo>
                  <a:lnTo>
                    <a:pt x="102" y="93"/>
                  </a:lnTo>
                  <a:lnTo>
                    <a:pt x="99" y="90"/>
                  </a:lnTo>
                  <a:lnTo>
                    <a:pt x="97" y="88"/>
                  </a:lnTo>
                  <a:lnTo>
                    <a:pt x="97" y="88"/>
                  </a:lnTo>
                  <a:lnTo>
                    <a:pt x="97" y="86"/>
                  </a:lnTo>
                  <a:lnTo>
                    <a:pt x="97" y="86"/>
                  </a:lnTo>
                  <a:lnTo>
                    <a:pt x="97" y="83"/>
                  </a:lnTo>
                  <a:lnTo>
                    <a:pt x="97" y="83"/>
                  </a:lnTo>
                  <a:lnTo>
                    <a:pt x="97" y="83"/>
                  </a:lnTo>
                  <a:lnTo>
                    <a:pt x="97" y="81"/>
                  </a:lnTo>
                  <a:lnTo>
                    <a:pt x="94" y="81"/>
                  </a:lnTo>
                  <a:lnTo>
                    <a:pt x="87" y="78"/>
                  </a:lnTo>
                  <a:lnTo>
                    <a:pt x="85" y="78"/>
                  </a:lnTo>
                  <a:lnTo>
                    <a:pt x="85" y="76"/>
                  </a:lnTo>
                  <a:lnTo>
                    <a:pt x="83" y="76"/>
                  </a:lnTo>
                  <a:lnTo>
                    <a:pt x="76" y="71"/>
                  </a:lnTo>
                  <a:lnTo>
                    <a:pt x="73" y="69"/>
                  </a:lnTo>
                  <a:lnTo>
                    <a:pt x="73" y="69"/>
                  </a:lnTo>
                  <a:lnTo>
                    <a:pt x="71" y="69"/>
                  </a:lnTo>
                  <a:lnTo>
                    <a:pt x="71" y="67"/>
                  </a:lnTo>
                  <a:lnTo>
                    <a:pt x="73" y="67"/>
                  </a:lnTo>
                  <a:lnTo>
                    <a:pt x="73" y="67"/>
                  </a:lnTo>
                  <a:lnTo>
                    <a:pt x="73" y="64"/>
                  </a:lnTo>
                  <a:lnTo>
                    <a:pt x="73" y="62"/>
                  </a:lnTo>
                  <a:lnTo>
                    <a:pt x="73" y="62"/>
                  </a:lnTo>
                  <a:lnTo>
                    <a:pt x="73" y="60"/>
                  </a:lnTo>
                  <a:lnTo>
                    <a:pt x="73" y="60"/>
                  </a:lnTo>
                  <a:lnTo>
                    <a:pt x="76" y="60"/>
                  </a:lnTo>
                  <a:lnTo>
                    <a:pt x="78" y="60"/>
                  </a:lnTo>
                  <a:lnTo>
                    <a:pt x="83" y="62"/>
                  </a:lnTo>
                  <a:lnTo>
                    <a:pt x="83" y="62"/>
                  </a:lnTo>
                  <a:lnTo>
                    <a:pt x="85" y="60"/>
                  </a:lnTo>
                  <a:lnTo>
                    <a:pt x="87" y="57"/>
                  </a:lnTo>
                  <a:lnTo>
                    <a:pt x="87" y="55"/>
                  </a:lnTo>
                  <a:lnTo>
                    <a:pt x="87" y="55"/>
                  </a:lnTo>
                  <a:lnTo>
                    <a:pt x="87" y="52"/>
                  </a:lnTo>
                  <a:lnTo>
                    <a:pt x="87" y="52"/>
                  </a:lnTo>
                  <a:lnTo>
                    <a:pt x="87" y="50"/>
                  </a:lnTo>
                  <a:lnTo>
                    <a:pt x="87" y="50"/>
                  </a:lnTo>
                  <a:lnTo>
                    <a:pt x="85" y="50"/>
                  </a:lnTo>
                  <a:lnTo>
                    <a:pt x="83" y="50"/>
                  </a:lnTo>
                  <a:lnTo>
                    <a:pt x="83" y="48"/>
                  </a:lnTo>
                  <a:lnTo>
                    <a:pt x="83" y="48"/>
                  </a:lnTo>
                  <a:lnTo>
                    <a:pt x="83" y="48"/>
                  </a:lnTo>
                  <a:lnTo>
                    <a:pt x="83" y="45"/>
                  </a:lnTo>
                  <a:lnTo>
                    <a:pt x="80" y="45"/>
                  </a:lnTo>
                  <a:lnTo>
                    <a:pt x="78" y="45"/>
                  </a:lnTo>
                  <a:lnTo>
                    <a:pt x="78" y="45"/>
                  </a:lnTo>
                  <a:lnTo>
                    <a:pt x="78" y="43"/>
                  </a:lnTo>
                  <a:lnTo>
                    <a:pt x="78" y="43"/>
                  </a:lnTo>
                  <a:lnTo>
                    <a:pt x="80" y="43"/>
                  </a:lnTo>
                  <a:lnTo>
                    <a:pt x="80" y="41"/>
                  </a:lnTo>
                  <a:lnTo>
                    <a:pt x="80" y="41"/>
                  </a:lnTo>
                  <a:lnTo>
                    <a:pt x="80" y="38"/>
                  </a:lnTo>
                  <a:lnTo>
                    <a:pt x="78" y="38"/>
                  </a:lnTo>
                  <a:lnTo>
                    <a:pt x="76" y="36"/>
                  </a:lnTo>
                  <a:lnTo>
                    <a:pt x="73" y="34"/>
                  </a:lnTo>
                  <a:lnTo>
                    <a:pt x="71" y="34"/>
                  </a:lnTo>
                  <a:lnTo>
                    <a:pt x="71" y="34"/>
                  </a:lnTo>
                  <a:lnTo>
                    <a:pt x="66" y="36"/>
                  </a:lnTo>
                  <a:lnTo>
                    <a:pt x="66" y="36"/>
                  </a:lnTo>
                  <a:lnTo>
                    <a:pt x="64" y="38"/>
                  </a:lnTo>
                  <a:lnTo>
                    <a:pt x="64" y="38"/>
                  </a:lnTo>
                  <a:lnTo>
                    <a:pt x="61" y="38"/>
                  </a:lnTo>
                  <a:lnTo>
                    <a:pt x="59" y="38"/>
                  </a:lnTo>
                  <a:lnTo>
                    <a:pt x="54" y="36"/>
                  </a:lnTo>
                  <a:lnTo>
                    <a:pt x="52" y="36"/>
                  </a:lnTo>
                  <a:lnTo>
                    <a:pt x="47" y="29"/>
                  </a:lnTo>
                  <a:lnTo>
                    <a:pt x="47" y="26"/>
                  </a:lnTo>
                  <a:lnTo>
                    <a:pt x="47" y="26"/>
                  </a:lnTo>
                  <a:lnTo>
                    <a:pt x="47" y="24"/>
                  </a:lnTo>
                  <a:lnTo>
                    <a:pt x="47" y="22"/>
                  </a:lnTo>
                  <a:lnTo>
                    <a:pt x="47" y="19"/>
                  </a:lnTo>
                  <a:lnTo>
                    <a:pt x="47" y="19"/>
                  </a:lnTo>
                  <a:lnTo>
                    <a:pt x="47" y="17"/>
                  </a:lnTo>
                  <a:lnTo>
                    <a:pt x="47" y="17"/>
                  </a:lnTo>
                  <a:lnTo>
                    <a:pt x="47" y="17"/>
                  </a:lnTo>
                  <a:lnTo>
                    <a:pt x="45" y="17"/>
                  </a:lnTo>
                  <a:lnTo>
                    <a:pt x="45" y="15"/>
                  </a:lnTo>
                  <a:lnTo>
                    <a:pt x="45" y="15"/>
                  </a:lnTo>
                  <a:lnTo>
                    <a:pt x="45" y="17"/>
                  </a:lnTo>
                  <a:lnTo>
                    <a:pt x="43" y="17"/>
                  </a:lnTo>
                  <a:lnTo>
                    <a:pt x="43" y="19"/>
                  </a:lnTo>
                  <a:lnTo>
                    <a:pt x="43" y="19"/>
                  </a:lnTo>
                  <a:lnTo>
                    <a:pt x="43" y="17"/>
                  </a:lnTo>
                  <a:lnTo>
                    <a:pt x="43" y="17"/>
                  </a:lnTo>
                  <a:lnTo>
                    <a:pt x="40" y="15"/>
                  </a:lnTo>
                  <a:lnTo>
                    <a:pt x="40" y="12"/>
                  </a:lnTo>
                  <a:lnTo>
                    <a:pt x="38" y="12"/>
                  </a:lnTo>
                  <a:lnTo>
                    <a:pt x="38" y="10"/>
                  </a:lnTo>
                  <a:lnTo>
                    <a:pt x="33" y="8"/>
                  </a:lnTo>
                  <a:lnTo>
                    <a:pt x="31" y="5"/>
                  </a:lnTo>
                  <a:lnTo>
                    <a:pt x="31" y="3"/>
                  </a:lnTo>
                  <a:lnTo>
                    <a:pt x="31" y="3"/>
                  </a:lnTo>
                  <a:lnTo>
                    <a:pt x="28" y="3"/>
                  </a:lnTo>
                  <a:lnTo>
                    <a:pt x="26" y="3"/>
                  </a:lnTo>
                  <a:lnTo>
                    <a:pt x="26" y="3"/>
                  </a:lnTo>
                  <a:lnTo>
                    <a:pt x="24" y="0"/>
                  </a:lnTo>
                  <a:lnTo>
                    <a:pt x="24" y="0"/>
                  </a:lnTo>
                  <a:lnTo>
                    <a:pt x="24" y="0"/>
                  </a:lnTo>
                  <a:lnTo>
                    <a:pt x="21" y="0"/>
                  </a:lnTo>
                  <a:lnTo>
                    <a:pt x="21" y="3"/>
                  </a:lnTo>
                  <a:lnTo>
                    <a:pt x="21" y="5"/>
                  </a:lnTo>
                  <a:lnTo>
                    <a:pt x="21" y="5"/>
                  </a:lnTo>
                  <a:lnTo>
                    <a:pt x="19" y="5"/>
                  </a:lnTo>
                  <a:lnTo>
                    <a:pt x="21" y="8"/>
                  </a:lnTo>
                  <a:lnTo>
                    <a:pt x="21" y="8"/>
                  </a:lnTo>
                  <a:lnTo>
                    <a:pt x="21" y="10"/>
                  </a:lnTo>
                  <a:lnTo>
                    <a:pt x="21" y="10"/>
                  </a:lnTo>
                  <a:lnTo>
                    <a:pt x="21" y="12"/>
                  </a:lnTo>
                  <a:lnTo>
                    <a:pt x="24" y="15"/>
                  </a:lnTo>
                  <a:lnTo>
                    <a:pt x="26" y="15"/>
                  </a:lnTo>
                  <a:lnTo>
                    <a:pt x="26" y="17"/>
                  </a:lnTo>
                  <a:lnTo>
                    <a:pt x="26" y="19"/>
                  </a:lnTo>
                  <a:lnTo>
                    <a:pt x="26" y="22"/>
                  </a:lnTo>
                  <a:lnTo>
                    <a:pt x="26" y="24"/>
                  </a:lnTo>
                  <a:lnTo>
                    <a:pt x="26" y="26"/>
                  </a:lnTo>
                  <a:lnTo>
                    <a:pt x="26" y="26"/>
                  </a:lnTo>
                  <a:lnTo>
                    <a:pt x="28" y="26"/>
                  </a:lnTo>
                  <a:lnTo>
                    <a:pt x="28" y="29"/>
                  </a:lnTo>
                  <a:lnTo>
                    <a:pt x="28" y="29"/>
                  </a:lnTo>
                  <a:lnTo>
                    <a:pt x="26" y="29"/>
                  </a:lnTo>
                  <a:lnTo>
                    <a:pt x="26" y="29"/>
                  </a:lnTo>
                  <a:lnTo>
                    <a:pt x="26" y="29"/>
                  </a:lnTo>
                  <a:lnTo>
                    <a:pt x="24" y="29"/>
                  </a:lnTo>
                  <a:lnTo>
                    <a:pt x="24" y="29"/>
                  </a:lnTo>
                  <a:lnTo>
                    <a:pt x="24" y="26"/>
                  </a:lnTo>
                  <a:lnTo>
                    <a:pt x="21" y="26"/>
                  </a:lnTo>
                  <a:lnTo>
                    <a:pt x="19" y="29"/>
                  </a:lnTo>
                  <a:lnTo>
                    <a:pt x="19" y="29"/>
                  </a:lnTo>
                  <a:lnTo>
                    <a:pt x="17" y="29"/>
                  </a:lnTo>
                  <a:lnTo>
                    <a:pt x="17" y="26"/>
                  </a:lnTo>
                  <a:lnTo>
                    <a:pt x="17" y="24"/>
                  </a:lnTo>
                  <a:lnTo>
                    <a:pt x="17" y="24"/>
                  </a:lnTo>
                  <a:lnTo>
                    <a:pt x="17" y="24"/>
                  </a:lnTo>
                  <a:lnTo>
                    <a:pt x="17" y="22"/>
                  </a:lnTo>
                  <a:lnTo>
                    <a:pt x="14" y="19"/>
                  </a:lnTo>
                  <a:lnTo>
                    <a:pt x="14" y="22"/>
                  </a:lnTo>
                  <a:lnTo>
                    <a:pt x="12" y="24"/>
                  </a:lnTo>
                  <a:lnTo>
                    <a:pt x="10" y="26"/>
                  </a:lnTo>
                  <a:lnTo>
                    <a:pt x="10" y="26"/>
                  </a:lnTo>
                  <a:lnTo>
                    <a:pt x="7" y="26"/>
                  </a:lnTo>
                  <a:lnTo>
                    <a:pt x="7" y="29"/>
                  </a:lnTo>
                  <a:lnTo>
                    <a:pt x="7" y="31"/>
                  </a:lnTo>
                  <a:lnTo>
                    <a:pt x="5" y="31"/>
                  </a:lnTo>
                  <a:lnTo>
                    <a:pt x="5" y="34"/>
                  </a:lnTo>
                  <a:lnTo>
                    <a:pt x="5" y="34"/>
                  </a:lnTo>
                  <a:lnTo>
                    <a:pt x="7" y="36"/>
                  </a:lnTo>
                  <a:lnTo>
                    <a:pt x="7" y="36"/>
                  </a:lnTo>
                  <a:lnTo>
                    <a:pt x="7" y="36"/>
                  </a:lnTo>
                  <a:lnTo>
                    <a:pt x="7" y="36"/>
                  </a:lnTo>
                  <a:lnTo>
                    <a:pt x="5" y="36"/>
                  </a:lnTo>
                  <a:lnTo>
                    <a:pt x="5" y="36"/>
                  </a:lnTo>
                  <a:lnTo>
                    <a:pt x="3" y="36"/>
                  </a:lnTo>
                  <a:lnTo>
                    <a:pt x="0" y="38"/>
                  </a:lnTo>
                  <a:lnTo>
                    <a:pt x="0" y="41"/>
                  </a:lnTo>
                  <a:lnTo>
                    <a:pt x="0" y="45"/>
                  </a:lnTo>
                  <a:lnTo>
                    <a:pt x="0" y="48"/>
                  </a:lnTo>
                  <a:lnTo>
                    <a:pt x="0" y="48"/>
                  </a:lnTo>
                  <a:lnTo>
                    <a:pt x="0" y="48"/>
                  </a:lnTo>
                  <a:lnTo>
                    <a:pt x="0" y="48"/>
                  </a:lnTo>
                  <a:lnTo>
                    <a:pt x="3" y="45"/>
                  </a:lnTo>
                  <a:lnTo>
                    <a:pt x="3" y="45"/>
                  </a:lnTo>
                  <a:lnTo>
                    <a:pt x="3" y="45"/>
                  </a:lnTo>
                  <a:lnTo>
                    <a:pt x="5" y="45"/>
                  </a:lnTo>
                  <a:lnTo>
                    <a:pt x="5" y="48"/>
                  </a:lnTo>
                  <a:lnTo>
                    <a:pt x="7" y="50"/>
                  </a:lnTo>
                  <a:lnTo>
                    <a:pt x="7" y="50"/>
                  </a:lnTo>
                  <a:lnTo>
                    <a:pt x="7" y="50"/>
                  </a:lnTo>
                  <a:lnTo>
                    <a:pt x="7" y="52"/>
                  </a:lnTo>
                  <a:lnTo>
                    <a:pt x="7" y="52"/>
                  </a:lnTo>
                  <a:lnTo>
                    <a:pt x="7" y="55"/>
                  </a:lnTo>
                  <a:lnTo>
                    <a:pt x="7" y="60"/>
                  </a:lnTo>
                  <a:lnTo>
                    <a:pt x="7" y="62"/>
                  </a:lnTo>
                  <a:lnTo>
                    <a:pt x="10" y="62"/>
                  </a:lnTo>
                  <a:lnTo>
                    <a:pt x="12" y="64"/>
                  </a:lnTo>
                  <a:lnTo>
                    <a:pt x="14" y="64"/>
                  </a:lnTo>
                  <a:lnTo>
                    <a:pt x="14" y="64"/>
                  </a:lnTo>
                  <a:lnTo>
                    <a:pt x="14" y="62"/>
                  </a:lnTo>
                  <a:lnTo>
                    <a:pt x="17" y="62"/>
                  </a:lnTo>
                  <a:lnTo>
                    <a:pt x="17" y="62"/>
                  </a:lnTo>
                  <a:lnTo>
                    <a:pt x="21" y="62"/>
                  </a:lnTo>
                  <a:lnTo>
                    <a:pt x="21" y="62"/>
                  </a:lnTo>
                  <a:lnTo>
                    <a:pt x="21" y="64"/>
                  </a:lnTo>
                  <a:lnTo>
                    <a:pt x="21" y="67"/>
                  </a:lnTo>
                  <a:lnTo>
                    <a:pt x="24" y="71"/>
                  </a:lnTo>
                  <a:lnTo>
                    <a:pt x="24" y="74"/>
                  </a:lnTo>
                  <a:lnTo>
                    <a:pt x="26" y="76"/>
                  </a:lnTo>
                  <a:lnTo>
                    <a:pt x="24" y="78"/>
                  </a:lnTo>
                  <a:lnTo>
                    <a:pt x="24" y="83"/>
                  </a:lnTo>
                  <a:lnTo>
                    <a:pt x="24" y="86"/>
                  </a:lnTo>
                  <a:lnTo>
                    <a:pt x="21" y="86"/>
                  </a:lnTo>
                  <a:lnTo>
                    <a:pt x="21" y="86"/>
                  </a:lnTo>
                  <a:lnTo>
                    <a:pt x="21" y="88"/>
                  </a:lnTo>
                  <a:lnTo>
                    <a:pt x="24" y="88"/>
                  </a:lnTo>
                  <a:lnTo>
                    <a:pt x="24" y="90"/>
                  </a:lnTo>
                  <a:lnTo>
                    <a:pt x="24" y="90"/>
                  </a:lnTo>
                  <a:lnTo>
                    <a:pt x="24" y="93"/>
                  </a:lnTo>
                  <a:lnTo>
                    <a:pt x="24" y="95"/>
                  </a:lnTo>
                  <a:lnTo>
                    <a:pt x="24" y="100"/>
                  </a:lnTo>
                  <a:lnTo>
                    <a:pt x="21" y="104"/>
                  </a:lnTo>
                  <a:lnTo>
                    <a:pt x="24" y="104"/>
                  </a:lnTo>
                  <a:lnTo>
                    <a:pt x="24" y="107"/>
                  </a:lnTo>
                  <a:lnTo>
                    <a:pt x="26" y="107"/>
                  </a:lnTo>
                  <a:lnTo>
                    <a:pt x="26" y="107"/>
                  </a:lnTo>
                  <a:lnTo>
                    <a:pt x="28" y="104"/>
                  </a:lnTo>
                  <a:lnTo>
                    <a:pt x="31" y="102"/>
                  </a:lnTo>
                  <a:lnTo>
                    <a:pt x="33" y="100"/>
                  </a:lnTo>
                  <a:lnTo>
                    <a:pt x="33" y="100"/>
                  </a:lnTo>
                  <a:lnTo>
                    <a:pt x="36" y="97"/>
                  </a:lnTo>
                  <a:lnTo>
                    <a:pt x="36" y="97"/>
                  </a:lnTo>
                  <a:lnTo>
                    <a:pt x="36" y="95"/>
                  </a:lnTo>
                  <a:lnTo>
                    <a:pt x="38" y="95"/>
                  </a:lnTo>
                  <a:lnTo>
                    <a:pt x="38" y="95"/>
                  </a:lnTo>
                  <a:lnTo>
                    <a:pt x="40" y="95"/>
                  </a:lnTo>
                  <a:lnTo>
                    <a:pt x="40" y="93"/>
                  </a:lnTo>
                  <a:lnTo>
                    <a:pt x="43" y="90"/>
                  </a:lnTo>
                  <a:lnTo>
                    <a:pt x="43" y="90"/>
                  </a:lnTo>
                  <a:lnTo>
                    <a:pt x="45" y="93"/>
                  </a:lnTo>
                  <a:lnTo>
                    <a:pt x="47" y="95"/>
                  </a:lnTo>
                  <a:lnTo>
                    <a:pt x="50" y="95"/>
                  </a:lnTo>
                  <a:lnTo>
                    <a:pt x="52" y="97"/>
                  </a:lnTo>
                  <a:lnTo>
                    <a:pt x="52" y="97"/>
                  </a:lnTo>
                  <a:lnTo>
                    <a:pt x="52" y="97"/>
                  </a:lnTo>
                  <a:lnTo>
                    <a:pt x="52" y="100"/>
                  </a:lnTo>
                  <a:lnTo>
                    <a:pt x="54" y="100"/>
                  </a:lnTo>
                  <a:lnTo>
                    <a:pt x="54" y="100"/>
                  </a:lnTo>
                  <a:lnTo>
                    <a:pt x="54" y="100"/>
                  </a:lnTo>
                  <a:lnTo>
                    <a:pt x="54" y="97"/>
                  </a:lnTo>
                  <a:lnTo>
                    <a:pt x="57" y="97"/>
                  </a:lnTo>
                  <a:lnTo>
                    <a:pt x="57" y="97"/>
                  </a:lnTo>
                  <a:lnTo>
                    <a:pt x="59" y="95"/>
                  </a:lnTo>
                  <a:lnTo>
                    <a:pt x="59" y="95"/>
                  </a:lnTo>
                  <a:lnTo>
                    <a:pt x="61" y="93"/>
                  </a:lnTo>
                  <a:lnTo>
                    <a:pt x="61" y="90"/>
                  </a:lnTo>
                  <a:lnTo>
                    <a:pt x="61" y="90"/>
                  </a:lnTo>
                  <a:lnTo>
                    <a:pt x="64" y="90"/>
                  </a:lnTo>
                  <a:lnTo>
                    <a:pt x="64" y="90"/>
                  </a:lnTo>
                  <a:lnTo>
                    <a:pt x="64" y="88"/>
                  </a:lnTo>
                  <a:lnTo>
                    <a:pt x="61" y="88"/>
                  </a:lnTo>
                  <a:lnTo>
                    <a:pt x="64" y="88"/>
                  </a:lnTo>
                  <a:lnTo>
                    <a:pt x="64" y="88"/>
                  </a:lnTo>
                  <a:lnTo>
                    <a:pt x="66" y="88"/>
                  </a:lnTo>
                  <a:lnTo>
                    <a:pt x="69" y="88"/>
                  </a:lnTo>
                  <a:lnTo>
                    <a:pt x="73" y="88"/>
                  </a:lnTo>
                  <a:lnTo>
                    <a:pt x="76" y="90"/>
                  </a:lnTo>
                  <a:lnTo>
                    <a:pt x="76" y="88"/>
                  </a:lnTo>
                  <a:lnTo>
                    <a:pt x="78" y="90"/>
                  </a:lnTo>
                  <a:lnTo>
                    <a:pt x="80" y="95"/>
                  </a:lnTo>
                  <a:lnTo>
                    <a:pt x="83" y="100"/>
                  </a:lnTo>
                  <a:lnTo>
                    <a:pt x="85" y="102"/>
                  </a:lnTo>
                  <a:lnTo>
                    <a:pt x="87" y="104"/>
                  </a:lnTo>
                  <a:lnTo>
                    <a:pt x="90" y="104"/>
                  </a:lnTo>
                  <a:lnTo>
                    <a:pt x="92" y="107"/>
                  </a:lnTo>
                  <a:lnTo>
                    <a:pt x="94" y="112"/>
                  </a:lnTo>
                  <a:lnTo>
                    <a:pt x="94" y="116"/>
                  </a:lnTo>
                  <a:lnTo>
                    <a:pt x="94" y="119"/>
                  </a:lnTo>
                  <a:lnTo>
                    <a:pt x="94" y="123"/>
                  </a:lnTo>
                  <a:lnTo>
                    <a:pt x="97" y="128"/>
                  </a:lnTo>
                  <a:lnTo>
                    <a:pt x="99" y="130"/>
                  </a:lnTo>
                  <a:lnTo>
                    <a:pt x="102" y="133"/>
                  </a:lnTo>
                  <a:lnTo>
                    <a:pt x="102" y="135"/>
                  </a:lnTo>
                  <a:lnTo>
                    <a:pt x="104" y="135"/>
                  </a:lnTo>
                  <a:lnTo>
                    <a:pt x="106" y="138"/>
                  </a:lnTo>
                  <a:lnTo>
                    <a:pt x="109" y="138"/>
                  </a:lnTo>
                  <a:lnTo>
                    <a:pt x="109" y="140"/>
                  </a:lnTo>
                  <a:lnTo>
                    <a:pt x="109" y="140"/>
                  </a:lnTo>
                  <a:lnTo>
                    <a:pt x="109" y="142"/>
                  </a:lnTo>
                  <a:lnTo>
                    <a:pt x="111" y="142"/>
                  </a:lnTo>
                  <a:lnTo>
                    <a:pt x="111" y="142"/>
                  </a:lnTo>
                  <a:lnTo>
                    <a:pt x="113" y="145"/>
                  </a:lnTo>
                  <a:lnTo>
                    <a:pt x="113" y="145"/>
                  </a:lnTo>
                  <a:lnTo>
                    <a:pt x="113" y="147"/>
                  </a:lnTo>
                  <a:lnTo>
                    <a:pt x="113" y="149"/>
                  </a:lnTo>
                  <a:lnTo>
                    <a:pt x="113" y="149"/>
                  </a:lnTo>
                  <a:lnTo>
                    <a:pt x="113" y="152"/>
                  </a:lnTo>
                  <a:lnTo>
                    <a:pt x="111" y="152"/>
                  </a:lnTo>
                  <a:lnTo>
                    <a:pt x="111" y="154"/>
                  </a:lnTo>
                  <a:lnTo>
                    <a:pt x="113" y="156"/>
                  </a:lnTo>
                  <a:lnTo>
                    <a:pt x="113" y="159"/>
                  </a:lnTo>
                  <a:lnTo>
                    <a:pt x="113" y="161"/>
                  </a:lnTo>
                  <a:lnTo>
                    <a:pt x="113" y="164"/>
                  </a:lnTo>
                  <a:lnTo>
                    <a:pt x="113" y="166"/>
                  </a:lnTo>
                  <a:lnTo>
                    <a:pt x="113" y="168"/>
                  </a:lnTo>
                  <a:lnTo>
                    <a:pt x="113" y="168"/>
                  </a:lnTo>
                  <a:lnTo>
                    <a:pt x="113" y="171"/>
                  </a:lnTo>
                  <a:lnTo>
                    <a:pt x="111" y="171"/>
                  </a:lnTo>
                  <a:lnTo>
                    <a:pt x="109" y="173"/>
                  </a:lnTo>
                  <a:lnTo>
                    <a:pt x="109" y="173"/>
                  </a:lnTo>
                  <a:lnTo>
                    <a:pt x="109" y="173"/>
                  </a:lnTo>
                  <a:lnTo>
                    <a:pt x="109" y="175"/>
                  </a:lnTo>
                  <a:lnTo>
                    <a:pt x="111" y="175"/>
                  </a:lnTo>
                  <a:lnTo>
                    <a:pt x="111" y="178"/>
                  </a:lnTo>
                  <a:lnTo>
                    <a:pt x="111" y="178"/>
                  </a:lnTo>
                  <a:lnTo>
                    <a:pt x="113" y="178"/>
                  </a:lnTo>
                  <a:lnTo>
                    <a:pt x="116" y="178"/>
                  </a:lnTo>
                  <a:lnTo>
                    <a:pt x="120" y="178"/>
                  </a:lnTo>
                  <a:lnTo>
                    <a:pt x="120" y="180"/>
                  </a:lnTo>
                  <a:lnTo>
                    <a:pt x="120" y="180"/>
                  </a:lnTo>
                  <a:lnTo>
                    <a:pt x="123" y="182"/>
                  </a:lnTo>
                  <a:lnTo>
                    <a:pt x="125" y="182"/>
                  </a:lnTo>
                  <a:lnTo>
                    <a:pt x="127" y="180"/>
                  </a:lnTo>
                  <a:lnTo>
                    <a:pt x="125" y="178"/>
                  </a:lnTo>
                  <a:lnTo>
                    <a:pt x="123" y="175"/>
                  </a:lnTo>
                  <a:lnTo>
                    <a:pt x="123" y="173"/>
                  </a:lnTo>
                  <a:lnTo>
                    <a:pt x="123" y="173"/>
                  </a:lnTo>
                  <a:lnTo>
                    <a:pt x="127" y="173"/>
                  </a:lnTo>
                  <a:lnTo>
                    <a:pt x="127" y="173"/>
                  </a:lnTo>
                  <a:lnTo>
                    <a:pt x="127" y="171"/>
                  </a:lnTo>
                  <a:lnTo>
                    <a:pt x="127" y="171"/>
                  </a:lnTo>
                  <a:lnTo>
                    <a:pt x="130" y="171"/>
                  </a:lnTo>
                  <a:lnTo>
                    <a:pt x="132" y="168"/>
                  </a:lnTo>
                  <a:lnTo>
                    <a:pt x="132" y="168"/>
                  </a:lnTo>
                  <a:lnTo>
                    <a:pt x="132" y="168"/>
                  </a:lnTo>
                  <a:lnTo>
                    <a:pt x="135" y="171"/>
                  </a:lnTo>
                  <a:lnTo>
                    <a:pt x="135" y="171"/>
                  </a:lnTo>
                  <a:lnTo>
                    <a:pt x="135" y="171"/>
                  </a:lnTo>
                  <a:lnTo>
                    <a:pt x="137" y="173"/>
                  </a:lnTo>
                  <a:lnTo>
                    <a:pt x="137" y="173"/>
                  </a:lnTo>
                  <a:lnTo>
                    <a:pt x="139" y="173"/>
                  </a:lnTo>
                  <a:lnTo>
                    <a:pt x="139" y="173"/>
                  </a:lnTo>
                  <a:lnTo>
                    <a:pt x="142" y="173"/>
                  </a:lnTo>
                  <a:lnTo>
                    <a:pt x="142" y="173"/>
                  </a:lnTo>
                  <a:lnTo>
                    <a:pt x="142" y="171"/>
                  </a:lnTo>
                  <a:lnTo>
                    <a:pt x="144" y="171"/>
                  </a:lnTo>
                  <a:lnTo>
                    <a:pt x="144" y="171"/>
                  </a:lnTo>
                  <a:lnTo>
                    <a:pt x="146" y="171"/>
                  </a:lnTo>
                  <a:lnTo>
                    <a:pt x="146" y="168"/>
                  </a:lnTo>
                  <a:lnTo>
                    <a:pt x="146" y="168"/>
                  </a:lnTo>
                  <a:lnTo>
                    <a:pt x="149" y="168"/>
                  </a:lnTo>
                  <a:lnTo>
                    <a:pt x="149" y="168"/>
                  </a:lnTo>
                  <a:lnTo>
                    <a:pt x="149" y="166"/>
                  </a:lnTo>
                  <a:lnTo>
                    <a:pt x="151" y="166"/>
                  </a:lnTo>
                  <a:lnTo>
                    <a:pt x="151" y="164"/>
                  </a:lnTo>
                  <a:lnTo>
                    <a:pt x="151" y="161"/>
                  </a:lnTo>
                  <a:lnTo>
                    <a:pt x="151" y="161"/>
                  </a:lnTo>
                  <a:lnTo>
                    <a:pt x="149" y="159"/>
                  </a:lnTo>
                  <a:lnTo>
                    <a:pt x="149" y="159"/>
                  </a:lnTo>
                  <a:lnTo>
                    <a:pt x="151" y="159"/>
                  </a:lnTo>
                  <a:lnTo>
                    <a:pt x="151" y="156"/>
                  </a:lnTo>
                  <a:lnTo>
                    <a:pt x="151" y="154"/>
                  </a:lnTo>
                  <a:lnTo>
                    <a:pt x="151" y="154"/>
                  </a:lnTo>
                  <a:lnTo>
                    <a:pt x="151" y="15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9" name="Freeform 305"/>
            <p:cNvSpPr>
              <a:spLocks noEditPoints="1"/>
            </p:cNvSpPr>
            <p:nvPr userDrawn="1"/>
          </p:nvSpPr>
          <p:spPr bwMode="auto">
            <a:xfrm>
              <a:off x="4494" y="2172"/>
              <a:ext cx="36" cy="33"/>
            </a:xfrm>
            <a:custGeom>
              <a:avLst/>
              <a:gdLst>
                <a:gd name="T0" fmla="*/ 29 w 36"/>
                <a:gd name="T1" fmla="*/ 11 h 33"/>
                <a:gd name="T2" fmla="*/ 29 w 36"/>
                <a:gd name="T3" fmla="*/ 11 h 33"/>
                <a:gd name="T4" fmla="*/ 31 w 36"/>
                <a:gd name="T5" fmla="*/ 9 h 33"/>
                <a:gd name="T6" fmla="*/ 29 w 36"/>
                <a:gd name="T7" fmla="*/ 4 h 33"/>
                <a:gd name="T8" fmla="*/ 26 w 36"/>
                <a:gd name="T9" fmla="*/ 4 h 33"/>
                <a:gd name="T10" fmla="*/ 26 w 36"/>
                <a:gd name="T11" fmla="*/ 4 h 33"/>
                <a:gd name="T12" fmla="*/ 26 w 36"/>
                <a:gd name="T13" fmla="*/ 7 h 33"/>
                <a:gd name="T14" fmla="*/ 26 w 36"/>
                <a:gd name="T15" fmla="*/ 9 h 33"/>
                <a:gd name="T16" fmla="*/ 33 w 36"/>
                <a:gd name="T17" fmla="*/ 30 h 33"/>
                <a:gd name="T18" fmla="*/ 31 w 36"/>
                <a:gd name="T19" fmla="*/ 26 h 33"/>
                <a:gd name="T20" fmla="*/ 26 w 36"/>
                <a:gd name="T21" fmla="*/ 19 h 33"/>
                <a:gd name="T22" fmla="*/ 26 w 36"/>
                <a:gd name="T23" fmla="*/ 16 h 33"/>
                <a:gd name="T24" fmla="*/ 24 w 36"/>
                <a:gd name="T25" fmla="*/ 16 h 33"/>
                <a:gd name="T26" fmla="*/ 19 w 36"/>
                <a:gd name="T27" fmla="*/ 16 h 33"/>
                <a:gd name="T28" fmla="*/ 22 w 36"/>
                <a:gd name="T29" fmla="*/ 14 h 33"/>
                <a:gd name="T30" fmla="*/ 26 w 36"/>
                <a:gd name="T31" fmla="*/ 11 h 33"/>
                <a:gd name="T32" fmla="*/ 26 w 36"/>
                <a:gd name="T33" fmla="*/ 11 h 33"/>
                <a:gd name="T34" fmla="*/ 26 w 36"/>
                <a:gd name="T35" fmla="*/ 9 h 33"/>
                <a:gd name="T36" fmla="*/ 24 w 36"/>
                <a:gd name="T37" fmla="*/ 4 h 33"/>
                <a:gd name="T38" fmla="*/ 19 w 36"/>
                <a:gd name="T39" fmla="*/ 0 h 33"/>
                <a:gd name="T40" fmla="*/ 17 w 36"/>
                <a:gd name="T41" fmla="*/ 0 h 33"/>
                <a:gd name="T42" fmla="*/ 12 w 36"/>
                <a:gd name="T43" fmla="*/ 0 h 33"/>
                <a:gd name="T44" fmla="*/ 7 w 36"/>
                <a:gd name="T45" fmla="*/ 2 h 33"/>
                <a:gd name="T46" fmla="*/ 7 w 36"/>
                <a:gd name="T47" fmla="*/ 4 h 33"/>
                <a:gd name="T48" fmla="*/ 5 w 36"/>
                <a:gd name="T49" fmla="*/ 9 h 33"/>
                <a:gd name="T50" fmla="*/ 3 w 36"/>
                <a:gd name="T51" fmla="*/ 16 h 33"/>
                <a:gd name="T52" fmla="*/ 0 w 36"/>
                <a:gd name="T53" fmla="*/ 21 h 33"/>
                <a:gd name="T54" fmla="*/ 7 w 36"/>
                <a:gd name="T55" fmla="*/ 23 h 33"/>
                <a:gd name="T56" fmla="*/ 17 w 36"/>
                <a:gd name="T57" fmla="*/ 23 h 33"/>
                <a:gd name="T58" fmla="*/ 19 w 36"/>
                <a:gd name="T59" fmla="*/ 28 h 33"/>
                <a:gd name="T60" fmla="*/ 22 w 36"/>
                <a:gd name="T61" fmla="*/ 33 h 33"/>
                <a:gd name="T62" fmla="*/ 29 w 36"/>
                <a:gd name="T63" fmla="*/ 33 h 33"/>
                <a:gd name="T64" fmla="*/ 36 w 36"/>
                <a:gd name="T6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3">
                  <a:moveTo>
                    <a:pt x="26" y="9"/>
                  </a:moveTo>
                  <a:lnTo>
                    <a:pt x="29" y="11"/>
                  </a:lnTo>
                  <a:lnTo>
                    <a:pt x="29" y="11"/>
                  </a:lnTo>
                  <a:lnTo>
                    <a:pt x="29" y="11"/>
                  </a:lnTo>
                  <a:lnTo>
                    <a:pt x="31" y="9"/>
                  </a:lnTo>
                  <a:lnTo>
                    <a:pt x="31" y="9"/>
                  </a:lnTo>
                  <a:lnTo>
                    <a:pt x="31" y="7"/>
                  </a:lnTo>
                  <a:lnTo>
                    <a:pt x="29" y="4"/>
                  </a:lnTo>
                  <a:lnTo>
                    <a:pt x="26" y="2"/>
                  </a:lnTo>
                  <a:lnTo>
                    <a:pt x="26" y="4"/>
                  </a:lnTo>
                  <a:lnTo>
                    <a:pt x="26" y="4"/>
                  </a:lnTo>
                  <a:lnTo>
                    <a:pt x="26" y="4"/>
                  </a:lnTo>
                  <a:lnTo>
                    <a:pt x="26" y="4"/>
                  </a:lnTo>
                  <a:lnTo>
                    <a:pt x="26" y="7"/>
                  </a:lnTo>
                  <a:lnTo>
                    <a:pt x="26" y="7"/>
                  </a:lnTo>
                  <a:lnTo>
                    <a:pt x="26" y="9"/>
                  </a:lnTo>
                  <a:close/>
                  <a:moveTo>
                    <a:pt x="33" y="30"/>
                  </a:moveTo>
                  <a:lnTo>
                    <a:pt x="33" y="30"/>
                  </a:lnTo>
                  <a:lnTo>
                    <a:pt x="33" y="28"/>
                  </a:lnTo>
                  <a:lnTo>
                    <a:pt x="31" y="26"/>
                  </a:lnTo>
                  <a:lnTo>
                    <a:pt x="29" y="23"/>
                  </a:lnTo>
                  <a:lnTo>
                    <a:pt x="26" y="19"/>
                  </a:lnTo>
                  <a:lnTo>
                    <a:pt x="26" y="19"/>
                  </a:lnTo>
                  <a:lnTo>
                    <a:pt x="26" y="16"/>
                  </a:lnTo>
                  <a:lnTo>
                    <a:pt x="24" y="16"/>
                  </a:lnTo>
                  <a:lnTo>
                    <a:pt x="24" y="16"/>
                  </a:lnTo>
                  <a:lnTo>
                    <a:pt x="22" y="16"/>
                  </a:lnTo>
                  <a:lnTo>
                    <a:pt x="19" y="16"/>
                  </a:lnTo>
                  <a:lnTo>
                    <a:pt x="19" y="14"/>
                  </a:lnTo>
                  <a:lnTo>
                    <a:pt x="22" y="14"/>
                  </a:lnTo>
                  <a:lnTo>
                    <a:pt x="24" y="11"/>
                  </a:lnTo>
                  <a:lnTo>
                    <a:pt x="26" y="11"/>
                  </a:lnTo>
                  <a:lnTo>
                    <a:pt x="26" y="11"/>
                  </a:lnTo>
                  <a:lnTo>
                    <a:pt x="26" y="11"/>
                  </a:lnTo>
                  <a:lnTo>
                    <a:pt x="26" y="11"/>
                  </a:lnTo>
                  <a:lnTo>
                    <a:pt x="26" y="9"/>
                  </a:lnTo>
                  <a:lnTo>
                    <a:pt x="24" y="7"/>
                  </a:lnTo>
                  <a:lnTo>
                    <a:pt x="24" y="4"/>
                  </a:lnTo>
                  <a:lnTo>
                    <a:pt x="24" y="2"/>
                  </a:lnTo>
                  <a:lnTo>
                    <a:pt x="19" y="0"/>
                  </a:lnTo>
                  <a:lnTo>
                    <a:pt x="17" y="0"/>
                  </a:lnTo>
                  <a:lnTo>
                    <a:pt x="17" y="0"/>
                  </a:lnTo>
                  <a:lnTo>
                    <a:pt x="14" y="0"/>
                  </a:lnTo>
                  <a:lnTo>
                    <a:pt x="12" y="0"/>
                  </a:lnTo>
                  <a:lnTo>
                    <a:pt x="10" y="2"/>
                  </a:lnTo>
                  <a:lnTo>
                    <a:pt x="7" y="2"/>
                  </a:lnTo>
                  <a:lnTo>
                    <a:pt x="7" y="4"/>
                  </a:lnTo>
                  <a:lnTo>
                    <a:pt x="7" y="4"/>
                  </a:lnTo>
                  <a:lnTo>
                    <a:pt x="7" y="7"/>
                  </a:lnTo>
                  <a:lnTo>
                    <a:pt x="5" y="9"/>
                  </a:lnTo>
                  <a:lnTo>
                    <a:pt x="5" y="11"/>
                  </a:lnTo>
                  <a:lnTo>
                    <a:pt x="3" y="16"/>
                  </a:lnTo>
                  <a:lnTo>
                    <a:pt x="3" y="19"/>
                  </a:lnTo>
                  <a:lnTo>
                    <a:pt x="0" y="21"/>
                  </a:lnTo>
                  <a:lnTo>
                    <a:pt x="3" y="21"/>
                  </a:lnTo>
                  <a:lnTo>
                    <a:pt x="7" y="23"/>
                  </a:lnTo>
                  <a:lnTo>
                    <a:pt x="10" y="23"/>
                  </a:lnTo>
                  <a:lnTo>
                    <a:pt x="17" y="23"/>
                  </a:lnTo>
                  <a:lnTo>
                    <a:pt x="17" y="28"/>
                  </a:lnTo>
                  <a:lnTo>
                    <a:pt x="19" y="28"/>
                  </a:lnTo>
                  <a:lnTo>
                    <a:pt x="19" y="30"/>
                  </a:lnTo>
                  <a:lnTo>
                    <a:pt x="22" y="33"/>
                  </a:lnTo>
                  <a:lnTo>
                    <a:pt x="24" y="33"/>
                  </a:lnTo>
                  <a:lnTo>
                    <a:pt x="29" y="33"/>
                  </a:lnTo>
                  <a:lnTo>
                    <a:pt x="31" y="33"/>
                  </a:lnTo>
                  <a:lnTo>
                    <a:pt x="36" y="33"/>
                  </a:lnTo>
                  <a:lnTo>
                    <a:pt x="33" y="3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0" name="Freeform 306"/>
            <p:cNvSpPr>
              <a:spLocks noEditPoints="1"/>
            </p:cNvSpPr>
            <p:nvPr userDrawn="1"/>
          </p:nvSpPr>
          <p:spPr bwMode="auto">
            <a:xfrm>
              <a:off x="4857" y="1897"/>
              <a:ext cx="175" cy="81"/>
            </a:xfrm>
            <a:custGeom>
              <a:avLst/>
              <a:gdLst>
                <a:gd name="T0" fmla="*/ 172 w 175"/>
                <a:gd name="T1" fmla="*/ 22 h 81"/>
                <a:gd name="T2" fmla="*/ 156 w 175"/>
                <a:gd name="T3" fmla="*/ 15 h 81"/>
                <a:gd name="T4" fmla="*/ 146 w 175"/>
                <a:gd name="T5" fmla="*/ 10 h 81"/>
                <a:gd name="T6" fmla="*/ 128 w 175"/>
                <a:gd name="T7" fmla="*/ 7 h 81"/>
                <a:gd name="T8" fmla="*/ 113 w 175"/>
                <a:gd name="T9" fmla="*/ 5 h 81"/>
                <a:gd name="T10" fmla="*/ 92 w 175"/>
                <a:gd name="T11" fmla="*/ 5 h 81"/>
                <a:gd name="T12" fmla="*/ 69 w 175"/>
                <a:gd name="T13" fmla="*/ 0 h 81"/>
                <a:gd name="T14" fmla="*/ 57 w 175"/>
                <a:gd name="T15" fmla="*/ 3 h 81"/>
                <a:gd name="T16" fmla="*/ 54 w 175"/>
                <a:gd name="T17" fmla="*/ 15 h 81"/>
                <a:gd name="T18" fmla="*/ 40 w 175"/>
                <a:gd name="T19" fmla="*/ 12 h 81"/>
                <a:gd name="T20" fmla="*/ 21 w 175"/>
                <a:gd name="T21" fmla="*/ 10 h 81"/>
                <a:gd name="T22" fmla="*/ 14 w 175"/>
                <a:gd name="T23" fmla="*/ 17 h 81"/>
                <a:gd name="T24" fmla="*/ 19 w 175"/>
                <a:gd name="T25" fmla="*/ 22 h 81"/>
                <a:gd name="T26" fmla="*/ 14 w 175"/>
                <a:gd name="T27" fmla="*/ 26 h 81"/>
                <a:gd name="T28" fmla="*/ 7 w 175"/>
                <a:gd name="T29" fmla="*/ 36 h 81"/>
                <a:gd name="T30" fmla="*/ 19 w 175"/>
                <a:gd name="T31" fmla="*/ 41 h 81"/>
                <a:gd name="T32" fmla="*/ 29 w 175"/>
                <a:gd name="T33" fmla="*/ 43 h 81"/>
                <a:gd name="T34" fmla="*/ 31 w 175"/>
                <a:gd name="T35" fmla="*/ 36 h 81"/>
                <a:gd name="T36" fmla="*/ 33 w 175"/>
                <a:gd name="T37" fmla="*/ 36 h 81"/>
                <a:gd name="T38" fmla="*/ 40 w 175"/>
                <a:gd name="T39" fmla="*/ 43 h 81"/>
                <a:gd name="T40" fmla="*/ 45 w 175"/>
                <a:gd name="T41" fmla="*/ 45 h 81"/>
                <a:gd name="T42" fmla="*/ 57 w 175"/>
                <a:gd name="T43" fmla="*/ 50 h 81"/>
                <a:gd name="T44" fmla="*/ 54 w 175"/>
                <a:gd name="T45" fmla="*/ 55 h 81"/>
                <a:gd name="T46" fmla="*/ 50 w 175"/>
                <a:gd name="T47" fmla="*/ 57 h 81"/>
                <a:gd name="T48" fmla="*/ 45 w 175"/>
                <a:gd name="T49" fmla="*/ 57 h 81"/>
                <a:gd name="T50" fmla="*/ 40 w 175"/>
                <a:gd name="T51" fmla="*/ 64 h 81"/>
                <a:gd name="T52" fmla="*/ 33 w 175"/>
                <a:gd name="T53" fmla="*/ 62 h 81"/>
                <a:gd name="T54" fmla="*/ 24 w 175"/>
                <a:gd name="T55" fmla="*/ 64 h 81"/>
                <a:gd name="T56" fmla="*/ 17 w 175"/>
                <a:gd name="T57" fmla="*/ 64 h 81"/>
                <a:gd name="T58" fmla="*/ 3 w 175"/>
                <a:gd name="T59" fmla="*/ 67 h 81"/>
                <a:gd name="T60" fmla="*/ 0 w 175"/>
                <a:gd name="T61" fmla="*/ 69 h 81"/>
                <a:gd name="T62" fmla="*/ 10 w 175"/>
                <a:gd name="T63" fmla="*/ 74 h 81"/>
                <a:gd name="T64" fmla="*/ 19 w 175"/>
                <a:gd name="T65" fmla="*/ 74 h 81"/>
                <a:gd name="T66" fmla="*/ 31 w 175"/>
                <a:gd name="T67" fmla="*/ 78 h 81"/>
                <a:gd name="T68" fmla="*/ 38 w 175"/>
                <a:gd name="T69" fmla="*/ 74 h 81"/>
                <a:gd name="T70" fmla="*/ 45 w 175"/>
                <a:gd name="T71" fmla="*/ 76 h 81"/>
                <a:gd name="T72" fmla="*/ 50 w 175"/>
                <a:gd name="T73" fmla="*/ 78 h 81"/>
                <a:gd name="T74" fmla="*/ 59 w 175"/>
                <a:gd name="T75" fmla="*/ 78 h 81"/>
                <a:gd name="T76" fmla="*/ 73 w 175"/>
                <a:gd name="T77" fmla="*/ 76 h 81"/>
                <a:gd name="T78" fmla="*/ 80 w 175"/>
                <a:gd name="T79" fmla="*/ 74 h 81"/>
                <a:gd name="T80" fmla="*/ 78 w 175"/>
                <a:gd name="T81" fmla="*/ 67 h 81"/>
                <a:gd name="T82" fmla="*/ 90 w 175"/>
                <a:gd name="T83" fmla="*/ 59 h 81"/>
                <a:gd name="T84" fmla="*/ 92 w 175"/>
                <a:gd name="T85" fmla="*/ 57 h 81"/>
                <a:gd name="T86" fmla="*/ 104 w 175"/>
                <a:gd name="T87" fmla="*/ 55 h 81"/>
                <a:gd name="T88" fmla="*/ 116 w 175"/>
                <a:gd name="T89" fmla="*/ 57 h 81"/>
                <a:gd name="T90" fmla="*/ 120 w 175"/>
                <a:gd name="T91" fmla="*/ 52 h 81"/>
                <a:gd name="T92" fmla="*/ 128 w 175"/>
                <a:gd name="T93" fmla="*/ 45 h 81"/>
                <a:gd name="T94" fmla="*/ 146 w 175"/>
                <a:gd name="T95" fmla="*/ 41 h 81"/>
                <a:gd name="T96" fmla="*/ 161 w 175"/>
                <a:gd name="T97" fmla="*/ 29 h 81"/>
                <a:gd name="T98" fmla="*/ 175 w 175"/>
                <a:gd name="T99" fmla="*/ 24 h 81"/>
                <a:gd name="T100" fmla="*/ 19 w 175"/>
                <a:gd name="T101" fmla="*/ 67 h 81"/>
                <a:gd name="T102" fmla="*/ 33 w 175"/>
                <a:gd name="T103" fmla="*/ 67 h 81"/>
                <a:gd name="T104" fmla="*/ 29 w 175"/>
                <a:gd name="T105" fmla="*/ 67 h 81"/>
                <a:gd name="T106" fmla="*/ 31 w 175"/>
                <a:gd name="T107" fmla="*/ 67 h 81"/>
                <a:gd name="T108" fmla="*/ 43 w 175"/>
                <a:gd name="T109" fmla="*/ 67 h 81"/>
                <a:gd name="T110" fmla="*/ 43 w 175"/>
                <a:gd name="T111" fmla="*/ 6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5" h="81">
                  <a:moveTo>
                    <a:pt x="3" y="67"/>
                  </a:moveTo>
                  <a:lnTo>
                    <a:pt x="3" y="67"/>
                  </a:lnTo>
                  <a:lnTo>
                    <a:pt x="3" y="64"/>
                  </a:lnTo>
                  <a:lnTo>
                    <a:pt x="3" y="64"/>
                  </a:lnTo>
                  <a:lnTo>
                    <a:pt x="3" y="67"/>
                  </a:lnTo>
                  <a:close/>
                  <a:moveTo>
                    <a:pt x="172" y="22"/>
                  </a:moveTo>
                  <a:lnTo>
                    <a:pt x="172" y="22"/>
                  </a:lnTo>
                  <a:lnTo>
                    <a:pt x="170" y="19"/>
                  </a:lnTo>
                  <a:lnTo>
                    <a:pt x="165" y="17"/>
                  </a:lnTo>
                  <a:lnTo>
                    <a:pt x="163" y="17"/>
                  </a:lnTo>
                  <a:lnTo>
                    <a:pt x="161" y="17"/>
                  </a:lnTo>
                  <a:lnTo>
                    <a:pt x="158" y="17"/>
                  </a:lnTo>
                  <a:lnTo>
                    <a:pt x="158" y="15"/>
                  </a:lnTo>
                  <a:lnTo>
                    <a:pt x="156" y="15"/>
                  </a:lnTo>
                  <a:lnTo>
                    <a:pt x="153" y="12"/>
                  </a:lnTo>
                  <a:lnTo>
                    <a:pt x="153" y="12"/>
                  </a:lnTo>
                  <a:lnTo>
                    <a:pt x="151" y="10"/>
                  </a:lnTo>
                  <a:lnTo>
                    <a:pt x="151" y="10"/>
                  </a:lnTo>
                  <a:lnTo>
                    <a:pt x="149" y="10"/>
                  </a:lnTo>
                  <a:lnTo>
                    <a:pt x="146" y="10"/>
                  </a:lnTo>
                  <a:lnTo>
                    <a:pt x="146" y="10"/>
                  </a:lnTo>
                  <a:lnTo>
                    <a:pt x="144" y="10"/>
                  </a:lnTo>
                  <a:lnTo>
                    <a:pt x="142" y="7"/>
                  </a:lnTo>
                  <a:lnTo>
                    <a:pt x="139" y="7"/>
                  </a:lnTo>
                  <a:lnTo>
                    <a:pt x="137" y="7"/>
                  </a:lnTo>
                  <a:lnTo>
                    <a:pt x="135" y="7"/>
                  </a:lnTo>
                  <a:lnTo>
                    <a:pt x="132" y="7"/>
                  </a:lnTo>
                  <a:lnTo>
                    <a:pt x="128" y="7"/>
                  </a:lnTo>
                  <a:lnTo>
                    <a:pt x="125" y="7"/>
                  </a:lnTo>
                  <a:lnTo>
                    <a:pt x="123" y="7"/>
                  </a:lnTo>
                  <a:lnTo>
                    <a:pt x="120" y="7"/>
                  </a:lnTo>
                  <a:lnTo>
                    <a:pt x="120" y="7"/>
                  </a:lnTo>
                  <a:lnTo>
                    <a:pt x="118" y="7"/>
                  </a:lnTo>
                  <a:lnTo>
                    <a:pt x="113" y="5"/>
                  </a:lnTo>
                  <a:lnTo>
                    <a:pt x="113" y="5"/>
                  </a:lnTo>
                  <a:lnTo>
                    <a:pt x="113" y="5"/>
                  </a:lnTo>
                  <a:lnTo>
                    <a:pt x="109" y="7"/>
                  </a:lnTo>
                  <a:lnTo>
                    <a:pt x="106" y="7"/>
                  </a:lnTo>
                  <a:lnTo>
                    <a:pt x="99" y="7"/>
                  </a:lnTo>
                  <a:lnTo>
                    <a:pt x="95" y="7"/>
                  </a:lnTo>
                  <a:lnTo>
                    <a:pt x="95" y="5"/>
                  </a:lnTo>
                  <a:lnTo>
                    <a:pt x="92" y="5"/>
                  </a:lnTo>
                  <a:lnTo>
                    <a:pt x="92" y="7"/>
                  </a:lnTo>
                  <a:lnTo>
                    <a:pt x="92" y="7"/>
                  </a:lnTo>
                  <a:lnTo>
                    <a:pt x="87" y="7"/>
                  </a:lnTo>
                  <a:lnTo>
                    <a:pt x="80" y="7"/>
                  </a:lnTo>
                  <a:lnTo>
                    <a:pt x="76" y="5"/>
                  </a:lnTo>
                  <a:lnTo>
                    <a:pt x="73" y="3"/>
                  </a:lnTo>
                  <a:lnTo>
                    <a:pt x="69" y="0"/>
                  </a:lnTo>
                  <a:lnTo>
                    <a:pt x="64" y="0"/>
                  </a:lnTo>
                  <a:lnTo>
                    <a:pt x="64" y="0"/>
                  </a:lnTo>
                  <a:lnTo>
                    <a:pt x="64" y="0"/>
                  </a:lnTo>
                  <a:lnTo>
                    <a:pt x="64" y="0"/>
                  </a:lnTo>
                  <a:lnTo>
                    <a:pt x="62" y="0"/>
                  </a:lnTo>
                  <a:lnTo>
                    <a:pt x="59" y="3"/>
                  </a:lnTo>
                  <a:lnTo>
                    <a:pt x="57" y="3"/>
                  </a:lnTo>
                  <a:lnTo>
                    <a:pt x="54" y="3"/>
                  </a:lnTo>
                  <a:lnTo>
                    <a:pt x="54" y="5"/>
                  </a:lnTo>
                  <a:lnTo>
                    <a:pt x="54" y="10"/>
                  </a:lnTo>
                  <a:lnTo>
                    <a:pt x="54" y="12"/>
                  </a:lnTo>
                  <a:lnTo>
                    <a:pt x="57" y="17"/>
                  </a:lnTo>
                  <a:lnTo>
                    <a:pt x="57" y="17"/>
                  </a:lnTo>
                  <a:lnTo>
                    <a:pt x="54" y="15"/>
                  </a:lnTo>
                  <a:lnTo>
                    <a:pt x="54" y="15"/>
                  </a:lnTo>
                  <a:lnTo>
                    <a:pt x="52" y="15"/>
                  </a:lnTo>
                  <a:lnTo>
                    <a:pt x="45" y="15"/>
                  </a:lnTo>
                  <a:lnTo>
                    <a:pt x="45" y="12"/>
                  </a:lnTo>
                  <a:lnTo>
                    <a:pt x="43" y="12"/>
                  </a:lnTo>
                  <a:lnTo>
                    <a:pt x="43" y="12"/>
                  </a:lnTo>
                  <a:lnTo>
                    <a:pt x="40" y="12"/>
                  </a:lnTo>
                  <a:lnTo>
                    <a:pt x="36" y="10"/>
                  </a:lnTo>
                  <a:lnTo>
                    <a:pt x="33" y="10"/>
                  </a:lnTo>
                  <a:lnTo>
                    <a:pt x="26" y="7"/>
                  </a:lnTo>
                  <a:lnTo>
                    <a:pt x="26" y="7"/>
                  </a:lnTo>
                  <a:lnTo>
                    <a:pt x="26" y="7"/>
                  </a:lnTo>
                  <a:lnTo>
                    <a:pt x="24" y="10"/>
                  </a:lnTo>
                  <a:lnTo>
                    <a:pt x="21" y="10"/>
                  </a:lnTo>
                  <a:lnTo>
                    <a:pt x="19" y="10"/>
                  </a:lnTo>
                  <a:lnTo>
                    <a:pt x="17" y="10"/>
                  </a:lnTo>
                  <a:lnTo>
                    <a:pt x="17" y="12"/>
                  </a:lnTo>
                  <a:lnTo>
                    <a:pt x="17" y="12"/>
                  </a:lnTo>
                  <a:lnTo>
                    <a:pt x="14" y="15"/>
                  </a:lnTo>
                  <a:lnTo>
                    <a:pt x="14" y="17"/>
                  </a:lnTo>
                  <a:lnTo>
                    <a:pt x="14" y="17"/>
                  </a:lnTo>
                  <a:lnTo>
                    <a:pt x="14" y="19"/>
                  </a:lnTo>
                  <a:lnTo>
                    <a:pt x="14" y="19"/>
                  </a:lnTo>
                  <a:lnTo>
                    <a:pt x="14" y="19"/>
                  </a:lnTo>
                  <a:lnTo>
                    <a:pt x="17" y="19"/>
                  </a:lnTo>
                  <a:lnTo>
                    <a:pt x="17" y="19"/>
                  </a:lnTo>
                  <a:lnTo>
                    <a:pt x="19" y="19"/>
                  </a:lnTo>
                  <a:lnTo>
                    <a:pt x="19" y="22"/>
                  </a:lnTo>
                  <a:lnTo>
                    <a:pt x="21" y="22"/>
                  </a:lnTo>
                  <a:lnTo>
                    <a:pt x="21" y="22"/>
                  </a:lnTo>
                  <a:lnTo>
                    <a:pt x="17" y="24"/>
                  </a:lnTo>
                  <a:lnTo>
                    <a:pt x="17" y="24"/>
                  </a:lnTo>
                  <a:lnTo>
                    <a:pt x="14" y="24"/>
                  </a:lnTo>
                  <a:lnTo>
                    <a:pt x="14" y="24"/>
                  </a:lnTo>
                  <a:lnTo>
                    <a:pt x="14" y="26"/>
                  </a:lnTo>
                  <a:lnTo>
                    <a:pt x="14" y="26"/>
                  </a:lnTo>
                  <a:lnTo>
                    <a:pt x="12" y="29"/>
                  </a:lnTo>
                  <a:lnTo>
                    <a:pt x="12" y="29"/>
                  </a:lnTo>
                  <a:lnTo>
                    <a:pt x="10" y="31"/>
                  </a:lnTo>
                  <a:lnTo>
                    <a:pt x="5" y="33"/>
                  </a:lnTo>
                  <a:lnTo>
                    <a:pt x="5" y="36"/>
                  </a:lnTo>
                  <a:lnTo>
                    <a:pt x="7" y="36"/>
                  </a:lnTo>
                  <a:lnTo>
                    <a:pt x="7" y="36"/>
                  </a:lnTo>
                  <a:lnTo>
                    <a:pt x="10" y="36"/>
                  </a:lnTo>
                  <a:lnTo>
                    <a:pt x="12" y="38"/>
                  </a:lnTo>
                  <a:lnTo>
                    <a:pt x="14" y="36"/>
                  </a:lnTo>
                  <a:lnTo>
                    <a:pt x="14" y="36"/>
                  </a:lnTo>
                  <a:lnTo>
                    <a:pt x="17" y="38"/>
                  </a:lnTo>
                  <a:lnTo>
                    <a:pt x="19" y="41"/>
                  </a:lnTo>
                  <a:lnTo>
                    <a:pt x="19" y="41"/>
                  </a:lnTo>
                  <a:lnTo>
                    <a:pt x="21" y="43"/>
                  </a:lnTo>
                  <a:lnTo>
                    <a:pt x="21" y="43"/>
                  </a:lnTo>
                  <a:lnTo>
                    <a:pt x="24" y="43"/>
                  </a:lnTo>
                  <a:lnTo>
                    <a:pt x="26" y="43"/>
                  </a:lnTo>
                  <a:lnTo>
                    <a:pt x="26" y="43"/>
                  </a:lnTo>
                  <a:lnTo>
                    <a:pt x="29" y="43"/>
                  </a:lnTo>
                  <a:lnTo>
                    <a:pt x="29" y="43"/>
                  </a:lnTo>
                  <a:lnTo>
                    <a:pt x="29" y="38"/>
                  </a:lnTo>
                  <a:lnTo>
                    <a:pt x="31" y="41"/>
                  </a:lnTo>
                  <a:lnTo>
                    <a:pt x="31" y="41"/>
                  </a:lnTo>
                  <a:lnTo>
                    <a:pt x="31" y="38"/>
                  </a:lnTo>
                  <a:lnTo>
                    <a:pt x="31" y="38"/>
                  </a:lnTo>
                  <a:lnTo>
                    <a:pt x="31" y="36"/>
                  </a:lnTo>
                  <a:lnTo>
                    <a:pt x="31" y="36"/>
                  </a:lnTo>
                  <a:lnTo>
                    <a:pt x="31" y="36"/>
                  </a:lnTo>
                  <a:lnTo>
                    <a:pt x="31" y="36"/>
                  </a:lnTo>
                  <a:lnTo>
                    <a:pt x="31" y="36"/>
                  </a:lnTo>
                  <a:lnTo>
                    <a:pt x="33" y="36"/>
                  </a:lnTo>
                  <a:lnTo>
                    <a:pt x="33" y="36"/>
                  </a:lnTo>
                  <a:lnTo>
                    <a:pt x="33" y="36"/>
                  </a:lnTo>
                  <a:lnTo>
                    <a:pt x="33" y="38"/>
                  </a:lnTo>
                  <a:lnTo>
                    <a:pt x="36" y="38"/>
                  </a:lnTo>
                  <a:lnTo>
                    <a:pt x="36" y="41"/>
                  </a:lnTo>
                  <a:lnTo>
                    <a:pt x="38" y="43"/>
                  </a:lnTo>
                  <a:lnTo>
                    <a:pt x="38" y="43"/>
                  </a:lnTo>
                  <a:lnTo>
                    <a:pt x="40" y="43"/>
                  </a:lnTo>
                  <a:lnTo>
                    <a:pt x="40" y="43"/>
                  </a:lnTo>
                  <a:lnTo>
                    <a:pt x="43" y="43"/>
                  </a:lnTo>
                  <a:lnTo>
                    <a:pt x="43" y="43"/>
                  </a:lnTo>
                  <a:lnTo>
                    <a:pt x="43" y="45"/>
                  </a:lnTo>
                  <a:lnTo>
                    <a:pt x="43" y="45"/>
                  </a:lnTo>
                  <a:lnTo>
                    <a:pt x="43" y="45"/>
                  </a:lnTo>
                  <a:lnTo>
                    <a:pt x="45" y="45"/>
                  </a:lnTo>
                  <a:lnTo>
                    <a:pt x="45" y="45"/>
                  </a:lnTo>
                  <a:lnTo>
                    <a:pt x="47" y="45"/>
                  </a:lnTo>
                  <a:lnTo>
                    <a:pt x="50" y="45"/>
                  </a:lnTo>
                  <a:lnTo>
                    <a:pt x="52" y="48"/>
                  </a:lnTo>
                  <a:lnTo>
                    <a:pt x="52" y="48"/>
                  </a:lnTo>
                  <a:lnTo>
                    <a:pt x="54" y="48"/>
                  </a:lnTo>
                  <a:lnTo>
                    <a:pt x="57" y="50"/>
                  </a:lnTo>
                  <a:lnTo>
                    <a:pt x="57" y="50"/>
                  </a:lnTo>
                  <a:lnTo>
                    <a:pt x="57" y="48"/>
                  </a:lnTo>
                  <a:lnTo>
                    <a:pt x="62" y="50"/>
                  </a:lnTo>
                  <a:lnTo>
                    <a:pt x="62" y="50"/>
                  </a:lnTo>
                  <a:lnTo>
                    <a:pt x="59" y="50"/>
                  </a:lnTo>
                  <a:lnTo>
                    <a:pt x="54" y="52"/>
                  </a:lnTo>
                  <a:lnTo>
                    <a:pt x="54" y="55"/>
                  </a:lnTo>
                  <a:lnTo>
                    <a:pt x="54" y="55"/>
                  </a:lnTo>
                  <a:lnTo>
                    <a:pt x="52" y="55"/>
                  </a:lnTo>
                  <a:lnTo>
                    <a:pt x="52" y="55"/>
                  </a:lnTo>
                  <a:lnTo>
                    <a:pt x="50" y="55"/>
                  </a:lnTo>
                  <a:lnTo>
                    <a:pt x="50" y="55"/>
                  </a:lnTo>
                  <a:lnTo>
                    <a:pt x="50" y="55"/>
                  </a:lnTo>
                  <a:lnTo>
                    <a:pt x="50" y="55"/>
                  </a:lnTo>
                  <a:lnTo>
                    <a:pt x="50" y="57"/>
                  </a:lnTo>
                  <a:lnTo>
                    <a:pt x="50" y="57"/>
                  </a:lnTo>
                  <a:lnTo>
                    <a:pt x="50" y="57"/>
                  </a:lnTo>
                  <a:lnTo>
                    <a:pt x="47" y="57"/>
                  </a:lnTo>
                  <a:lnTo>
                    <a:pt x="47" y="57"/>
                  </a:lnTo>
                  <a:lnTo>
                    <a:pt x="47" y="57"/>
                  </a:lnTo>
                  <a:lnTo>
                    <a:pt x="47" y="57"/>
                  </a:lnTo>
                  <a:lnTo>
                    <a:pt x="45" y="57"/>
                  </a:lnTo>
                  <a:lnTo>
                    <a:pt x="45" y="59"/>
                  </a:lnTo>
                  <a:lnTo>
                    <a:pt x="43" y="59"/>
                  </a:lnTo>
                  <a:lnTo>
                    <a:pt x="43" y="62"/>
                  </a:lnTo>
                  <a:lnTo>
                    <a:pt x="43" y="62"/>
                  </a:lnTo>
                  <a:lnTo>
                    <a:pt x="43" y="62"/>
                  </a:lnTo>
                  <a:lnTo>
                    <a:pt x="40" y="62"/>
                  </a:lnTo>
                  <a:lnTo>
                    <a:pt x="40" y="64"/>
                  </a:lnTo>
                  <a:lnTo>
                    <a:pt x="38" y="62"/>
                  </a:lnTo>
                  <a:lnTo>
                    <a:pt x="38" y="62"/>
                  </a:lnTo>
                  <a:lnTo>
                    <a:pt x="38" y="62"/>
                  </a:lnTo>
                  <a:lnTo>
                    <a:pt x="38" y="62"/>
                  </a:lnTo>
                  <a:lnTo>
                    <a:pt x="36" y="62"/>
                  </a:lnTo>
                  <a:lnTo>
                    <a:pt x="36" y="62"/>
                  </a:lnTo>
                  <a:lnTo>
                    <a:pt x="33" y="62"/>
                  </a:lnTo>
                  <a:lnTo>
                    <a:pt x="33" y="62"/>
                  </a:lnTo>
                  <a:lnTo>
                    <a:pt x="29" y="62"/>
                  </a:lnTo>
                  <a:lnTo>
                    <a:pt x="26" y="62"/>
                  </a:lnTo>
                  <a:lnTo>
                    <a:pt x="26" y="62"/>
                  </a:lnTo>
                  <a:lnTo>
                    <a:pt x="26" y="62"/>
                  </a:lnTo>
                  <a:lnTo>
                    <a:pt x="26" y="62"/>
                  </a:lnTo>
                  <a:lnTo>
                    <a:pt x="24" y="64"/>
                  </a:lnTo>
                  <a:lnTo>
                    <a:pt x="21" y="64"/>
                  </a:lnTo>
                  <a:lnTo>
                    <a:pt x="21" y="64"/>
                  </a:lnTo>
                  <a:lnTo>
                    <a:pt x="21" y="67"/>
                  </a:lnTo>
                  <a:lnTo>
                    <a:pt x="21" y="67"/>
                  </a:lnTo>
                  <a:lnTo>
                    <a:pt x="21" y="67"/>
                  </a:lnTo>
                  <a:lnTo>
                    <a:pt x="19" y="67"/>
                  </a:lnTo>
                  <a:lnTo>
                    <a:pt x="17" y="64"/>
                  </a:lnTo>
                  <a:lnTo>
                    <a:pt x="14" y="64"/>
                  </a:lnTo>
                  <a:lnTo>
                    <a:pt x="12" y="64"/>
                  </a:lnTo>
                  <a:lnTo>
                    <a:pt x="10" y="62"/>
                  </a:lnTo>
                  <a:lnTo>
                    <a:pt x="7" y="64"/>
                  </a:lnTo>
                  <a:lnTo>
                    <a:pt x="3" y="64"/>
                  </a:lnTo>
                  <a:lnTo>
                    <a:pt x="3" y="64"/>
                  </a:lnTo>
                  <a:lnTo>
                    <a:pt x="3" y="67"/>
                  </a:lnTo>
                  <a:lnTo>
                    <a:pt x="3" y="67"/>
                  </a:lnTo>
                  <a:lnTo>
                    <a:pt x="3" y="67"/>
                  </a:lnTo>
                  <a:lnTo>
                    <a:pt x="0" y="67"/>
                  </a:lnTo>
                  <a:lnTo>
                    <a:pt x="0" y="67"/>
                  </a:lnTo>
                  <a:lnTo>
                    <a:pt x="0" y="67"/>
                  </a:lnTo>
                  <a:lnTo>
                    <a:pt x="0" y="69"/>
                  </a:lnTo>
                  <a:lnTo>
                    <a:pt x="0" y="69"/>
                  </a:lnTo>
                  <a:lnTo>
                    <a:pt x="0" y="71"/>
                  </a:lnTo>
                  <a:lnTo>
                    <a:pt x="3" y="76"/>
                  </a:lnTo>
                  <a:lnTo>
                    <a:pt x="3" y="74"/>
                  </a:lnTo>
                  <a:lnTo>
                    <a:pt x="5" y="74"/>
                  </a:lnTo>
                  <a:lnTo>
                    <a:pt x="7" y="74"/>
                  </a:lnTo>
                  <a:lnTo>
                    <a:pt x="7" y="74"/>
                  </a:lnTo>
                  <a:lnTo>
                    <a:pt x="10" y="74"/>
                  </a:lnTo>
                  <a:lnTo>
                    <a:pt x="12" y="74"/>
                  </a:lnTo>
                  <a:lnTo>
                    <a:pt x="14" y="74"/>
                  </a:lnTo>
                  <a:lnTo>
                    <a:pt x="17" y="74"/>
                  </a:lnTo>
                  <a:lnTo>
                    <a:pt x="17" y="74"/>
                  </a:lnTo>
                  <a:lnTo>
                    <a:pt x="17" y="74"/>
                  </a:lnTo>
                  <a:lnTo>
                    <a:pt x="17" y="74"/>
                  </a:lnTo>
                  <a:lnTo>
                    <a:pt x="19" y="74"/>
                  </a:lnTo>
                  <a:lnTo>
                    <a:pt x="21" y="74"/>
                  </a:lnTo>
                  <a:lnTo>
                    <a:pt x="24" y="74"/>
                  </a:lnTo>
                  <a:lnTo>
                    <a:pt x="24" y="74"/>
                  </a:lnTo>
                  <a:lnTo>
                    <a:pt x="26" y="76"/>
                  </a:lnTo>
                  <a:lnTo>
                    <a:pt x="26" y="78"/>
                  </a:lnTo>
                  <a:lnTo>
                    <a:pt x="29" y="78"/>
                  </a:lnTo>
                  <a:lnTo>
                    <a:pt x="31" y="78"/>
                  </a:lnTo>
                  <a:lnTo>
                    <a:pt x="33" y="76"/>
                  </a:lnTo>
                  <a:lnTo>
                    <a:pt x="33" y="76"/>
                  </a:lnTo>
                  <a:lnTo>
                    <a:pt x="33" y="76"/>
                  </a:lnTo>
                  <a:lnTo>
                    <a:pt x="36" y="74"/>
                  </a:lnTo>
                  <a:lnTo>
                    <a:pt x="36" y="74"/>
                  </a:lnTo>
                  <a:lnTo>
                    <a:pt x="38" y="74"/>
                  </a:lnTo>
                  <a:lnTo>
                    <a:pt x="38" y="74"/>
                  </a:lnTo>
                  <a:lnTo>
                    <a:pt x="40" y="74"/>
                  </a:lnTo>
                  <a:lnTo>
                    <a:pt x="40" y="74"/>
                  </a:lnTo>
                  <a:lnTo>
                    <a:pt x="40" y="76"/>
                  </a:lnTo>
                  <a:lnTo>
                    <a:pt x="40" y="76"/>
                  </a:lnTo>
                  <a:lnTo>
                    <a:pt x="40" y="76"/>
                  </a:lnTo>
                  <a:lnTo>
                    <a:pt x="43" y="76"/>
                  </a:lnTo>
                  <a:lnTo>
                    <a:pt x="45" y="76"/>
                  </a:lnTo>
                  <a:lnTo>
                    <a:pt x="45" y="78"/>
                  </a:lnTo>
                  <a:lnTo>
                    <a:pt x="45" y="81"/>
                  </a:lnTo>
                  <a:lnTo>
                    <a:pt x="45" y="81"/>
                  </a:lnTo>
                  <a:lnTo>
                    <a:pt x="45" y="81"/>
                  </a:lnTo>
                  <a:lnTo>
                    <a:pt x="50" y="78"/>
                  </a:lnTo>
                  <a:lnTo>
                    <a:pt x="50" y="78"/>
                  </a:lnTo>
                  <a:lnTo>
                    <a:pt x="50" y="78"/>
                  </a:lnTo>
                  <a:lnTo>
                    <a:pt x="52" y="81"/>
                  </a:lnTo>
                  <a:lnTo>
                    <a:pt x="54" y="81"/>
                  </a:lnTo>
                  <a:lnTo>
                    <a:pt x="54" y="81"/>
                  </a:lnTo>
                  <a:lnTo>
                    <a:pt x="54" y="81"/>
                  </a:lnTo>
                  <a:lnTo>
                    <a:pt x="54" y="78"/>
                  </a:lnTo>
                  <a:lnTo>
                    <a:pt x="57" y="78"/>
                  </a:lnTo>
                  <a:lnTo>
                    <a:pt x="59" y="78"/>
                  </a:lnTo>
                  <a:lnTo>
                    <a:pt x="59" y="78"/>
                  </a:lnTo>
                  <a:lnTo>
                    <a:pt x="64" y="78"/>
                  </a:lnTo>
                  <a:lnTo>
                    <a:pt x="66" y="78"/>
                  </a:lnTo>
                  <a:lnTo>
                    <a:pt x="69" y="78"/>
                  </a:lnTo>
                  <a:lnTo>
                    <a:pt x="71" y="78"/>
                  </a:lnTo>
                  <a:lnTo>
                    <a:pt x="71" y="78"/>
                  </a:lnTo>
                  <a:lnTo>
                    <a:pt x="73" y="76"/>
                  </a:lnTo>
                  <a:lnTo>
                    <a:pt x="73" y="76"/>
                  </a:lnTo>
                  <a:lnTo>
                    <a:pt x="76" y="76"/>
                  </a:lnTo>
                  <a:lnTo>
                    <a:pt x="76" y="76"/>
                  </a:lnTo>
                  <a:lnTo>
                    <a:pt x="78" y="76"/>
                  </a:lnTo>
                  <a:lnTo>
                    <a:pt x="80" y="76"/>
                  </a:lnTo>
                  <a:lnTo>
                    <a:pt x="80" y="74"/>
                  </a:lnTo>
                  <a:lnTo>
                    <a:pt x="80" y="74"/>
                  </a:lnTo>
                  <a:lnTo>
                    <a:pt x="80" y="74"/>
                  </a:lnTo>
                  <a:lnTo>
                    <a:pt x="80" y="71"/>
                  </a:lnTo>
                  <a:lnTo>
                    <a:pt x="78" y="69"/>
                  </a:lnTo>
                  <a:lnTo>
                    <a:pt x="78" y="69"/>
                  </a:lnTo>
                  <a:lnTo>
                    <a:pt x="78" y="69"/>
                  </a:lnTo>
                  <a:lnTo>
                    <a:pt x="78" y="67"/>
                  </a:lnTo>
                  <a:lnTo>
                    <a:pt x="78" y="67"/>
                  </a:lnTo>
                  <a:lnTo>
                    <a:pt x="80" y="67"/>
                  </a:lnTo>
                  <a:lnTo>
                    <a:pt x="80" y="67"/>
                  </a:lnTo>
                  <a:lnTo>
                    <a:pt x="80" y="64"/>
                  </a:lnTo>
                  <a:lnTo>
                    <a:pt x="83" y="64"/>
                  </a:lnTo>
                  <a:lnTo>
                    <a:pt x="85" y="64"/>
                  </a:lnTo>
                  <a:lnTo>
                    <a:pt x="90" y="62"/>
                  </a:lnTo>
                  <a:lnTo>
                    <a:pt x="90" y="59"/>
                  </a:lnTo>
                  <a:lnTo>
                    <a:pt x="92" y="59"/>
                  </a:lnTo>
                  <a:lnTo>
                    <a:pt x="92" y="59"/>
                  </a:lnTo>
                  <a:lnTo>
                    <a:pt x="92" y="59"/>
                  </a:lnTo>
                  <a:lnTo>
                    <a:pt x="92" y="57"/>
                  </a:lnTo>
                  <a:lnTo>
                    <a:pt x="92" y="57"/>
                  </a:lnTo>
                  <a:lnTo>
                    <a:pt x="92" y="57"/>
                  </a:lnTo>
                  <a:lnTo>
                    <a:pt x="92" y="57"/>
                  </a:lnTo>
                  <a:lnTo>
                    <a:pt x="95" y="57"/>
                  </a:lnTo>
                  <a:lnTo>
                    <a:pt x="97" y="57"/>
                  </a:lnTo>
                  <a:lnTo>
                    <a:pt x="99" y="57"/>
                  </a:lnTo>
                  <a:lnTo>
                    <a:pt x="102" y="55"/>
                  </a:lnTo>
                  <a:lnTo>
                    <a:pt x="104" y="55"/>
                  </a:lnTo>
                  <a:lnTo>
                    <a:pt x="104" y="55"/>
                  </a:lnTo>
                  <a:lnTo>
                    <a:pt x="104" y="55"/>
                  </a:lnTo>
                  <a:lnTo>
                    <a:pt x="106" y="59"/>
                  </a:lnTo>
                  <a:lnTo>
                    <a:pt x="106" y="59"/>
                  </a:lnTo>
                  <a:lnTo>
                    <a:pt x="111" y="59"/>
                  </a:lnTo>
                  <a:lnTo>
                    <a:pt x="111" y="59"/>
                  </a:lnTo>
                  <a:lnTo>
                    <a:pt x="113" y="59"/>
                  </a:lnTo>
                  <a:lnTo>
                    <a:pt x="116" y="59"/>
                  </a:lnTo>
                  <a:lnTo>
                    <a:pt x="116" y="57"/>
                  </a:lnTo>
                  <a:lnTo>
                    <a:pt x="116" y="57"/>
                  </a:lnTo>
                  <a:lnTo>
                    <a:pt x="118" y="59"/>
                  </a:lnTo>
                  <a:lnTo>
                    <a:pt x="118" y="59"/>
                  </a:lnTo>
                  <a:lnTo>
                    <a:pt x="120" y="57"/>
                  </a:lnTo>
                  <a:lnTo>
                    <a:pt x="120" y="57"/>
                  </a:lnTo>
                  <a:lnTo>
                    <a:pt x="120" y="55"/>
                  </a:lnTo>
                  <a:lnTo>
                    <a:pt x="120" y="52"/>
                  </a:lnTo>
                  <a:lnTo>
                    <a:pt x="120" y="50"/>
                  </a:lnTo>
                  <a:lnTo>
                    <a:pt x="120" y="50"/>
                  </a:lnTo>
                  <a:lnTo>
                    <a:pt x="120" y="50"/>
                  </a:lnTo>
                  <a:lnTo>
                    <a:pt x="123" y="45"/>
                  </a:lnTo>
                  <a:lnTo>
                    <a:pt x="123" y="45"/>
                  </a:lnTo>
                  <a:lnTo>
                    <a:pt x="125" y="45"/>
                  </a:lnTo>
                  <a:lnTo>
                    <a:pt x="128" y="45"/>
                  </a:lnTo>
                  <a:lnTo>
                    <a:pt x="130" y="45"/>
                  </a:lnTo>
                  <a:lnTo>
                    <a:pt x="135" y="45"/>
                  </a:lnTo>
                  <a:lnTo>
                    <a:pt x="137" y="45"/>
                  </a:lnTo>
                  <a:lnTo>
                    <a:pt x="139" y="45"/>
                  </a:lnTo>
                  <a:lnTo>
                    <a:pt x="142" y="45"/>
                  </a:lnTo>
                  <a:lnTo>
                    <a:pt x="144" y="45"/>
                  </a:lnTo>
                  <a:lnTo>
                    <a:pt x="146" y="41"/>
                  </a:lnTo>
                  <a:lnTo>
                    <a:pt x="146" y="38"/>
                  </a:lnTo>
                  <a:lnTo>
                    <a:pt x="146" y="38"/>
                  </a:lnTo>
                  <a:lnTo>
                    <a:pt x="146" y="38"/>
                  </a:lnTo>
                  <a:lnTo>
                    <a:pt x="149" y="36"/>
                  </a:lnTo>
                  <a:lnTo>
                    <a:pt x="151" y="33"/>
                  </a:lnTo>
                  <a:lnTo>
                    <a:pt x="158" y="31"/>
                  </a:lnTo>
                  <a:lnTo>
                    <a:pt x="161" y="29"/>
                  </a:lnTo>
                  <a:lnTo>
                    <a:pt x="161" y="29"/>
                  </a:lnTo>
                  <a:lnTo>
                    <a:pt x="163" y="29"/>
                  </a:lnTo>
                  <a:lnTo>
                    <a:pt x="168" y="26"/>
                  </a:lnTo>
                  <a:lnTo>
                    <a:pt x="168" y="26"/>
                  </a:lnTo>
                  <a:lnTo>
                    <a:pt x="168" y="24"/>
                  </a:lnTo>
                  <a:lnTo>
                    <a:pt x="175" y="24"/>
                  </a:lnTo>
                  <a:lnTo>
                    <a:pt x="175" y="24"/>
                  </a:lnTo>
                  <a:lnTo>
                    <a:pt x="175" y="24"/>
                  </a:lnTo>
                  <a:lnTo>
                    <a:pt x="172" y="22"/>
                  </a:lnTo>
                  <a:close/>
                  <a:moveTo>
                    <a:pt x="24" y="69"/>
                  </a:moveTo>
                  <a:lnTo>
                    <a:pt x="21" y="69"/>
                  </a:lnTo>
                  <a:lnTo>
                    <a:pt x="21" y="69"/>
                  </a:lnTo>
                  <a:lnTo>
                    <a:pt x="21" y="69"/>
                  </a:lnTo>
                  <a:lnTo>
                    <a:pt x="19" y="67"/>
                  </a:lnTo>
                  <a:lnTo>
                    <a:pt x="21" y="67"/>
                  </a:lnTo>
                  <a:lnTo>
                    <a:pt x="21" y="69"/>
                  </a:lnTo>
                  <a:lnTo>
                    <a:pt x="24" y="69"/>
                  </a:lnTo>
                  <a:lnTo>
                    <a:pt x="24" y="69"/>
                  </a:lnTo>
                  <a:lnTo>
                    <a:pt x="24" y="69"/>
                  </a:lnTo>
                  <a:lnTo>
                    <a:pt x="24" y="69"/>
                  </a:lnTo>
                  <a:close/>
                  <a:moveTo>
                    <a:pt x="33" y="67"/>
                  </a:moveTo>
                  <a:lnTo>
                    <a:pt x="31" y="67"/>
                  </a:lnTo>
                  <a:lnTo>
                    <a:pt x="31" y="67"/>
                  </a:lnTo>
                  <a:lnTo>
                    <a:pt x="29" y="67"/>
                  </a:lnTo>
                  <a:lnTo>
                    <a:pt x="29" y="67"/>
                  </a:lnTo>
                  <a:lnTo>
                    <a:pt x="29" y="64"/>
                  </a:lnTo>
                  <a:lnTo>
                    <a:pt x="29" y="64"/>
                  </a:lnTo>
                  <a:lnTo>
                    <a:pt x="29" y="67"/>
                  </a:lnTo>
                  <a:lnTo>
                    <a:pt x="29" y="67"/>
                  </a:lnTo>
                  <a:lnTo>
                    <a:pt x="26" y="64"/>
                  </a:lnTo>
                  <a:lnTo>
                    <a:pt x="26" y="64"/>
                  </a:lnTo>
                  <a:lnTo>
                    <a:pt x="29" y="64"/>
                  </a:lnTo>
                  <a:lnTo>
                    <a:pt x="29" y="64"/>
                  </a:lnTo>
                  <a:lnTo>
                    <a:pt x="29" y="64"/>
                  </a:lnTo>
                  <a:lnTo>
                    <a:pt x="31" y="67"/>
                  </a:lnTo>
                  <a:lnTo>
                    <a:pt x="31" y="67"/>
                  </a:lnTo>
                  <a:lnTo>
                    <a:pt x="31" y="67"/>
                  </a:lnTo>
                  <a:lnTo>
                    <a:pt x="33" y="67"/>
                  </a:lnTo>
                  <a:lnTo>
                    <a:pt x="31" y="67"/>
                  </a:lnTo>
                  <a:lnTo>
                    <a:pt x="33" y="67"/>
                  </a:lnTo>
                  <a:lnTo>
                    <a:pt x="33" y="67"/>
                  </a:lnTo>
                  <a:close/>
                  <a:moveTo>
                    <a:pt x="43" y="67"/>
                  </a:moveTo>
                  <a:lnTo>
                    <a:pt x="40" y="67"/>
                  </a:lnTo>
                  <a:lnTo>
                    <a:pt x="40" y="67"/>
                  </a:lnTo>
                  <a:lnTo>
                    <a:pt x="40" y="67"/>
                  </a:lnTo>
                  <a:lnTo>
                    <a:pt x="40" y="64"/>
                  </a:lnTo>
                  <a:lnTo>
                    <a:pt x="43" y="64"/>
                  </a:lnTo>
                  <a:lnTo>
                    <a:pt x="43" y="64"/>
                  </a:lnTo>
                  <a:lnTo>
                    <a:pt x="43" y="67"/>
                  </a:lnTo>
                  <a:lnTo>
                    <a:pt x="43" y="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1" name="Freeform 307"/>
            <p:cNvSpPr>
              <a:spLocks/>
            </p:cNvSpPr>
            <p:nvPr userDrawn="1"/>
          </p:nvSpPr>
          <p:spPr bwMode="auto">
            <a:xfrm>
              <a:off x="4009" y="1897"/>
              <a:ext cx="30" cy="29"/>
            </a:xfrm>
            <a:custGeom>
              <a:avLst/>
              <a:gdLst>
                <a:gd name="T0" fmla="*/ 30 w 30"/>
                <a:gd name="T1" fmla="*/ 12 h 29"/>
                <a:gd name="T2" fmla="*/ 23 w 30"/>
                <a:gd name="T3" fmla="*/ 10 h 29"/>
                <a:gd name="T4" fmla="*/ 23 w 30"/>
                <a:gd name="T5" fmla="*/ 7 h 29"/>
                <a:gd name="T6" fmla="*/ 21 w 30"/>
                <a:gd name="T7" fmla="*/ 5 h 29"/>
                <a:gd name="T8" fmla="*/ 19 w 30"/>
                <a:gd name="T9" fmla="*/ 3 h 29"/>
                <a:gd name="T10" fmla="*/ 14 w 30"/>
                <a:gd name="T11" fmla="*/ 3 h 29"/>
                <a:gd name="T12" fmla="*/ 14 w 30"/>
                <a:gd name="T13" fmla="*/ 0 h 29"/>
                <a:gd name="T14" fmla="*/ 14 w 30"/>
                <a:gd name="T15" fmla="*/ 0 h 29"/>
                <a:gd name="T16" fmla="*/ 12 w 30"/>
                <a:gd name="T17" fmla="*/ 0 h 29"/>
                <a:gd name="T18" fmla="*/ 9 w 30"/>
                <a:gd name="T19" fmla="*/ 0 h 29"/>
                <a:gd name="T20" fmla="*/ 12 w 30"/>
                <a:gd name="T21" fmla="*/ 3 h 29"/>
                <a:gd name="T22" fmla="*/ 12 w 30"/>
                <a:gd name="T23" fmla="*/ 5 h 29"/>
                <a:gd name="T24" fmla="*/ 7 w 30"/>
                <a:gd name="T25" fmla="*/ 7 h 29"/>
                <a:gd name="T26" fmla="*/ 9 w 30"/>
                <a:gd name="T27" fmla="*/ 7 h 29"/>
                <a:gd name="T28" fmla="*/ 5 w 30"/>
                <a:gd name="T29" fmla="*/ 10 h 29"/>
                <a:gd name="T30" fmla="*/ 2 w 30"/>
                <a:gd name="T31" fmla="*/ 10 h 29"/>
                <a:gd name="T32" fmla="*/ 0 w 30"/>
                <a:gd name="T33" fmla="*/ 10 h 29"/>
                <a:gd name="T34" fmla="*/ 2 w 30"/>
                <a:gd name="T35" fmla="*/ 12 h 29"/>
                <a:gd name="T36" fmla="*/ 2 w 30"/>
                <a:gd name="T37" fmla="*/ 15 h 29"/>
                <a:gd name="T38" fmla="*/ 5 w 30"/>
                <a:gd name="T39" fmla="*/ 17 h 29"/>
                <a:gd name="T40" fmla="*/ 7 w 30"/>
                <a:gd name="T41" fmla="*/ 19 h 29"/>
                <a:gd name="T42" fmla="*/ 9 w 30"/>
                <a:gd name="T43" fmla="*/ 22 h 29"/>
                <a:gd name="T44" fmla="*/ 12 w 30"/>
                <a:gd name="T45" fmla="*/ 24 h 29"/>
                <a:gd name="T46" fmla="*/ 12 w 30"/>
                <a:gd name="T47" fmla="*/ 29 h 29"/>
                <a:gd name="T48" fmla="*/ 14 w 30"/>
                <a:gd name="T49" fmla="*/ 29 h 29"/>
                <a:gd name="T50" fmla="*/ 14 w 30"/>
                <a:gd name="T51" fmla="*/ 26 h 29"/>
                <a:gd name="T52" fmla="*/ 14 w 30"/>
                <a:gd name="T53" fmla="*/ 24 h 29"/>
                <a:gd name="T54" fmla="*/ 21 w 30"/>
                <a:gd name="T55" fmla="*/ 22 h 29"/>
                <a:gd name="T56" fmla="*/ 21 w 30"/>
                <a:gd name="T57" fmla="*/ 24 h 29"/>
                <a:gd name="T58" fmla="*/ 23 w 30"/>
                <a:gd name="T59" fmla="*/ 22 h 29"/>
                <a:gd name="T60" fmla="*/ 23 w 30"/>
                <a:gd name="T61" fmla="*/ 22 h 29"/>
                <a:gd name="T62" fmla="*/ 28 w 30"/>
                <a:gd name="T63" fmla="*/ 19 h 29"/>
                <a:gd name="T64" fmla="*/ 26 w 30"/>
                <a:gd name="T65" fmla="*/ 19 h 29"/>
                <a:gd name="T66" fmla="*/ 28 w 30"/>
                <a:gd name="T67" fmla="*/ 17 h 29"/>
                <a:gd name="T68" fmla="*/ 30 w 30"/>
                <a:gd name="T69" fmla="*/ 12 h 29"/>
                <a:gd name="T70" fmla="*/ 30 w 30"/>
                <a:gd name="T71"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9">
                  <a:moveTo>
                    <a:pt x="30" y="12"/>
                  </a:moveTo>
                  <a:lnTo>
                    <a:pt x="30" y="12"/>
                  </a:lnTo>
                  <a:lnTo>
                    <a:pt x="28" y="12"/>
                  </a:lnTo>
                  <a:lnTo>
                    <a:pt x="23" y="10"/>
                  </a:lnTo>
                  <a:lnTo>
                    <a:pt x="23" y="7"/>
                  </a:lnTo>
                  <a:lnTo>
                    <a:pt x="23" y="7"/>
                  </a:lnTo>
                  <a:lnTo>
                    <a:pt x="21" y="7"/>
                  </a:lnTo>
                  <a:lnTo>
                    <a:pt x="21" y="5"/>
                  </a:lnTo>
                  <a:lnTo>
                    <a:pt x="19" y="5"/>
                  </a:lnTo>
                  <a:lnTo>
                    <a:pt x="19" y="3"/>
                  </a:lnTo>
                  <a:lnTo>
                    <a:pt x="16" y="3"/>
                  </a:lnTo>
                  <a:lnTo>
                    <a:pt x="14" y="3"/>
                  </a:lnTo>
                  <a:lnTo>
                    <a:pt x="14" y="0"/>
                  </a:lnTo>
                  <a:lnTo>
                    <a:pt x="14" y="0"/>
                  </a:lnTo>
                  <a:lnTo>
                    <a:pt x="14" y="0"/>
                  </a:lnTo>
                  <a:lnTo>
                    <a:pt x="14" y="0"/>
                  </a:lnTo>
                  <a:lnTo>
                    <a:pt x="12" y="0"/>
                  </a:lnTo>
                  <a:lnTo>
                    <a:pt x="12" y="0"/>
                  </a:lnTo>
                  <a:lnTo>
                    <a:pt x="9" y="0"/>
                  </a:lnTo>
                  <a:lnTo>
                    <a:pt x="9" y="0"/>
                  </a:lnTo>
                  <a:lnTo>
                    <a:pt x="12" y="3"/>
                  </a:lnTo>
                  <a:lnTo>
                    <a:pt x="12" y="3"/>
                  </a:lnTo>
                  <a:lnTo>
                    <a:pt x="12" y="3"/>
                  </a:lnTo>
                  <a:lnTo>
                    <a:pt x="12" y="5"/>
                  </a:lnTo>
                  <a:lnTo>
                    <a:pt x="9" y="5"/>
                  </a:lnTo>
                  <a:lnTo>
                    <a:pt x="7" y="7"/>
                  </a:lnTo>
                  <a:lnTo>
                    <a:pt x="9" y="7"/>
                  </a:lnTo>
                  <a:lnTo>
                    <a:pt x="9" y="7"/>
                  </a:lnTo>
                  <a:lnTo>
                    <a:pt x="7" y="7"/>
                  </a:lnTo>
                  <a:lnTo>
                    <a:pt x="5" y="10"/>
                  </a:lnTo>
                  <a:lnTo>
                    <a:pt x="5" y="10"/>
                  </a:lnTo>
                  <a:lnTo>
                    <a:pt x="2" y="10"/>
                  </a:lnTo>
                  <a:lnTo>
                    <a:pt x="2" y="10"/>
                  </a:lnTo>
                  <a:lnTo>
                    <a:pt x="0" y="10"/>
                  </a:lnTo>
                  <a:lnTo>
                    <a:pt x="2" y="12"/>
                  </a:lnTo>
                  <a:lnTo>
                    <a:pt x="2" y="12"/>
                  </a:lnTo>
                  <a:lnTo>
                    <a:pt x="2" y="15"/>
                  </a:lnTo>
                  <a:lnTo>
                    <a:pt x="2" y="15"/>
                  </a:lnTo>
                  <a:lnTo>
                    <a:pt x="2" y="15"/>
                  </a:lnTo>
                  <a:lnTo>
                    <a:pt x="5" y="17"/>
                  </a:lnTo>
                  <a:lnTo>
                    <a:pt x="5" y="19"/>
                  </a:lnTo>
                  <a:lnTo>
                    <a:pt x="7" y="19"/>
                  </a:lnTo>
                  <a:lnTo>
                    <a:pt x="7" y="19"/>
                  </a:lnTo>
                  <a:lnTo>
                    <a:pt x="9" y="22"/>
                  </a:lnTo>
                  <a:lnTo>
                    <a:pt x="9" y="22"/>
                  </a:lnTo>
                  <a:lnTo>
                    <a:pt x="12" y="24"/>
                  </a:lnTo>
                  <a:lnTo>
                    <a:pt x="12" y="26"/>
                  </a:lnTo>
                  <a:lnTo>
                    <a:pt x="12" y="29"/>
                  </a:lnTo>
                  <a:lnTo>
                    <a:pt x="12" y="29"/>
                  </a:lnTo>
                  <a:lnTo>
                    <a:pt x="14" y="29"/>
                  </a:lnTo>
                  <a:lnTo>
                    <a:pt x="14" y="29"/>
                  </a:lnTo>
                  <a:lnTo>
                    <a:pt x="14" y="26"/>
                  </a:lnTo>
                  <a:lnTo>
                    <a:pt x="14" y="24"/>
                  </a:lnTo>
                  <a:lnTo>
                    <a:pt x="14" y="24"/>
                  </a:lnTo>
                  <a:lnTo>
                    <a:pt x="19" y="22"/>
                  </a:lnTo>
                  <a:lnTo>
                    <a:pt x="21" y="22"/>
                  </a:lnTo>
                  <a:lnTo>
                    <a:pt x="21" y="22"/>
                  </a:lnTo>
                  <a:lnTo>
                    <a:pt x="21" y="24"/>
                  </a:lnTo>
                  <a:lnTo>
                    <a:pt x="23" y="24"/>
                  </a:lnTo>
                  <a:lnTo>
                    <a:pt x="23" y="22"/>
                  </a:lnTo>
                  <a:lnTo>
                    <a:pt x="23" y="22"/>
                  </a:lnTo>
                  <a:lnTo>
                    <a:pt x="23" y="22"/>
                  </a:lnTo>
                  <a:lnTo>
                    <a:pt x="28" y="19"/>
                  </a:lnTo>
                  <a:lnTo>
                    <a:pt x="28" y="19"/>
                  </a:lnTo>
                  <a:lnTo>
                    <a:pt x="26" y="19"/>
                  </a:lnTo>
                  <a:lnTo>
                    <a:pt x="26" y="19"/>
                  </a:lnTo>
                  <a:lnTo>
                    <a:pt x="26" y="17"/>
                  </a:lnTo>
                  <a:lnTo>
                    <a:pt x="28" y="17"/>
                  </a:lnTo>
                  <a:lnTo>
                    <a:pt x="28" y="17"/>
                  </a:lnTo>
                  <a:lnTo>
                    <a:pt x="30" y="12"/>
                  </a:lnTo>
                  <a:lnTo>
                    <a:pt x="30" y="12"/>
                  </a:lnTo>
                  <a:lnTo>
                    <a:pt x="30"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2" name="Freeform 308"/>
            <p:cNvSpPr>
              <a:spLocks noEditPoints="1"/>
            </p:cNvSpPr>
            <p:nvPr userDrawn="1"/>
          </p:nvSpPr>
          <p:spPr bwMode="auto">
            <a:xfrm>
              <a:off x="4438" y="1647"/>
              <a:ext cx="660" cy="305"/>
            </a:xfrm>
            <a:custGeom>
              <a:avLst/>
              <a:gdLst>
                <a:gd name="T0" fmla="*/ 75 w 660"/>
                <a:gd name="T1" fmla="*/ 210 h 305"/>
                <a:gd name="T2" fmla="*/ 643 w 660"/>
                <a:gd name="T3" fmla="*/ 118 h 305"/>
                <a:gd name="T4" fmla="*/ 622 w 660"/>
                <a:gd name="T5" fmla="*/ 118 h 305"/>
                <a:gd name="T6" fmla="*/ 596 w 660"/>
                <a:gd name="T7" fmla="*/ 99 h 305"/>
                <a:gd name="T8" fmla="*/ 563 w 660"/>
                <a:gd name="T9" fmla="*/ 94 h 305"/>
                <a:gd name="T10" fmla="*/ 542 w 660"/>
                <a:gd name="T11" fmla="*/ 85 h 305"/>
                <a:gd name="T12" fmla="*/ 530 w 660"/>
                <a:gd name="T13" fmla="*/ 90 h 305"/>
                <a:gd name="T14" fmla="*/ 469 w 660"/>
                <a:gd name="T15" fmla="*/ 40 h 305"/>
                <a:gd name="T16" fmla="*/ 438 w 660"/>
                <a:gd name="T17" fmla="*/ 21 h 305"/>
                <a:gd name="T18" fmla="*/ 417 w 660"/>
                <a:gd name="T19" fmla="*/ 38 h 305"/>
                <a:gd name="T20" fmla="*/ 400 w 660"/>
                <a:gd name="T21" fmla="*/ 28 h 305"/>
                <a:gd name="T22" fmla="*/ 382 w 660"/>
                <a:gd name="T23" fmla="*/ 28 h 305"/>
                <a:gd name="T24" fmla="*/ 358 w 660"/>
                <a:gd name="T25" fmla="*/ 19 h 305"/>
                <a:gd name="T26" fmla="*/ 316 w 660"/>
                <a:gd name="T27" fmla="*/ 0 h 305"/>
                <a:gd name="T28" fmla="*/ 287 w 660"/>
                <a:gd name="T29" fmla="*/ 14 h 305"/>
                <a:gd name="T30" fmla="*/ 254 w 660"/>
                <a:gd name="T31" fmla="*/ 21 h 305"/>
                <a:gd name="T32" fmla="*/ 219 w 660"/>
                <a:gd name="T33" fmla="*/ 28 h 305"/>
                <a:gd name="T34" fmla="*/ 212 w 660"/>
                <a:gd name="T35" fmla="*/ 38 h 305"/>
                <a:gd name="T36" fmla="*/ 226 w 660"/>
                <a:gd name="T37" fmla="*/ 49 h 305"/>
                <a:gd name="T38" fmla="*/ 209 w 660"/>
                <a:gd name="T39" fmla="*/ 64 h 305"/>
                <a:gd name="T40" fmla="*/ 228 w 660"/>
                <a:gd name="T41" fmla="*/ 82 h 305"/>
                <a:gd name="T42" fmla="*/ 202 w 660"/>
                <a:gd name="T43" fmla="*/ 99 h 305"/>
                <a:gd name="T44" fmla="*/ 169 w 660"/>
                <a:gd name="T45" fmla="*/ 87 h 305"/>
                <a:gd name="T46" fmla="*/ 141 w 660"/>
                <a:gd name="T47" fmla="*/ 97 h 305"/>
                <a:gd name="T48" fmla="*/ 120 w 660"/>
                <a:gd name="T49" fmla="*/ 99 h 305"/>
                <a:gd name="T50" fmla="*/ 89 w 660"/>
                <a:gd name="T51" fmla="*/ 80 h 305"/>
                <a:gd name="T52" fmla="*/ 63 w 660"/>
                <a:gd name="T53" fmla="*/ 78 h 305"/>
                <a:gd name="T54" fmla="*/ 35 w 660"/>
                <a:gd name="T55" fmla="*/ 90 h 305"/>
                <a:gd name="T56" fmla="*/ 23 w 660"/>
                <a:gd name="T57" fmla="*/ 113 h 305"/>
                <a:gd name="T58" fmla="*/ 0 w 660"/>
                <a:gd name="T59" fmla="*/ 120 h 305"/>
                <a:gd name="T60" fmla="*/ 12 w 660"/>
                <a:gd name="T61" fmla="*/ 153 h 305"/>
                <a:gd name="T62" fmla="*/ 42 w 660"/>
                <a:gd name="T63" fmla="*/ 177 h 305"/>
                <a:gd name="T64" fmla="*/ 52 w 660"/>
                <a:gd name="T65" fmla="*/ 182 h 305"/>
                <a:gd name="T66" fmla="*/ 82 w 660"/>
                <a:gd name="T67" fmla="*/ 170 h 305"/>
                <a:gd name="T68" fmla="*/ 115 w 660"/>
                <a:gd name="T69" fmla="*/ 177 h 305"/>
                <a:gd name="T70" fmla="*/ 96 w 660"/>
                <a:gd name="T71" fmla="*/ 203 h 305"/>
                <a:gd name="T72" fmla="*/ 94 w 660"/>
                <a:gd name="T73" fmla="*/ 224 h 305"/>
                <a:gd name="T74" fmla="*/ 92 w 660"/>
                <a:gd name="T75" fmla="*/ 239 h 305"/>
                <a:gd name="T76" fmla="*/ 111 w 660"/>
                <a:gd name="T77" fmla="*/ 257 h 305"/>
                <a:gd name="T78" fmla="*/ 129 w 660"/>
                <a:gd name="T79" fmla="*/ 274 h 305"/>
                <a:gd name="T80" fmla="*/ 169 w 660"/>
                <a:gd name="T81" fmla="*/ 283 h 305"/>
                <a:gd name="T82" fmla="*/ 177 w 660"/>
                <a:gd name="T83" fmla="*/ 253 h 305"/>
                <a:gd name="T84" fmla="*/ 195 w 660"/>
                <a:gd name="T85" fmla="*/ 205 h 305"/>
                <a:gd name="T86" fmla="*/ 242 w 660"/>
                <a:gd name="T87" fmla="*/ 220 h 305"/>
                <a:gd name="T88" fmla="*/ 285 w 660"/>
                <a:gd name="T89" fmla="*/ 243 h 305"/>
                <a:gd name="T90" fmla="*/ 327 w 660"/>
                <a:gd name="T91" fmla="*/ 243 h 305"/>
                <a:gd name="T92" fmla="*/ 351 w 660"/>
                <a:gd name="T93" fmla="*/ 274 h 305"/>
                <a:gd name="T94" fmla="*/ 386 w 660"/>
                <a:gd name="T95" fmla="*/ 293 h 305"/>
                <a:gd name="T96" fmla="*/ 403 w 660"/>
                <a:gd name="T97" fmla="*/ 302 h 305"/>
                <a:gd name="T98" fmla="*/ 422 w 660"/>
                <a:gd name="T99" fmla="*/ 279 h 305"/>
                <a:gd name="T100" fmla="*/ 436 w 660"/>
                <a:gd name="T101" fmla="*/ 262 h 305"/>
                <a:gd name="T102" fmla="*/ 473 w 660"/>
                <a:gd name="T103" fmla="*/ 265 h 305"/>
                <a:gd name="T104" fmla="*/ 506 w 660"/>
                <a:gd name="T105" fmla="*/ 257 h 305"/>
                <a:gd name="T106" fmla="*/ 551 w 660"/>
                <a:gd name="T107" fmla="*/ 257 h 305"/>
                <a:gd name="T108" fmla="*/ 584 w 660"/>
                <a:gd name="T109" fmla="*/ 267 h 305"/>
                <a:gd name="T110" fmla="*/ 589 w 660"/>
                <a:gd name="T111" fmla="*/ 255 h 305"/>
                <a:gd name="T112" fmla="*/ 582 w 660"/>
                <a:gd name="T113" fmla="*/ 231 h 305"/>
                <a:gd name="T114" fmla="*/ 568 w 660"/>
                <a:gd name="T115" fmla="*/ 215 h 305"/>
                <a:gd name="T116" fmla="*/ 605 w 660"/>
                <a:gd name="T117" fmla="*/ 208 h 305"/>
                <a:gd name="T118" fmla="*/ 603 w 660"/>
                <a:gd name="T119" fmla="*/ 189 h 305"/>
                <a:gd name="T120" fmla="*/ 631 w 660"/>
                <a:gd name="T121" fmla="*/ 172 h 305"/>
                <a:gd name="T122" fmla="*/ 641 w 660"/>
                <a:gd name="T123" fmla="*/ 156 h 305"/>
                <a:gd name="T124" fmla="*/ 650 w 660"/>
                <a:gd name="T125" fmla="*/ 13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305">
                  <a:moveTo>
                    <a:pt x="70" y="215"/>
                  </a:moveTo>
                  <a:lnTo>
                    <a:pt x="70" y="213"/>
                  </a:lnTo>
                  <a:lnTo>
                    <a:pt x="70" y="210"/>
                  </a:lnTo>
                  <a:lnTo>
                    <a:pt x="70" y="210"/>
                  </a:lnTo>
                  <a:lnTo>
                    <a:pt x="70" y="210"/>
                  </a:lnTo>
                  <a:lnTo>
                    <a:pt x="70" y="213"/>
                  </a:lnTo>
                  <a:lnTo>
                    <a:pt x="70" y="215"/>
                  </a:lnTo>
                  <a:lnTo>
                    <a:pt x="70" y="217"/>
                  </a:lnTo>
                  <a:lnTo>
                    <a:pt x="73" y="217"/>
                  </a:lnTo>
                  <a:lnTo>
                    <a:pt x="73" y="217"/>
                  </a:lnTo>
                  <a:lnTo>
                    <a:pt x="70" y="217"/>
                  </a:lnTo>
                  <a:lnTo>
                    <a:pt x="70" y="215"/>
                  </a:lnTo>
                  <a:close/>
                  <a:moveTo>
                    <a:pt x="73" y="210"/>
                  </a:moveTo>
                  <a:lnTo>
                    <a:pt x="73" y="213"/>
                  </a:lnTo>
                  <a:lnTo>
                    <a:pt x="73" y="215"/>
                  </a:lnTo>
                  <a:lnTo>
                    <a:pt x="75" y="215"/>
                  </a:lnTo>
                  <a:lnTo>
                    <a:pt x="75" y="215"/>
                  </a:lnTo>
                  <a:lnTo>
                    <a:pt x="75" y="210"/>
                  </a:lnTo>
                  <a:lnTo>
                    <a:pt x="73" y="210"/>
                  </a:lnTo>
                  <a:close/>
                  <a:moveTo>
                    <a:pt x="113" y="203"/>
                  </a:moveTo>
                  <a:lnTo>
                    <a:pt x="113" y="203"/>
                  </a:lnTo>
                  <a:lnTo>
                    <a:pt x="111" y="201"/>
                  </a:lnTo>
                  <a:lnTo>
                    <a:pt x="111" y="201"/>
                  </a:lnTo>
                  <a:lnTo>
                    <a:pt x="111" y="203"/>
                  </a:lnTo>
                  <a:lnTo>
                    <a:pt x="111" y="203"/>
                  </a:lnTo>
                  <a:lnTo>
                    <a:pt x="113" y="203"/>
                  </a:lnTo>
                  <a:lnTo>
                    <a:pt x="113" y="203"/>
                  </a:lnTo>
                  <a:close/>
                  <a:moveTo>
                    <a:pt x="657" y="127"/>
                  </a:moveTo>
                  <a:lnTo>
                    <a:pt x="657" y="125"/>
                  </a:lnTo>
                  <a:lnTo>
                    <a:pt x="655" y="125"/>
                  </a:lnTo>
                  <a:lnTo>
                    <a:pt x="653" y="125"/>
                  </a:lnTo>
                  <a:lnTo>
                    <a:pt x="653" y="125"/>
                  </a:lnTo>
                  <a:lnTo>
                    <a:pt x="650" y="123"/>
                  </a:lnTo>
                  <a:lnTo>
                    <a:pt x="648" y="120"/>
                  </a:lnTo>
                  <a:lnTo>
                    <a:pt x="646" y="118"/>
                  </a:lnTo>
                  <a:lnTo>
                    <a:pt x="643" y="118"/>
                  </a:lnTo>
                  <a:lnTo>
                    <a:pt x="643" y="118"/>
                  </a:lnTo>
                  <a:lnTo>
                    <a:pt x="643" y="116"/>
                  </a:lnTo>
                  <a:lnTo>
                    <a:pt x="643" y="116"/>
                  </a:lnTo>
                  <a:lnTo>
                    <a:pt x="643" y="116"/>
                  </a:lnTo>
                  <a:lnTo>
                    <a:pt x="643" y="113"/>
                  </a:lnTo>
                  <a:lnTo>
                    <a:pt x="641" y="113"/>
                  </a:lnTo>
                  <a:lnTo>
                    <a:pt x="641" y="116"/>
                  </a:lnTo>
                  <a:lnTo>
                    <a:pt x="638" y="116"/>
                  </a:lnTo>
                  <a:lnTo>
                    <a:pt x="638" y="118"/>
                  </a:lnTo>
                  <a:lnTo>
                    <a:pt x="638" y="118"/>
                  </a:lnTo>
                  <a:lnTo>
                    <a:pt x="636" y="120"/>
                  </a:lnTo>
                  <a:lnTo>
                    <a:pt x="636" y="120"/>
                  </a:lnTo>
                  <a:lnTo>
                    <a:pt x="634" y="120"/>
                  </a:lnTo>
                  <a:lnTo>
                    <a:pt x="634" y="120"/>
                  </a:lnTo>
                  <a:lnTo>
                    <a:pt x="631" y="118"/>
                  </a:lnTo>
                  <a:lnTo>
                    <a:pt x="631" y="118"/>
                  </a:lnTo>
                  <a:lnTo>
                    <a:pt x="624" y="118"/>
                  </a:lnTo>
                  <a:lnTo>
                    <a:pt x="622" y="118"/>
                  </a:lnTo>
                  <a:lnTo>
                    <a:pt x="622" y="118"/>
                  </a:lnTo>
                  <a:lnTo>
                    <a:pt x="620" y="118"/>
                  </a:lnTo>
                  <a:lnTo>
                    <a:pt x="620" y="116"/>
                  </a:lnTo>
                  <a:lnTo>
                    <a:pt x="617" y="116"/>
                  </a:lnTo>
                  <a:lnTo>
                    <a:pt x="617" y="113"/>
                  </a:lnTo>
                  <a:lnTo>
                    <a:pt x="615" y="111"/>
                  </a:lnTo>
                  <a:lnTo>
                    <a:pt x="613" y="111"/>
                  </a:lnTo>
                  <a:lnTo>
                    <a:pt x="613" y="108"/>
                  </a:lnTo>
                  <a:lnTo>
                    <a:pt x="613" y="108"/>
                  </a:lnTo>
                  <a:lnTo>
                    <a:pt x="613" y="108"/>
                  </a:lnTo>
                  <a:lnTo>
                    <a:pt x="610" y="108"/>
                  </a:lnTo>
                  <a:lnTo>
                    <a:pt x="605" y="106"/>
                  </a:lnTo>
                  <a:lnTo>
                    <a:pt x="603" y="104"/>
                  </a:lnTo>
                  <a:lnTo>
                    <a:pt x="601" y="104"/>
                  </a:lnTo>
                  <a:lnTo>
                    <a:pt x="601" y="104"/>
                  </a:lnTo>
                  <a:lnTo>
                    <a:pt x="598" y="104"/>
                  </a:lnTo>
                  <a:lnTo>
                    <a:pt x="596" y="101"/>
                  </a:lnTo>
                  <a:lnTo>
                    <a:pt x="596" y="99"/>
                  </a:lnTo>
                  <a:lnTo>
                    <a:pt x="594" y="97"/>
                  </a:lnTo>
                  <a:lnTo>
                    <a:pt x="591" y="94"/>
                  </a:lnTo>
                  <a:lnTo>
                    <a:pt x="589" y="94"/>
                  </a:lnTo>
                  <a:lnTo>
                    <a:pt x="589" y="92"/>
                  </a:lnTo>
                  <a:lnTo>
                    <a:pt x="584" y="92"/>
                  </a:lnTo>
                  <a:lnTo>
                    <a:pt x="582" y="90"/>
                  </a:lnTo>
                  <a:lnTo>
                    <a:pt x="580" y="90"/>
                  </a:lnTo>
                  <a:lnTo>
                    <a:pt x="577" y="90"/>
                  </a:lnTo>
                  <a:lnTo>
                    <a:pt x="575" y="90"/>
                  </a:lnTo>
                  <a:lnTo>
                    <a:pt x="575" y="90"/>
                  </a:lnTo>
                  <a:lnTo>
                    <a:pt x="575" y="92"/>
                  </a:lnTo>
                  <a:lnTo>
                    <a:pt x="572" y="92"/>
                  </a:lnTo>
                  <a:lnTo>
                    <a:pt x="570" y="92"/>
                  </a:lnTo>
                  <a:lnTo>
                    <a:pt x="570" y="92"/>
                  </a:lnTo>
                  <a:lnTo>
                    <a:pt x="570" y="92"/>
                  </a:lnTo>
                  <a:lnTo>
                    <a:pt x="568" y="94"/>
                  </a:lnTo>
                  <a:lnTo>
                    <a:pt x="568" y="94"/>
                  </a:lnTo>
                  <a:lnTo>
                    <a:pt x="563" y="94"/>
                  </a:lnTo>
                  <a:lnTo>
                    <a:pt x="563" y="94"/>
                  </a:lnTo>
                  <a:lnTo>
                    <a:pt x="561" y="94"/>
                  </a:lnTo>
                  <a:lnTo>
                    <a:pt x="558" y="94"/>
                  </a:lnTo>
                  <a:lnTo>
                    <a:pt x="556" y="94"/>
                  </a:lnTo>
                  <a:lnTo>
                    <a:pt x="554" y="94"/>
                  </a:lnTo>
                  <a:lnTo>
                    <a:pt x="551" y="94"/>
                  </a:lnTo>
                  <a:lnTo>
                    <a:pt x="549" y="94"/>
                  </a:lnTo>
                  <a:lnTo>
                    <a:pt x="549" y="92"/>
                  </a:lnTo>
                  <a:lnTo>
                    <a:pt x="549" y="92"/>
                  </a:lnTo>
                  <a:lnTo>
                    <a:pt x="549" y="90"/>
                  </a:lnTo>
                  <a:lnTo>
                    <a:pt x="547" y="90"/>
                  </a:lnTo>
                  <a:lnTo>
                    <a:pt x="547" y="90"/>
                  </a:lnTo>
                  <a:lnTo>
                    <a:pt x="544" y="90"/>
                  </a:lnTo>
                  <a:lnTo>
                    <a:pt x="542" y="90"/>
                  </a:lnTo>
                  <a:lnTo>
                    <a:pt x="542" y="90"/>
                  </a:lnTo>
                  <a:lnTo>
                    <a:pt x="542" y="87"/>
                  </a:lnTo>
                  <a:lnTo>
                    <a:pt x="542" y="85"/>
                  </a:lnTo>
                  <a:lnTo>
                    <a:pt x="542" y="85"/>
                  </a:lnTo>
                  <a:lnTo>
                    <a:pt x="539" y="85"/>
                  </a:lnTo>
                  <a:lnTo>
                    <a:pt x="539" y="85"/>
                  </a:lnTo>
                  <a:lnTo>
                    <a:pt x="537" y="85"/>
                  </a:lnTo>
                  <a:lnTo>
                    <a:pt x="537" y="82"/>
                  </a:lnTo>
                  <a:lnTo>
                    <a:pt x="535" y="82"/>
                  </a:lnTo>
                  <a:lnTo>
                    <a:pt x="535" y="82"/>
                  </a:lnTo>
                  <a:lnTo>
                    <a:pt x="532" y="82"/>
                  </a:lnTo>
                  <a:lnTo>
                    <a:pt x="532" y="85"/>
                  </a:lnTo>
                  <a:lnTo>
                    <a:pt x="532" y="85"/>
                  </a:lnTo>
                  <a:lnTo>
                    <a:pt x="530" y="85"/>
                  </a:lnTo>
                  <a:lnTo>
                    <a:pt x="530" y="85"/>
                  </a:lnTo>
                  <a:lnTo>
                    <a:pt x="530" y="87"/>
                  </a:lnTo>
                  <a:lnTo>
                    <a:pt x="530" y="87"/>
                  </a:lnTo>
                  <a:lnTo>
                    <a:pt x="532" y="90"/>
                  </a:lnTo>
                  <a:lnTo>
                    <a:pt x="532" y="90"/>
                  </a:lnTo>
                  <a:lnTo>
                    <a:pt x="530" y="90"/>
                  </a:lnTo>
                  <a:lnTo>
                    <a:pt x="530" y="90"/>
                  </a:lnTo>
                  <a:lnTo>
                    <a:pt x="530" y="90"/>
                  </a:lnTo>
                  <a:lnTo>
                    <a:pt x="528" y="92"/>
                  </a:lnTo>
                  <a:lnTo>
                    <a:pt x="528" y="92"/>
                  </a:lnTo>
                  <a:lnTo>
                    <a:pt x="528" y="92"/>
                  </a:lnTo>
                  <a:lnTo>
                    <a:pt x="528" y="94"/>
                  </a:lnTo>
                  <a:lnTo>
                    <a:pt x="525" y="94"/>
                  </a:lnTo>
                  <a:lnTo>
                    <a:pt x="523" y="90"/>
                  </a:lnTo>
                  <a:lnTo>
                    <a:pt x="518" y="85"/>
                  </a:lnTo>
                  <a:lnTo>
                    <a:pt x="514" y="80"/>
                  </a:lnTo>
                  <a:lnTo>
                    <a:pt x="511" y="78"/>
                  </a:lnTo>
                  <a:lnTo>
                    <a:pt x="504" y="71"/>
                  </a:lnTo>
                  <a:lnTo>
                    <a:pt x="499" y="68"/>
                  </a:lnTo>
                  <a:lnTo>
                    <a:pt x="492" y="61"/>
                  </a:lnTo>
                  <a:lnTo>
                    <a:pt x="488" y="56"/>
                  </a:lnTo>
                  <a:lnTo>
                    <a:pt x="481" y="49"/>
                  </a:lnTo>
                  <a:lnTo>
                    <a:pt x="476" y="47"/>
                  </a:lnTo>
                  <a:lnTo>
                    <a:pt x="471" y="42"/>
                  </a:lnTo>
                  <a:lnTo>
                    <a:pt x="471" y="42"/>
                  </a:lnTo>
                  <a:lnTo>
                    <a:pt x="469" y="40"/>
                  </a:lnTo>
                  <a:lnTo>
                    <a:pt x="464" y="38"/>
                  </a:lnTo>
                  <a:lnTo>
                    <a:pt x="457" y="35"/>
                  </a:lnTo>
                  <a:lnTo>
                    <a:pt x="452" y="33"/>
                  </a:lnTo>
                  <a:lnTo>
                    <a:pt x="445" y="30"/>
                  </a:lnTo>
                  <a:lnTo>
                    <a:pt x="445" y="28"/>
                  </a:lnTo>
                  <a:lnTo>
                    <a:pt x="445" y="28"/>
                  </a:lnTo>
                  <a:lnTo>
                    <a:pt x="443" y="28"/>
                  </a:lnTo>
                  <a:lnTo>
                    <a:pt x="443" y="26"/>
                  </a:lnTo>
                  <a:lnTo>
                    <a:pt x="443" y="26"/>
                  </a:lnTo>
                  <a:lnTo>
                    <a:pt x="445" y="26"/>
                  </a:lnTo>
                  <a:lnTo>
                    <a:pt x="445" y="26"/>
                  </a:lnTo>
                  <a:lnTo>
                    <a:pt x="448" y="21"/>
                  </a:lnTo>
                  <a:lnTo>
                    <a:pt x="445" y="19"/>
                  </a:lnTo>
                  <a:lnTo>
                    <a:pt x="445" y="19"/>
                  </a:lnTo>
                  <a:lnTo>
                    <a:pt x="443" y="21"/>
                  </a:lnTo>
                  <a:lnTo>
                    <a:pt x="443" y="21"/>
                  </a:lnTo>
                  <a:lnTo>
                    <a:pt x="443" y="21"/>
                  </a:lnTo>
                  <a:lnTo>
                    <a:pt x="438" y="21"/>
                  </a:lnTo>
                  <a:lnTo>
                    <a:pt x="436" y="23"/>
                  </a:lnTo>
                  <a:lnTo>
                    <a:pt x="433" y="26"/>
                  </a:lnTo>
                  <a:lnTo>
                    <a:pt x="431" y="26"/>
                  </a:lnTo>
                  <a:lnTo>
                    <a:pt x="431" y="26"/>
                  </a:lnTo>
                  <a:lnTo>
                    <a:pt x="426" y="26"/>
                  </a:lnTo>
                  <a:lnTo>
                    <a:pt x="426" y="28"/>
                  </a:lnTo>
                  <a:lnTo>
                    <a:pt x="426" y="28"/>
                  </a:lnTo>
                  <a:lnTo>
                    <a:pt x="426" y="28"/>
                  </a:lnTo>
                  <a:lnTo>
                    <a:pt x="426" y="30"/>
                  </a:lnTo>
                  <a:lnTo>
                    <a:pt x="424" y="33"/>
                  </a:lnTo>
                  <a:lnTo>
                    <a:pt x="422" y="33"/>
                  </a:lnTo>
                  <a:lnTo>
                    <a:pt x="422" y="30"/>
                  </a:lnTo>
                  <a:lnTo>
                    <a:pt x="419" y="33"/>
                  </a:lnTo>
                  <a:lnTo>
                    <a:pt x="419" y="33"/>
                  </a:lnTo>
                  <a:lnTo>
                    <a:pt x="415" y="35"/>
                  </a:lnTo>
                  <a:lnTo>
                    <a:pt x="415" y="35"/>
                  </a:lnTo>
                  <a:lnTo>
                    <a:pt x="417" y="38"/>
                  </a:lnTo>
                  <a:lnTo>
                    <a:pt x="417" y="38"/>
                  </a:lnTo>
                  <a:lnTo>
                    <a:pt x="415" y="38"/>
                  </a:lnTo>
                  <a:lnTo>
                    <a:pt x="415" y="38"/>
                  </a:lnTo>
                  <a:lnTo>
                    <a:pt x="412" y="38"/>
                  </a:lnTo>
                  <a:lnTo>
                    <a:pt x="410" y="35"/>
                  </a:lnTo>
                  <a:lnTo>
                    <a:pt x="407" y="35"/>
                  </a:lnTo>
                  <a:lnTo>
                    <a:pt x="405" y="35"/>
                  </a:lnTo>
                  <a:lnTo>
                    <a:pt x="403" y="38"/>
                  </a:lnTo>
                  <a:lnTo>
                    <a:pt x="400" y="40"/>
                  </a:lnTo>
                  <a:lnTo>
                    <a:pt x="400" y="40"/>
                  </a:lnTo>
                  <a:lnTo>
                    <a:pt x="400" y="40"/>
                  </a:lnTo>
                  <a:lnTo>
                    <a:pt x="400" y="38"/>
                  </a:lnTo>
                  <a:lnTo>
                    <a:pt x="398" y="38"/>
                  </a:lnTo>
                  <a:lnTo>
                    <a:pt x="398" y="35"/>
                  </a:lnTo>
                  <a:lnTo>
                    <a:pt x="398" y="35"/>
                  </a:lnTo>
                  <a:lnTo>
                    <a:pt x="398" y="33"/>
                  </a:lnTo>
                  <a:lnTo>
                    <a:pt x="400" y="30"/>
                  </a:lnTo>
                  <a:lnTo>
                    <a:pt x="400" y="30"/>
                  </a:lnTo>
                  <a:lnTo>
                    <a:pt x="400" y="28"/>
                  </a:lnTo>
                  <a:lnTo>
                    <a:pt x="400" y="28"/>
                  </a:lnTo>
                  <a:lnTo>
                    <a:pt x="400" y="28"/>
                  </a:lnTo>
                  <a:lnTo>
                    <a:pt x="398" y="28"/>
                  </a:lnTo>
                  <a:lnTo>
                    <a:pt x="398" y="28"/>
                  </a:lnTo>
                  <a:lnTo>
                    <a:pt x="398" y="28"/>
                  </a:lnTo>
                  <a:lnTo>
                    <a:pt x="396" y="28"/>
                  </a:lnTo>
                  <a:lnTo>
                    <a:pt x="393" y="28"/>
                  </a:lnTo>
                  <a:lnTo>
                    <a:pt x="393" y="28"/>
                  </a:lnTo>
                  <a:lnTo>
                    <a:pt x="391" y="28"/>
                  </a:lnTo>
                  <a:lnTo>
                    <a:pt x="389" y="26"/>
                  </a:lnTo>
                  <a:lnTo>
                    <a:pt x="384" y="26"/>
                  </a:lnTo>
                  <a:lnTo>
                    <a:pt x="384" y="26"/>
                  </a:lnTo>
                  <a:lnTo>
                    <a:pt x="382" y="26"/>
                  </a:lnTo>
                  <a:lnTo>
                    <a:pt x="382" y="26"/>
                  </a:lnTo>
                  <a:lnTo>
                    <a:pt x="384" y="28"/>
                  </a:lnTo>
                  <a:lnTo>
                    <a:pt x="384" y="28"/>
                  </a:lnTo>
                  <a:lnTo>
                    <a:pt x="384" y="28"/>
                  </a:lnTo>
                  <a:lnTo>
                    <a:pt x="382" y="28"/>
                  </a:lnTo>
                  <a:lnTo>
                    <a:pt x="382" y="30"/>
                  </a:lnTo>
                  <a:lnTo>
                    <a:pt x="382" y="28"/>
                  </a:lnTo>
                  <a:lnTo>
                    <a:pt x="379" y="28"/>
                  </a:lnTo>
                  <a:lnTo>
                    <a:pt x="379" y="26"/>
                  </a:lnTo>
                  <a:lnTo>
                    <a:pt x="377" y="26"/>
                  </a:lnTo>
                  <a:lnTo>
                    <a:pt x="377" y="23"/>
                  </a:lnTo>
                  <a:lnTo>
                    <a:pt x="374" y="21"/>
                  </a:lnTo>
                  <a:lnTo>
                    <a:pt x="374" y="21"/>
                  </a:lnTo>
                  <a:lnTo>
                    <a:pt x="374" y="23"/>
                  </a:lnTo>
                  <a:lnTo>
                    <a:pt x="372" y="23"/>
                  </a:lnTo>
                  <a:lnTo>
                    <a:pt x="370" y="23"/>
                  </a:lnTo>
                  <a:lnTo>
                    <a:pt x="367" y="26"/>
                  </a:lnTo>
                  <a:lnTo>
                    <a:pt x="363" y="26"/>
                  </a:lnTo>
                  <a:lnTo>
                    <a:pt x="358" y="23"/>
                  </a:lnTo>
                  <a:lnTo>
                    <a:pt x="358" y="23"/>
                  </a:lnTo>
                  <a:lnTo>
                    <a:pt x="358" y="21"/>
                  </a:lnTo>
                  <a:lnTo>
                    <a:pt x="358" y="19"/>
                  </a:lnTo>
                  <a:lnTo>
                    <a:pt x="358" y="19"/>
                  </a:lnTo>
                  <a:lnTo>
                    <a:pt x="358" y="16"/>
                  </a:lnTo>
                  <a:lnTo>
                    <a:pt x="356" y="14"/>
                  </a:lnTo>
                  <a:lnTo>
                    <a:pt x="351" y="9"/>
                  </a:lnTo>
                  <a:lnTo>
                    <a:pt x="349" y="7"/>
                  </a:lnTo>
                  <a:lnTo>
                    <a:pt x="346" y="2"/>
                  </a:lnTo>
                  <a:lnTo>
                    <a:pt x="344" y="2"/>
                  </a:lnTo>
                  <a:lnTo>
                    <a:pt x="341" y="2"/>
                  </a:lnTo>
                  <a:lnTo>
                    <a:pt x="339" y="4"/>
                  </a:lnTo>
                  <a:lnTo>
                    <a:pt x="339" y="4"/>
                  </a:lnTo>
                  <a:lnTo>
                    <a:pt x="339" y="4"/>
                  </a:lnTo>
                  <a:lnTo>
                    <a:pt x="337" y="4"/>
                  </a:lnTo>
                  <a:lnTo>
                    <a:pt x="334" y="4"/>
                  </a:lnTo>
                  <a:lnTo>
                    <a:pt x="334" y="4"/>
                  </a:lnTo>
                  <a:lnTo>
                    <a:pt x="332" y="4"/>
                  </a:lnTo>
                  <a:lnTo>
                    <a:pt x="330" y="2"/>
                  </a:lnTo>
                  <a:lnTo>
                    <a:pt x="325" y="2"/>
                  </a:lnTo>
                  <a:lnTo>
                    <a:pt x="320" y="2"/>
                  </a:lnTo>
                  <a:lnTo>
                    <a:pt x="316" y="0"/>
                  </a:lnTo>
                  <a:lnTo>
                    <a:pt x="316" y="2"/>
                  </a:lnTo>
                  <a:lnTo>
                    <a:pt x="313" y="2"/>
                  </a:lnTo>
                  <a:lnTo>
                    <a:pt x="311" y="4"/>
                  </a:lnTo>
                  <a:lnTo>
                    <a:pt x="308" y="4"/>
                  </a:lnTo>
                  <a:lnTo>
                    <a:pt x="308" y="4"/>
                  </a:lnTo>
                  <a:lnTo>
                    <a:pt x="306" y="4"/>
                  </a:lnTo>
                  <a:lnTo>
                    <a:pt x="306" y="7"/>
                  </a:lnTo>
                  <a:lnTo>
                    <a:pt x="308" y="7"/>
                  </a:lnTo>
                  <a:lnTo>
                    <a:pt x="308" y="9"/>
                  </a:lnTo>
                  <a:lnTo>
                    <a:pt x="306" y="9"/>
                  </a:lnTo>
                  <a:lnTo>
                    <a:pt x="306" y="9"/>
                  </a:lnTo>
                  <a:lnTo>
                    <a:pt x="304" y="9"/>
                  </a:lnTo>
                  <a:lnTo>
                    <a:pt x="301" y="9"/>
                  </a:lnTo>
                  <a:lnTo>
                    <a:pt x="301" y="12"/>
                  </a:lnTo>
                  <a:lnTo>
                    <a:pt x="297" y="12"/>
                  </a:lnTo>
                  <a:lnTo>
                    <a:pt x="294" y="12"/>
                  </a:lnTo>
                  <a:lnTo>
                    <a:pt x="292" y="12"/>
                  </a:lnTo>
                  <a:lnTo>
                    <a:pt x="287" y="14"/>
                  </a:lnTo>
                  <a:lnTo>
                    <a:pt x="285" y="14"/>
                  </a:lnTo>
                  <a:lnTo>
                    <a:pt x="278" y="14"/>
                  </a:lnTo>
                  <a:lnTo>
                    <a:pt x="275" y="16"/>
                  </a:lnTo>
                  <a:lnTo>
                    <a:pt x="273" y="14"/>
                  </a:lnTo>
                  <a:lnTo>
                    <a:pt x="271" y="16"/>
                  </a:lnTo>
                  <a:lnTo>
                    <a:pt x="268" y="16"/>
                  </a:lnTo>
                  <a:lnTo>
                    <a:pt x="268" y="16"/>
                  </a:lnTo>
                  <a:lnTo>
                    <a:pt x="266" y="16"/>
                  </a:lnTo>
                  <a:lnTo>
                    <a:pt x="266" y="16"/>
                  </a:lnTo>
                  <a:lnTo>
                    <a:pt x="264" y="19"/>
                  </a:lnTo>
                  <a:lnTo>
                    <a:pt x="264" y="19"/>
                  </a:lnTo>
                  <a:lnTo>
                    <a:pt x="264" y="21"/>
                  </a:lnTo>
                  <a:lnTo>
                    <a:pt x="264" y="21"/>
                  </a:lnTo>
                  <a:lnTo>
                    <a:pt x="261" y="21"/>
                  </a:lnTo>
                  <a:lnTo>
                    <a:pt x="261" y="21"/>
                  </a:lnTo>
                  <a:lnTo>
                    <a:pt x="259" y="21"/>
                  </a:lnTo>
                  <a:lnTo>
                    <a:pt x="257" y="21"/>
                  </a:lnTo>
                  <a:lnTo>
                    <a:pt x="254" y="21"/>
                  </a:lnTo>
                  <a:lnTo>
                    <a:pt x="254" y="21"/>
                  </a:lnTo>
                  <a:lnTo>
                    <a:pt x="250" y="21"/>
                  </a:lnTo>
                  <a:lnTo>
                    <a:pt x="247" y="23"/>
                  </a:lnTo>
                  <a:lnTo>
                    <a:pt x="247" y="23"/>
                  </a:lnTo>
                  <a:lnTo>
                    <a:pt x="247" y="23"/>
                  </a:lnTo>
                  <a:lnTo>
                    <a:pt x="245" y="23"/>
                  </a:lnTo>
                  <a:lnTo>
                    <a:pt x="242" y="23"/>
                  </a:lnTo>
                  <a:lnTo>
                    <a:pt x="242" y="23"/>
                  </a:lnTo>
                  <a:lnTo>
                    <a:pt x="240" y="23"/>
                  </a:lnTo>
                  <a:lnTo>
                    <a:pt x="238" y="26"/>
                  </a:lnTo>
                  <a:lnTo>
                    <a:pt x="238" y="26"/>
                  </a:lnTo>
                  <a:lnTo>
                    <a:pt x="235" y="26"/>
                  </a:lnTo>
                  <a:lnTo>
                    <a:pt x="235" y="26"/>
                  </a:lnTo>
                  <a:lnTo>
                    <a:pt x="233" y="26"/>
                  </a:lnTo>
                  <a:lnTo>
                    <a:pt x="226" y="28"/>
                  </a:lnTo>
                  <a:lnTo>
                    <a:pt x="226" y="28"/>
                  </a:lnTo>
                  <a:lnTo>
                    <a:pt x="226" y="28"/>
                  </a:lnTo>
                  <a:lnTo>
                    <a:pt x="219" y="28"/>
                  </a:lnTo>
                  <a:lnTo>
                    <a:pt x="219" y="28"/>
                  </a:lnTo>
                  <a:lnTo>
                    <a:pt x="217" y="28"/>
                  </a:lnTo>
                  <a:lnTo>
                    <a:pt x="217" y="30"/>
                  </a:lnTo>
                  <a:lnTo>
                    <a:pt x="212" y="28"/>
                  </a:lnTo>
                  <a:lnTo>
                    <a:pt x="207" y="28"/>
                  </a:lnTo>
                  <a:lnTo>
                    <a:pt x="205" y="28"/>
                  </a:lnTo>
                  <a:lnTo>
                    <a:pt x="205" y="28"/>
                  </a:lnTo>
                  <a:lnTo>
                    <a:pt x="205" y="30"/>
                  </a:lnTo>
                  <a:lnTo>
                    <a:pt x="205" y="33"/>
                  </a:lnTo>
                  <a:lnTo>
                    <a:pt x="205" y="33"/>
                  </a:lnTo>
                  <a:lnTo>
                    <a:pt x="205" y="35"/>
                  </a:lnTo>
                  <a:lnTo>
                    <a:pt x="205" y="35"/>
                  </a:lnTo>
                  <a:lnTo>
                    <a:pt x="205" y="35"/>
                  </a:lnTo>
                  <a:lnTo>
                    <a:pt x="207" y="38"/>
                  </a:lnTo>
                  <a:lnTo>
                    <a:pt x="209" y="38"/>
                  </a:lnTo>
                  <a:lnTo>
                    <a:pt x="209" y="38"/>
                  </a:lnTo>
                  <a:lnTo>
                    <a:pt x="212" y="38"/>
                  </a:lnTo>
                  <a:lnTo>
                    <a:pt x="212" y="38"/>
                  </a:lnTo>
                  <a:lnTo>
                    <a:pt x="212" y="38"/>
                  </a:lnTo>
                  <a:lnTo>
                    <a:pt x="214" y="38"/>
                  </a:lnTo>
                  <a:lnTo>
                    <a:pt x="214" y="38"/>
                  </a:lnTo>
                  <a:lnTo>
                    <a:pt x="214" y="38"/>
                  </a:lnTo>
                  <a:lnTo>
                    <a:pt x="212" y="40"/>
                  </a:lnTo>
                  <a:lnTo>
                    <a:pt x="209" y="40"/>
                  </a:lnTo>
                  <a:lnTo>
                    <a:pt x="209" y="40"/>
                  </a:lnTo>
                  <a:lnTo>
                    <a:pt x="209" y="40"/>
                  </a:lnTo>
                  <a:lnTo>
                    <a:pt x="209" y="42"/>
                  </a:lnTo>
                  <a:lnTo>
                    <a:pt x="209" y="42"/>
                  </a:lnTo>
                  <a:lnTo>
                    <a:pt x="212" y="42"/>
                  </a:lnTo>
                  <a:lnTo>
                    <a:pt x="214" y="45"/>
                  </a:lnTo>
                  <a:lnTo>
                    <a:pt x="217" y="45"/>
                  </a:lnTo>
                  <a:lnTo>
                    <a:pt x="217" y="45"/>
                  </a:lnTo>
                  <a:lnTo>
                    <a:pt x="219" y="45"/>
                  </a:lnTo>
                  <a:lnTo>
                    <a:pt x="224" y="47"/>
                  </a:lnTo>
                  <a:lnTo>
                    <a:pt x="226" y="47"/>
                  </a:lnTo>
                  <a:lnTo>
                    <a:pt x="226" y="49"/>
                  </a:lnTo>
                  <a:lnTo>
                    <a:pt x="226" y="49"/>
                  </a:lnTo>
                  <a:lnTo>
                    <a:pt x="224" y="49"/>
                  </a:lnTo>
                  <a:lnTo>
                    <a:pt x="224" y="49"/>
                  </a:lnTo>
                  <a:lnTo>
                    <a:pt x="219" y="49"/>
                  </a:lnTo>
                  <a:lnTo>
                    <a:pt x="217" y="49"/>
                  </a:lnTo>
                  <a:lnTo>
                    <a:pt x="214" y="49"/>
                  </a:lnTo>
                  <a:lnTo>
                    <a:pt x="212" y="49"/>
                  </a:lnTo>
                  <a:lnTo>
                    <a:pt x="209" y="49"/>
                  </a:lnTo>
                  <a:lnTo>
                    <a:pt x="209" y="49"/>
                  </a:lnTo>
                  <a:lnTo>
                    <a:pt x="207" y="52"/>
                  </a:lnTo>
                  <a:lnTo>
                    <a:pt x="207" y="52"/>
                  </a:lnTo>
                  <a:lnTo>
                    <a:pt x="207" y="54"/>
                  </a:lnTo>
                  <a:lnTo>
                    <a:pt x="207" y="54"/>
                  </a:lnTo>
                  <a:lnTo>
                    <a:pt x="207" y="56"/>
                  </a:lnTo>
                  <a:lnTo>
                    <a:pt x="212" y="61"/>
                  </a:lnTo>
                  <a:lnTo>
                    <a:pt x="212" y="61"/>
                  </a:lnTo>
                  <a:lnTo>
                    <a:pt x="212" y="64"/>
                  </a:lnTo>
                  <a:lnTo>
                    <a:pt x="209" y="64"/>
                  </a:lnTo>
                  <a:lnTo>
                    <a:pt x="207" y="66"/>
                  </a:lnTo>
                  <a:lnTo>
                    <a:pt x="205" y="66"/>
                  </a:lnTo>
                  <a:lnTo>
                    <a:pt x="205" y="66"/>
                  </a:lnTo>
                  <a:lnTo>
                    <a:pt x="202" y="68"/>
                  </a:lnTo>
                  <a:lnTo>
                    <a:pt x="200" y="68"/>
                  </a:lnTo>
                  <a:lnTo>
                    <a:pt x="200" y="71"/>
                  </a:lnTo>
                  <a:lnTo>
                    <a:pt x="200" y="71"/>
                  </a:lnTo>
                  <a:lnTo>
                    <a:pt x="205" y="73"/>
                  </a:lnTo>
                  <a:lnTo>
                    <a:pt x="207" y="73"/>
                  </a:lnTo>
                  <a:lnTo>
                    <a:pt x="207" y="75"/>
                  </a:lnTo>
                  <a:lnTo>
                    <a:pt x="207" y="75"/>
                  </a:lnTo>
                  <a:lnTo>
                    <a:pt x="212" y="75"/>
                  </a:lnTo>
                  <a:lnTo>
                    <a:pt x="217" y="78"/>
                  </a:lnTo>
                  <a:lnTo>
                    <a:pt x="217" y="78"/>
                  </a:lnTo>
                  <a:lnTo>
                    <a:pt x="217" y="78"/>
                  </a:lnTo>
                  <a:lnTo>
                    <a:pt x="224" y="80"/>
                  </a:lnTo>
                  <a:lnTo>
                    <a:pt x="224" y="80"/>
                  </a:lnTo>
                  <a:lnTo>
                    <a:pt x="228" y="82"/>
                  </a:lnTo>
                  <a:lnTo>
                    <a:pt x="228" y="85"/>
                  </a:lnTo>
                  <a:lnTo>
                    <a:pt x="228" y="87"/>
                  </a:lnTo>
                  <a:lnTo>
                    <a:pt x="228" y="90"/>
                  </a:lnTo>
                  <a:lnTo>
                    <a:pt x="228" y="92"/>
                  </a:lnTo>
                  <a:lnTo>
                    <a:pt x="226" y="94"/>
                  </a:lnTo>
                  <a:lnTo>
                    <a:pt x="221" y="94"/>
                  </a:lnTo>
                  <a:lnTo>
                    <a:pt x="217" y="97"/>
                  </a:lnTo>
                  <a:lnTo>
                    <a:pt x="214" y="97"/>
                  </a:lnTo>
                  <a:lnTo>
                    <a:pt x="212" y="94"/>
                  </a:lnTo>
                  <a:lnTo>
                    <a:pt x="209" y="94"/>
                  </a:lnTo>
                  <a:lnTo>
                    <a:pt x="209" y="94"/>
                  </a:lnTo>
                  <a:lnTo>
                    <a:pt x="207" y="92"/>
                  </a:lnTo>
                  <a:lnTo>
                    <a:pt x="207" y="92"/>
                  </a:lnTo>
                  <a:lnTo>
                    <a:pt x="205" y="92"/>
                  </a:lnTo>
                  <a:lnTo>
                    <a:pt x="205" y="92"/>
                  </a:lnTo>
                  <a:lnTo>
                    <a:pt x="205" y="94"/>
                  </a:lnTo>
                  <a:lnTo>
                    <a:pt x="205" y="97"/>
                  </a:lnTo>
                  <a:lnTo>
                    <a:pt x="202" y="99"/>
                  </a:lnTo>
                  <a:lnTo>
                    <a:pt x="200" y="99"/>
                  </a:lnTo>
                  <a:lnTo>
                    <a:pt x="200" y="99"/>
                  </a:lnTo>
                  <a:lnTo>
                    <a:pt x="200" y="97"/>
                  </a:lnTo>
                  <a:lnTo>
                    <a:pt x="198" y="97"/>
                  </a:lnTo>
                  <a:lnTo>
                    <a:pt x="198" y="97"/>
                  </a:lnTo>
                  <a:lnTo>
                    <a:pt x="193" y="97"/>
                  </a:lnTo>
                  <a:lnTo>
                    <a:pt x="191" y="97"/>
                  </a:lnTo>
                  <a:lnTo>
                    <a:pt x="191" y="94"/>
                  </a:lnTo>
                  <a:lnTo>
                    <a:pt x="188" y="94"/>
                  </a:lnTo>
                  <a:lnTo>
                    <a:pt x="186" y="94"/>
                  </a:lnTo>
                  <a:lnTo>
                    <a:pt x="184" y="92"/>
                  </a:lnTo>
                  <a:lnTo>
                    <a:pt x="181" y="90"/>
                  </a:lnTo>
                  <a:lnTo>
                    <a:pt x="179" y="87"/>
                  </a:lnTo>
                  <a:lnTo>
                    <a:pt x="174" y="87"/>
                  </a:lnTo>
                  <a:lnTo>
                    <a:pt x="174" y="87"/>
                  </a:lnTo>
                  <a:lnTo>
                    <a:pt x="172" y="87"/>
                  </a:lnTo>
                  <a:lnTo>
                    <a:pt x="169" y="87"/>
                  </a:lnTo>
                  <a:lnTo>
                    <a:pt x="169" y="87"/>
                  </a:lnTo>
                  <a:lnTo>
                    <a:pt x="169" y="87"/>
                  </a:lnTo>
                  <a:lnTo>
                    <a:pt x="167" y="90"/>
                  </a:lnTo>
                  <a:lnTo>
                    <a:pt x="167" y="90"/>
                  </a:lnTo>
                  <a:lnTo>
                    <a:pt x="165" y="92"/>
                  </a:lnTo>
                  <a:lnTo>
                    <a:pt x="165" y="92"/>
                  </a:lnTo>
                  <a:lnTo>
                    <a:pt x="162" y="90"/>
                  </a:lnTo>
                  <a:lnTo>
                    <a:pt x="160" y="87"/>
                  </a:lnTo>
                  <a:lnTo>
                    <a:pt x="155" y="87"/>
                  </a:lnTo>
                  <a:lnTo>
                    <a:pt x="153" y="87"/>
                  </a:lnTo>
                  <a:lnTo>
                    <a:pt x="153" y="87"/>
                  </a:lnTo>
                  <a:lnTo>
                    <a:pt x="151" y="90"/>
                  </a:lnTo>
                  <a:lnTo>
                    <a:pt x="148" y="90"/>
                  </a:lnTo>
                  <a:lnTo>
                    <a:pt x="148" y="90"/>
                  </a:lnTo>
                  <a:lnTo>
                    <a:pt x="146" y="90"/>
                  </a:lnTo>
                  <a:lnTo>
                    <a:pt x="144" y="92"/>
                  </a:lnTo>
                  <a:lnTo>
                    <a:pt x="144" y="94"/>
                  </a:lnTo>
                  <a:lnTo>
                    <a:pt x="144" y="94"/>
                  </a:lnTo>
                  <a:lnTo>
                    <a:pt x="141" y="97"/>
                  </a:lnTo>
                  <a:lnTo>
                    <a:pt x="139" y="97"/>
                  </a:lnTo>
                  <a:lnTo>
                    <a:pt x="136" y="97"/>
                  </a:lnTo>
                  <a:lnTo>
                    <a:pt x="134" y="97"/>
                  </a:lnTo>
                  <a:lnTo>
                    <a:pt x="132" y="97"/>
                  </a:lnTo>
                  <a:lnTo>
                    <a:pt x="129" y="94"/>
                  </a:lnTo>
                  <a:lnTo>
                    <a:pt x="125" y="92"/>
                  </a:lnTo>
                  <a:lnTo>
                    <a:pt x="122" y="90"/>
                  </a:lnTo>
                  <a:lnTo>
                    <a:pt x="120" y="90"/>
                  </a:lnTo>
                  <a:lnTo>
                    <a:pt x="118" y="90"/>
                  </a:lnTo>
                  <a:lnTo>
                    <a:pt x="118" y="90"/>
                  </a:lnTo>
                  <a:lnTo>
                    <a:pt x="118" y="90"/>
                  </a:lnTo>
                  <a:lnTo>
                    <a:pt x="118" y="90"/>
                  </a:lnTo>
                  <a:lnTo>
                    <a:pt x="118" y="92"/>
                  </a:lnTo>
                  <a:lnTo>
                    <a:pt x="120" y="94"/>
                  </a:lnTo>
                  <a:lnTo>
                    <a:pt x="120" y="97"/>
                  </a:lnTo>
                  <a:lnTo>
                    <a:pt x="120" y="97"/>
                  </a:lnTo>
                  <a:lnTo>
                    <a:pt x="120" y="99"/>
                  </a:lnTo>
                  <a:lnTo>
                    <a:pt x="120" y="99"/>
                  </a:lnTo>
                  <a:lnTo>
                    <a:pt x="120" y="99"/>
                  </a:lnTo>
                  <a:lnTo>
                    <a:pt x="118" y="97"/>
                  </a:lnTo>
                  <a:lnTo>
                    <a:pt x="118" y="97"/>
                  </a:lnTo>
                  <a:lnTo>
                    <a:pt x="115" y="94"/>
                  </a:lnTo>
                  <a:lnTo>
                    <a:pt x="113" y="90"/>
                  </a:lnTo>
                  <a:lnTo>
                    <a:pt x="111" y="90"/>
                  </a:lnTo>
                  <a:lnTo>
                    <a:pt x="111" y="87"/>
                  </a:lnTo>
                  <a:lnTo>
                    <a:pt x="108" y="87"/>
                  </a:lnTo>
                  <a:lnTo>
                    <a:pt x="106" y="85"/>
                  </a:lnTo>
                  <a:lnTo>
                    <a:pt x="103" y="85"/>
                  </a:lnTo>
                  <a:lnTo>
                    <a:pt x="101" y="85"/>
                  </a:lnTo>
                  <a:lnTo>
                    <a:pt x="99" y="80"/>
                  </a:lnTo>
                  <a:lnTo>
                    <a:pt x="96" y="80"/>
                  </a:lnTo>
                  <a:lnTo>
                    <a:pt x="96" y="80"/>
                  </a:lnTo>
                  <a:lnTo>
                    <a:pt x="94" y="78"/>
                  </a:lnTo>
                  <a:lnTo>
                    <a:pt x="94" y="80"/>
                  </a:lnTo>
                  <a:lnTo>
                    <a:pt x="92" y="80"/>
                  </a:lnTo>
                  <a:lnTo>
                    <a:pt x="89" y="80"/>
                  </a:lnTo>
                  <a:lnTo>
                    <a:pt x="87" y="78"/>
                  </a:lnTo>
                  <a:lnTo>
                    <a:pt x="85" y="78"/>
                  </a:lnTo>
                  <a:lnTo>
                    <a:pt x="85" y="78"/>
                  </a:lnTo>
                  <a:lnTo>
                    <a:pt x="85" y="80"/>
                  </a:lnTo>
                  <a:lnTo>
                    <a:pt x="85" y="80"/>
                  </a:lnTo>
                  <a:lnTo>
                    <a:pt x="82" y="80"/>
                  </a:lnTo>
                  <a:lnTo>
                    <a:pt x="82" y="78"/>
                  </a:lnTo>
                  <a:lnTo>
                    <a:pt x="80" y="78"/>
                  </a:lnTo>
                  <a:lnTo>
                    <a:pt x="78" y="75"/>
                  </a:lnTo>
                  <a:lnTo>
                    <a:pt x="75" y="75"/>
                  </a:lnTo>
                  <a:lnTo>
                    <a:pt x="73" y="75"/>
                  </a:lnTo>
                  <a:lnTo>
                    <a:pt x="70" y="78"/>
                  </a:lnTo>
                  <a:lnTo>
                    <a:pt x="68" y="80"/>
                  </a:lnTo>
                  <a:lnTo>
                    <a:pt x="66" y="80"/>
                  </a:lnTo>
                  <a:lnTo>
                    <a:pt x="63" y="80"/>
                  </a:lnTo>
                  <a:lnTo>
                    <a:pt x="63" y="80"/>
                  </a:lnTo>
                  <a:lnTo>
                    <a:pt x="63" y="78"/>
                  </a:lnTo>
                  <a:lnTo>
                    <a:pt x="63" y="78"/>
                  </a:lnTo>
                  <a:lnTo>
                    <a:pt x="61" y="78"/>
                  </a:lnTo>
                  <a:lnTo>
                    <a:pt x="59" y="75"/>
                  </a:lnTo>
                  <a:lnTo>
                    <a:pt x="56" y="75"/>
                  </a:lnTo>
                  <a:lnTo>
                    <a:pt x="54" y="75"/>
                  </a:lnTo>
                  <a:lnTo>
                    <a:pt x="54" y="73"/>
                  </a:lnTo>
                  <a:lnTo>
                    <a:pt x="54" y="75"/>
                  </a:lnTo>
                  <a:lnTo>
                    <a:pt x="52" y="78"/>
                  </a:lnTo>
                  <a:lnTo>
                    <a:pt x="49" y="78"/>
                  </a:lnTo>
                  <a:lnTo>
                    <a:pt x="49" y="82"/>
                  </a:lnTo>
                  <a:lnTo>
                    <a:pt x="47" y="82"/>
                  </a:lnTo>
                  <a:lnTo>
                    <a:pt x="47" y="82"/>
                  </a:lnTo>
                  <a:lnTo>
                    <a:pt x="45" y="85"/>
                  </a:lnTo>
                  <a:lnTo>
                    <a:pt x="42" y="85"/>
                  </a:lnTo>
                  <a:lnTo>
                    <a:pt x="40" y="87"/>
                  </a:lnTo>
                  <a:lnTo>
                    <a:pt x="37" y="87"/>
                  </a:lnTo>
                  <a:lnTo>
                    <a:pt x="35" y="87"/>
                  </a:lnTo>
                  <a:lnTo>
                    <a:pt x="35" y="87"/>
                  </a:lnTo>
                  <a:lnTo>
                    <a:pt x="35" y="90"/>
                  </a:lnTo>
                  <a:lnTo>
                    <a:pt x="35" y="92"/>
                  </a:lnTo>
                  <a:lnTo>
                    <a:pt x="30" y="94"/>
                  </a:lnTo>
                  <a:lnTo>
                    <a:pt x="28" y="97"/>
                  </a:lnTo>
                  <a:lnTo>
                    <a:pt x="26" y="97"/>
                  </a:lnTo>
                  <a:lnTo>
                    <a:pt x="26" y="97"/>
                  </a:lnTo>
                  <a:lnTo>
                    <a:pt x="23" y="97"/>
                  </a:lnTo>
                  <a:lnTo>
                    <a:pt x="23" y="97"/>
                  </a:lnTo>
                  <a:lnTo>
                    <a:pt x="26" y="99"/>
                  </a:lnTo>
                  <a:lnTo>
                    <a:pt x="26" y="101"/>
                  </a:lnTo>
                  <a:lnTo>
                    <a:pt x="28" y="104"/>
                  </a:lnTo>
                  <a:lnTo>
                    <a:pt x="28" y="106"/>
                  </a:lnTo>
                  <a:lnTo>
                    <a:pt x="28" y="106"/>
                  </a:lnTo>
                  <a:lnTo>
                    <a:pt x="30" y="108"/>
                  </a:lnTo>
                  <a:lnTo>
                    <a:pt x="30" y="111"/>
                  </a:lnTo>
                  <a:lnTo>
                    <a:pt x="28" y="111"/>
                  </a:lnTo>
                  <a:lnTo>
                    <a:pt x="26" y="111"/>
                  </a:lnTo>
                  <a:lnTo>
                    <a:pt x="23" y="113"/>
                  </a:lnTo>
                  <a:lnTo>
                    <a:pt x="23" y="113"/>
                  </a:lnTo>
                  <a:lnTo>
                    <a:pt x="21" y="111"/>
                  </a:lnTo>
                  <a:lnTo>
                    <a:pt x="19" y="111"/>
                  </a:lnTo>
                  <a:lnTo>
                    <a:pt x="16" y="108"/>
                  </a:lnTo>
                  <a:lnTo>
                    <a:pt x="14" y="104"/>
                  </a:lnTo>
                  <a:lnTo>
                    <a:pt x="9" y="101"/>
                  </a:lnTo>
                  <a:lnTo>
                    <a:pt x="9" y="101"/>
                  </a:lnTo>
                  <a:lnTo>
                    <a:pt x="7" y="101"/>
                  </a:lnTo>
                  <a:lnTo>
                    <a:pt x="7" y="101"/>
                  </a:lnTo>
                  <a:lnTo>
                    <a:pt x="4" y="104"/>
                  </a:lnTo>
                  <a:lnTo>
                    <a:pt x="4" y="104"/>
                  </a:lnTo>
                  <a:lnTo>
                    <a:pt x="4" y="104"/>
                  </a:lnTo>
                  <a:lnTo>
                    <a:pt x="4" y="106"/>
                  </a:lnTo>
                  <a:lnTo>
                    <a:pt x="4" y="108"/>
                  </a:lnTo>
                  <a:lnTo>
                    <a:pt x="4" y="108"/>
                  </a:lnTo>
                  <a:lnTo>
                    <a:pt x="2" y="111"/>
                  </a:lnTo>
                  <a:lnTo>
                    <a:pt x="0" y="113"/>
                  </a:lnTo>
                  <a:lnTo>
                    <a:pt x="0" y="116"/>
                  </a:lnTo>
                  <a:lnTo>
                    <a:pt x="0" y="120"/>
                  </a:lnTo>
                  <a:lnTo>
                    <a:pt x="0" y="123"/>
                  </a:lnTo>
                  <a:lnTo>
                    <a:pt x="0" y="123"/>
                  </a:lnTo>
                  <a:lnTo>
                    <a:pt x="2" y="125"/>
                  </a:lnTo>
                  <a:lnTo>
                    <a:pt x="4" y="125"/>
                  </a:lnTo>
                  <a:lnTo>
                    <a:pt x="4" y="127"/>
                  </a:lnTo>
                  <a:lnTo>
                    <a:pt x="4" y="127"/>
                  </a:lnTo>
                  <a:lnTo>
                    <a:pt x="4" y="130"/>
                  </a:lnTo>
                  <a:lnTo>
                    <a:pt x="2" y="130"/>
                  </a:lnTo>
                  <a:lnTo>
                    <a:pt x="0" y="134"/>
                  </a:lnTo>
                  <a:lnTo>
                    <a:pt x="0" y="139"/>
                  </a:lnTo>
                  <a:lnTo>
                    <a:pt x="2" y="142"/>
                  </a:lnTo>
                  <a:lnTo>
                    <a:pt x="4" y="144"/>
                  </a:lnTo>
                  <a:lnTo>
                    <a:pt x="7" y="144"/>
                  </a:lnTo>
                  <a:lnTo>
                    <a:pt x="9" y="146"/>
                  </a:lnTo>
                  <a:lnTo>
                    <a:pt x="9" y="149"/>
                  </a:lnTo>
                  <a:lnTo>
                    <a:pt x="9" y="151"/>
                  </a:lnTo>
                  <a:lnTo>
                    <a:pt x="9" y="151"/>
                  </a:lnTo>
                  <a:lnTo>
                    <a:pt x="12" y="153"/>
                  </a:lnTo>
                  <a:lnTo>
                    <a:pt x="12" y="156"/>
                  </a:lnTo>
                  <a:lnTo>
                    <a:pt x="14" y="156"/>
                  </a:lnTo>
                  <a:lnTo>
                    <a:pt x="16" y="156"/>
                  </a:lnTo>
                  <a:lnTo>
                    <a:pt x="16" y="153"/>
                  </a:lnTo>
                  <a:lnTo>
                    <a:pt x="19" y="156"/>
                  </a:lnTo>
                  <a:lnTo>
                    <a:pt x="23" y="156"/>
                  </a:lnTo>
                  <a:lnTo>
                    <a:pt x="28" y="156"/>
                  </a:lnTo>
                  <a:lnTo>
                    <a:pt x="28" y="156"/>
                  </a:lnTo>
                  <a:lnTo>
                    <a:pt x="30" y="158"/>
                  </a:lnTo>
                  <a:lnTo>
                    <a:pt x="33" y="163"/>
                  </a:lnTo>
                  <a:lnTo>
                    <a:pt x="35" y="165"/>
                  </a:lnTo>
                  <a:lnTo>
                    <a:pt x="37" y="165"/>
                  </a:lnTo>
                  <a:lnTo>
                    <a:pt x="40" y="170"/>
                  </a:lnTo>
                  <a:lnTo>
                    <a:pt x="42" y="172"/>
                  </a:lnTo>
                  <a:lnTo>
                    <a:pt x="45" y="175"/>
                  </a:lnTo>
                  <a:lnTo>
                    <a:pt x="45" y="177"/>
                  </a:lnTo>
                  <a:lnTo>
                    <a:pt x="45" y="177"/>
                  </a:lnTo>
                  <a:lnTo>
                    <a:pt x="42" y="177"/>
                  </a:lnTo>
                  <a:lnTo>
                    <a:pt x="40" y="177"/>
                  </a:lnTo>
                  <a:lnTo>
                    <a:pt x="40" y="177"/>
                  </a:lnTo>
                  <a:lnTo>
                    <a:pt x="40" y="177"/>
                  </a:lnTo>
                  <a:lnTo>
                    <a:pt x="37" y="177"/>
                  </a:lnTo>
                  <a:lnTo>
                    <a:pt x="37" y="177"/>
                  </a:lnTo>
                  <a:lnTo>
                    <a:pt x="37" y="177"/>
                  </a:lnTo>
                  <a:lnTo>
                    <a:pt x="37" y="179"/>
                  </a:lnTo>
                  <a:lnTo>
                    <a:pt x="40" y="179"/>
                  </a:lnTo>
                  <a:lnTo>
                    <a:pt x="40" y="179"/>
                  </a:lnTo>
                  <a:lnTo>
                    <a:pt x="40" y="179"/>
                  </a:lnTo>
                  <a:lnTo>
                    <a:pt x="42" y="182"/>
                  </a:lnTo>
                  <a:lnTo>
                    <a:pt x="47" y="182"/>
                  </a:lnTo>
                  <a:lnTo>
                    <a:pt x="49" y="184"/>
                  </a:lnTo>
                  <a:lnTo>
                    <a:pt x="52" y="184"/>
                  </a:lnTo>
                  <a:lnTo>
                    <a:pt x="52" y="184"/>
                  </a:lnTo>
                  <a:lnTo>
                    <a:pt x="52" y="182"/>
                  </a:lnTo>
                  <a:lnTo>
                    <a:pt x="54" y="184"/>
                  </a:lnTo>
                  <a:lnTo>
                    <a:pt x="52" y="182"/>
                  </a:lnTo>
                  <a:lnTo>
                    <a:pt x="52" y="182"/>
                  </a:lnTo>
                  <a:lnTo>
                    <a:pt x="54" y="182"/>
                  </a:lnTo>
                  <a:lnTo>
                    <a:pt x="56" y="179"/>
                  </a:lnTo>
                  <a:lnTo>
                    <a:pt x="56" y="179"/>
                  </a:lnTo>
                  <a:lnTo>
                    <a:pt x="59" y="179"/>
                  </a:lnTo>
                  <a:lnTo>
                    <a:pt x="61" y="179"/>
                  </a:lnTo>
                  <a:lnTo>
                    <a:pt x="63" y="179"/>
                  </a:lnTo>
                  <a:lnTo>
                    <a:pt x="63" y="177"/>
                  </a:lnTo>
                  <a:lnTo>
                    <a:pt x="68" y="175"/>
                  </a:lnTo>
                  <a:lnTo>
                    <a:pt x="68" y="175"/>
                  </a:lnTo>
                  <a:lnTo>
                    <a:pt x="70" y="175"/>
                  </a:lnTo>
                  <a:lnTo>
                    <a:pt x="70" y="175"/>
                  </a:lnTo>
                  <a:lnTo>
                    <a:pt x="70" y="175"/>
                  </a:lnTo>
                  <a:lnTo>
                    <a:pt x="73" y="172"/>
                  </a:lnTo>
                  <a:lnTo>
                    <a:pt x="73" y="172"/>
                  </a:lnTo>
                  <a:lnTo>
                    <a:pt x="75" y="170"/>
                  </a:lnTo>
                  <a:lnTo>
                    <a:pt x="80" y="170"/>
                  </a:lnTo>
                  <a:lnTo>
                    <a:pt x="82" y="170"/>
                  </a:lnTo>
                  <a:lnTo>
                    <a:pt x="87" y="170"/>
                  </a:lnTo>
                  <a:lnTo>
                    <a:pt x="89" y="170"/>
                  </a:lnTo>
                  <a:lnTo>
                    <a:pt x="89" y="172"/>
                  </a:lnTo>
                  <a:lnTo>
                    <a:pt x="94" y="172"/>
                  </a:lnTo>
                  <a:lnTo>
                    <a:pt x="94" y="172"/>
                  </a:lnTo>
                  <a:lnTo>
                    <a:pt x="96" y="175"/>
                  </a:lnTo>
                  <a:lnTo>
                    <a:pt x="96" y="175"/>
                  </a:lnTo>
                  <a:lnTo>
                    <a:pt x="99" y="175"/>
                  </a:lnTo>
                  <a:lnTo>
                    <a:pt x="101" y="172"/>
                  </a:lnTo>
                  <a:lnTo>
                    <a:pt x="101" y="172"/>
                  </a:lnTo>
                  <a:lnTo>
                    <a:pt x="101" y="172"/>
                  </a:lnTo>
                  <a:lnTo>
                    <a:pt x="101" y="172"/>
                  </a:lnTo>
                  <a:lnTo>
                    <a:pt x="106" y="172"/>
                  </a:lnTo>
                  <a:lnTo>
                    <a:pt x="111" y="172"/>
                  </a:lnTo>
                  <a:lnTo>
                    <a:pt x="111" y="172"/>
                  </a:lnTo>
                  <a:lnTo>
                    <a:pt x="113" y="175"/>
                  </a:lnTo>
                  <a:lnTo>
                    <a:pt x="113" y="177"/>
                  </a:lnTo>
                  <a:lnTo>
                    <a:pt x="115" y="177"/>
                  </a:lnTo>
                  <a:lnTo>
                    <a:pt x="115" y="179"/>
                  </a:lnTo>
                  <a:lnTo>
                    <a:pt x="113" y="179"/>
                  </a:lnTo>
                  <a:lnTo>
                    <a:pt x="113" y="182"/>
                  </a:lnTo>
                  <a:lnTo>
                    <a:pt x="115" y="184"/>
                  </a:lnTo>
                  <a:lnTo>
                    <a:pt x="115" y="189"/>
                  </a:lnTo>
                  <a:lnTo>
                    <a:pt x="115" y="191"/>
                  </a:lnTo>
                  <a:lnTo>
                    <a:pt x="113" y="196"/>
                  </a:lnTo>
                  <a:lnTo>
                    <a:pt x="113" y="201"/>
                  </a:lnTo>
                  <a:lnTo>
                    <a:pt x="115" y="203"/>
                  </a:lnTo>
                  <a:lnTo>
                    <a:pt x="120" y="203"/>
                  </a:lnTo>
                  <a:lnTo>
                    <a:pt x="120" y="205"/>
                  </a:lnTo>
                  <a:lnTo>
                    <a:pt x="120" y="205"/>
                  </a:lnTo>
                  <a:lnTo>
                    <a:pt x="115" y="205"/>
                  </a:lnTo>
                  <a:lnTo>
                    <a:pt x="113" y="205"/>
                  </a:lnTo>
                  <a:lnTo>
                    <a:pt x="111" y="203"/>
                  </a:lnTo>
                  <a:lnTo>
                    <a:pt x="108" y="203"/>
                  </a:lnTo>
                  <a:lnTo>
                    <a:pt x="101" y="205"/>
                  </a:lnTo>
                  <a:lnTo>
                    <a:pt x="96" y="203"/>
                  </a:lnTo>
                  <a:lnTo>
                    <a:pt x="94" y="205"/>
                  </a:lnTo>
                  <a:lnTo>
                    <a:pt x="92" y="205"/>
                  </a:lnTo>
                  <a:lnTo>
                    <a:pt x="89" y="205"/>
                  </a:lnTo>
                  <a:lnTo>
                    <a:pt x="89" y="208"/>
                  </a:lnTo>
                  <a:lnTo>
                    <a:pt x="89" y="210"/>
                  </a:lnTo>
                  <a:lnTo>
                    <a:pt x="89" y="213"/>
                  </a:lnTo>
                  <a:lnTo>
                    <a:pt x="87" y="215"/>
                  </a:lnTo>
                  <a:lnTo>
                    <a:pt x="87" y="215"/>
                  </a:lnTo>
                  <a:lnTo>
                    <a:pt x="87" y="217"/>
                  </a:lnTo>
                  <a:lnTo>
                    <a:pt x="87" y="217"/>
                  </a:lnTo>
                  <a:lnTo>
                    <a:pt x="92" y="220"/>
                  </a:lnTo>
                  <a:lnTo>
                    <a:pt x="92" y="222"/>
                  </a:lnTo>
                  <a:lnTo>
                    <a:pt x="94" y="222"/>
                  </a:lnTo>
                  <a:lnTo>
                    <a:pt x="94" y="222"/>
                  </a:lnTo>
                  <a:lnTo>
                    <a:pt x="96" y="222"/>
                  </a:lnTo>
                  <a:lnTo>
                    <a:pt x="96" y="224"/>
                  </a:lnTo>
                  <a:lnTo>
                    <a:pt x="94" y="224"/>
                  </a:lnTo>
                  <a:lnTo>
                    <a:pt x="94" y="224"/>
                  </a:lnTo>
                  <a:lnTo>
                    <a:pt x="92" y="224"/>
                  </a:lnTo>
                  <a:lnTo>
                    <a:pt x="89" y="224"/>
                  </a:lnTo>
                  <a:lnTo>
                    <a:pt x="89" y="224"/>
                  </a:lnTo>
                  <a:lnTo>
                    <a:pt x="85" y="222"/>
                  </a:lnTo>
                  <a:lnTo>
                    <a:pt x="82" y="222"/>
                  </a:lnTo>
                  <a:lnTo>
                    <a:pt x="78" y="222"/>
                  </a:lnTo>
                  <a:lnTo>
                    <a:pt x="75" y="222"/>
                  </a:lnTo>
                  <a:lnTo>
                    <a:pt x="75" y="224"/>
                  </a:lnTo>
                  <a:lnTo>
                    <a:pt x="75" y="224"/>
                  </a:lnTo>
                  <a:lnTo>
                    <a:pt x="75" y="227"/>
                  </a:lnTo>
                  <a:lnTo>
                    <a:pt x="75" y="227"/>
                  </a:lnTo>
                  <a:lnTo>
                    <a:pt x="78" y="227"/>
                  </a:lnTo>
                  <a:lnTo>
                    <a:pt x="80" y="229"/>
                  </a:lnTo>
                  <a:lnTo>
                    <a:pt x="85" y="229"/>
                  </a:lnTo>
                  <a:lnTo>
                    <a:pt x="85" y="229"/>
                  </a:lnTo>
                  <a:lnTo>
                    <a:pt x="87" y="231"/>
                  </a:lnTo>
                  <a:lnTo>
                    <a:pt x="89" y="236"/>
                  </a:lnTo>
                  <a:lnTo>
                    <a:pt x="92" y="239"/>
                  </a:lnTo>
                  <a:lnTo>
                    <a:pt x="94" y="241"/>
                  </a:lnTo>
                  <a:lnTo>
                    <a:pt x="96" y="243"/>
                  </a:lnTo>
                  <a:lnTo>
                    <a:pt x="96" y="243"/>
                  </a:lnTo>
                  <a:lnTo>
                    <a:pt x="96" y="246"/>
                  </a:lnTo>
                  <a:lnTo>
                    <a:pt x="96" y="246"/>
                  </a:lnTo>
                  <a:lnTo>
                    <a:pt x="99" y="248"/>
                  </a:lnTo>
                  <a:lnTo>
                    <a:pt x="99" y="250"/>
                  </a:lnTo>
                  <a:lnTo>
                    <a:pt x="99" y="250"/>
                  </a:lnTo>
                  <a:lnTo>
                    <a:pt x="99" y="250"/>
                  </a:lnTo>
                  <a:lnTo>
                    <a:pt x="101" y="250"/>
                  </a:lnTo>
                  <a:lnTo>
                    <a:pt x="103" y="253"/>
                  </a:lnTo>
                  <a:lnTo>
                    <a:pt x="106" y="253"/>
                  </a:lnTo>
                  <a:lnTo>
                    <a:pt x="106" y="255"/>
                  </a:lnTo>
                  <a:lnTo>
                    <a:pt x="108" y="255"/>
                  </a:lnTo>
                  <a:lnTo>
                    <a:pt x="108" y="257"/>
                  </a:lnTo>
                  <a:lnTo>
                    <a:pt x="108" y="257"/>
                  </a:lnTo>
                  <a:lnTo>
                    <a:pt x="111" y="257"/>
                  </a:lnTo>
                  <a:lnTo>
                    <a:pt x="111" y="257"/>
                  </a:lnTo>
                  <a:lnTo>
                    <a:pt x="113" y="257"/>
                  </a:lnTo>
                  <a:lnTo>
                    <a:pt x="115" y="257"/>
                  </a:lnTo>
                  <a:lnTo>
                    <a:pt x="115" y="260"/>
                  </a:lnTo>
                  <a:lnTo>
                    <a:pt x="118" y="257"/>
                  </a:lnTo>
                  <a:lnTo>
                    <a:pt x="118" y="257"/>
                  </a:lnTo>
                  <a:lnTo>
                    <a:pt x="120" y="257"/>
                  </a:lnTo>
                  <a:lnTo>
                    <a:pt x="120" y="260"/>
                  </a:lnTo>
                  <a:lnTo>
                    <a:pt x="122" y="260"/>
                  </a:lnTo>
                  <a:lnTo>
                    <a:pt x="122" y="265"/>
                  </a:lnTo>
                  <a:lnTo>
                    <a:pt x="122" y="267"/>
                  </a:lnTo>
                  <a:lnTo>
                    <a:pt x="122" y="269"/>
                  </a:lnTo>
                  <a:lnTo>
                    <a:pt x="122" y="269"/>
                  </a:lnTo>
                  <a:lnTo>
                    <a:pt x="122" y="274"/>
                  </a:lnTo>
                  <a:lnTo>
                    <a:pt x="122" y="274"/>
                  </a:lnTo>
                  <a:lnTo>
                    <a:pt x="122" y="279"/>
                  </a:lnTo>
                  <a:lnTo>
                    <a:pt x="125" y="279"/>
                  </a:lnTo>
                  <a:lnTo>
                    <a:pt x="127" y="276"/>
                  </a:lnTo>
                  <a:lnTo>
                    <a:pt x="129" y="274"/>
                  </a:lnTo>
                  <a:lnTo>
                    <a:pt x="132" y="272"/>
                  </a:lnTo>
                  <a:lnTo>
                    <a:pt x="132" y="272"/>
                  </a:lnTo>
                  <a:lnTo>
                    <a:pt x="134" y="272"/>
                  </a:lnTo>
                  <a:lnTo>
                    <a:pt x="139" y="269"/>
                  </a:lnTo>
                  <a:lnTo>
                    <a:pt x="141" y="269"/>
                  </a:lnTo>
                  <a:lnTo>
                    <a:pt x="146" y="269"/>
                  </a:lnTo>
                  <a:lnTo>
                    <a:pt x="148" y="269"/>
                  </a:lnTo>
                  <a:lnTo>
                    <a:pt x="148" y="269"/>
                  </a:lnTo>
                  <a:lnTo>
                    <a:pt x="151" y="269"/>
                  </a:lnTo>
                  <a:lnTo>
                    <a:pt x="153" y="269"/>
                  </a:lnTo>
                  <a:lnTo>
                    <a:pt x="155" y="272"/>
                  </a:lnTo>
                  <a:lnTo>
                    <a:pt x="160" y="274"/>
                  </a:lnTo>
                  <a:lnTo>
                    <a:pt x="162" y="276"/>
                  </a:lnTo>
                  <a:lnTo>
                    <a:pt x="165" y="276"/>
                  </a:lnTo>
                  <a:lnTo>
                    <a:pt x="165" y="279"/>
                  </a:lnTo>
                  <a:lnTo>
                    <a:pt x="165" y="279"/>
                  </a:lnTo>
                  <a:lnTo>
                    <a:pt x="169" y="283"/>
                  </a:lnTo>
                  <a:lnTo>
                    <a:pt x="169" y="283"/>
                  </a:lnTo>
                  <a:lnTo>
                    <a:pt x="172" y="286"/>
                  </a:lnTo>
                  <a:lnTo>
                    <a:pt x="174" y="288"/>
                  </a:lnTo>
                  <a:lnTo>
                    <a:pt x="174" y="288"/>
                  </a:lnTo>
                  <a:lnTo>
                    <a:pt x="177" y="291"/>
                  </a:lnTo>
                  <a:lnTo>
                    <a:pt x="177" y="291"/>
                  </a:lnTo>
                  <a:lnTo>
                    <a:pt x="177" y="291"/>
                  </a:lnTo>
                  <a:lnTo>
                    <a:pt x="179" y="291"/>
                  </a:lnTo>
                  <a:lnTo>
                    <a:pt x="181" y="291"/>
                  </a:lnTo>
                  <a:lnTo>
                    <a:pt x="184" y="288"/>
                  </a:lnTo>
                  <a:lnTo>
                    <a:pt x="184" y="288"/>
                  </a:lnTo>
                  <a:lnTo>
                    <a:pt x="184" y="283"/>
                  </a:lnTo>
                  <a:lnTo>
                    <a:pt x="184" y="279"/>
                  </a:lnTo>
                  <a:lnTo>
                    <a:pt x="181" y="274"/>
                  </a:lnTo>
                  <a:lnTo>
                    <a:pt x="181" y="269"/>
                  </a:lnTo>
                  <a:lnTo>
                    <a:pt x="179" y="265"/>
                  </a:lnTo>
                  <a:lnTo>
                    <a:pt x="179" y="260"/>
                  </a:lnTo>
                  <a:lnTo>
                    <a:pt x="179" y="255"/>
                  </a:lnTo>
                  <a:lnTo>
                    <a:pt x="177" y="253"/>
                  </a:lnTo>
                  <a:lnTo>
                    <a:pt x="177" y="248"/>
                  </a:lnTo>
                  <a:lnTo>
                    <a:pt x="174" y="243"/>
                  </a:lnTo>
                  <a:lnTo>
                    <a:pt x="174" y="239"/>
                  </a:lnTo>
                  <a:lnTo>
                    <a:pt x="172" y="234"/>
                  </a:lnTo>
                  <a:lnTo>
                    <a:pt x="172" y="229"/>
                  </a:lnTo>
                  <a:lnTo>
                    <a:pt x="172" y="224"/>
                  </a:lnTo>
                  <a:lnTo>
                    <a:pt x="169" y="220"/>
                  </a:lnTo>
                  <a:lnTo>
                    <a:pt x="169" y="215"/>
                  </a:lnTo>
                  <a:lnTo>
                    <a:pt x="172" y="213"/>
                  </a:lnTo>
                  <a:lnTo>
                    <a:pt x="174" y="210"/>
                  </a:lnTo>
                  <a:lnTo>
                    <a:pt x="177" y="210"/>
                  </a:lnTo>
                  <a:lnTo>
                    <a:pt x="179" y="210"/>
                  </a:lnTo>
                  <a:lnTo>
                    <a:pt x="181" y="208"/>
                  </a:lnTo>
                  <a:lnTo>
                    <a:pt x="184" y="208"/>
                  </a:lnTo>
                  <a:lnTo>
                    <a:pt x="188" y="208"/>
                  </a:lnTo>
                  <a:lnTo>
                    <a:pt x="191" y="205"/>
                  </a:lnTo>
                  <a:lnTo>
                    <a:pt x="193" y="205"/>
                  </a:lnTo>
                  <a:lnTo>
                    <a:pt x="195" y="205"/>
                  </a:lnTo>
                  <a:lnTo>
                    <a:pt x="200" y="203"/>
                  </a:lnTo>
                  <a:lnTo>
                    <a:pt x="202" y="203"/>
                  </a:lnTo>
                  <a:lnTo>
                    <a:pt x="205" y="201"/>
                  </a:lnTo>
                  <a:lnTo>
                    <a:pt x="207" y="201"/>
                  </a:lnTo>
                  <a:lnTo>
                    <a:pt x="209" y="201"/>
                  </a:lnTo>
                  <a:lnTo>
                    <a:pt x="212" y="203"/>
                  </a:lnTo>
                  <a:lnTo>
                    <a:pt x="214" y="203"/>
                  </a:lnTo>
                  <a:lnTo>
                    <a:pt x="217" y="205"/>
                  </a:lnTo>
                  <a:lnTo>
                    <a:pt x="219" y="205"/>
                  </a:lnTo>
                  <a:lnTo>
                    <a:pt x="221" y="208"/>
                  </a:lnTo>
                  <a:lnTo>
                    <a:pt x="224" y="208"/>
                  </a:lnTo>
                  <a:lnTo>
                    <a:pt x="226" y="210"/>
                  </a:lnTo>
                  <a:lnTo>
                    <a:pt x="228" y="210"/>
                  </a:lnTo>
                  <a:lnTo>
                    <a:pt x="233" y="215"/>
                  </a:lnTo>
                  <a:lnTo>
                    <a:pt x="235" y="215"/>
                  </a:lnTo>
                  <a:lnTo>
                    <a:pt x="238" y="217"/>
                  </a:lnTo>
                  <a:lnTo>
                    <a:pt x="240" y="217"/>
                  </a:lnTo>
                  <a:lnTo>
                    <a:pt x="242" y="220"/>
                  </a:lnTo>
                  <a:lnTo>
                    <a:pt x="245" y="222"/>
                  </a:lnTo>
                  <a:lnTo>
                    <a:pt x="247" y="222"/>
                  </a:lnTo>
                  <a:lnTo>
                    <a:pt x="250" y="224"/>
                  </a:lnTo>
                  <a:lnTo>
                    <a:pt x="254" y="224"/>
                  </a:lnTo>
                  <a:lnTo>
                    <a:pt x="257" y="227"/>
                  </a:lnTo>
                  <a:lnTo>
                    <a:pt x="257" y="227"/>
                  </a:lnTo>
                  <a:lnTo>
                    <a:pt x="257" y="229"/>
                  </a:lnTo>
                  <a:lnTo>
                    <a:pt x="259" y="231"/>
                  </a:lnTo>
                  <a:lnTo>
                    <a:pt x="261" y="234"/>
                  </a:lnTo>
                  <a:lnTo>
                    <a:pt x="264" y="234"/>
                  </a:lnTo>
                  <a:lnTo>
                    <a:pt x="266" y="236"/>
                  </a:lnTo>
                  <a:lnTo>
                    <a:pt x="268" y="239"/>
                  </a:lnTo>
                  <a:lnTo>
                    <a:pt x="271" y="241"/>
                  </a:lnTo>
                  <a:lnTo>
                    <a:pt x="275" y="243"/>
                  </a:lnTo>
                  <a:lnTo>
                    <a:pt x="275" y="246"/>
                  </a:lnTo>
                  <a:lnTo>
                    <a:pt x="278" y="246"/>
                  </a:lnTo>
                  <a:lnTo>
                    <a:pt x="280" y="243"/>
                  </a:lnTo>
                  <a:lnTo>
                    <a:pt x="285" y="243"/>
                  </a:lnTo>
                  <a:lnTo>
                    <a:pt x="287" y="243"/>
                  </a:lnTo>
                  <a:lnTo>
                    <a:pt x="290" y="243"/>
                  </a:lnTo>
                  <a:lnTo>
                    <a:pt x="294" y="243"/>
                  </a:lnTo>
                  <a:lnTo>
                    <a:pt x="297" y="241"/>
                  </a:lnTo>
                  <a:lnTo>
                    <a:pt x="301" y="243"/>
                  </a:lnTo>
                  <a:lnTo>
                    <a:pt x="304" y="243"/>
                  </a:lnTo>
                  <a:lnTo>
                    <a:pt x="306" y="243"/>
                  </a:lnTo>
                  <a:lnTo>
                    <a:pt x="311" y="243"/>
                  </a:lnTo>
                  <a:lnTo>
                    <a:pt x="313" y="243"/>
                  </a:lnTo>
                  <a:lnTo>
                    <a:pt x="316" y="243"/>
                  </a:lnTo>
                  <a:lnTo>
                    <a:pt x="318" y="243"/>
                  </a:lnTo>
                  <a:lnTo>
                    <a:pt x="318" y="243"/>
                  </a:lnTo>
                  <a:lnTo>
                    <a:pt x="320" y="243"/>
                  </a:lnTo>
                  <a:lnTo>
                    <a:pt x="320" y="241"/>
                  </a:lnTo>
                  <a:lnTo>
                    <a:pt x="323" y="241"/>
                  </a:lnTo>
                  <a:lnTo>
                    <a:pt x="325" y="241"/>
                  </a:lnTo>
                  <a:lnTo>
                    <a:pt x="327" y="241"/>
                  </a:lnTo>
                  <a:lnTo>
                    <a:pt x="327" y="243"/>
                  </a:lnTo>
                  <a:lnTo>
                    <a:pt x="330" y="246"/>
                  </a:lnTo>
                  <a:lnTo>
                    <a:pt x="332" y="246"/>
                  </a:lnTo>
                  <a:lnTo>
                    <a:pt x="334" y="248"/>
                  </a:lnTo>
                  <a:lnTo>
                    <a:pt x="337" y="248"/>
                  </a:lnTo>
                  <a:lnTo>
                    <a:pt x="339" y="250"/>
                  </a:lnTo>
                  <a:lnTo>
                    <a:pt x="341" y="253"/>
                  </a:lnTo>
                  <a:lnTo>
                    <a:pt x="341" y="255"/>
                  </a:lnTo>
                  <a:lnTo>
                    <a:pt x="344" y="257"/>
                  </a:lnTo>
                  <a:lnTo>
                    <a:pt x="346" y="257"/>
                  </a:lnTo>
                  <a:lnTo>
                    <a:pt x="346" y="255"/>
                  </a:lnTo>
                  <a:lnTo>
                    <a:pt x="349" y="255"/>
                  </a:lnTo>
                  <a:lnTo>
                    <a:pt x="349" y="257"/>
                  </a:lnTo>
                  <a:lnTo>
                    <a:pt x="349" y="260"/>
                  </a:lnTo>
                  <a:lnTo>
                    <a:pt x="349" y="262"/>
                  </a:lnTo>
                  <a:lnTo>
                    <a:pt x="351" y="265"/>
                  </a:lnTo>
                  <a:lnTo>
                    <a:pt x="351" y="269"/>
                  </a:lnTo>
                  <a:lnTo>
                    <a:pt x="351" y="272"/>
                  </a:lnTo>
                  <a:lnTo>
                    <a:pt x="351" y="274"/>
                  </a:lnTo>
                  <a:lnTo>
                    <a:pt x="351" y="274"/>
                  </a:lnTo>
                  <a:lnTo>
                    <a:pt x="356" y="276"/>
                  </a:lnTo>
                  <a:lnTo>
                    <a:pt x="358" y="276"/>
                  </a:lnTo>
                  <a:lnTo>
                    <a:pt x="360" y="276"/>
                  </a:lnTo>
                  <a:lnTo>
                    <a:pt x="360" y="276"/>
                  </a:lnTo>
                  <a:lnTo>
                    <a:pt x="363" y="281"/>
                  </a:lnTo>
                  <a:lnTo>
                    <a:pt x="363" y="283"/>
                  </a:lnTo>
                  <a:lnTo>
                    <a:pt x="365" y="286"/>
                  </a:lnTo>
                  <a:lnTo>
                    <a:pt x="365" y="288"/>
                  </a:lnTo>
                  <a:lnTo>
                    <a:pt x="367" y="291"/>
                  </a:lnTo>
                  <a:lnTo>
                    <a:pt x="367" y="293"/>
                  </a:lnTo>
                  <a:lnTo>
                    <a:pt x="370" y="293"/>
                  </a:lnTo>
                  <a:lnTo>
                    <a:pt x="370" y="293"/>
                  </a:lnTo>
                  <a:lnTo>
                    <a:pt x="374" y="293"/>
                  </a:lnTo>
                  <a:lnTo>
                    <a:pt x="377" y="293"/>
                  </a:lnTo>
                  <a:lnTo>
                    <a:pt x="379" y="293"/>
                  </a:lnTo>
                  <a:lnTo>
                    <a:pt x="382" y="293"/>
                  </a:lnTo>
                  <a:lnTo>
                    <a:pt x="386" y="293"/>
                  </a:lnTo>
                  <a:lnTo>
                    <a:pt x="386" y="293"/>
                  </a:lnTo>
                  <a:lnTo>
                    <a:pt x="389" y="293"/>
                  </a:lnTo>
                  <a:lnTo>
                    <a:pt x="389" y="293"/>
                  </a:lnTo>
                  <a:lnTo>
                    <a:pt x="391" y="293"/>
                  </a:lnTo>
                  <a:lnTo>
                    <a:pt x="391" y="293"/>
                  </a:lnTo>
                  <a:lnTo>
                    <a:pt x="391" y="295"/>
                  </a:lnTo>
                  <a:lnTo>
                    <a:pt x="393" y="295"/>
                  </a:lnTo>
                  <a:lnTo>
                    <a:pt x="393" y="298"/>
                  </a:lnTo>
                  <a:lnTo>
                    <a:pt x="393" y="298"/>
                  </a:lnTo>
                  <a:lnTo>
                    <a:pt x="393" y="300"/>
                  </a:lnTo>
                  <a:lnTo>
                    <a:pt x="393" y="300"/>
                  </a:lnTo>
                  <a:lnTo>
                    <a:pt x="396" y="302"/>
                  </a:lnTo>
                  <a:lnTo>
                    <a:pt x="398" y="302"/>
                  </a:lnTo>
                  <a:lnTo>
                    <a:pt x="400" y="305"/>
                  </a:lnTo>
                  <a:lnTo>
                    <a:pt x="400" y="305"/>
                  </a:lnTo>
                  <a:lnTo>
                    <a:pt x="403" y="305"/>
                  </a:lnTo>
                  <a:lnTo>
                    <a:pt x="403" y="302"/>
                  </a:lnTo>
                  <a:lnTo>
                    <a:pt x="403" y="302"/>
                  </a:lnTo>
                  <a:lnTo>
                    <a:pt x="403" y="300"/>
                  </a:lnTo>
                  <a:lnTo>
                    <a:pt x="400" y="300"/>
                  </a:lnTo>
                  <a:lnTo>
                    <a:pt x="400" y="298"/>
                  </a:lnTo>
                  <a:lnTo>
                    <a:pt x="403" y="298"/>
                  </a:lnTo>
                  <a:lnTo>
                    <a:pt x="403" y="295"/>
                  </a:lnTo>
                  <a:lnTo>
                    <a:pt x="405" y="293"/>
                  </a:lnTo>
                  <a:lnTo>
                    <a:pt x="407" y="291"/>
                  </a:lnTo>
                  <a:lnTo>
                    <a:pt x="407" y="291"/>
                  </a:lnTo>
                  <a:lnTo>
                    <a:pt x="407" y="288"/>
                  </a:lnTo>
                  <a:lnTo>
                    <a:pt x="407" y="288"/>
                  </a:lnTo>
                  <a:lnTo>
                    <a:pt x="410" y="286"/>
                  </a:lnTo>
                  <a:lnTo>
                    <a:pt x="412" y="286"/>
                  </a:lnTo>
                  <a:lnTo>
                    <a:pt x="412" y="286"/>
                  </a:lnTo>
                  <a:lnTo>
                    <a:pt x="415" y="283"/>
                  </a:lnTo>
                  <a:lnTo>
                    <a:pt x="415" y="281"/>
                  </a:lnTo>
                  <a:lnTo>
                    <a:pt x="417" y="281"/>
                  </a:lnTo>
                  <a:lnTo>
                    <a:pt x="419" y="281"/>
                  </a:lnTo>
                  <a:lnTo>
                    <a:pt x="422" y="279"/>
                  </a:lnTo>
                  <a:lnTo>
                    <a:pt x="424" y="276"/>
                  </a:lnTo>
                  <a:lnTo>
                    <a:pt x="424" y="274"/>
                  </a:lnTo>
                  <a:lnTo>
                    <a:pt x="426" y="274"/>
                  </a:lnTo>
                  <a:lnTo>
                    <a:pt x="426" y="274"/>
                  </a:lnTo>
                  <a:lnTo>
                    <a:pt x="429" y="274"/>
                  </a:lnTo>
                  <a:lnTo>
                    <a:pt x="429" y="274"/>
                  </a:lnTo>
                  <a:lnTo>
                    <a:pt x="429" y="274"/>
                  </a:lnTo>
                  <a:lnTo>
                    <a:pt x="431" y="274"/>
                  </a:lnTo>
                  <a:lnTo>
                    <a:pt x="431" y="272"/>
                  </a:lnTo>
                  <a:lnTo>
                    <a:pt x="431" y="272"/>
                  </a:lnTo>
                  <a:lnTo>
                    <a:pt x="433" y="272"/>
                  </a:lnTo>
                  <a:lnTo>
                    <a:pt x="433" y="269"/>
                  </a:lnTo>
                  <a:lnTo>
                    <a:pt x="433" y="269"/>
                  </a:lnTo>
                  <a:lnTo>
                    <a:pt x="433" y="269"/>
                  </a:lnTo>
                  <a:lnTo>
                    <a:pt x="433" y="267"/>
                  </a:lnTo>
                  <a:lnTo>
                    <a:pt x="433" y="267"/>
                  </a:lnTo>
                  <a:lnTo>
                    <a:pt x="433" y="265"/>
                  </a:lnTo>
                  <a:lnTo>
                    <a:pt x="436" y="262"/>
                  </a:lnTo>
                  <a:lnTo>
                    <a:pt x="436" y="262"/>
                  </a:lnTo>
                  <a:lnTo>
                    <a:pt x="436" y="260"/>
                  </a:lnTo>
                  <a:lnTo>
                    <a:pt x="438" y="260"/>
                  </a:lnTo>
                  <a:lnTo>
                    <a:pt x="440" y="260"/>
                  </a:lnTo>
                  <a:lnTo>
                    <a:pt x="443" y="260"/>
                  </a:lnTo>
                  <a:lnTo>
                    <a:pt x="445" y="257"/>
                  </a:lnTo>
                  <a:lnTo>
                    <a:pt x="445" y="257"/>
                  </a:lnTo>
                  <a:lnTo>
                    <a:pt x="445" y="257"/>
                  </a:lnTo>
                  <a:lnTo>
                    <a:pt x="452" y="260"/>
                  </a:lnTo>
                  <a:lnTo>
                    <a:pt x="455" y="260"/>
                  </a:lnTo>
                  <a:lnTo>
                    <a:pt x="459" y="262"/>
                  </a:lnTo>
                  <a:lnTo>
                    <a:pt x="462" y="262"/>
                  </a:lnTo>
                  <a:lnTo>
                    <a:pt x="462" y="262"/>
                  </a:lnTo>
                  <a:lnTo>
                    <a:pt x="464" y="262"/>
                  </a:lnTo>
                  <a:lnTo>
                    <a:pt x="464" y="265"/>
                  </a:lnTo>
                  <a:lnTo>
                    <a:pt x="471" y="265"/>
                  </a:lnTo>
                  <a:lnTo>
                    <a:pt x="473" y="265"/>
                  </a:lnTo>
                  <a:lnTo>
                    <a:pt x="473" y="265"/>
                  </a:lnTo>
                  <a:lnTo>
                    <a:pt x="476" y="267"/>
                  </a:lnTo>
                  <a:lnTo>
                    <a:pt x="476" y="267"/>
                  </a:lnTo>
                  <a:lnTo>
                    <a:pt x="473" y="262"/>
                  </a:lnTo>
                  <a:lnTo>
                    <a:pt x="473" y="260"/>
                  </a:lnTo>
                  <a:lnTo>
                    <a:pt x="473" y="255"/>
                  </a:lnTo>
                  <a:lnTo>
                    <a:pt x="473" y="253"/>
                  </a:lnTo>
                  <a:lnTo>
                    <a:pt x="476" y="253"/>
                  </a:lnTo>
                  <a:lnTo>
                    <a:pt x="478" y="253"/>
                  </a:lnTo>
                  <a:lnTo>
                    <a:pt x="481" y="250"/>
                  </a:lnTo>
                  <a:lnTo>
                    <a:pt x="483" y="250"/>
                  </a:lnTo>
                  <a:lnTo>
                    <a:pt x="483" y="250"/>
                  </a:lnTo>
                  <a:lnTo>
                    <a:pt x="483" y="250"/>
                  </a:lnTo>
                  <a:lnTo>
                    <a:pt x="483" y="250"/>
                  </a:lnTo>
                  <a:lnTo>
                    <a:pt x="488" y="250"/>
                  </a:lnTo>
                  <a:lnTo>
                    <a:pt x="492" y="253"/>
                  </a:lnTo>
                  <a:lnTo>
                    <a:pt x="495" y="255"/>
                  </a:lnTo>
                  <a:lnTo>
                    <a:pt x="499" y="257"/>
                  </a:lnTo>
                  <a:lnTo>
                    <a:pt x="506" y="257"/>
                  </a:lnTo>
                  <a:lnTo>
                    <a:pt x="511" y="257"/>
                  </a:lnTo>
                  <a:lnTo>
                    <a:pt x="511" y="257"/>
                  </a:lnTo>
                  <a:lnTo>
                    <a:pt x="511" y="255"/>
                  </a:lnTo>
                  <a:lnTo>
                    <a:pt x="514" y="255"/>
                  </a:lnTo>
                  <a:lnTo>
                    <a:pt x="514" y="257"/>
                  </a:lnTo>
                  <a:lnTo>
                    <a:pt x="518" y="257"/>
                  </a:lnTo>
                  <a:lnTo>
                    <a:pt x="525" y="257"/>
                  </a:lnTo>
                  <a:lnTo>
                    <a:pt x="528" y="257"/>
                  </a:lnTo>
                  <a:lnTo>
                    <a:pt x="532" y="255"/>
                  </a:lnTo>
                  <a:lnTo>
                    <a:pt x="532" y="255"/>
                  </a:lnTo>
                  <a:lnTo>
                    <a:pt x="532" y="255"/>
                  </a:lnTo>
                  <a:lnTo>
                    <a:pt x="537" y="257"/>
                  </a:lnTo>
                  <a:lnTo>
                    <a:pt x="539" y="257"/>
                  </a:lnTo>
                  <a:lnTo>
                    <a:pt x="539" y="257"/>
                  </a:lnTo>
                  <a:lnTo>
                    <a:pt x="542" y="257"/>
                  </a:lnTo>
                  <a:lnTo>
                    <a:pt x="544" y="257"/>
                  </a:lnTo>
                  <a:lnTo>
                    <a:pt x="547" y="257"/>
                  </a:lnTo>
                  <a:lnTo>
                    <a:pt x="551" y="257"/>
                  </a:lnTo>
                  <a:lnTo>
                    <a:pt x="554" y="257"/>
                  </a:lnTo>
                  <a:lnTo>
                    <a:pt x="556" y="257"/>
                  </a:lnTo>
                  <a:lnTo>
                    <a:pt x="558" y="257"/>
                  </a:lnTo>
                  <a:lnTo>
                    <a:pt x="561" y="257"/>
                  </a:lnTo>
                  <a:lnTo>
                    <a:pt x="563" y="260"/>
                  </a:lnTo>
                  <a:lnTo>
                    <a:pt x="565" y="260"/>
                  </a:lnTo>
                  <a:lnTo>
                    <a:pt x="565" y="260"/>
                  </a:lnTo>
                  <a:lnTo>
                    <a:pt x="568" y="260"/>
                  </a:lnTo>
                  <a:lnTo>
                    <a:pt x="570" y="260"/>
                  </a:lnTo>
                  <a:lnTo>
                    <a:pt x="570" y="260"/>
                  </a:lnTo>
                  <a:lnTo>
                    <a:pt x="572" y="262"/>
                  </a:lnTo>
                  <a:lnTo>
                    <a:pt x="572" y="262"/>
                  </a:lnTo>
                  <a:lnTo>
                    <a:pt x="575" y="265"/>
                  </a:lnTo>
                  <a:lnTo>
                    <a:pt x="577" y="265"/>
                  </a:lnTo>
                  <a:lnTo>
                    <a:pt x="577" y="267"/>
                  </a:lnTo>
                  <a:lnTo>
                    <a:pt x="580" y="267"/>
                  </a:lnTo>
                  <a:lnTo>
                    <a:pt x="582" y="267"/>
                  </a:lnTo>
                  <a:lnTo>
                    <a:pt x="584" y="267"/>
                  </a:lnTo>
                  <a:lnTo>
                    <a:pt x="589" y="269"/>
                  </a:lnTo>
                  <a:lnTo>
                    <a:pt x="591" y="272"/>
                  </a:lnTo>
                  <a:lnTo>
                    <a:pt x="591" y="272"/>
                  </a:lnTo>
                  <a:lnTo>
                    <a:pt x="591" y="269"/>
                  </a:lnTo>
                  <a:lnTo>
                    <a:pt x="591" y="269"/>
                  </a:lnTo>
                  <a:lnTo>
                    <a:pt x="589" y="267"/>
                  </a:lnTo>
                  <a:lnTo>
                    <a:pt x="589" y="265"/>
                  </a:lnTo>
                  <a:lnTo>
                    <a:pt x="589" y="262"/>
                  </a:lnTo>
                  <a:lnTo>
                    <a:pt x="587" y="262"/>
                  </a:lnTo>
                  <a:lnTo>
                    <a:pt x="587" y="260"/>
                  </a:lnTo>
                  <a:lnTo>
                    <a:pt x="589" y="260"/>
                  </a:lnTo>
                  <a:lnTo>
                    <a:pt x="591" y="257"/>
                  </a:lnTo>
                  <a:lnTo>
                    <a:pt x="594" y="257"/>
                  </a:lnTo>
                  <a:lnTo>
                    <a:pt x="591" y="257"/>
                  </a:lnTo>
                  <a:lnTo>
                    <a:pt x="591" y="255"/>
                  </a:lnTo>
                  <a:lnTo>
                    <a:pt x="589" y="255"/>
                  </a:lnTo>
                  <a:lnTo>
                    <a:pt x="589" y="255"/>
                  </a:lnTo>
                  <a:lnTo>
                    <a:pt x="589" y="255"/>
                  </a:lnTo>
                  <a:lnTo>
                    <a:pt x="589" y="255"/>
                  </a:lnTo>
                  <a:lnTo>
                    <a:pt x="591" y="253"/>
                  </a:lnTo>
                  <a:lnTo>
                    <a:pt x="591" y="253"/>
                  </a:lnTo>
                  <a:lnTo>
                    <a:pt x="594" y="253"/>
                  </a:lnTo>
                  <a:lnTo>
                    <a:pt x="596" y="253"/>
                  </a:lnTo>
                  <a:lnTo>
                    <a:pt x="594" y="250"/>
                  </a:lnTo>
                  <a:lnTo>
                    <a:pt x="594" y="250"/>
                  </a:lnTo>
                  <a:lnTo>
                    <a:pt x="594" y="250"/>
                  </a:lnTo>
                  <a:lnTo>
                    <a:pt x="591" y="248"/>
                  </a:lnTo>
                  <a:lnTo>
                    <a:pt x="591" y="248"/>
                  </a:lnTo>
                  <a:lnTo>
                    <a:pt x="591" y="246"/>
                  </a:lnTo>
                  <a:lnTo>
                    <a:pt x="589" y="243"/>
                  </a:lnTo>
                  <a:lnTo>
                    <a:pt x="589" y="241"/>
                  </a:lnTo>
                  <a:lnTo>
                    <a:pt x="584" y="236"/>
                  </a:lnTo>
                  <a:lnTo>
                    <a:pt x="584" y="236"/>
                  </a:lnTo>
                  <a:lnTo>
                    <a:pt x="582" y="234"/>
                  </a:lnTo>
                  <a:lnTo>
                    <a:pt x="582" y="231"/>
                  </a:lnTo>
                  <a:lnTo>
                    <a:pt x="582" y="231"/>
                  </a:lnTo>
                  <a:lnTo>
                    <a:pt x="580" y="229"/>
                  </a:lnTo>
                  <a:lnTo>
                    <a:pt x="580" y="227"/>
                  </a:lnTo>
                  <a:lnTo>
                    <a:pt x="580" y="224"/>
                  </a:lnTo>
                  <a:lnTo>
                    <a:pt x="577" y="222"/>
                  </a:lnTo>
                  <a:lnTo>
                    <a:pt x="577" y="222"/>
                  </a:lnTo>
                  <a:lnTo>
                    <a:pt x="577" y="222"/>
                  </a:lnTo>
                  <a:lnTo>
                    <a:pt x="577" y="220"/>
                  </a:lnTo>
                  <a:lnTo>
                    <a:pt x="580" y="220"/>
                  </a:lnTo>
                  <a:lnTo>
                    <a:pt x="580" y="220"/>
                  </a:lnTo>
                  <a:lnTo>
                    <a:pt x="580" y="220"/>
                  </a:lnTo>
                  <a:lnTo>
                    <a:pt x="577" y="220"/>
                  </a:lnTo>
                  <a:lnTo>
                    <a:pt x="575" y="217"/>
                  </a:lnTo>
                  <a:lnTo>
                    <a:pt x="572" y="217"/>
                  </a:lnTo>
                  <a:lnTo>
                    <a:pt x="570" y="217"/>
                  </a:lnTo>
                  <a:lnTo>
                    <a:pt x="570" y="217"/>
                  </a:lnTo>
                  <a:lnTo>
                    <a:pt x="568" y="217"/>
                  </a:lnTo>
                  <a:lnTo>
                    <a:pt x="568" y="217"/>
                  </a:lnTo>
                  <a:lnTo>
                    <a:pt x="568" y="215"/>
                  </a:lnTo>
                  <a:lnTo>
                    <a:pt x="570" y="213"/>
                  </a:lnTo>
                  <a:lnTo>
                    <a:pt x="572" y="213"/>
                  </a:lnTo>
                  <a:lnTo>
                    <a:pt x="575" y="210"/>
                  </a:lnTo>
                  <a:lnTo>
                    <a:pt x="577" y="210"/>
                  </a:lnTo>
                  <a:lnTo>
                    <a:pt x="580" y="210"/>
                  </a:lnTo>
                  <a:lnTo>
                    <a:pt x="582" y="210"/>
                  </a:lnTo>
                  <a:lnTo>
                    <a:pt x="582" y="210"/>
                  </a:lnTo>
                  <a:lnTo>
                    <a:pt x="584" y="208"/>
                  </a:lnTo>
                  <a:lnTo>
                    <a:pt x="589" y="208"/>
                  </a:lnTo>
                  <a:lnTo>
                    <a:pt x="594" y="205"/>
                  </a:lnTo>
                  <a:lnTo>
                    <a:pt x="594" y="205"/>
                  </a:lnTo>
                  <a:lnTo>
                    <a:pt x="596" y="205"/>
                  </a:lnTo>
                  <a:lnTo>
                    <a:pt x="598" y="208"/>
                  </a:lnTo>
                  <a:lnTo>
                    <a:pt x="598" y="208"/>
                  </a:lnTo>
                  <a:lnTo>
                    <a:pt x="601" y="210"/>
                  </a:lnTo>
                  <a:lnTo>
                    <a:pt x="601" y="210"/>
                  </a:lnTo>
                  <a:lnTo>
                    <a:pt x="603" y="208"/>
                  </a:lnTo>
                  <a:lnTo>
                    <a:pt x="605" y="208"/>
                  </a:lnTo>
                  <a:lnTo>
                    <a:pt x="605" y="208"/>
                  </a:lnTo>
                  <a:lnTo>
                    <a:pt x="608" y="208"/>
                  </a:lnTo>
                  <a:lnTo>
                    <a:pt x="610" y="210"/>
                  </a:lnTo>
                  <a:lnTo>
                    <a:pt x="610" y="210"/>
                  </a:lnTo>
                  <a:lnTo>
                    <a:pt x="610" y="210"/>
                  </a:lnTo>
                  <a:lnTo>
                    <a:pt x="610" y="208"/>
                  </a:lnTo>
                  <a:lnTo>
                    <a:pt x="610" y="205"/>
                  </a:lnTo>
                  <a:lnTo>
                    <a:pt x="610" y="205"/>
                  </a:lnTo>
                  <a:lnTo>
                    <a:pt x="610" y="203"/>
                  </a:lnTo>
                  <a:lnTo>
                    <a:pt x="608" y="203"/>
                  </a:lnTo>
                  <a:lnTo>
                    <a:pt x="605" y="203"/>
                  </a:lnTo>
                  <a:lnTo>
                    <a:pt x="603" y="201"/>
                  </a:lnTo>
                  <a:lnTo>
                    <a:pt x="603" y="201"/>
                  </a:lnTo>
                  <a:lnTo>
                    <a:pt x="603" y="201"/>
                  </a:lnTo>
                  <a:lnTo>
                    <a:pt x="603" y="198"/>
                  </a:lnTo>
                  <a:lnTo>
                    <a:pt x="603" y="196"/>
                  </a:lnTo>
                  <a:lnTo>
                    <a:pt x="603" y="191"/>
                  </a:lnTo>
                  <a:lnTo>
                    <a:pt x="603" y="189"/>
                  </a:lnTo>
                  <a:lnTo>
                    <a:pt x="603" y="184"/>
                  </a:lnTo>
                  <a:lnTo>
                    <a:pt x="603" y="179"/>
                  </a:lnTo>
                  <a:lnTo>
                    <a:pt x="605" y="172"/>
                  </a:lnTo>
                  <a:lnTo>
                    <a:pt x="603" y="170"/>
                  </a:lnTo>
                  <a:lnTo>
                    <a:pt x="603" y="168"/>
                  </a:lnTo>
                  <a:lnTo>
                    <a:pt x="603" y="168"/>
                  </a:lnTo>
                  <a:lnTo>
                    <a:pt x="605" y="168"/>
                  </a:lnTo>
                  <a:lnTo>
                    <a:pt x="605" y="168"/>
                  </a:lnTo>
                  <a:lnTo>
                    <a:pt x="610" y="170"/>
                  </a:lnTo>
                  <a:lnTo>
                    <a:pt x="615" y="170"/>
                  </a:lnTo>
                  <a:lnTo>
                    <a:pt x="615" y="170"/>
                  </a:lnTo>
                  <a:lnTo>
                    <a:pt x="617" y="172"/>
                  </a:lnTo>
                  <a:lnTo>
                    <a:pt x="622" y="172"/>
                  </a:lnTo>
                  <a:lnTo>
                    <a:pt x="622" y="172"/>
                  </a:lnTo>
                  <a:lnTo>
                    <a:pt x="624" y="172"/>
                  </a:lnTo>
                  <a:lnTo>
                    <a:pt x="627" y="172"/>
                  </a:lnTo>
                  <a:lnTo>
                    <a:pt x="629" y="172"/>
                  </a:lnTo>
                  <a:lnTo>
                    <a:pt x="631" y="172"/>
                  </a:lnTo>
                  <a:lnTo>
                    <a:pt x="631" y="172"/>
                  </a:lnTo>
                  <a:lnTo>
                    <a:pt x="634" y="172"/>
                  </a:lnTo>
                  <a:lnTo>
                    <a:pt x="634" y="175"/>
                  </a:lnTo>
                  <a:lnTo>
                    <a:pt x="636" y="175"/>
                  </a:lnTo>
                  <a:lnTo>
                    <a:pt x="636" y="175"/>
                  </a:lnTo>
                  <a:lnTo>
                    <a:pt x="638" y="172"/>
                  </a:lnTo>
                  <a:lnTo>
                    <a:pt x="638" y="172"/>
                  </a:lnTo>
                  <a:lnTo>
                    <a:pt x="641" y="170"/>
                  </a:lnTo>
                  <a:lnTo>
                    <a:pt x="643" y="170"/>
                  </a:lnTo>
                  <a:lnTo>
                    <a:pt x="646" y="170"/>
                  </a:lnTo>
                  <a:lnTo>
                    <a:pt x="646" y="170"/>
                  </a:lnTo>
                  <a:lnTo>
                    <a:pt x="646" y="168"/>
                  </a:lnTo>
                  <a:lnTo>
                    <a:pt x="646" y="165"/>
                  </a:lnTo>
                  <a:lnTo>
                    <a:pt x="646" y="165"/>
                  </a:lnTo>
                  <a:lnTo>
                    <a:pt x="646" y="163"/>
                  </a:lnTo>
                  <a:lnTo>
                    <a:pt x="643" y="161"/>
                  </a:lnTo>
                  <a:lnTo>
                    <a:pt x="643" y="161"/>
                  </a:lnTo>
                  <a:lnTo>
                    <a:pt x="641" y="156"/>
                  </a:lnTo>
                  <a:lnTo>
                    <a:pt x="638" y="151"/>
                  </a:lnTo>
                  <a:lnTo>
                    <a:pt x="638" y="149"/>
                  </a:lnTo>
                  <a:lnTo>
                    <a:pt x="638" y="146"/>
                  </a:lnTo>
                  <a:lnTo>
                    <a:pt x="638" y="146"/>
                  </a:lnTo>
                  <a:lnTo>
                    <a:pt x="638" y="144"/>
                  </a:lnTo>
                  <a:lnTo>
                    <a:pt x="638" y="142"/>
                  </a:lnTo>
                  <a:lnTo>
                    <a:pt x="641" y="142"/>
                  </a:lnTo>
                  <a:lnTo>
                    <a:pt x="643" y="142"/>
                  </a:lnTo>
                  <a:lnTo>
                    <a:pt x="646" y="142"/>
                  </a:lnTo>
                  <a:lnTo>
                    <a:pt x="648" y="142"/>
                  </a:lnTo>
                  <a:lnTo>
                    <a:pt x="650" y="139"/>
                  </a:lnTo>
                  <a:lnTo>
                    <a:pt x="650" y="139"/>
                  </a:lnTo>
                  <a:lnTo>
                    <a:pt x="653" y="137"/>
                  </a:lnTo>
                  <a:lnTo>
                    <a:pt x="653" y="137"/>
                  </a:lnTo>
                  <a:lnTo>
                    <a:pt x="650" y="132"/>
                  </a:lnTo>
                  <a:lnTo>
                    <a:pt x="650" y="132"/>
                  </a:lnTo>
                  <a:lnTo>
                    <a:pt x="650" y="130"/>
                  </a:lnTo>
                  <a:lnTo>
                    <a:pt x="650" y="130"/>
                  </a:lnTo>
                  <a:lnTo>
                    <a:pt x="653" y="127"/>
                  </a:lnTo>
                  <a:lnTo>
                    <a:pt x="653" y="127"/>
                  </a:lnTo>
                  <a:lnTo>
                    <a:pt x="655" y="127"/>
                  </a:lnTo>
                  <a:lnTo>
                    <a:pt x="657" y="127"/>
                  </a:lnTo>
                  <a:lnTo>
                    <a:pt x="660" y="127"/>
                  </a:lnTo>
                  <a:lnTo>
                    <a:pt x="657" y="12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3" name="Freeform 309"/>
            <p:cNvSpPr>
              <a:spLocks noEditPoints="1"/>
            </p:cNvSpPr>
            <p:nvPr userDrawn="1"/>
          </p:nvSpPr>
          <p:spPr bwMode="auto">
            <a:xfrm>
              <a:off x="4282" y="2692"/>
              <a:ext cx="149" cy="215"/>
            </a:xfrm>
            <a:custGeom>
              <a:avLst/>
              <a:gdLst>
                <a:gd name="T0" fmla="*/ 132 w 149"/>
                <a:gd name="T1" fmla="*/ 161 h 215"/>
                <a:gd name="T2" fmla="*/ 135 w 149"/>
                <a:gd name="T3" fmla="*/ 158 h 215"/>
                <a:gd name="T4" fmla="*/ 139 w 149"/>
                <a:gd name="T5" fmla="*/ 33 h 215"/>
                <a:gd name="T6" fmla="*/ 135 w 149"/>
                <a:gd name="T7" fmla="*/ 31 h 215"/>
                <a:gd name="T8" fmla="*/ 123 w 149"/>
                <a:gd name="T9" fmla="*/ 28 h 215"/>
                <a:gd name="T10" fmla="*/ 111 w 149"/>
                <a:gd name="T11" fmla="*/ 38 h 215"/>
                <a:gd name="T12" fmla="*/ 99 w 149"/>
                <a:gd name="T13" fmla="*/ 42 h 215"/>
                <a:gd name="T14" fmla="*/ 87 w 149"/>
                <a:gd name="T15" fmla="*/ 40 h 215"/>
                <a:gd name="T16" fmla="*/ 76 w 149"/>
                <a:gd name="T17" fmla="*/ 38 h 215"/>
                <a:gd name="T18" fmla="*/ 61 w 149"/>
                <a:gd name="T19" fmla="*/ 26 h 215"/>
                <a:gd name="T20" fmla="*/ 50 w 149"/>
                <a:gd name="T21" fmla="*/ 21 h 215"/>
                <a:gd name="T22" fmla="*/ 40 w 149"/>
                <a:gd name="T23" fmla="*/ 21 h 215"/>
                <a:gd name="T24" fmla="*/ 36 w 149"/>
                <a:gd name="T25" fmla="*/ 12 h 215"/>
                <a:gd name="T26" fmla="*/ 36 w 149"/>
                <a:gd name="T27" fmla="*/ 5 h 215"/>
                <a:gd name="T28" fmla="*/ 28 w 149"/>
                <a:gd name="T29" fmla="*/ 2 h 215"/>
                <a:gd name="T30" fmla="*/ 26 w 149"/>
                <a:gd name="T31" fmla="*/ 0 h 215"/>
                <a:gd name="T32" fmla="*/ 14 w 149"/>
                <a:gd name="T33" fmla="*/ 14 h 215"/>
                <a:gd name="T34" fmla="*/ 5 w 149"/>
                <a:gd name="T35" fmla="*/ 33 h 215"/>
                <a:gd name="T36" fmla="*/ 7 w 149"/>
                <a:gd name="T37" fmla="*/ 38 h 215"/>
                <a:gd name="T38" fmla="*/ 10 w 149"/>
                <a:gd name="T39" fmla="*/ 45 h 215"/>
                <a:gd name="T40" fmla="*/ 14 w 149"/>
                <a:gd name="T41" fmla="*/ 54 h 215"/>
                <a:gd name="T42" fmla="*/ 19 w 149"/>
                <a:gd name="T43" fmla="*/ 61 h 215"/>
                <a:gd name="T44" fmla="*/ 19 w 149"/>
                <a:gd name="T45" fmla="*/ 64 h 215"/>
                <a:gd name="T46" fmla="*/ 21 w 149"/>
                <a:gd name="T47" fmla="*/ 78 h 215"/>
                <a:gd name="T48" fmla="*/ 19 w 149"/>
                <a:gd name="T49" fmla="*/ 83 h 215"/>
                <a:gd name="T50" fmla="*/ 17 w 149"/>
                <a:gd name="T51" fmla="*/ 90 h 215"/>
                <a:gd name="T52" fmla="*/ 14 w 149"/>
                <a:gd name="T53" fmla="*/ 90 h 215"/>
                <a:gd name="T54" fmla="*/ 10 w 149"/>
                <a:gd name="T55" fmla="*/ 97 h 215"/>
                <a:gd name="T56" fmla="*/ 5 w 149"/>
                <a:gd name="T57" fmla="*/ 106 h 215"/>
                <a:gd name="T58" fmla="*/ 3 w 149"/>
                <a:gd name="T59" fmla="*/ 116 h 215"/>
                <a:gd name="T60" fmla="*/ 3 w 149"/>
                <a:gd name="T61" fmla="*/ 137 h 215"/>
                <a:gd name="T62" fmla="*/ 14 w 149"/>
                <a:gd name="T63" fmla="*/ 144 h 215"/>
                <a:gd name="T64" fmla="*/ 28 w 149"/>
                <a:gd name="T65" fmla="*/ 154 h 215"/>
                <a:gd name="T66" fmla="*/ 45 w 149"/>
                <a:gd name="T67" fmla="*/ 163 h 215"/>
                <a:gd name="T68" fmla="*/ 61 w 149"/>
                <a:gd name="T69" fmla="*/ 175 h 215"/>
                <a:gd name="T70" fmla="*/ 71 w 149"/>
                <a:gd name="T71" fmla="*/ 180 h 215"/>
                <a:gd name="T72" fmla="*/ 71 w 149"/>
                <a:gd name="T73" fmla="*/ 187 h 215"/>
                <a:gd name="T74" fmla="*/ 71 w 149"/>
                <a:gd name="T75" fmla="*/ 189 h 215"/>
                <a:gd name="T76" fmla="*/ 73 w 149"/>
                <a:gd name="T77" fmla="*/ 194 h 215"/>
                <a:gd name="T78" fmla="*/ 85 w 149"/>
                <a:gd name="T79" fmla="*/ 203 h 215"/>
                <a:gd name="T80" fmla="*/ 97 w 149"/>
                <a:gd name="T81" fmla="*/ 213 h 215"/>
                <a:gd name="T82" fmla="*/ 102 w 149"/>
                <a:gd name="T83" fmla="*/ 213 h 215"/>
                <a:gd name="T84" fmla="*/ 109 w 149"/>
                <a:gd name="T85" fmla="*/ 203 h 215"/>
                <a:gd name="T86" fmla="*/ 109 w 149"/>
                <a:gd name="T87" fmla="*/ 198 h 215"/>
                <a:gd name="T88" fmla="*/ 113 w 149"/>
                <a:gd name="T89" fmla="*/ 189 h 215"/>
                <a:gd name="T90" fmla="*/ 118 w 149"/>
                <a:gd name="T91" fmla="*/ 180 h 215"/>
                <a:gd name="T92" fmla="*/ 123 w 149"/>
                <a:gd name="T93" fmla="*/ 170 h 215"/>
                <a:gd name="T94" fmla="*/ 132 w 149"/>
                <a:gd name="T95" fmla="*/ 163 h 215"/>
                <a:gd name="T96" fmla="*/ 132 w 149"/>
                <a:gd name="T97" fmla="*/ 158 h 215"/>
                <a:gd name="T98" fmla="*/ 135 w 149"/>
                <a:gd name="T99" fmla="*/ 158 h 215"/>
                <a:gd name="T100" fmla="*/ 144 w 149"/>
                <a:gd name="T101" fmla="*/ 151 h 215"/>
                <a:gd name="T102" fmla="*/ 137 w 149"/>
                <a:gd name="T103" fmla="*/ 142 h 215"/>
                <a:gd name="T104" fmla="*/ 132 w 149"/>
                <a:gd name="T105" fmla="*/ 123 h 215"/>
                <a:gd name="T106" fmla="*/ 132 w 149"/>
                <a:gd name="T107" fmla="*/ 59 h 215"/>
                <a:gd name="T108" fmla="*/ 139 w 149"/>
                <a:gd name="T109" fmla="*/ 47 h 215"/>
                <a:gd name="T110" fmla="*/ 146 w 149"/>
                <a:gd name="T111" fmla="*/ 3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 h="215">
                  <a:moveTo>
                    <a:pt x="135" y="158"/>
                  </a:moveTo>
                  <a:lnTo>
                    <a:pt x="132" y="161"/>
                  </a:lnTo>
                  <a:lnTo>
                    <a:pt x="132" y="161"/>
                  </a:lnTo>
                  <a:lnTo>
                    <a:pt x="132" y="161"/>
                  </a:lnTo>
                  <a:lnTo>
                    <a:pt x="135" y="161"/>
                  </a:lnTo>
                  <a:lnTo>
                    <a:pt x="135" y="161"/>
                  </a:lnTo>
                  <a:lnTo>
                    <a:pt x="135" y="161"/>
                  </a:lnTo>
                  <a:lnTo>
                    <a:pt x="135" y="158"/>
                  </a:lnTo>
                  <a:lnTo>
                    <a:pt x="135" y="158"/>
                  </a:lnTo>
                  <a:close/>
                  <a:moveTo>
                    <a:pt x="146" y="33"/>
                  </a:moveTo>
                  <a:lnTo>
                    <a:pt x="142" y="33"/>
                  </a:lnTo>
                  <a:lnTo>
                    <a:pt x="139" y="33"/>
                  </a:lnTo>
                  <a:lnTo>
                    <a:pt x="139" y="33"/>
                  </a:lnTo>
                  <a:lnTo>
                    <a:pt x="137" y="33"/>
                  </a:lnTo>
                  <a:lnTo>
                    <a:pt x="135" y="33"/>
                  </a:lnTo>
                  <a:lnTo>
                    <a:pt x="135" y="31"/>
                  </a:lnTo>
                  <a:lnTo>
                    <a:pt x="132" y="31"/>
                  </a:lnTo>
                  <a:lnTo>
                    <a:pt x="130" y="28"/>
                  </a:lnTo>
                  <a:lnTo>
                    <a:pt x="127" y="26"/>
                  </a:lnTo>
                  <a:lnTo>
                    <a:pt x="123" y="28"/>
                  </a:lnTo>
                  <a:lnTo>
                    <a:pt x="120" y="31"/>
                  </a:lnTo>
                  <a:lnTo>
                    <a:pt x="113" y="33"/>
                  </a:lnTo>
                  <a:lnTo>
                    <a:pt x="111" y="35"/>
                  </a:lnTo>
                  <a:lnTo>
                    <a:pt x="111" y="38"/>
                  </a:lnTo>
                  <a:lnTo>
                    <a:pt x="109" y="40"/>
                  </a:lnTo>
                  <a:lnTo>
                    <a:pt x="106" y="42"/>
                  </a:lnTo>
                  <a:lnTo>
                    <a:pt x="104" y="42"/>
                  </a:lnTo>
                  <a:lnTo>
                    <a:pt x="99" y="42"/>
                  </a:lnTo>
                  <a:lnTo>
                    <a:pt x="97" y="42"/>
                  </a:lnTo>
                  <a:lnTo>
                    <a:pt x="94" y="42"/>
                  </a:lnTo>
                  <a:lnTo>
                    <a:pt x="90" y="40"/>
                  </a:lnTo>
                  <a:lnTo>
                    <a:pt x="87" y="40"/>
                  </a:lnTo>
                  <a:lnTo>
                    <a:pt x="85" y="40"/>
                  </a:lnTo>
                  <a:lnTo>
                    <a:pt x="80" y="40"/>
                  </a:lnTo>
                  <a:lnTo>
                    <a:pt x="78" y="38"/>
                  </a:lnTo>
                  <a:lnTo>
                    <a:pt x="76" y="38"/>
                  </a:lnTo>
                  <a:lnTo>
                    <a:pt x="73" y="35"/>
                  </a:lnTo>
                  <a:lnTo>
                    <a:pt x="69" y="31"/>
                  </a:lnTo>
                  <a:lnTo>
                    <a:pt x="66" y="28"/>
                  </a:lnTo>
                  <a:lnTo>
                    <a:pt x="61" y="26"/>
                  </a:lnTo>
                  <a:lnTo>
                    <a:pt x="57" y="23"/>
                  </a:lnTo>
                  <a:lnTo>
                    <a:pt x="54" y="23"/>
                  </a:lnTo>
                  <a:lnTo>
                    <a:pt x="54" y="21"/>
                  </a:lnTo>
                  <a:lnTo>
                    <a:pt x="50" y="21"/>
                  </a:lnTo>
                  <a:lnTo>
                    <a:pt x="45" y="21"/>
                  </a:lnTo>
                  <a:lnTo>
                    <a:pt x="40" y="21"/>
                  </a:lnTo>
                  <a:lnTo>
                    <a:pt x="40" y="21"/>
                  </a:lnTo>
                  <a:lnTo>
                    <a:pt x="40" y="21"/>
                  </a:lnTo>
                  <a:lnTo>
                    <a:pt x="38" y="19"/>
                  </a:lnTo>
                  <a:lnTo>
                    <a:pt x="36" y="16"/>
                  </a:lnTo>
                  <a:lnTo>
                    <a:pt x="36" y="14"/>
                  </a:lnTo>
                  <a:lnTo>
                    <a:pt x="36" y="12"/>
                  </a:lnTo>
                  <a:lnTo>
                    <a:pt x="36" y="7"/>
                  </a:lnTo>
                  <a:lnTo>
                    <a:pt x="36" y="7"/>
                  </a:lnTo>
                  <a:lnTo>
                    <a:pt x="36" y="7"/>
                  </a:lnTo>
                  <a:lnTo>
                    <a:pt x="36" y="5"/>
                  </a:lnTo>
                  <a:lnTo>
                    <a:pt x="36" y="2"/>
                  </a:lnTo>
                  <a:lnTo>
                    <a:pt x="28" y="2"/>
                  </a:lnTo>
                  <a:lnTo>
                    <a:pt x="28" y="2"/>
                  </a:lnTo>
                  <a:lnTo>
                    <a:pt x="28" y="2"/>
                  </a:lnTo>
                  <a:lnTo>
                    <a:pt x="26" y="2"/>
                  </a:lnTo>
                  <a:lnTo>
                    <a:pt x="26" y="2"/>
                  </a:lnTo>
                  <a:lnTo>
                    <a:pt x="26" y="2"/>
                  </a:lnTo>
                  <a:lnTo>
                    <a:pt x="26" y="0"/>
                  </a:lnTo>
                  <a:lnTo>
                    <a:pt x="26" y="0"/>
                  </a:lnTo>
                  <a:lnTo>
                    <a:pt x="21" y="5"/>
                  </a:lnTo>
                  <a:lnTo>
                    <a:pt x="19" y="7"/>
                  </a:lnTo>
                  <a:lnTo>
                    <a:pt x="14" y="14"/>
                  </a:lnTo>
                  <a:lnTo>
                    <a:pt x="10" y="19"/>
                  </a:lnTo>
                  <a:lnTo>
                    <a:pt x="5" y="23"/>
                  </a:lnTo>
                  <a:lnTo>
                    <a:pt x="3" y="26"/>
                  </a:lnTo>
                  <a:lnTo>
                    <a:pt x="5" y="33"/>
                  </a:lnTo>
                  <a:lnTo>
                    <a:pt x="5" y="33"/>
                  </a:lnTo>
                  <a:lnTo>
                    <a:pt x="5" y="35"/>
                  </a:lnTo>
                  <a:lnTo>
                    <a:pt x="5" y="35"/>
                  </a:lnTo>
                  <a:lnTo>
                    <a:pt x="7" y="38"/>
                  </a:lnTo>
                  <a:lnTo>
                    <a:pt x="10" y="38"/>
                  </a:lnTo>
                  <a:lnTo>
                    <a:pt x="10" y="38"/>
                  </a:lnTo>
                  <a:lnTo>
                    <a:pt x="12" y="40"/>
                  </a:lnTo>
                  <a:lnTo>
                    <a:pt x="10" y="45"/>
                  </a:lnTo>
                  <a:lnTo>
                    <a:pt x="10" y="45"/>
                  </a:lnTo>
                  <a:lnTo>
                    <a:pt x="12" y="49"/>
                  </a:lnTo>
                  <a:lnTo>
                    <a:pt x="12" y="49"/>
                  </a:lnTo>
                  <a:lnTo>
                    <a:pt x="14" y="54"/>
                  </a:lnTo>
                  <a:lnTo>
                    <a:pt x="17" y="57"/>
                  </a:lnTo>
                  <a:lnTo>
                    <a:pt x="17" y="57"/>
                  </a:lnTo>
                  <a:lnTo>
                    <a:pt x="17" y="59"/>
                  </a:lnTo>
                  <a:lnTo>
                    <a:pt x="19" y="61"/>
                  </a:lnTo>
                  <a:lnTo>
                    <a:pt x="19" y="61"/>
                  </a:lnTo>
                  <a:lnTo>
                    <a:pt x="19" y="61"/>
                  </a:lnTo>
                  <a:lnTo>
                    <a:pt x="19" y="64"/>
                  </a:lnTo>
                  <a:lnTo>
                    <a:pt x="19" y="64"/>
                  </a:lnTo>
                  <a:lnTo>
                    <a:pt x="19" y="68"/>
                  </a:lnTo>
                  <a:lnTo>
                    <a:pt x="21" y="73"/>
                  </a:lnTo>
                  <a:lnTo>
                    <a:pt x="21" y="75"/>
                  </a:lnTo>
                  <a:lnTo>
                    <a:pt x="21" y="78"/>
                  </a:lnTo>
                  <a:lnTo>
                    <a:pt x="21" y="80"/>
                  </a:lnTo>
                  <a:lnTo>
                    <a:pt x="21" y="80"/>
                  </a:lnTo>
                  <a:lnTo>
                    <a:pt x="21" y="83"/>
                  </a:lnTo>
                  <a:lnTo>
                    <a:pt x="19" y="83"/>
                  </a:lnTo>
                  <a:lnTo>
                    <a:pt x="19" y="85"/>
                  </a:lnTo>
                  <a:lnTo>
                    <a:pt x="19" y="85"/>
                  </a:lnTo>
                  <a:lnTo>
                    <a:pt x="17" y="87"/>
                  </a:lnTo>
                  <a:lnTo>
                    <a:pt x="17" y="90"/>
                  </a:lnTo>
                  <a:lnTo>
                    <a:pt x="17" y="90"/>
                  </a:lnTo>
                  <a:lnTo>
                    <a:pt x="17" y="90"/>
                  </a:lnTo>
                  <a:lnTo>
                    <a:pt x="17" y="90"/>
                  </a:lnTo>
                  <a:lnTo>
                    <a:pt x="14" y="90"/>
                  </a:lnTo>
                  <a:lnTo>
                    <a:pt x="14" y="92"/>
                  </a:lnTo>
                  <a:lnTo>
                    <a:pt x="12" y="92"/>
                  </a:lnTo>
                  <a:lnTo>
                    <a:pt x="12" y="94"/>
                  </a:lnTo>
                  <a:lnTo>
                    <a:pt x="10" y="97"/>
                  </a:lnTo>
                  <a:lnTo>
                    <a:pt x="7" y="101"/>
                  </a:lnTo>
                  <a:lnTo>
                    <a:pt x="7" y="101"/>
                  </a:lnTo>
                  <a:lnTo>
                    <a:pt x="5" y="104"/>
                  </a:lnTo>
                  <a:lnTo>
                    <a:pt x="5" y="106"/>
                  </a:lnTo>
                  <a:lnTo>
                    <a:pt x="5" y="109"/>
                  </a:lnTo>
                  <a:lnTo>
                    <a:pt x="3" y="109"/>
                  </a:lnTo>
                  <a:lnTo>
                    <a:pt x="3" y="111"/>
                  </a:lnTo>
                  <a:lnTo>
                    <a:pt x="3" y="116"/>
                  </a:lnTo>
                  <a:lnTo>
                    <a:pt x="3" y="125"/>
                  </a:lnTo>
                  <a:lnTo>
                    <a:pt x="0" y="132"/>
                  </a:lnTo>
                  <a:lnTo>
                    <a:pt x="0" y="137"/>
                  </a:lnTo>
                  <a:lnTo>
                    <a:pt x="3" y="137"/>
                  </a:lnTo>
                  <a:lnTo>
                    <a:pt x="5" y="137"/>
                  </a:lnTo>
                  <a:lnTo>
                    <a:pt x="5" y="139"/>
                  </a:lnTo>
                  <a:lnTo>
                    <a:pt x="10" y="142"/>
                  </a:lnTo>
                  <a:lnTo>
                    <a:pt x="14" y="144"/>
                  </a:lnTo>
                  <a:lnTo>
                    <a:pt x="17" y="146"/>
                  </a:lnTo>
                  <a:lnTo>
                    <a:pt x="21" y="149"/>
                  </a:lnTo>
                  <a:lnTo>
                    <a:pt x="26" y="151"/>
                  </a:lnTo>
                  <a:lnTo>
                    <a:pt x="28" y="154"/>
                  </a:lnTo>
                  <a:lnTo>
                    <a:pt x="33" y="156"/>
                  </a:lnTo>
                  <a:lnTo>
                    <a:pt x="38" y="158"/>
                  </a:lnTo>
                  <a:lnTo>
                    <a:pt x="40" y="161"/>
                  </a:lnTo>
                  <a:lnTo>
                    <a:pt x="45" y="163"/>
                  </a:lnTo>
                  <a:lnTo>
                    <a:pt x="50" y="165"/>
                  </a:lnTo>
                  <a:lnTo>
                    <a:pt x="52" y="168"/>
                  </a:lnTo>
                  <a:lnTo>
                    <a:pt x="57" y="172"/>
                  </a:lnTo>
                  <a:lnTo>
                    <a:pt x="61" y="175"/>
                  </a:lnTo>
                  <a:lnTo>
                    <a:pt x="64" y="177"/>
                  </a:lnTo>
                  <a:lnTo>
                    <a:pt x="69" y="180"/>
                  </a:lnTo>
                  <a:lnTo>
                    <a:pt x="71" y="180"/>
                  </a:lnTo>
                  <a:lnTo>
                    <a:pt x="71" y="180"/>
                  </a:lnTo>
                  <a:lnTo>
                    <a:pt x="71" y="182"/>
                  </a:lnTo>
                  <a:lnTo>
                    <a:pt x="71" y="184"/>
                  </a:lnTo>
                  <a:lnTo>
                    <a:pt x="71" y="187"/>
                  </a:lnTo>
                  <a:lnTo>
                    <a:pt x="71" y="187"/>
                  </a:lnTo>
                  <a:lnTo>
                    <a:pt x="69" y="189"/>
                  </a:lnTo>
                  <a:lnTo>
                    <a:pt x="69" y="189"/>
                  </a:lnTo>
                  <a:lnTo>
                    <a:pt x="71" y="189"/>
                  </a:lnTo>
                  <a:lnTo>
                    <a:pt x="71" y="189"/>
                  </a:lnTo>
                  <a:lnTo>
                    <a:pt x="71" y="191"/>
                  </a:lnTo>
                  <a:lnTo>
                    <a:pt x="71" y="191"/>
                  </a:lnTo>
                  <a:lnTo>
                    <a:pt x="73" y="191"/>
                  </a:lnTo>
                  <a:lnTo>
                    <a:pt x="73" y="194"/>
                  </a:lnTo>
                  <a:lnTo>
                    <a:pt x="76" y="194"/>
                  </a:lnTo>
                  <a:lnTo>
                    <a:pt x="78" y="196"/>
                  </a:lnTo>
                  <a:lnTo>
                    <a:pt x="83" y="201"/>
                  </a:lnTo>
                  <a:lnTo>
                    <a:pt x="85" y="203"/>
                  </a:lnTo>
                  <a:lnTo>
                    <a:pt x="90" y="206"/>
                  </a:lnTo>
                  <a:lnTo>
                    <a:pt x="92" y="208"/>
                  </a:lnTo>
                  <a:lnTo>
                    <a:pt x="94" y="210"/>
                  </a:lnTo>
                  <a:lnTo>
                    <a:pt x="97" y="213"/>
                  </a:lnTo>
                  <a:lnTo>
                    <a:pt x="99" y="215"/>
                  </a:lnTo>
                  <a:lnTo>
                    <a:pt x="99" y="215"/>
                  </a:lnTo>
                  <a:lnTo>
                    <a:pt x="99" y="215"/>
                  </a:lnTo>
                  <a:lnTo>
                    <a:pt x="102" y="213"/>
                  </a:lnTo>
                  <a:lnTo>
                    <a:pt x="102" y="213"/>
                  </a:lnTo>
                  <a:lnTo>
                    <a:pt x="104" y="210"/>
                  </a:lnTo>
                  <a:lnTo>
                    <a:pt x="106" y="203"/>
                  </a:lnTo>
                  <a:lnTo>
                    <a:pt x="109" y="203"/>
                  </a:lnTo>
                  <a:lnTo>
                    <a:pt x="109" y="201"/>
                  </a:lnTo>
                  <a:lnTo>
                    <a:pt x="109" y="201"/>
                  </a:lnTo>
                  <a:lnTo>
                    <a:pt x="109" y="198"/>
                  </a:lnTo>
                  <a:lnTo>
                    <a:pt x="109" y="198"/>
                  </a:lnTo>
                  <a:lnTo>
                    <a:pt x="111" y="196"/>
                  </a:lnTo>
                  <a:lnTo>
                    <a:pt x="111" y="191"/>
                  </a:lnTo>
                  <a:lnTo>
                    <a:pt x="113" y="191"/>
                  </a:lnTo>
                  <a:lnTo>
                    <a:pt x="113" y="189"/>
                  </a:lnTo>
                  <a:lnTo>
                    <a:pt x="113" y="187"/>
                  </a:lnTo>
                  <a:lnTo>
                    <a:pt x="116" y="184"/>
                  </a:lnTo>
                  <a:lnTo>
                    <a:pt x="116" y="182"/>
                  </a:lnTo>
                  <a:lnTo>
                    <a:pt x="118" y="180"/>
                  </a:lnTo>
                  <a:lnTo>
                    <a:pt x="118" y="175"/>
                  </a:lnTo>
                  <a:lnTo>
                    <a:pt x="118" y="172"/>
                  </a:lnTo>
                  <a:lnTo>
                    <a:pt x="120" y="170"/>
                  </a:lnTo>
                  <a:lnTo>
                    <a:pt x="123" y="170"/>
                  </a:lnTo>
                  <a:lnTo>
                    <a:pt x="125" y="170"/>
                  </a:lnTo>
                  <a:lnTo>
                    <a:pt x="130" y="165"/>
                  </a:lnTo>
                  <a:lnTo>
                    <a:pt x="130" y="165"/>
                  </a:lnTo>
                  <a:lnTo>
                    <a:pt x="132" y="163"/>
                  </a:lnTo>
                  <a:lnTo>
                    <a:pt x="132" y="163"/>
                  </a:lnTo>
                  <a:lnTo>
                    <a:pt x="132" y="161"/>
                  </a:lnTo>
                  <a:lnTo>
                    <a:pt x="130" y="158"/>
                  </a:lnTo>
                  <a:lnTo>
                    <a:pt x="132" y="158"/>
                  </a:lnTo>
                  <a:lnTo>
                    <a:pt x="132" y="158"/>
                  </a:lnTo>
                  <a:lnTo>
                    <a:pt x="132" y="158"/>
                  </a:lnTo>
                  <a:lnTo>
                    <a:pt x="132" y="156"/>
                  </a:lnTo>
                  <a:lnTo>
                    <a:pt x="135" y="158"/>
                  </a:lnTo>
                  <a:lnTo>
                    <a:pt x="135" y="158"/>
                  </a:lnTo>
                  <a:lnTo>
                    <a:pt x="137" y="156"/>
                  </a:lnTo>
                  <a:lnTo>
                    <a:pt x="139" y="156"/>
                  </a:lnTo>
                  <a:lnTo>
                    <a:pt x="144" y="151"/>
                  </a:lnTo>
                  <a:lnTo>
                    <a:pt x="144" y="149"/>
                  </a:lnTo>
                  <a:lnTo>
                    <a:pt x="142" y="149"/>
                  </a:lnTo>
                  <a:lnTo>
                    <a:pt x="142" y="146"/>
                  </a:lnTo>
                  <a:lnTo>
                    <a:pt x="137" y="142"/>
                  </a:lnTo>
                  <a:lnTo>
                    <a:pt x="135" y="137"/>
                  </a:lnTo>
                  <a:lnTo>
                    <a:pt x="132" y="135"/>
                  </a:lnTo>
                  <a:lnTo>
                    <a:pt x="132" y="132"/>
                  </a:lnTo>
                  <a:lnTo>
                    <a:pt x="132" y="123"/>
                  </a:lnTo>
                  <a:lnTo>
                    <a:pt x="132" y="104"/>
                  </a:lnTo>
                  <a:lnTo>
                    <a:pt x="132" y="87"/>
                  </a:lnTo>
                  <a:lnTo>
                    <a:pt x="132" y="68"/>
                  </a:lnTo>
                  <a:lnTo>
                    <a:pt x="132" y="59"/>
                  </a:lnTo>
                  <a:lnTo>
                    <a:pt x="132" y="57"/>
                  </a:lnTo>
                  <a:lnTo>
                    <a:pt x="132" y="57"/>
                  </a:lnTo>
                  <a:lnTo>
                    <a:pt x="135" y="52"/>
                  </a:lnTo>
                  <a:lnTo>
                    <a:pt x="139" y="47"/>
                  </a:lnTo>
                  <a:lnTo>
                    <a:pt x="144" y="40"/>
                  </a:lnTo>
                  <a:lnTo>
                    <a:pt x="146" y="35"/>
                  </a:lnTo>
                  <a:lnTo>
                    <a:pt x="149" y="33"/>
                  </a:lnTo>
                  <a:lnTo>
                    <a:pt x="146"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4" name="Freeform 310"/>
            <p:cNvSpPr>
              <a:spLocks/>
            </p:cNvSpPr>
            <p:nvPr userDrawn="1"/>
          </p:nvSpPr>
          <p:spPr bwMode="auto">
            <a:xfrm>
              <a:off x="4285" y="2103"/>
              <a:ext cx="73" cy="88"/>
            </a:xfrm>
            <a:custGeom>
              <a:avLst/>
              <a:gdLst>
                <a:gd name="T0" fmla="*/ 70 w 73"/>
                <a:gd name="T1" fmla="*/ 21 h 88"/>
                <a:gd name="T2" fmla="*/ 68 w 73"/>
                <a:gd name="T3" fmla="*/ 19 h 88"/>
                <a:gd name="T4" fmla="*/ 68 w 73"/>
                <a:gd name="T5" fmla="*/ 14 h 88"/>
                <a:gd name="T6" fmla="*/ 63 w 73"/>
                <a:gd name="T7" fmla="*/ 5 h 88"/>
                <a:gd name="T8" fmla="*/ 58 w 73"/>
                <a:gd name="T9" fmla="*/ 2 h 88"/>
                <a:gd name="T10" fmla="*/ 51 w 73"/>
                <a:gd name="T11" fmla="*/ 10 h 88"/>
                <a:gd name="T12" fmla="*/ 42 w 73"/>
                <a:gd name="T13" fmla="*/ 14 h 88"/>
                <a:gd name="T14" fmla="*/ 35 w 73"/>
                <a:gd name="T15" fmla="*/ 19 h 88"/>
                <a:gd name="T16" fmla="*/ 23 w 73"/>
                <a:gd name="T17" fmla="*/ 21 h 88"/>
                <a:gd name="T18" fmla="*/ 21 w 73"/>
                <a:gd name="T19" fmla="*/ 19 h 88"/>
                <a:gd name="T20" fmla="*/ 16 w 73"/>
                <a:gd name="T21" fmla="*/ 19 h 88"/>
                <a:gd name="T22" fmla="*/ 14 w 73"/>
                <a:gd name="T23" fmla="*/ 14 h 88"/>
                <a:gd name="T24" fmla="*/ 9 w 73"/>
                <a:gd name="T25" fmla="*/ 14 h 88"/>
                <a:gd name="T26" fmla="*/ 7 w 73"/>
                <a:gd name="T27" fmla="*/ 14 h 88"/>
                <a:gd name="T28" fmla="*/ 7 w 73"/>
                <a:gd name="T29" fmla="*/ 17 h 88"/>
                <a:gd name="T30" fmla="*/ 7 w 73"/>
                <a:gd name="T31" fmla="*/ 24 h 88"/>
                <a:gd name="T32" fmla="*/ 7 w 73"/>
                <a:gd name="T33" fmla="*/ 31 h 88"/>
                <a:gd name="T34" fmla="*/ 7 w 73"/>
                <a:gd name="T35" fmla="*/ 36 h 88"/>
                <a:gd name="T36" fmla="*/ 7 w 73"/>
                <a:gd name="T37" fmla="*/ 40 h 88"/>
                <a:gd name="T38" fmla="*/ 7 w 73"/>
                <a:gd name="T39" fmla="*/ 43 h 88"/>
                <a:gd name="T40" fmla="*/ 7 w 73"/>
                <a:gd name="T41" fmla="*/ 45 h 88"/>
                <a:gd name="T42" fmla="*/ 7 w 73"/>
                <a:gd name="T43" fmla="*/ 50 h 88"/>
                <a:gd name="T44" fmla="*/ 4 w 73"/>
                <a:gd name="T45" fmla="*/ 54 h 88"/>
                <a:gd name="T46" fmla="*/ 2 w 73"/>
                <a:gd name="T47" fmla="*/ 62 h 88"/>
                <a:gd name="T48" fmla="*/ 2 w 73"/>
                <a:gd name="T49" fmla="*/ 64 h 88"/>
                <a:gd name="T50" fmla="*/ 2 w 73"/>
                <a:gd name="T51" fmla="*/ 69 h 88"/>
                <a:gd name="T52" fmla="*/ 2 w 73"/>
                <a:gd name="T53" fmla="*/ 73 h 88"/>
                <a:gd name="T54" fmla="*/ 2 w 73"/>
                <a:gd name="T55" fmla="*/ 80 h 88"/>
                <a:gd name="T56" fmla="*/ 0 w 73"/>
                <a:gd name="T57" fmla="*/ 85 h 88"/>
                <a:gd name="T58" fmla="*/ 7 w 73"/>
                <a:gd name="T59" fmla="*/ 85 h 88"/>
                <a:gd name="T60" fmla="*/ 16 w 73"/>
                <a:gd name="T61" fmla="*/ 88 h 88"/>
                <a:gd name="T62" fmla="*/ 21 w 73"/>
                <a:gd name="T63" fmla="*/ 88 h 88"/>
                <a:gd name="T64" fmla="*/ 28 w 73"/>
                <a:gd name="T65" fmla="*/ 83 h 88"/>
                <a:gd name="T66" fmla="*/ 30 w 73"/>
                <a:gd name="T67" fmla="*/ 76 h 88"/>
                <a:gd name="T68" fmla="*/ 35 w 73"/>
                <a:gd name="T69" fmla="*/ 73 h 88"/>
                <a:gd name="T70" fmla="*/ 44 w 73"/>
                <a:gd name="T71" fmla="*/ 71 h 88"/>
                <a:gd name="T72" fmla="*/ 47 w 73"/>
                <a:gd name="T73" fmla="*/ 69 h 88"/>
                <a:gd name="T74" fmla="*/ 47 w 73"/>
                <a:gd name="T75" fmla="*/ 64 h 88"/>
                <a:gd name="T76" fmla="*/ 51 w 73"/>
                <a:gd name="T77" fmla="*/ 62 h 88"/>
                <a:gd name="T78" fmla="*/ 49 w 73"/>
                <a:gd name="T79" fmla="*/ 57 h 88"/>
                <a:gd name="T80" fmla="*/ 44 w 73"/>
                <a:gd name="T81" fmla="*/ 50 h 88"/>
                <a:gd name="T82" fmla="*/ 37 w 73"/>
                <a:gd name="T83" fmla="*/ 43 h 88"/>
                <a:gd name="T84" fmla="*/ 37 w 73"/>
                <a:gd name="T85" fmla="*/ 38 h 88"/>
                <a:gd name="T86" fmla="*/ 47 w 73"/>
                <a:gd name="T87" fmla="*/ 36 h 88"/>
                <a:gd name="T88" fmla="*/ 58 w 73"/>
                <a:gd name="T89" fmla="*/ 33 h 88"/>
                <a:gd name="T90" fmla="*/ 68 w 73"/>
                <a:gd name="T91" fmla="*/ 28 h 88"/>
                <a:gd name="T92" fmla="*/ 70 w 73"/>
                <a:gd name="T93" fmla="*/ 26 h 88"/>
                <a:gd name="T94" fmla="*/ 73 w 73"/>
                <a:gd name="T95" fmla="*/ 2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88">
                  <a:moveTo>
                    <a:pt x="73" y="21"/>
                  </a:moveTo>
                  <a:lnTo>
                    <a:pt x="70" y="21"/>
                  </a:lnTo>
                  <a:lnTo>
                    <a:pt x="68" y="24"/>
                  </a:lnTo>
                  <a:lnTo>
                    <a:pt x="68" y="19"/>
                  </a:lnTo>
                  <a:lnTo>
                    <a:pt x="68" y="19"/>
                  </a:lnTo>
                  <a:lnTo>
                    <a:pt x="68" y="14"/>
                  </a:lnTo>
                  <a:lnTo>
                    <a:pt x="66" y="10"/>
                  </a:lnTo>
                  <a:lnTo>
                    <a:pt x="63" y="5"/>
                  </a:lnTo>
                  <a:lnTo>
                    <a:pt x="63" y="0"/>
                  </a:lnTo>
                  <a:lnTo>
                    <a:pt x="58" y="2"/>
                  </a:lnTo>
                  <a:lnTo>
                    <a:pt x="54" y="7"/>
                  </a:lnTo>
                  <a:lnTo>
                    <a:pt x="51" y="10"/>
                  </a:lnTo>
                  <a:lnTo>
                    <a:pt x="44" y="12"/>
                  </a:lnTo>
                  <a:lnTo>
                    <a:pt x="42" y="14"/>
                  </a:lnTo>
                  <a:lnTo>
                    <a:pt x="37" y="17"/>
                  </a:lnTo>
                  <a:lnTo>
                    <a:pt x="35" y="19"/>
                  </a:lnTo>
                  <a:lnTo>
                    <a:pt x="30" y="24"/>
                  </a:lnTo>
                  <a:lnTo>
                    <a:pt x="23" y="21"/>
                  </a:lnTo>
                  <a:lnTo>
                    <a:pt x="21" y="21"/>
                  </a:lnTo>
                  <a:lnTo>
                    <a:pt x="21" y="19"/>
                  </a:lnTo>
                  <a:lnTo>
                    <a:pt x="18" y="19"/>
                  </a:lnTo>
                  <a:lnTo>
                    <a:pt x="16" y="19"/>
                  </a:lnTo>
                  <a:lnTo>
                    <a:pt x="14" y="14"/>
                  </a:lnTo>
                  <a:lnTo>
                    <a:pt x="14" y="14"/>
                  </a:lnTo>
                  <a:lnTo>
                    <a:pt x="11" y="14"/>
                  </a:lnTo>
                  <a:lnTo>
                    <a:pt x="9" y="14"/>
                  </a:lnTo>
                  <a:lnTo>
                    <a:pt x="7" y="14"/>
                  </a:lnTo>
                  <a:lnTo>
                    <a:pt x="7" y="14"/>
                  </a:lnTo>
                  <a:lnTo>
                    <a:pt x="7" y="17"/>
                  </a:lnTo>
                  <a:lnTo>
                    <a:pt x="7" y="17"/>
                  </a:lnTo>
                  <a:lnTo>
                    <a:pt x="7" y="21"/>
                  </a:lnTo>
                  <a:lnTo>
                    <a:pt x="7" y="24"/>
                  </a:lnTo>
                  <a:lnTo>
                    <a:pt x="7" y="26"/>
                  </a:lnTo>
                  <a:lnTo>
                    <a:pt x="7" y="31"/>
                  </a:lnTo>
                  <a:lnTo>
                    <a:pt x="9" y="33"/>
                  </a:lnTo>
                  <a:lnTo>
                    <a:pt x="7" y="36"/>
                  </a:lnTo>
                  <a:lnTo>
                    <a:pt x="7" y="38"/>
                  </a:lnTo>
                  <a:lnTo>
                    <a:pt x="7" y="40"/>
                  </a:lnTo>
                  <a:lnTo>
                    <a:pt x="7" y="43"/>
                  </a:lnTo>
                  <a:lnTo>
                    <a:pt x="7" y="43"/>
                  </a:lnTo>
                  <a:lnTo>
                    <a:pt x="7" y="45"/>
                  </a:lnTo>
                  <a:lnTo>
                    <a:pt x="7" y="45"/>
                  </a:lnTo>
                  <a:lnTo>
                    <a:pt x="7" y="47"/>
                  </a:lnTo>
                  <a:lnTo>
                    <a:pt x="7" y="50"/>
                  </a:lnTo>
                  <a:lnTo>
                    <a:pt x="4" y="54"/>
                  </a:lnTo>
                  <a:lnTo>
                    <a:pt x="4" y="54"/>
                  </a:lnTo>
                  <a:lnTo>
                    <a:pt x="4" y="57"/>
                  </a:lnTo>
                  <a:lnTo>
                    <a:pt x="2" y="62"/>
                  </a:lnTo>
                  <a:lnTo>
                    <a:pt x="2" y="62"/>
                  </a:lnTo>
                  <a:lnTo>
                    <a:pt x="2" y="64"/>
                  </a:lnTo>
                  <a:lnTo>
                    <a:pt x="2" y="66"/>
                  </a:lnTo>
                  <a:lnTo>
                    <a:pt x="2" y="69"/>
                  </a:lnTo>
                  <a:lnTo>
                    <a:pt x="2" y="71"/>
                  </a:lnTo>
                  <a:lnTo>
                    <a:pt x="2" y="73"/>
                  </a:lnTo>
                  <a:lnTo>
                    <a:pt x="2" y="76"/>
                  </a:lnTo>
                  <a:lnTo>
                    <a:pt x="2" y="80"/>
                  </a:lnTo>
                  <a:lnTo>
                    <a:pt x="2" y="83"/>
                  </a:lnTo>
                  <a:lnTo>
                    <a:pt x="0" y="85"/>
                  </a:lnTo>
                  <a:lnTo>
                    <a:pt x="4" y="85"/>
                  </a:lnTo>
                  <a:lnTo>
                    <a:pt x="7" y="85"/>
                  </a:lnTo>
                  <a:lnTo>
                    <a:pt x="11" y="88"/>
                  </a:lnTo>
                  <a:lnTo>
                    <a:pt x="16" y="88"/>
                  </a:lnTo>
                  <a:lnTo>
                    <a:pt x="21" y="88"/>
                  </a:lnTo>
                  <a:lnTo>
                    <a:pt x="21" y="88"/>
                  </a:lnTo>
                  <a:lnTo>
                    <a:pt x="25" y="85"/>
                  </a:lnTo>
                  <a:lnTo>
                    <a:pt x="28" y="83"/>
                  </a:lnTo>
                  <a:lnTo>
                    <a:pt x="30" y="78"/>
                  </a:lnTo>
                  <a:lnTo>
                    <a:pt x="30" y="76"/>
                  </a:lnTo>
                  <a:lnTo>
                    <a:pt x="33" y="73"/>
                  </a:lnTo>
                  <a:lnTo>
                    <a:pt x="35" y="73"/>
                  </a:lnTo>
                  <a:lnTo>
                    <a:pt x="40" y="73"/>
                  </a:lnTo>
                  <a:lnTo>
                    <a:pt x="44" y="71"/>
                  </a:lnTo>
                  <a:lnTo>
                    <a:pt x="44" y="71"/>
                  </a:lnTo>
                  <a:lnTo>
                    <a:pt x="47" y="69"/>
                  </a:lnTo>
                  <a:lnTo>
                    <a:pt x="47" y="64"/>
                  </a:lnTo>
                  <a:lnTo>
                    <a:pt x="47" y="64"/>
                  </a:lnTo>
                  <a:lnTo>
                    <a:pt x="47" y="64"/>
                  </a:lnTo>
                  <a:lnTo>
                    <a:pt x="51" y="62"/>
                  </a:lnTo>
                  <a:lnTo>
                    <a:pt x="54" y="62"/>
                  </a:lnTo>
                  <a:lnTo>
                    <a:pt x="49" y="57"/>
                  </a:lnTo>
                  <a:lnTo>
                    <a:pt x="47" y="54"/>
                  </a:lnTo>
                  <a:lnTo>
                    <a:pt x="44" y="50"/>
                  </a:lnTo>
                  <a:lnTo>
                    <a:pt x="40" y="47"/>
                  </a:lnTo>
                  <a:lnTo>
                    <a:pt x="37" y="43"/>
                  </a:lnTo>
                  <a:lnTo>
                    <a:pt x="33" y="40"/>
                  </a:lnTo>
                  <a:lnTo>
                    <a:pt x="37" y="38"/>
                  </a:lnTo>
                  <a:lnTo>
                    <a:pt x="42" y="38"/>
                  </a:lnTo>
                  <a:lnTo>
                    <a:pt x="47" y="36"/>
                  </a:lnTo>
                  <a:lnTo>
                    <a:pt x="54" y="33"/>
                  </a:lnTo>
                  <a:lnTo>
                    <a:pt x="58" y="33"/>
                  </a:lnTo>
                  <a:lnTo>
                    <a:pt x="66" y="31"/>
                  </a:lnTo>
                  <a:lnTo>
                    <a:pt x="68" y="28"/>
                  </a:lnTo>
                  <a:lnTo>
                    <a:pt x="68" y="28"/>
                  </a:lnTo>
                  <a:lnTo>
                    <a:pt x="70" y="26"/>
                  </a:lnTo>
                  <a:lnTo>
                    <a:pt x="73" y="24"/>
                  </a:lnTo>
                  <a:lnTo>
                    <a:pt x="73"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5" name="Freeform 311"/>
            <p:cNvSpPr>
              <a:spLocks/>
            </p:cNvSpPr>
            <p:nvPr userDrawn="1"/>
          </p:nvSpPr>
          <p:spPr bwMode="auto">
            <a:xfrm>
              <a:off x="3643" y="1772"/>
              <a:ext cx="3" cy="2"/>
            </a:xfrm>
            <a:custGeom>
              <a:avLst/>
              <a:gdLst>
                <a:gd name="T0" fmla="*/ 3 w 3"/>
                <a:gd name="T1" fmla="*/ 0 h 2"/>
                <a:gd name="T2" fmla="*/ 3 w 3"/>
                <a:gd name="T3" fmla="*/ 0 h 2"/>
                <a:gd name="T4" fmla="*/ 0 w 3"/>
                <a:gd name="T5" fmla="*/ 0 h 2"/>
                <a:gd name="T6" fmla="*/ 0 w 3"/>
                <a:gd name="T7" fmla="*/ 0 h 2"/>
                <a:gd name="T8" fmla="*/ 0 w 3"/>
                <a:gd name="T9" fmla="*/ 0 h 2"/>
                <a:gd name="T10" fmla="*/ 3 w 3"/>
                <a:gd name="T11" fmla="*/ 0 h 2"/>
                <a:gd name="T12" fmla="*/ 3 w 3"/>
                <a:gd name="T13" fmla="*/ 2 h 2"/>
                <a:gd name="T14" fmla="*/ 3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lnTo>
                    <a:pt x="3" y="0"/>
                  </a:lnTo>
                  <a:lnTo>
                    <a:pt x="0" y="0"/>
                  </a:lnTo>
                  <a:lnTo>
                    <a:pt x="0" y="0"/>
                  </a:lnTo>
                  <a:lnTo>
                    <a:pt x="0" y="0"/>
                  </a:lnTo>
                  <a:lnTo>
                    <a:pt x="3" y="0"/>
                  </a:lnTo>
                  <a:lnTo>
                    <a:pt x="3" y="2"/>
                  </a:lnTo>
                  <a:lnTo>
                    <a:pt x="3"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6" name="Freeform 312"/>
            <p:cNvSpPr>
              <a:spLocks noEditPoints="1"/>
            </p:cNvSpPr>
            <p:nvPr userDrawn="1"/>
          </p:nvSpPr>
          <p:spPr bwMode="auto">
            <a:xfrm>
              <a:off x="5946" y="1848"/>
              <a:ext cx="182" cy="305"/>
            </a:xfrm>
            <a:custGeom>
              <a:avLst/>
              <a:gdLst>
                <a:gd name="T0" fmla="*/ 19 w 182"/>
                <a:gd name="T1" fmla="*/ 279 h 305"/>
                <a:gd name="T2" fmla="*/ 2 w 182"/>
                <a:gd name="T3" fmla="*/ 257 h 305"/>
                <a:gd name="T4" fmla="*/ 47 w 182"/>
                <a:gd name="T5" fmla="*/ 276 h 305"/>
                <a:gd name="T6" fmla="*/ 38 w 182"/>
                <a:gd name="T7" fmla="*/ 257 h 305"/>
                <a:gd name="T8" fmla="*/ 24 w 182"/>
                <a:gd name="T9" fmla="*/ 246 h 305"/>
                <a:gd name="T10" fmla="*/ 7 w 182"/>
                <a:gd name="T11" fmla="*/ 255 h 305"/>
                <a:gd name="T12" fmla="*/ 12 w 182"/>
                <a:gd name="T13" fmla="*/ 265 h 305"/>
                <a:gd name="T14" fmla="*/ 19 w 182"/>
                <a:gd name="T15" fmla="*/ 269 h 305"/>
                <a:gd name="T16" fmla="*/ 17 w 182"/>
                <a:gd name="T17" fmla="*/ 260 h 305"/>
                <a:gd name="T18" fmla="*/ 24 w 182"/>
                <a:gd name="T19" fmla="*/ 283 h 305"/>
                <a:gd name="T20" fmla="*/ 38 w 182"/>
                <a:gd name="T21" fmla="*/ 302 h 305"/>
                <a:gd name="T22" fmla="*/ 38 w 182"/>
                <a:gd name="T23" fmla="*/ 293 h 305"/>
                <a:gd name="T24" fmla="*/ 45 w 182"/>
                <a:gd name="T25" fmla="*/ 243 h 305"/>
                <a:gd name="T26" fmla="*/ 50 w 182"/>
                <a:gd name="T27" fmla="*/ 239 h 305"/>
                <a:gd name="T28" fmla="*/ 71 w 182"/>
                <a:gd name="T29" fmla="*/ 236 h 305"/>
                <a:gd name="T30" fmla="*/ 57 w 182"/>
                <a:gd name="T31" fmla="*/ 241 h 305"/>
                <a:gd name="T32" fmla="*/ 52 w 182"/>
                <a:gd name="T33" fmla="*/ 255 h 305"/>
                <a:gd name="T34" fmla="*/ 61 w 182"/>
                <a:gd name="T35" fmla="*/ 269 h 305"/>
                <a:gd name="T36" fmla="*/ 80 w 182"/>
                <a:gd name="T37" fmla="*/ 253 h 305"/>
                <a:gd name="T38" fmla="*/ 78 w 182"/>
                <a:gd name="T39" fmla="*/ 231 h 305"/>
                <a:gd name="T40" fmla="*/ 90 w 182"/>
                <a:gd name="T41" fmla="*/ 239 h 305"/>
                <a:gd name="T42" fmla="*/ 118 w 182"/>
                <a:gd name="T43" fmla="*/ 158 h 305"/>
                <a:gd name="T44" fmla="*/ 113 w 182"/>
                <a:gd name="T45" fmla="*/ 160 h 305"/>
                <a:gd name="T46" fmla="*/ 170 w 182"/>
                <a:gd name="T47" fmla="*/ 177 h 305"/>
                <a:gd name="T48" fmla="*/ 163 w 182"/>
                <a:gd name="T49" fmla="*/ 144 h 305"/>
                <a:gd name="T50" fmla="*/ 160 w 182"/>
                <a:gd name="T51" fmla="*/ 123 h 305"/>
                <a:gd name="T52" fmla="*/ 132 w 182"/>
                <a:gd name="T53" fmla="*/ 90 h 305"/>
                <a:gd name="T54" fmla="*/ 127 w 182"/>
                <a:gd name="T55" fmla="*/ 90 h 305"/>
                <a:gd name="T56" fmla="*/ 118 w 182"/>
                <a:gd name="T57" fmla="*/ 92 h 305"/>
                <a:gd name="T58" fmla="*/ 113 w 182"/>
                <a:gd name="T59" fmla="*/ 101 h 305"/>
                <a:gd name="T60" fmla="*/ 120 w 182"/>
                <a:gd name="T61" fmla="*/ 116 h 305"/>
                <a:gd name="T62" fmla="*/ 130 w 182"/>
                <a:gd name="T63" fmla="*/ 142 h 305"/>
                <a:gd name="T64" fmla="*/ 123 w 182"/>
                <a:gd name="T65" fmla="*/ 172 h 305"/>
                <a:gd name="T66" fmla="*/ 99 w 182"/>
                <a:gd name="T67" fmla="*/ 175 h 305"/>
                <a:gd name="T68" fmla="*/ 97 w 182"/>
                <a:gd name="T69" fmla="*/ 186 h 305"/>
                <a:gd name="T70" fmla="*/ 85 w 182"/>
                <a:gd name="T71" fmla="*/ 210 h 305"/>
                <a:gd name="T72" fmla="*/ 54 w 182"/>
                <a:gd name="T73" fmla="*/ 210 h 305"/>
                <a:gd name="T74" fmla="*/ 33 w 182"/>
                <a:gd name="T75" fmla="*/ 227 h 305"/>
                <a:gd name="T76" fmla="*/ 24 w 182"/>
                <a:gd name="T77" fmla="*/ 241 h 305"/>
                <a:gd name="T78" fmla="*/ 45 w 182"/>
                <a:gd name="T79" fmla="*/ 234 h 305"/>
                <a:gd name="T80" fmla="*/ 73 w 182"/>
                <a:gd name="T81" fmla="*/ 229 h 305"/>
                <a:gd name="T82" fmla="*/ 97 w 182"/>
                <a:gd name="T83" fmla="*/ 231 h 305"/>
                <a:gd name="T84" fmla="*/ 113 w 182"/>
                <a:gd name="T85" fmla="*/ 248 h 305"/>
                <a:gd name="T86" fmla="*/ 116 w 182"/>
                <a:gd name="T87" fmla="*/ 220 h 305"/>
                <a:gd name="T88" fmla="*/ 125 w 182"/>
                <a:gd name="T89" fmla="*/ 227 h 305"/>
                <a:gd name="T90" fmla="*/ 146 w 182"/>
                <a:gd name="T91" fmla="*/ 222 h 305"/>
                <a:gd name="T92" fmla="*/ 158 w 182"/>
                <a:gd name="T93" fmla="*/ 227 h 305"/>
                <a:gd name="T94" fmla="*/ 165 w 182"/>
                <a:gd name="T95" fmla="*/ 215 h 305"/>
                <a:gd name="T96" fmla="*/ 167 w 182"/>
                <a:gd name="T97" fmla="*/ 212 h 305"/>
                <a:gd name="T98" fmla="*/ 177 w 182"/>
                <a:gd name="T99" fmla="*/ 217 h 305"/>
                <a:gd name="T100" fmla="*/ 94 w 182"/>
                <a:gd name="T101" fmla="*/ 19 h 305"/>
                <a:gd name="T102" fmla="*/ 99 w 182"/>
                <a:gd name="T103" fmla="*/ 49 h 305"/>
                <a:gd name="T104" fmla="*/ 90 w 182"/>
                <a:gd name="T105" fmla="*/ 61 h 305"/>
                <a:gd name="T106" fmla="*/ 106 w 182"/>
                <a:gd name="T107" fmla="*/ 85 h 305"/>
                <a:gd name="T108" fmla="*/ 118 w 182"/>
                <a:gd name="T109" fmla="*/ 78 h 305"/>
                <a:gd name="T110" fmla="*/ 101 w 182"/>
                <a:gd name="T111" fmla="*/ 64 h 305"/>
                <a:gd name="T112" fmla="*/ 153 w 182"/>
                <a:gd name="T113" fmla="*/ 71 h 305"/>
                <a:gd name="T114" fmla="*/ 172 w 182"/>
                <a:gd name="T115" fmla="*/ 52 h 305"/>
                <a:gd name="T116" fmla="*/ 172 w 182"/>
                <a:gd name="T117" fmla="*/ 47 h 305"/>
                <a:gd name="T118" fmla="*/ 153 w 182"/>
                <a:gd name="T119" fmla="*/ 35 h 305"/>
                <a:gd name="T120" fmla="*/ 99 w 182"/>
                <a:gd name="T121" fmla="*/ 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305">
                  <a:moveTo>
                    <a:pt x="24" y="276"/>
                  </a:moveTo>
                  <a:lnTo>
                    <a:pt x="24" y="276"/>
                  </a:lnTo>
                  <a:lnTo>
                    <a:pt x="26" y="274"/>
                  </a:lnTo>
                  <a:lnTo>
                    <a:pt x="26" y="274"/>
                  </a:lnTo>
                  <a:lnTo>
                    <a:pt x="24" y="274"/>
                  </a:lnTo>
                  <a:lnTo>
                    <a:pt x="21" y="274"/>
                  </a:lnTo>
                  <a:lnTo>
                    <a:pt x="21" y="276"/>
                  </a:lnTo>
                  <a:lnTo>
                    <a:pt x="24" y="276"/>
                  </a:lnTo>
                  <a:close/>
                  <a:moveTo>
                    <a:pt x="19" y="274"/>
                  </a:moveTo>
                  <a:lnTo>
                    <a:pt x="17" y="274"/>
                  </a:lnTo>
                  <a:lnTo>
                    <a:pt x="19" y="274"/>
                  </a:lnTo>
                  <a:lnTo>
                    <a:pt x="19" y="276"/>
                  </a:lnTo>
                  <a:lnTo>
                    <a:pt x="19" y="279"/>
                  </a:lnTo>
                  <a:lnTo>
                    <a:pt x="19" y="279"/>
                  </a:lnTo>
                  <a:lnTo>
                    <a:pt x="19" y="279"/>
                  </a:lnTo>
                  <a:lnTo>
                    <a:pt x="19" y="279"/>
                  </a:lnTo>
                  <a:lnTo>
                    <a:pt x="19" y="281"/>
                  </a:lnTo>
                  <a:lnTo>
                    <a:pt x="21" y="279"/>
                  </a:lnTo>
                  <a:lnTo>
                    <a:pt x="21" y="276"/>
                  </a:lnTo>
                  <a:lnTo>
                    <a:pt x="21" y="274"/>
                  </a:lnTo>
                  <a:lnTo>
                    <a:pt x="19" y="274"/>
                  </a:lnTo>
                  <a:close/>
                  <a:moveTo>
                    <a:pt x="2" y="255"/>
                  </a:moveTo>
                  <a:lnTo>
                    <a:pt x="2" y="257"/>
                  </a:lnTo>
                  <a:lnTo>
                    <a:pt x="0" y="257"/>
                  </a:lnTo>
                  <a:lnTo>
                    <a:pt x="2" y="257"/>
                  </a:lnTo>
                  <a:lnTo>
                    <a:pt x="0" y="260"/>
                  </a:lnTo>
                  <a:lnTo>
                    <a:pt x="2" y="260"/>
                  </a:lnTo>
                  <a:lnTo>
                    <a:pt x="2" y="257"/>
                  </a:lnTo>
                  <a:lnTo>
                    <a:pt x="2" y="257"/>
                  </a:lnTo>
                  <a:lnTo>
                    <a:pt x="2" y="255"/>
                  </a:lnTo>
                  <a:lnTo>
                    <a:pt x="2" y="255"/>
                  </a:lnTo>
                  <a:close/>
                  <a:moveTo>
                    <a:pt x="45" y="295"/>
                  </a:moveTo>
                  <a:lnTo>
                    <a:pt x="45" y="295"/>
                  </a:lnTo>
                  <a:lnTo>
                    <a:pt x="47" y="298"/>
                  </a:lnTo>
                  <a:lnTo>
                    <a:pt x="50" y="298"/>
                  </a:lnTo>
                  <a:lnTo>
                    <a:pt x="50" y="291"/>
                  </a:lnTo>
                  <a:lnTo>
                    <a:pt x="50" y="288"/>
                  </a:lnTo>
                  <a:lnTo>
                    <a:pt x="47" y="286"/>
                  </a:lnTo>
                  <a:lnTo>
                    <a:pt x="47" y="283"/>
                  </a:lnTo>
                  <a:lnTo>
                    <a:pt x="47" y="281"/>
                  </a:lnTo>
                  <a:lnTo>
                    <a:pt x="47" y="279"/>
                  </a:lnTo>
                  <a:lnTo>
                    <a:pt x="47" y="276"/>
                  </a:lnTo>
                  <a:lnTo>
                    <a:pt x="47" y="274"/>
                  </a:lnTo>
                  <a:lnTo>
                    <a:pt x="47" y="272"/>
                  </a:lnTo>
                  <a:lnTo>
                    <a:pt x="50" y="267"/>
                  </a:lnTo>
                  <a:lnTo>
                    <a:pt x="50" y="267"/>
                  </a:lnTo>
                  <a:lnTo>
                    <a:pt x="50" y="265"/>
                  </a:lnTo>
                  <a:lnTo>
                    <a:pt x="47" y="265"/>
                  </a:lnTo>
                  <a:lnTo>
                    <a:pt x="47" y="262"/>
                  </a:lnTo>
                  <a:lnTo>
                    <a:pt x="47" y="262"/>
                  </a:lnTo>
                  <a:lnTo>
                    <a:pt x="47" y="262"/>
                  </a:lnTo>
                  <a:lnTo>
                    <a:pt x="45" y="260"/>
                  </a:lnTo>
                  <a:lnTo>
                    <a:pt x="45" y="260"/>
                  </a:lnTo>
                  <a:lnTo>
                    <a:pt x="45" y="257"/>
                  </a:lnTo>
                  <a:lnTo>
                    <a:pt x="43" y="257"/>
                  </a:lnTo>
                  <a:lnTo>
                    <a:pt x="38" y="257"/>
                  </a:lnTo>
                  <a:lnTo>
                    <a:pt x="38" y="255"/>
                  </a:lnTo>
                  <a:lnTo>
                    <a:pt x="40" y="253"/>
                  </a:lnTo>
                  <a:lnTo>
                    <a:pt x="40" y="253"/>
                  </a:lnTo>
                  <a:lnTo>
                    <a:pt x="38" y="250"/>
                  </a:lnTo>
                  <a:lnTo>
                    <a:pt x="38" y="250"/>
                  </a:lnTo>
                  <a:lnTo>
                    <a:pt x="35" y="250"/>
                  </a:lnTo>
                  <a:lnTo>
                    <a:pt x="35" y="250"/>
                  </a:lnTo>
                  <a:lnTo>
                    <a:pt x="33" y="250"/>
                  </a:lnTo>
                  <a:lnTo>
                    <a:pt x="33" y="250"/>
                  </a:lnTo>
                  <a:lnTo>
                    <a:pt x="33" y="250"/>
                  </a:lnTo>
                  <a:lnTo>
                    <a:pt x="28" y="250"/>
                  </a:lnTo>
                  <a:lnTo>
                    <a:pt x="26" y="248"/>
                  </a:lnTo>
                  <a:lnTo>
                    <a:pt x="26" y="248"/>
                  </a:lnTo>
                  <a:lnTo>
                    <a:pt x="24" y="246"/>
                  </a:lnTo>
                  <a:lnTo>
                    <a:pt x="21" y="243"/>
                  </a:lnTo>
                  <a:lnTo>
                    <a:pt x="19" y="243"/>
                  </a:lnTo>
                  <a:lnTo>
                    <a:pt x="19" y="243"/>
                  </a:lnTo>
                  <a:lnTo>
                    <a:pt x="14" y="246"/>
                  </a:lnTo>
                  <a:lnTo>
                    <a:pt x="14" y="246"/>
                  </a:lnTo>
                  <a:lnTo>
                    <a:pt x="14" y="248"/>
                  </a:lnTo>
                  <a:lnTo>
                    <a:pt x="14" y="250"/>
                  </a:lnTo>
                  <a:lnTo>
                    <a:pt x="14" y="250"/>
                  </a:lnTo>
                  <a:lnTo>
                    <a:pt x="12" y="250"/>
                  </a:lnTo>
                  <a:lnTo>
                    <a:pt x="12" y="250"/>
                  </a:lnTo>
                  <a:lnTo>
                    <a:pt x="12" y="253"/>
                  </a:lnTo>
                  <a:lnTo>
                    <a:pt x="10" y="253"/>
                  </a:lnTo>
                  <a:lnTo>
                    <a:pt x="7" y="253"/>
                  </a:lnTo>
                  <a:lnTo>
                    <a:pt x="7" y="255"/>
                  </a:lnTo>
                  <a:lnTo>
                    <a:pt x="7" y="255"/>
                  </a:lnTo>
                  <a:lnTo>
                    <a:pt x="7" y="255"/>
                  </a:lnTo>
                  <a:lnTo>
                    <a:pt x="7" y="257"/>
                  </a:lnTo>
                  <a:lnTo>
                    <a:pt x="5" y="255"/>
                  </a:lnTo>
                  <a:lnTo>
                    <a:pt x="5" y="255"/>
                  </a:lnTo>
                  <a:lnTo>
                    <a:pt x="5" y="255"/>
                  </a:lnTo>
                  <a:lnTo>
                    <a:pt x="5" y="257"/>
                  </a:lnTo>
                  <a:lnTo>
                    <a:pt x="7" y="260"/>
                  </a:lnTo>
                  <a:lnTo>
                    <a:pt x="10" y="262"/>
                  </a:lnTo>
                  <a:lnTo>
                    <a:pt x="12" y="262"/>
                  </a:lnTo>
                  <a:lnTo>
                    <a:pt x="12" y="265"/>
                  </a:lnTo>
                  <a:lnTo>
                    <a:pt x="14" y="267"/>
                  </a:lnTo>
                  <a:lnTo>
                    <a:pt x="12" y="267"/>
                  </a:lnTo>
                  <a:lnTo>
                    <a:pt x="12" y="265"/>
                  </a:lnTo>
                  <a:lnTo>
                    <a:pt x="10" y="265"/>
                  </a:lnTo>
                  <a:lnTo>
                    <a:pt x="7" y="262"/>
                  </a:lnTo>
                  <a:lnTo>
                    <a:pt x="7" y="265"/>
                  </a:lnTo>
                  <a:lnTo>
                    <a:pt x="7" y="265"/>
                  </a:lnTo>
                  <a:lnTo>
                    <a:pt x="10" y="267"/>
                  </a:lnTo>
                  <a:lnTo>
                    <a:pt x="12" y="267"/>
                  </a:lnTo>
                  <a:lnTo>
                    <a:pt x="12" y="269"/>
                  </a:lnTo>
                  <a:lnTo>
                    <a:pt x="12" y="272"/>
                  </a:lnTo>
                  <a:lnTo>
                    <a:pt x="12" y="272"/>
                  </a:lnTo>
                  <a:lnTo>
                    <a:pt x="14" y="272"/>
                  </a:lnTo>
                  <a:lnTo>
                    <a:pt x="14" y="269"/>
                  </a:lnTo>
                  <a:lnTo>
                    <a:pt x="17" y="269"/>
                  </a:lnTo>
                  <a:lnTo>
                    <a:pt x="19" y="269"/>
                  </a:lnTo>
                  <a:lnTo>
                    <a:pt x="19" y="269"/>
                  </a:lnTo>
                  <a:lnTo>
                    <a:pt x="21" y="269"/>
                  </a:lnTo>
                  <a:lnTo>
                    <a:pt x="21" y="269"/>
                  </a:lnTo>
                  <a:lnTo>
                    <a:pt x="21" y="269"/>
                  </a:lnTo>
                  <a:lnTo>
                    <a:pt x="21" y="269"/>
                  </a:lnTo>
                  <a:lnTo>
                    <a:pt x="21" y="267"/>
                  </a:lnTo>
                  <a:lnTo>
                    <a:pt x="21" y="267"/>
                  </a:lnTo>
                  <a:lnTo>
                    <a:pt x="19" y="267"/>
                  </a:lnTo>
                  <a:lnTo>
                    <a:pt x="19" y="267"/>
                  </a:lnTo>
                  <a:lnTo>
                    <a:pt x="17" y="267"/>
                  </a:lnTo>
                  <a:lnTo>
                    <a:pt x="17" y="265"/>
                  </a:lnTo>
                  <a:lnTo>
                    <a:pt x="17" y="262"/>
                  </a:lnTo>
                  <a:lnTo>
                    <a:pt x="14" y="262"/>
                  </a:lnTo>
                  <a:lnTo>
                    <a:pt x="14" y="260"/>
                  </a:lnTo>
                  <a:lnTo>
                    <a:pt x="17" y="260"/>
                  </a:lnTo>
                  <a:lnTo>
                    <a:pt x="17" y="260"/>
                  </a:lnTo>
                  <a:lnTo>
                    <a:pt x="19" y="262"/>
                  </a:lnTo>
                  <a:lnTo>
                    <a:pt x="21" y="265"/>
                  </a:lnTo>
                  <a:lnTo>
                    <a:pt x="24" y="267"/>
                  </a:lnTo>
                  <a:lnTo>
                    <a:pt x="26" y="269"/>
                  </a:lnTo>
                  <a:lnTo>
                    <a:pt x="26" y="272"/>
                  </a:lnTo>
                  <a:lnTo>
                    <a:pt x="26" y="272"/>
                  </a:lnTo>
                  <a:lnTo>
                    <a:pt x="28" y="272"/>
                  </a:lnTo>
                  <a:lnTo>
                    <a:pt x="28" y="274"/>
                  </a:lnTo>
                  <a:lnTo>
                    <a:pt x="26" y="279"/>
                  </a:lnTo>
                  <a:lnTo>
                    <a:pt x="26" y="279"/>
                  </a:lnTo>
                  <a:lnTo>
                    <a:pt x="26" y="281"/>
                  </a:lnTo>
                  <a:lnTo>
                    <a:pt x="24" y="281"/>
                  </a:lnTo>
                  <a:lnTo>
                    <a:pt x="24" y="283"/>
                  </a:lnTo>
                  <a:lnTo>
                    <a:pt x="26" y="286"/>
                  </a:lnTo>
                  <a:lnTo>
                    <a:pt x="26" y="288"/>
                  </a:lnTo>
                  <a:lnTo>
                    <a:pt x="26" y="288"/>
                  </a:lnTo>
                  <a:lnTo>
                    <a:pt x="26" y="291"/>
                  </a:lnTo>
                  <a:lnTo>
                    <a:pt x="28" y="291"/>
                  </a:lnTo>
                  <a:lnTo>
                    <a:pt x="31" y="293"/>
                  </a:lnTo>
                  <a:lnTo>
                    <a:pt x="31" y="295"/>
                  </a:lnTo>
                  <a:lnTo>
                    <a:pt x="31" y="295"/>
                  </a:lnTo>
                  <a:lnTo>
                    <a:pt x="31" y="295"/>
                  </a:lnTo>
                  <a:lnTo>
                    <a:pt x="28" y="298"/>
                  </a:lnTo>
                  <a:lnTo>
                    <a:pt x="31" y="300"/>
                  </a:lnTo>
                  <a:lnTo>
                    <a:pt x="31" y="300"/>
                  </a:lnTo>
                  <a:lnTo>
                    <a:pt x="33" y="300"/>
                  </a:lnTo>
                  <a:lnTo>
                    <a:pt x="38" y="302"/>
                  </a:lnTo>
                  <a:lnTo>
                    <a:pt x="38" y="300"/>
                  </a:lnTo>
                  <a:lnTo>
                    <a:pt x="38" y="300"/>
                  </a:lnTo>
                  <a:lnTo>
                    <a:pt x="35" y="298"/>
                  </a:lnTo>
                  <a:lnTo>
                    <a:pt x="35" y="298"/>
                  </a:lnTo>
                  <a:lnTo>
                    <a:pt x="35" y="295"/>
                  </a:lnTo>
                  <a:lnTo>
                    <a:pt x="33" y="293"/>
                  </a:lnTo>
                  <a:lnTo>
                    <a:pt x="35" y="291"/>
                  </a:lnTo>
                  <a:lnTo>
                    <a:pt x="35" y="291"/>
                  </a:lnTo>
                  <a:lnTo>
                    <a:pt x="35" y="291"/>
                  </a:lnTo>
                  <a:lnTo>
                    <a:pt x="38" y="291"/>
                  </a:lnTo>
                  <a:lnTo>
                    <a:pt x="38" y="291"/>
                  </a:lnTo>
                  <a:lnTo>
                    <a:pt x="38" y="293"/>
                  </a:lnTo>
                  <a:lnTo>
                    <a:pt x="38" y="293"/>
                  </a:lnTo>
                  <a:lnTo>
                    <a:pt x="38" y="293"/>
                  </a:lnTo>
                  <a:lnTo>
                    <a:pt x="38" y="293"/>
                  </a:lnTo>
                  <a:lnTo>
                    <a:pt x="38" y="295"/>
                  </a:lnTo>
                  <a:lnTo>
                    <a:pt x="40" y="298"/>
                  </a:lnTo>
                  <a:lnTo>
                    <a:pt x="40" y="300"/>
                  </a:lnTo>
                  <a:lnTo>
                    <a:pt x="40" y="302"/>
                  </a:lnTo>
                  <a:lnTo>
                    <a:pt x="40" y="302"/>
                  </a:lnTo>
                  <a:lnTo>
                    <a:pt x="40" y="302"/>
                  </a:lnTo>
                  <a:lnTo>
                    <a:pt x="40" y="305"/>
                  </a:lnTo>
                  <a:lnTo>
                    <a:pt x="40" y="305"/>
                  </a:lnTo>
                  <a:lnTo>
                    <a:pt x="43" y="302"/>
                  </a:lnTo>
                  <a:lnTo>
                    <a:pt x="47" y="300"/>
                  </a:lnTo>
                  <a:lnTo>
                    <a:pt x="45" y="298"/>
                  </a:lnTo>
                  <a:lnTo>
                    <a:pt x="45" y="295"/>
                  </a:lnTo>
                  <a:close/>
                  <a:moveTo>
                    <a:pt x="45" y="243"/>
                  </a:moveTo>
                  <a:lnTo>
                    <a:pt x="45" y="243"/>
                  </a:lnTo>
                  <a:lnTo>
                    <a:pt x="45" y="243"/>
                  </a:lnTo>
                  <a:lnTo>
                    <a:pt x="45" y="246"/>
                  </a:lnTo>
                  <a:lnTo>
                    <a:pt x="47" y="246"/>
                  </a:lnTo>
                  <a:lnTo>
                    <a:pt x="47" y="246"/>
                  </a:lnTo>
                  <a:lnTo>
                    <a:pt x="50" y="246"/>
                  </a:lnTo>
                  <a:lnTo>
                    <a:pt x="50" y="243"/>
                  </a:lnTo>
                  <a:lnTo>
                    <a:pt x="50" y="243"/>
                  </a:lnTo>
                  <a:lnTo>
                    <a:pt x="47" y="243"/>
                  </a:lnTo>
                  <a:lnTo>
                    <a:pt x="45" y="243"/>
                  </a:lnTo>
                  <a:close/>
                  <a:moveTo>
                    <a:pt x="50" y="241"/>
                  </a:moveTo>
                  <a:lnTo>
                    <a:pt x="50" y="239"/>
                  </a:lnTo>
                  <a:lnTo>
                    <a:pt x="50" y="239"/>
                  </a:lnTo>
                  <a:lnTo>
                    <a:pt x="50" y="239"/>
                  </a:lnTo>
                  <a:lnTo>
                    <a:pt x="47" y="239"/>
                  </a:lnTo>
                  <a:lnTo>
                    <a:pt x="47" y="241"/>
                  </a:lnTo>
                  <a:lnTo>
                    <a:pt x="50" y="241"/>
                  </a:lnTo>
                  <a:lnTo>
                    <a:pt x="50" y="241"/>
                  </a:lnTo>
                  <a:close/>
                  <a:moveTo>
                    <a:pt x="90" y="243"/>
                  </a:moveTo>
                  <a:lnTo>
                    <a:pt x="87" y="243"/>
                  </a:lnTo>
                  <a:lnTo>
                    <a:pt x="87" y="241"/>
                  </a:lnTo>
                  <a:lnTo>
                    <a:pt x="85" y="239"/>
                  </a:lnTo>
                  <a:lnTo>
                    <a:pt x="83" y="239"/>
                  </a:lnTo>
                  <a:lnTo>
                    <a:pt x="80" y="236"/>
                  </a:lnTo>
                  <a:lnTo>
                    <a:pt x="78" y="236"/>
                  </a:lnTo>
                  <a:lnTo>
                    <a:pt x="73" y="234"/>
                  </a:lnTo>
                  <a:lnTo>
                    <a:pt x="71" y="234"/>
                  </a:lnTo>
                  <a:lnTo>
                    <a:pt x="71" y="236"/>
                  </a:lnTo>
                  <a:lnTo>
                    <a:pt x="68" y="236"/>
                  </a:lnTo>
                  <a:lnTo>
                    <a:pt x="68" y="236"/>
                  </a:lnTo>
                  <a:lnTo>
                    <a:pt x="66" y="236"/>
                  </a:lnTo>
                  <a:lnTo>
                    <a:pt x="68" y="239"/>
                  </a:lnTo>
                  <a:lnTo>
                    <a:pt x="68" y="241"/>
                  </a:lnTo>
                  <a:lnTo>
                    <a:pt x="68" y="241"/>
                  </a:lnTo>
                  <a:lnTo>
                    <a:pt x="66" y="243"/>
                  </a:lnTo>
                  <a:lnTo>
                    <a:pt x="64" y="243"/>
                  </a:lnTo>
                  <a:lnTo>
                    <a:pt x="64" y="243"/>
                  </a:lnTo>
                  <a:lnTo>
                    <a:pt x="61" y="243"/>
                  </a:lnTo>
                  <a:lnTo>
                    <a:pt x="61" y="243"/>
                  </a:lnTo>
                  <a:lnTo>
                    <a:pt x="59" y="243"/>
                  </a:lnTo>
                  <a:lnTo>
                    <a:pt x="57" y="241"/>
                  </a:lnTo>
                  <a:lnTo>
                    <a:pt x="57" y="241"/>
                  </a:lnTo>
                  <a:lnTo>
                    <a:pt x="54" y="241"/>
                  </a:lnTo>
                  <a:lnTo>
                    <a:pt x="54" y="243"/>
                  </a:lnTo>
                  <a:lnTo>
                    <a:pt x="54" y="243"/>
                  </a:lnTo>
                  <a:lnTo>
                    <a:pt x="54" y="246"/>
                  </a:lnTo>
                  <a:lnTo>
                    <a:pt x="54" y="246"/>
                  </a:lnTo>
                  <a:lnTo>
                    <a:pt x="54" y="248"/>
                  </a:lnTo>
                  <a:lnTo>
                    <a:pt x="52" y="250"/>
                  </a:lnTo>
                  <a:lnTo>
                    <a:pt x="52" y="253"/>
                  </a:lnTo>
                  <a:lnTo>
                    <a:pt x="50" y="253"/>
                  </a:lnTo>
                  <a:lnTo>
                    <a:pt x="47" y="255"/>
                  </a:lnTo>
                  <a:lnTo>
                    <a:pt x="47" y="255"/>
                  </a:lnTo>
                  <a:lnTo>
                    <a:pt x="47" y="255"/>
                  </a:lnTo>
                  <a:lnTo>
                    <a:pt x="50" y="255"/>
                  </a:lnTo>
                  <a:lnTo>
                    <a:pt x="52" y="255"/>
                  </a:lnTo>
                  <a:lnTo>
                    <a:pt x="52" y="255"/>
                  </a:lnTo>
                  <a:lnTo>
                    <a:pt x="54" y="257"/>
                  </a:lnTo>
                  <a:lnTo>
                    <a:pt x="54" y="257"/>
                  </a:lnTo>
                  <a:lnTo>
                    <a:pt x="54" y="257"/>
                  </a:lnTo>
                  <a:lnTo>
                    <a:pt x="57" y="257"/>
                  </a:lnTo>
                  <a:lnTo>
                    <a:pt x="57" y="260"/>
                  </a:lnTo>
                  <a:lnTo>
                    <a:pt x="57" y="260"/>
                  </a:lnTo>
                  <a:lnTo>
                    <a:pt x="57" y="260"/>
                  </a:lnTo>
                  <a:lnTo>
                    <a:pt x="57" y="262"/>
                  </a:lnTo>
                  <a:lnTo>
                    <a:pt x="57" y="262"/>
                  </a:lnTo>
                  <a:lnTo>
                    <a:pt x="59" y="265"/>
                  </a:lnTo>
                  <a:lnTo>
                    <a:pt x="59" y="265"/>
                  </a:lnTo>
                  <a:lnTo>
                    <a:pt x="61" y="265"/>
                  </a:lnTo>
                  <a:lnTo>
                    <a:pt x="61" y="269"/>
                  </a:lnTo>
                  <a:lnTo>
                    <a:pt x="64" y="267"/>
                  </a:lnTo>
                  <a:lnTo>
                    <a:pt x="66" y="269"/>
                  </a:lnTo>
                  <a:lnTo>
                    <a:pt x="66" y="269"/>
                  </a:lnTo>
                  <a:lnTo>
                    <a:pt x="66" y="267"/>
                  </a:lnTo>
                  <a:lnTo>
                    <a:pt x="66" y="265"/>
                  </a:lnTo>
                  <a:lnTo>
                    <a:pt x="66" y="262"/>
                  </a:lnTo>
                  <a:lnTo>
                    <a:pt x="68" y="262"/>
                  </a:lnTo>
                  <a:lnTo>
                    <a:pt x="68" y="262"/>
                  </a:lnTo>
                  <a:lnTo>
                    <a:pt x="68" y="257"/>
                  </a:lnTo>
                  <a:lnTo>
                    <a:pt x="68" y="255"/>
                  </a:lnTo>
                  <a:lnTo>
                    <a:pt x="73" y="253"/>
                  </a:lnTo>
                  <a:lnTo>
                    <a:pt x="73" y="253"/>
                  </a:lnTo>
                  <a:lnTo>
                    <a:pt x="78" y="253"/>
                  </a:lnTo>
                  <a:lnTo>
                    <a:pt x="80" y="253"/>
                  </a:lnTo>
                  <a:lnTo>
                    <a:pt x="85" y="257"/>
                  </a:lnTo>
                  <a:lnTo>
                    <a:pt x="85" y="257"/>
                  </a:lnTo>
                  <a:lnTo>
                    <a:pt x="85" y="255"/>
                  </a:lnTo>
                  <a:lnTo>
                    <a:pt x="85" y="255"/>
                  </a:lnTo>
                  <a:lnTo>
                    <a:pt x="85" y="253"/>
                  </a:lnTo>
                  <a:lnTo>
                    <a:pt x="85" y="250"/>
                  </a:lnTo>
                  <a:lnTo>
                    <a:pt x="87" y="248"/>
                  </a:lnTo>
                  <a:lnTo>
                    <a:pt x="90" y="246"/>
                  </a:lnTo>
                  <a:lnTo>
                    <a:pt x="90" y="246"/>
                  </a:lnTo>
                  <a:lnTo>
                    <a:pt x="90" y="243"/>
                  </a:lnTo>
                  <a:close/>
                  <a:moveTo>
                    <a:pt x="76" y="234"/>
                  </a:moveTo>
                  <a:lnTo>
                    <a:pt x="78" y="231"/>
                  </a:lnTo>
                  <a:lnTo>
                    <a:pt x="78" y="231"/>
                  </a:lnTo>
                  <a:lnTo>
                    <a:pt x="78" y="231"/>
                  </a:lnTo>
                  <a:lnTo>
                    <a:pt x="78" y="231"/>
                  </a:lnTo>
                  <a:lnTo>
                    <a:pt x="78" y="231"/>
                  </a:lnTo>
                  <a:lnTo>
                    <a:pt x="76" y="231"/>
                  </a:lnTo>
                  <a:lnTo>
                    <a:pt x="76" y="231"/>
                  </a:lnTo>
                  <a:lnTo>
                    <a:pt x="76" y="231"/>
                  </a:lnTo>
                  <a:lnTo>
                    <a:pt x="76" y="234"/>
                  </a:lnTo>
                  <a:close/>
                  <a:moveTo>
                    <a:pt x="87" y="231"/>
                  </a:moveTo>
                  <a:lnTo>
                    <a:pt x="87" y="231"/>
                  </a:lnTo>
                  <a:lnTo>
                    <a:pt x="87" y="231"/>
                  </a:lnTo>
                  <a:lnTo>
                    <a:pt x="85" y="234"/>
                  </a:lnTo>
                  <a:lnTo>
                    <a:pt x="85" y="236"/>
                  </a:lnTo>
                  <a:lnTo>
                    <a:pt x="85" y="236"/>
                  </a:lnTo>
                  <a:lnTo>
                    <a:pt x="87" y="239"/>
                  </a:lnTo>
                  <a:lnTo>
                    <a:pt x="90" y="239"/>
                  </a:lnTo>
                  <a:lnTo>
                    <a:pt x="90" y="236"/>
                  </a:lnTo>
                  <a:lnTo>
                    <a:pt x="87" y="234"/>
                  </a:lnTo>
                  <a:lnTo>
                    <a:pt x="90" y="231"/>
                  </a:lnTo>
                  <a:lnTo>
                    <a:pt x="87" y="231"/>
                  </a:lnTo>
                  <a:close/>
                  <a:moveTo>
                    <a:pt x="165" y="227"/>
                  </a:moveTo>
                  <a:lnTo>
                    <a:pt x="163" y="227"/>
                  </a:lnTo>
                  <a:lnTo>
                    <a:pt x="163" y="227"/>
                  </a:lnTo>
                  <a:lnTo>
                    <a:pt x="165" y="227"/>
                  </a:lnTo>
                  <a:lnTo>
                    <a:pt x="165" y="227"/>
                  </a:lnTo>
                  <a:lnTo>
                    <a:pt x="165" y="227"/>
                  </a:lnTo>
                  <a:lnTo>
                    <a:pt x="165" y="227"/>
                  </a:lnTo>
                  <a:close/>
                  <a:moveTo>
                    <a:pt x="116" y="160"/>
                  </a:moveTo>
                  <a:lnTo>
                    <a:pt x="116" y="160"/>
                  </a:lnTo>
                  <a:lnTo>
                    <a:pt x="118" y="158"/>
                  </a:lnTo>
                  <a:lnTo>
                    <a:pt x="118" y="156"/>
                  </a:lnTo>
                  <a:lnTo>
                    <a:pt x="116" y="156"/>
                  </a:lnTo>
                  <a:lnTo>
                    <a:pt x="116" y="153"/>
                  </a:lnTo>
                  <a:lnTo>
                    <a:pt x="116" y="151"/>
                  </a:lnTo>
                  <a:lnTo>
                    <a:pt x="113" y="149"/>
                  </a:lnTo>
                  <a:lnTo>
                    <a:pt x="113" y="151"/>
                  </a:lnTo>
                  <a:lnTo>
                    <a:pt x="113" y="153"/>
                  </a:lnTo>
                  <a:lnTo>
                    <a:pt x="113" y="156"/>
                  </a:lnTo>
                  <a:lnTo>
                    <a:pt x="113" y="156"/>
                  </a:lnTo>
                  <a:lnTo>
                    <a:pt x="113" y="156"/>
                  </a:lnTo>
                  <a:lnTo>
                    <a:pt x="116" y="158"/>
                  </a:lnTo>
                  <a:lnTo>
                    <a:pt x="116" y="158"/>
                  </a:lnTo>
                  <a:lnTo>
                    <a:pt x="116" y="160"/>
                  </a:lnTo>
                  <a:lnTo>
                    <a:pt x="113" y="160"/>
                  </a:lnTo>
                  <a:lnTo>
                    <a:pt x="116" y="160"/>
                  </a:lnTo>
                  <a:close/>
                  <a:moveTo>
                    <a:pt x="177" y="203"/>
                  </a:moveTo>
                  <a:lnTo>
                    <a:pt x="172" y="198"/>
                  </a:lnTo>
                  <a:lnTo>
                    <a:pt x="172" y="196"/>
                  </a:lnTo>
                  <a:lnTo>
                    <a:pt x="170" y="194"/>
                  </a:lnTo>
                  <a:lnTo>
                    <a:pt x="170" y="194"/>
                  </a:lnTo>
                  <a:lnTo>
                    <a:pt x="170" y="191"/>
                  </a:lnTo>
                  <a:lnTo>
                    <a:pt x="170" y="189"/>
                  </a:lnTo>
                  <a:lnTo>
                    <a:pt x="170" y="189"/>
                  </a:lnTo>
                  <a:lnTo>
                    <a:pt x="170" y="184"/>
                  </a:lnTo>
                  <a:lnTo>
                    <a:pt x="167" y="182"/>
                  </a:lnTo>
                  <a:lnTo>
                    <a:pt x="170" y="179"/>
                  </a:lnTo>
                  <a:lnTo>
                    <a:pt x="170" y="179"/>
                  </a:lnTo>
                  <a:lnTo>
                    <a:pt x="170" y="177"/>
                  </a:lnTo>
                  <a:lnTo>
                    <a:pt x="170" y="175"/>
                  </a:lnTo>
                  <a:lnTo>
                    <a:pt x="167" y="168"/>
                  </a:lnTo>
                  <a:lnTo>
                    <a:pt x="163" y="163"/>
                  </a:lnTo>
                  <a:lnTo>
                    <a:pt x="163" y="160"/>
                  </a:lnTo>
                  <a:lnTo>
                    <a:pt x="160" y="158"/>
                  </a:lnTo>
                  <a:lnTo>
                    <a:pt x="158" y="156"/>
                  </a:lnTo>
                  <a:lnTo>
                    <a:pt x="158" y="153"/>
                  </a:lnTo>
                  <a:lnTo>
                    <a:pt x="158" y="149"/>
                  </a:lnTo>
                  <a:lnTo>
                    <a:pt x="158" y="149"/>
                  </a:lnTo>
                  <a:lnTo>
                    <a:pt x="160" y="149"/>
                  </a:lnTo>
                  <a:lnTo>
                    <a:pt x="163" y="149"/>
                  </a:lnTo>
                  <a:lnTo>
                    <a:pt x="165" y="149"/>
                  </a:lnTo>
                  <a:lnTo>
                    <a:pt x="165" y="146"/>
                  </a:lnTo>
                  <a:lnTo>
                    <a:pt x="163" y="144"/>
                  </a:lnTo>
                  <a:lnTo>
                    <a:pt x="163" y="139"/>
                  </a:lnTo>
                  <a:lnTo>
                    <a:pt x="163" y="139"/>
                  </a:lnTo>
                  <a:lnTo>
                    <a:pt x="163" y="137"/>
                  </a:lnTo>
                  <a:lnTo>
                    <a:pt x="163" y="137"/>
                  </a:lnTo>
                  <a:lnTo>
                    <a:pt x="160" y="134"/>
                  </a:lnTo>
                  <a:lnTo>
                    <a:pt x="163" y="134"/>
                  </a:lnTo>
                  <a:lnTo>
                    <a:pt x="163" y="134"/>
                  </a:lnTo>
                  <a:lnTo>
                    <a:pt x="163" y="134"/>
                  </a:lnTo>
                  <a:lnTo>
                    <a:pt x="163" y="134"/>
                  </a:lnTo>
                  <a:lnTo>
                    <a:pt x="163" y="132"/>
                  </a:lnTo>
                  <a:lnTo>
                    <a:pt x="165" y="132"/>
                  </a:lnTo>
                  <a:lnTo>
                    <a:pt x="163" y="130"/>
                  </a:lnTo>
                  <a:lnTo>
                    <a:pt x="163" y="125"/>
                  </a:lnTo>
                  <a:lnTo>
                    <a:pt x="160" y="123"/>
                  </a:lnTo>
                  <a:lnTo>
                    <a:pt x="160" y="120"/>
                  </a:lnTo>
                  <a:lnTo>
                    <a:pt x="158" y="120"/>
                  </a:lnTo>
                  <a:lnTo>
                    <a:pt x="158" y="118"/>
                  </a:lnTo>
                  <a:lnTo>
                    <a:pt x="158" y="118"/>
                  </a:lnTo>
                  <a:lnTo>
                    <a:pt x="156" y="116"/>
                  </a:lnTo>
                  <a:lnTo>
                    <a:pt x="153" y="113"/>
                  </a:lnTo>
                  <a:lnTo>
                    <a:pt x="149" y="108"/>
                  </a:lnTo>
                  <a:lnTo>
                    <a:pt x="144" y="106"/>
                  </a:lnTo>
                  <a:lnTo>
                    <a:pt x="142" y="104"/>
                  </a:lnTo>
                  <a:lnTo>
                    <a:pt x="139" y="104"/>
                  </a:lnTo>
                  <a:lnTo>
                    <a:pt x="137" y="101"/>
                  </a:lnTo>
                  <a:lnTo>
                    <a:pt x="137" y="99"/>
                  </a:lnTo>
                  <a:lnTo>
                    <a:pt x="132" y="92"/>
                  </a:lnTo>
                  <a:lnTo>
                    <a:pt x="132" y="90"/>
                  </a:lnTo>
                  <a:lnTo>
                    <a:pt x="130" y="87"/>
                  </a:lnTo>
                  <a:lnTo>
                    <a:pt x="127" y="87"/>
                  </a:lnTo>
                  <a:lnTo>
                    <a:pt x="127" y="87"/>
                  </a:lnTo>
                  <a:lnTo>
                    <a:pt x="123" y="85"/>
                  </a:lnTo>
                  <a:lnTo>
                    <a:pt x="123" y="85"/>
                  </a:lnTo>
                  <a:lnTo>
                    <a:pt x="120" y="85"/>
                  </a:lnTo>
                  <a:lnTo>
                    <a:pt x="120" y="85"/>
                  </a:lnTo>
                  <a:lnTo>
                    <a:pt x="120" y="87"/>
                  </a:lnTo>
                  <a:lnTo>
                    <a:pt x="120" y="90"/>
                  </a:lnTo>
                  <a:lnTo>
                    <a:pt x="123" y="92"/>
                  </a:lnTo>
                  <a:lnTo>
                    <a:pt x="127" y="92"/>
                  </a:lnTo>
                  <a:lnTo>
                    <a:pt x="127" y="90"/>
                  </a:lnTo>
                  <a:lnTo>
                    <a:pt x="127" y="90"/>
                  </a:lnTo>
                  <a:lnTo>
                    <a:pt x="127" y="90"/>
                  </a:lnTo>
                  <a:lnTo>
                    <a:pt x="130" y="90"/>
                  </a:lnTo>
                  <a:lnTo>
                    <a:pt x="130" y="92"/>
                  </a:lnTo>
                  <a:lnTo>
                    <a:pt x="132" y="94"/>
                  </a:lnTo>
                  <a:lnTo>
                    <a:pt x="132" y="97"/>
                  </a:lnTo>
                  <a:lnTo>
                    <a:pt x="130" y="97"/>
                  </a:lnTo>
                  <a:lnTo>
                    <a:pt x="127" y="97"/>
                  </a:lnTo>
                  <a:lnTo>
                    <a:pt x="125" y="97"/>
                  </a:lnTo>
                  <a:lnTo>
                    <a:pt x="125" y="97"/>
                  </a:lnTo>
                  <a:lnTo>
                    <a:pt x="125" y="99"/>
                  </a:lnTo>
                  <a:lnTo>
                    <a:pt x="125" y="99"/>
                  </a:lnTo>
                  <a:lnTo>
                    <a:pt x="125" y="97"/>
                  </a:lnTo>
                  <a:lnTo>
                    <a:pt x="123" y="97"/>
                  </a:lnTo>
                  <a:lnTo>
                    <a:pt x="120" y="92"/>
                  </a:lnTo>
                  <a:lnTo>
                    <a:pt x="118" y="92"/>
                  </a:lnTo>
                  <a:lnTo>
                    <a:pt x="118" y="90"/>
                  </a:lnTo>
                  <a:lnTo>
                    <a:pt x="116" y="90"/>
                  </a:lnTo>
                  <a:lnTo>
                    <a:pt x="116" y="90"/>
                  </a:lnTo>
                  <a:lnTo>
                    <a:pt x="113" y="90"/>
                  </a:lnTo>
                  <a:lnTo>
                    <a:pt x="113" y="90"/>
                  </a:lnTo>
                  <a:lnTo>
                    <a:pt x="113" y="92"/>
                  </a:lnTo>
                  <a:lnTo>
                    <a:pt x="116" y="94"/>
                  </a:lnTo>
                  <a:lnTo>
                    <a:pt x="116" y="97"/>
                  </a:lnTo>
                  <a:lnTo>
                    <a:pt x="118" y="99"/>
                  </a:lnTo>
                  <a:lnTo>
                    <a:pt x="118" y="99"/>
                  </a:lnTo>
                  <a:lnTo>
                    <a:pt x="116" y="99"/>
                  </a:lnTo>
                  <a:lnTo>
                    <a:pt x="116" y="99"/>
                  </a:lnTo>
                  <a:lnTo>
                    <a:pt x="116" y="99"/>
                  </a:lnTo>
                  <a:lnTo>
                    <a:pt x="113" y="101"/>
                  </a:lnTo>
                  <a:lnTo>
                    <a:pt x="113" y="101"/>
                  </a:lnTo>
                  <a:lnTo>
                    <a:pt x="113" y="104"/>
                  </a:lnTo>
                  <a:lnTo>
                    <a:pt x="113" y="104"/>
                  </a:lnTo>
                  <a:lnTo>
                    <a:pt x="116" y="106"/>
                  </a:lnTo>
                  <a:lnTo>
                    <a:pt x="118" y="108"/>
                  </a:lnTo>
                  <a:lnTo>
                    <a:pt x="118" y="111"/>
                  </a:lnTo>
                  <a:lnTo>
                    <a:pt x="120" y="113"/>
                  </a:lnTo>
                  <a:lnTo>
                    <a:pt x="120" y="116"/>
                  </a:lnTo>
                  <a:lnTo>
                    <a:pt x="120" y="113"/>
                  </a:lnTo>
                  <a:lnTo>
                    <a:pt x="120" y="116"/>
                  </a:lnTo>
                  <a:lnTo>
                    <a:pt x="118" y="116"/>
                  </a:lnTo>
                  <a:lnTo>
                    <a:pt x="118" y="116"/>
                  </a:lnTo>
                  <a:lnTo>
                    <a:pt x="120" y="116"/>
                  </a:lnTo>
                  <a:lnTo>
                    <a:pt x="120" y="116"/>
                  </a:lnTo>
                  <a:lnTo>
                    <a:pt x="123" y="116"/>
                  </a:lnTo>
                  <a:lnTo>
                    <a:pt x="123" y="118"/>
                  </a:lnTo>
                  <a:lnTo>
                    <a:pt x="125" y="120"/>
                  </a:lnTo>
                  <a:lnTo>
                    <a:pt x="127" y="123"/>
                  </a:lnTo>
                  <a:lnTo>
                    <a:pt x="127" y="125"/>
                  </a:lnTo>
                  <a:lnTo>
                    <a:pt x="130" y="127"/>
                  </a:lnTo>
                  <a:lnTo>
                    <a:pt x="130" y="127"/>
                  </a:lnTo>
                  <a:lnTo>
                    <a:pt x="130" y="127"/>
                  </a:lnTo>
                  <a:lnTo>
                    <a:pt x="130" y="130"/>
                  </a:lnTo>
                  <a:lnTo>
                    <a:pt x="130" y="130"/>
                  </a:lnTo>
                  <a:lnTo>
                    <a:pt x="130" y="132"/>
                  </a:lnTo>
                  <a:lnTo>
                    <a:pt x="130" y="137"/>
                  </a:lnTo>
                  <a:lnTo>
                    <a:pt x="130" y="139"/>
                  </a:lnTo>
                  <a:lnTo>
                    <a:pt x="130" y="142"/>
                  </a:lnTo>
                  <a:lnTo>
                    <a:pt x="130" y="144"/>
                  </a:lnTo>
                  <a:lnTo>
                    <a:pt x="130" y="146"/>
                  </a:lnTo>
                  <a:lnTo>
                    <a:pt x="130" y="149"/>
                  </a:lnTo>
                  <a:lnTo>
                    <a:pt x="130" y="151"/>
                  </a:lnTo>
                  <a:lnTo>
                    <a:pt x="132" y="153"/>
                  </a:lnTo>
                  <a:lnTo>
                    <a:pt x="132" y="153"/>
                  </a:lnTo>
                  <a:lnTo>
                    <a:pt x="130" y="156"/>
                  </a:lnTo>
                  <a:lnTo>
                    <a:pt x="125" y="160"/>
                  </a:lnTo>
                  <a:lnTo>
                    <a:pt x="125" y="160"/>
                  </a:lnTo>
                  <a:lnTo>
                    <a:pt x="125" y="163"/>
                  </a:lnTo>
                  <a:lnTo>
                    <a:pt x="125" y="165"/>
                  </a:lnTo>
                  <a:lnTo>
                    <a:pt x="125" y="168"/>
                  </a:lnTo>
                  <a:lnTo>
                    <a:pt x="125" y="170"/>
                  </a:lnTo>
                  <a:lnTo>
                    <a:pt x="123" y="172"/>
                  </a:lnTo>
                  <a:lnTo>
                    <a:pt x="120" y="175"/>
                  </a:lnTo>
                  <a:lnTo>
                    <a:pt x="118" y="175"/>
                  </a:lnTo>
                  <a:lnTo>
                    <a:pt x="116" y="177"/>
                  </a:lnTo>
                  <a:lnTo>
                    <a:pt x="111" y="179"/>
                  </a:lnTo>
                  <a:lnTo>
                    <a:pt x="111" y="179"/>
                  </a:lnTo>
                  <a:lnTo>
                    <a:pt x="109" y="182"/>
                  </a:lnTo>
                  <a:lnTo>
                    <a:pt x="109" y="184"/>
                  </a:lnTo>
                  <a:lnTo>
                    <a:pt x="109" y="184"/>
                  </a:lnTo>
                  <a:lnTo>
                    <a:pt x="106" y="182"/>
                  </a:lnTo>
                  <a:lnTo>
                    <a:pt x="104" y="182"/>
                  </a:lnTo>
                  <a:lnTo>
                    <a:pt x="101" y="179"/>
                  </a:lnTo>
                  <a:lnTo>
                    <a:pt x="101" y="179"/>
                  </a:lnTo>
                  <a:lnTo>
                    <a:pt x="101" y="177"/>
                  </a:lnTo>
                  <a:lnTo>
                    <a:pt x="99" y="175"/>
                  </a:lnTo>
                  <a:lnTo>
                    <a:pt x="99" y="175"/>
                  </a:lnTo>
                  <a:lnTo>
                    <a:pt x="99" y="175"/>
                  </a:lnTo>
                  <a:lnTo>
                    <a:pt x="99" y="172"/>
                  </a:lnTo>
                  <a:lnTo>
                    <a:pt x="101" y="172"/>
                  </a:lnTo>
                  <a:lnTo>
                    <a:pt x="104" y="168"/>
                  </a:lnTo>
                  <a:lnTo>
                    <a:pt x="101" y="168"/>
                  </a:lnTo>
                  <a:lnTo>
                    <a:pt x="101" y="168"/>
                  </a:lnTo>
                  <a:lnTo>
                    <a:pt x="99" y="168"/>
                  </a:lnTo>
                  <a:lnTo>
                    <a:pt x="97" y="170"/>
                  </a:lnTo>
                  <a:lnTo>
                    <a:pt x="94" y="170"/>
                  </a:lnTo>
                  <a:lnTo>
                    <a:pt x="94" y="175"/>
                  </a:lnTo>
                  <a:lnTo>
                    <a:pt x="97" y="179"/>
                  </a:lnTo>
                  <a:lnTo>
                    <a:pt x="99" y="184"/>
                  </a:lnTo>
                  <a:lnTo>
                    <a:pt x="97" y="186"/>
                  </a:lnTo>
                  <a:lnTo>
                    <a:pt x="97" y="191"/>
                  </a:lnTo>
                  <a:lnTo>
                    <a:pt x="94" y="194"/>
                  </a:lnTo>
                  <a:lnTo>
                    <a:pt x="94" y="194"/>
                  </a:lnTo>
                  <a:lnTo>
                    <a:pt x="94" y="196"/>
                  </a:lnTo>
                  <a:lnTo>
                    <a:pt x="94" y="201"/>
                  </a:lnTo>
                  <a:lnTo>
                    <a:pt x="94" y="203"/>
                  </a:lnTo>
                  <a:lnTo>
                    <a:pt x="97" y="205"/>
                  </a:lnTo>
                  <a:lnTo>
                    <a:pt x="97" y="205"/>
                  </a:lnTo>
                  <a:lnTo>
                    <a:pt x="94" y="208"/>
                  </a:lnTo>
                  <a:lnTo>
                    <a:pt x="94" y="210"/>
                  </a:lnTo>
                  <a:lnTo>
                    <a:pt x="92" y="210"/>
                  </a:lnTo>
                  <a:lnTo>
                    <a:pt x="90" y="210"/>
                  </a:lnTo>
                  <a:lnTo>
                    <a:pt x="85" y="210"/>
                  </a:lnTo>
                  <a:lnTo>
                    <a:pt x="85" y="210"/>
                  </a:lnTo>
                  <a:lnTo>
                    <a:pt x="83" y="208"/>
                  </a:lnTo>
                  <a:lnTo>
                    <a:pt x="83" y="208"/>
                  </a:lnTo>
                  <a:lnTo>
                    <a:pt x="83" y="205"/>
                  </a:lnTo>
                  <a:lnTo>
                    <a:pt x="83" y="205"/>
                  </a:lnTo>
                  <a:lnTo>
                    <a:pt x="80" y="205"/>
                  </a:lnTo>
                  <a:lnTo>
                    <a:pt x="78" y="208"/>
                  </a:lnTo>
                  <a:lnTo>
                    <a:pt x="68" y="208"/>
                  </a:lnTo>
                  <a:lnTo>
                    <a:pt x="68" y="208"/>
                  </a:lnTo>
                  <a:lnTo>
                    <a:pt x="66" y="210"/>
                  </a:lnTo>
                  <a:lnTo>
                    <a:pt x="61" y="210"/>
                  </a:lnTo>
                  <a:lnTo>
                    <a:pt x="61" y="210"/>
                  </a:lnTo>
                  <a:lnTo>
                    <a:pt x="59" y="210"/>
                  </a:lnTo>
                  <a:lnTo>
                    <a:pt x="57" y="210"/>
                  </a:lnTo>
                  <a:lnTo>
                    <a:pt x="54" y="210"/>
                  </a:lnTo>
                  <a:lnTo>
                    <a:pt x="52" y="210"/>
                  </a:lnTo>
                  <a:lnTo>
                    <a:pt x="52" y="210"/>
                  </a:lnTo>
                  <a:lnTo>
                    <a:pt x="50" y="208"/>
                  </a:lnTo>
                  <a:lnTo>
                    <a:pt x="47" y="208"/>
                  </a:lnTo>
                  <a:lnTo>
                    <a:pt x="45" y="210"/>
                  </a:lnTo>
                  <a:lnTo>
                    <a:pt x="40" y="210"/>
                  </a:lnTo>
                  <a:lnTo>
                    <a:pt x="40" y="212"/>
                  </a:lnTo>
                  <a:lnTo>
                    <a:pt x="40" y="215"/>
                  </a:lnTo>
                  <a:lnTo>
                    <a:pt x="38" y="217"/>
                  </a:lnTo>
                  <a:lnTo>
                    <a:pt x="35" y="220"/>
                  </a:lnTo>
                  <a:lnTo>
                    <a:pt x="35" y="222"/>
                  </a:lnTo>
                  <a:lnTo>
                    <a:pt x="33" y="222"/>
                  </a:lnTo>
                  <a:lnTo>
                    <a:pt x="33" y="224"/>
                  </a:lnTo>
                  <a:lnTo>
                    <a:pt x="33" y="227"/>
                  </a:lnTo>
                  <a:lnTo>
                    <a:pt x="31" y="229"/>
                  </a:lnTo>
                  <a:lnTo>
                    <a:pt x="28" y="229"/>
                  </a:lnTo>
                  <a:lnTo>
                    <a:pt x="28" y="231"/>
                  </a:lnTo>
                  <a:lnTo>
                    <a:pt x="26" y="231"/>
                  </a:lnTo>
                  <a:lnTo>
                    <a:pt x="26" y="234"/>
                  </a:lnTo>
                  <a:lnTo>
                    <a:pt x="24" y="234"/>
                  </a:lnTo>
                  <a:lnTo>
                    <a:pt x="21" y="234"/>
                  </a:lnTo>
                  <a:lnTo>
                    <a:pt x="19" y="234"/>
                  </a:lnTo>
                  <a:lnTo>
                    <a:pt x="19" y="234"/>
                  </a:lnTo>
                  <a:lnTo>
                    <a:pt x="19" y="236"/>
                  </a:lnTo>
                  <a:lnTo>
                    <a:pt x="19" y="236"/>
                  </a:lnTo>
                  <a:lnTo>
                    <a:pt x="21" y="243"/>
                  </a:lnTo>
                  <a:lnTo>
                    <a:pt x="24" y="241"/>
                  </a:lnTo>
                  <a:lnTo>
                    <a:pt x="24" y="241"/>
                  </a:lnTo>
                  <a:lnTo>
                    <a:pt x="26" y="243"/>
                  </a:lnTo>
                  <a:lnTo>
                    <a:pt x="28" y="243"/>
                  </a:lnTo>
                  <a:lnTo>
                    <a:pt x="28" y="243"/>
                  </a:lnTo>
                  <a:lnTo>
                    <a:pt x="31" y="243"/>
                  </a:lnTo>
                  <a:lnTo>
                    <a:pt x="31" y="241"/>
                  </a:lnTo>
                  <a:lnTo>
                    <a:pt x="35" y="241"/>
                  </a:lnTo>
                  <a:lnTo>
                    <a:pt x="35" y="241"/>
                  </a:lnTo>
                  <a:lnTo>
                    <a:pt x="43" y="246"/>
                  </a:lnTo>
                  <a:lnTo>
                    <a:pt x="45" y="246"/>
                  </a:lnTo>
                  <a:lnTo>
                    <a:pt x="45" y="243"/>
                  </a:lnTo>
                  <a:lnTo>
                    <a:pt x="45" y="241"/>
                  </a:lnTo>
                  <a:lnTo>
                    <a:pt x="43" y="239"/>
                  </a:lnTo>
                  <a:lnTo>
                    <a:pt x="43" y="236"/>
                  </a:lnTo>
                  <a:lnTo>
                    <a:pt x="45" y="234"/>
                  </a:lnTo>
                  <a:lnTo>
                    <a:pt x="47" y="236"/>
                  </a:lnTo>
                  <a:lnTo>
                    <a:pt x="50" y="236"/>
                  </a:lnTo>
                  <a:lnTo>
                    <a:pt x="52" y="236"/>
                  </a:lnTo>
                  <a:lnTo>
                    <a:pt x="57" y="236"/>
                  </a:lnTo>
                  <a:lnTo>
                    <a:pt x="59" y="236"/>
                  </a:lnTo>
                  <a:lnTo>
                    <a:pt x="59" y="234"/>
                  </a:lnTo>
                  <a:lnTo>
                    <a:pt x="61" y="234"/>
                  </a:lnTo>
                  <a:lnTo>
                    <a:pt x="61" y="234"/>
                  </a:lnTo>
                  <a:lnTo>
                    <a:pt x="64" y="234"/>
                  </a:lnTo>
                  <a:lnTo>
                    <a:pt x="64" y="231"/>
                  </a:lnTo>
                  <a:lnTo>
                    <a:pt x="66" y="231"/>
                  </a:lnTo>
                  <a:lnTo>
                    <a:pt x="68" y="231"/>
                  </a:lnTo>
                  <a:lnTo>
                    <a:pt x="71" y="231"/>
                  </a:lnTo>
                  <a:lnTo>
                    <a:pt x="73" y="229"/>
                  </a:lnTo>
                  <a:lnTo>
                    <a:pt x="73" y="227"/>
                  </a:lnTo>
                  <a:lnTo>
                    <a:pt x="73" y="227"/>
                  </a:lnTo>
                  <a:lnTo>
                    <a:pt x="76" y="227"/>
                  </a:lnTo>
                  <a:lnTo>
                    <a:pt x="78" y="227"/>
                  </a:lnTo>
                  <a:lnTo>
                    <a:pt x="80" y="227"/>
                  </a:lnTo>
                  <a:lnTo>
                    <a:pt x="83" y="227"/>
                  </a:lnTo>
                  <a:lnTo>
                    <a:pt x="83" y="227"/>
                  </a:lnTo>
                  <a:lnTo>
                    <a:pt x="87" y="229"/>
                  </a:lnTo>
                  <a:lnTo>
                    <a:pt x="90" y="229"/>
                  </a:lnTo>
                  <a:lnTo>
                    <a:pt x="92" y="229"/>
                  </a:lnTo>
                  <a:lnTo>
                    <a:pt x="94" y="229"/>
                  </a:lnTo>
                  <a:lnTo>
                    <a:pt x="94" y="229"/>
                  </a:lnTo>
                  <a:lnTo>
                    <a:pt x="97" y="231"/>
                  </a:lnTo>
                  <a:lnTo>
                    <a:pt x="97" y="231"/>
                  </a:lnTo>
                  <a:lnTo>
                    <a:pt x="94" y="234"/>
                  </a:lnTo>
                  <a:lnTo>
                    <a:pt x="94" y="234"/>
                  </a:lnTo>
                  <a:lnTo>
                    <a:pt x="92" y="236"/>
                  </a:lnTo>
                  <a:lnTo>
                    <a:pt x="92" y="236"/>
                  </a:lnTo>
                  <a:lnTo>
                    <a:pt x="94" y="239"/>
                  </a:lnTo>
                  <a:lnTo>
                    <a:pt x="97" y="241"/>
                  </a:lnTo>
                  <a:lnTo>
                    <a:pt x="97" y="243"/>
                  </a:lnTo>
                  <a:lnTo>
                    <a:pt x="99" y="246"/>
                  </a:lnTo>
                  <a:lnTo>
                    <a:pt x="101" y="248"/>
                  </a:lnTo>
                  <a:lnTo>
                    <a:pt x="104" y="250"/>
                  </a:lnTo>
                  <a:lnTo>
                    <a:pt x="106" y="253"/>
                  </a:lnTo>
                  <a:lnTo>
                    <a:pt x="111" y="253"/>
                  </a:lnTo>
                  <a:lnTo>
                    <a:pt x="113" y="250"/>
                  </a:lnTo>
                  <a:lnTo>
                    <a:pt x="113" y="248"/>
                  </a:lnTo>
                  <a:lnTo>
                    <a:pt x="116" y="241"/>
                  </a:lnTo>
                  <a:lnTo>
                    <a:pt x="116" y="239"/>
                  </a:lnTo>
                  <a:lnTo>
                    <a:pt x="118" y="236"/>
                  </a:lnTo>
                  <a:lnTo>
                    <a:pt x="123" y="236"/>
                  </a:lnTo>
                  <a:lnTo>
                    <a:pt x="123" y="236"/>
                  </a:lnTo>
                  <a:lnTo>
                    <a:pt x="123" y="234"/>
                  </a:lnTo>
                  <a:lnTo>
                    <a:pt x="123" y="234"/>
                  </a:lnTo>
                  <a:lnTo>
                    <a:pt x="123" y="231"/>
                  </a:lnTo>
                  <a:lnTo>
                    <a:pt x="116" y="229"/>
                  </a:lnTo>
                  <a:lnTo>
                    <a:pt x="116" y="227"/>
                  </a:lnTo>
                  <a:lnTo>
                    <a:pt x="113" y="224"/>
                  </a:lnTo>
                  <a:lnTo>
                    <a:pt x="116" y="222"/>
                  </a:lnTo>
                  <a:lnTo>
                    <a:pt x="116" y="220"/>
                  </a:lnTo>
                  <a:lnTo>
                    <a:pt x="116" y="220"/>
                  </a:lnTo>
                  <a:lnTo>
                    <a:pt x="116" y="220"/>
                  </a:lnTo>
                  <a:lnTo>
                    <a:pt x="118" y="220"/>
                  </a:lnTo>
                  <a:lnTo>
                    <a:pt x="118" y="222"/>
                  </a:lnTo>
                  <a:lnTo>
                    <a:pt x="118" y="222"/>
                  </a:lnTo>
                  <a:lnTo>
                    <a:pt x="120" y="224"/>
                  </a:lnTo>
                  <a:lnTo>
                    <a:pt x="120" y="227"/>
                  </a:lnTo>
                  <a:lnTo>
                    <a:pt x="120" y="227"/>
                  </a:lnTo>
                  <a:lnTo>
                    <a:pt x="120" y="227"/>
                  </a:lnTo>
                  <a:lnTo>
                    <a:pt x="120" y="224"/>
                  </a:lnTo>
                  <a:lnTo>
                    <a:pt x="120" y="224"/>
                  </a:lnTo>
                  <a:lnTo>
                    <a:pt x="123" y="224"/>
                  </a:lnTo>
                  <a:lnTo>
                    <a:pt x="123" y="227"/>
                  </a:lnTo>
                  <a:lnTo>
                    <a:pt x="123" y="227"/>
                  </a:lnTo>
                  <a:lnTo>
                    <a:pt x="125" y="227"/>
                  </a:lnTo>
                  <a:lnTo>
                    <a:pt x="127" y="227"/>
                  </a:lnTo>
                  <a:lnTo>
                    <a:pt x="127" y="227"/>
                  </a:lnTo>
                  <a:lnTo>
                    <a:pt x="127" y="227"/>
                  </a:lnTo>
                  <a:lnTo>
                    <a:pt x="125" y="229"/>
                  </a:lnTo>
                  <a:lnTo>
                    <a:pt x="125" y="229"/>
                  </a:lnTo>
                  <a:lnTo>
                    <a:pt x="130" y="229"/>
                  </a:lnTo>
                  <a:lnTo>
                    <a:pt x="132" y="229"/>
                  </a:lnTo>
                  <a:lnTo>
                    <a:pt x="137" y="229"/>
                  </a:lnTo>
                  <a:lnTo>
                    <a:pt x="139" y="229"/>
                  </a:lnTo>
                  <a:lnTo>
                    <a:pt x="139" y="229"/>
                  </a:lnTo>
                  <a:lnTo>
                    <a:pt x="144" y="229"/>
                  </a:lnTo>
                  <a:lnTo>
                    <a:pt x="144" y="227"/>
                  </a:lnTo>
                  <a:lnTo>
                    <a:pt x="144" y="224"/>
                  </a:lnTo>
                  <a:lnTo>
                    <a:pt x="146" y="222"/>
                  </a:lnTo>
                  <a:lnTo>
                    <a:pt x="146" y="222"/>
                  </a:lnTo>
                  <a:lnTo>
                    <a:pt x="146" y="220"/>
                  </a:lnTo>
                  <a:lnTo>
                    <a:pt x="146" y="220"/>
                  </a:lnTo>
                  <a:lnTo>
                    <a:pt x="149" y="217"/>
                  </a:lnTo>
                  <a:lnTo>
                    <a:pt x="151" y="220"/>
                  </a:lnTo>
                  <a:lnTo>
                    <a:pt x="153" y="220"/>
                  </a:lnTo>
                  <a:lnTo>
                    <a:pt x="151" y="222"/>
                  </a:lnTo>
                  <a:lnTo>
                    <a:pt x="153" y="224"/>
                  </a:lnTo>
                  <a:lnTo>
                    <a:pt x="153" y="227"/>
                  </a:lnTo>
                  <a:lnTo>
                    <a:pt x="153" y="229"/>
                  </a:lnTo>
                  <a:lnTo>
                    <a:pt x="156" y="229"/>
                  </a:lnTo>
                  <a:lnTo>
                    <a:pt x="156" y="229"/>
                  </a:lnTo>
                  <a:lnTo>
                    <a:pt x="158" y="227"/>
                  </a:lnTo>
                  <a:lnTo>
                    <a:pt x="158" y="227"/>
                  </a:lnTo>
                  <a:lnTo>
                    <a:pt x="158" y="224"/>
                  </a:lnTo>
                  <a:lnTo>
                    <a:pt x="158" y="222"/>
                  </a:lnTo>
                  <a:lnTo>
                    <a:pt x="156" y="220"/>
                  </a:lnTo>
                  <a:lnTo>
                    <a:pt x="156" y="217"/>
                  </a:lnTo>
                  <a:lnTo>
                    <a:pt x="156" y="217"/>
                  </a:lnTo>
                  <a:lnTo>
                    <a:pt x="156" y="215"/>
                  </a:lnTo>
                  <a:lnTo>
                    <a:pt x="158" y="215"/>
                  </a:lnTo>
                  <a:lnTo>
                    <a:pt x="160" y="215"/>
                  </a:lnTo>
                  <a:lnTo>
                    <a:pt x="163" y="215"/>
                  </a:lnTo>
                  <a:lnTo>
                    <a:pt x="165" y="217"/>
                  </a:lnTo>
                  <a:lnTo>
                    <a:pt x="165" y="217"/>
                  </a:lnTo>
                  <a:lnTo>
                    <a:pt x="165" y="217"/>
                  </a:lnTo>
                  <a:lnTo>
                    <a:pt x="165" y="215"/>
                  </a:lnTo>
                  <a:lnTo>
                    <a:pt x="165" y="215"/>
                  </a:lnTo>
                  <a:lnTo>
                    <a:pt x="163" y="215"/>
                  </a:lnTo>
                  <a:lnTo>
                    <a:pt x="163" y="212"/>
                  </a:lnTo>
                  <a:lnTo>
                    <a:pt x="163" y="210"/>
                  </a:lnTo>
                  <a:lnTo>
                    <a:pt x="163" y="210"/>
                  </a:lnTo>
                  <a:lnTo>
                    <a:pt x="163" y="210"/>
                  </a:lnTo>
                  <a:lnTo>
                    <a:pt x="163" y="208"/>
                  </a:lnTo>
                  <a:lnTo>
                    <a:pt x="163" y="208"/>
                  </a:lnTo>
                  <a:lnTo>
                    <a:pt x="165" y="205"/>
                  </a:lnTo>
                  <a:lnTo>
                    <a:pt x="165" y="205"/>
                  </a:lnTo>
                  <a:lnTo>
                    <a:pt x="167" y="208"/>
                  </a:lnTo>
                  <a:lnTo>
                    <a:pt x="167" y="208"/>
                  </a:lnTo>
                  <a:lnTo>
                    <a:pt x="170" y="210"/>
                  </a:lnTo>
                  <a:lnTo>
                    <a:pt x="167" y="210"/>
                  </a:lnTo>
                  <a:lnTo>
                    <a:pt x="167" y="212"/>
                  </a:lnTo>
                  <a:lnTo>
                    <a:pt x="167" y="212"/>
                  </a:lnTo>
                  <a:lnTo>
                    <a:pt x="167" y="215"/>
                  </a:lnTo>
                  <a:lnTo>
                    <a:pt x="167" y="215"/>
                  </a:lnTo>
                  <a:lnTo>
                    <a:pt x="170" y="220"/>
                  </a:lnTo>
                  <a:lnTo>
                    <a:pt x="170" y="220"/>
                  </a:lnTo>
                  <a:lnTo>
                    <a:pt x="170" y="222"/>
                  </a:lnTo>
                  <a:lnTo>
                    <a:pt x="170" y="222"/>
                  </a:lnTo>
                  <a:lnTo>
                    <a:pt x="172" y="222"/>
                  </a:lnTo>
                  <a:lnTo>
                    <a:pt x="172" y="222"/>
                  </a:lnTo>
                  <a:lnTo>
                    <a:pt x="172" y="220"/>
                  </a:lnTo>
                  <a:lnTo>
                    <a:pt x="175" y="220"/>
                  </a:lnTo>
                  <a:lnTo>
                    <a:pt x="177" y="217"/>
                  </a:lnTo>
                  <a:lnTo>
                    <a:pt x="177" y="217"/>
                  </a:lnTo>
                  <a:lnTo>
                    <a:pt x="177" y="217"/>
                  </a:lnTo>
                  <a:lnTo>
                    <a:pt x="177" y="215"/>
                  </a:lnTo>
                  <a:lnTo>
                    <a:pt x="177" y="212"/>
                  </a:lnTo>
                  <a:lnTo>
                    <a:pt x="175" y="210"/>
                  </a:lnTo>
                  <a:lnTo>
                    <a:pt x="177" y="208"/>
                  </a:lnTo>
                  <a:lnTo>
                    <a:pt x="177" y="208"/>
                  </a:lnTo>
                  <a:lnTo>
                    <a:pt x="182" y="205"/>
                  </a:lnTo>
                  <a:lnTo>
                    <a:pt x="179" y="203"/>
                  </a:lnTo>
                  <a:lnTo>
                    <a:pt x="177" y="203"/>
                  </a:lnTo>
                  <a:close/>
                  <a:moveTo>
                    <a:pt x="85" y="4"/>
                  </a:moveTo>
                  <a:lnTo>
                    <a:pt x="85" y="7"/>
                  </a:lnTo>
                  <a:lnTo>
                    <a:pt x="85" y="9"/>
                  </a:lnTo>
                  <a:lnTo>
                    <a:pt x="87" y="9"/>
                  </a:lnTo>
                  <a:lnTo>
                    <a:pt x="90" y="14"/>
                  </a:lnTo>
                  <a:lnTo>
                    <a:pt x="94" y="19"/>
                  </a:lnTo>
                  <a:lnTo>
                    <a:pt x="97" y="23"/>
                  </a:lnTo>
                  <a:lnTo>
                    <a:pt x="97" y="26"/>
                  </a:lnTo>
                  <a:lnTo>
                    <a:pt x="99" y="28"/>
                  </a:lnTo>
                  <a:lnTo>
                    <a:pt x="101" y="33"/>
                  </a:lnTo>
                  <a:lnTo>
                    <a:pt x="101" y="35"/>
                  </a:lnTo>
                  <a:lnTo>
                    <a:pt x="101" y="38"/>
                  </a:lnTo>
                  <a:lnTo>
                    <a:pt x="101" y="40"/>
                  </a:lnTo>
                  <a:lnTo>
                    <a:pt x="104" y="42"/>
                  </a:lnTo>
                  <a:lnTo>
                    <a:pt x="106" y="47"/>
                  </a:lnTo>
                  <a:lnTo>
                    <a:pt x="106" y="47"/>
                  </a:lnTo>
                  <a:lnTo>
                    <a:pt x="106" y="49"/>
                  </a:lnTo>
                  <a:lnTo>
                    <a:pt x="104" y="49"/>
                  </a:lnTo>
                  <a:lnTo>
                    <a:pt x="104" y="49"/>
                  </a:lnTo>
                  <a:lnTo>
                    <a:pt x="99" y="49"/>
                  </a:lnTo>
                  <a:lnTo>
                    <a:pt x="97" y="49"/>
                  </a:lnTo>
                  <a:lnTo>
                    <a:pt x="97" y="49"/>
                  </a:lnTo>
                  <a:lnTo>
                    <a:pt x="92" y="47"/>
                  </a:lnTo>
                  <a:lnTo>
                    <a:pt x="90" y="47"/>
                  </a:lnTo>
                  <a:lnTo>
                    <a:pt x="90" y="47"/>
                  </a:lnTo>
                  <a:lnTo>
                    <a:pt x="90" y="49"/>
                  </a:lnTo>
                  <a:lnTo>
                    <a:pt x="90" y="49"/>
                  </a:lnTo>
                  <a:lnTo>
                    <a:pt x="94" y="52"/>
                  </a:lnTo>
                  <a:lnTo>
                    <a:pt x="94" y="54"/>
                  </a:lnTo>
                  <a:lnTo>
                    <a:pt x="94" y="56"/>
                  </a:lnTo>
                  <a:lnTo>
                    <a:pt x="92" y="59"/>
                  </a:lnTo>
                  <a:lnTo>
                    <a:pt x="92" y="59"/>
                  </a:lnTo>
                  <a:lnTo>
                    <a:pt x="90" y="61"/>
                  </a:lnTo>
                  <a:lnTo>
                    <a:pt x="90" y="61"/>
                  </a:lnTo>
                  <a:lnTo>
                    <a:pt x="90" y="61"/>
                  </a:lnTo>
                  <a:lnTo>
                    <a:pt x="90" y="61"/>
                  </a:lnTo>
                  <a:lnTo>
                    <a:pt x="90" y="66"/>
                  </a:lnTo>
                  <a:lnTo>
                    <a:pt x="90" y="66"/>
                  </a:lnTo>
                  <a:lnTo>
                    <a:pt x="92" y="68"/>
                  </a:lnTo>
                  <a:lnTo>
                    <a:pt x="94" y="71"/>
                  </a:lnTo>
                  <a:lnTo>
                    <a:pt x="97" y="73"/>
                  </a:lnTo>
                  <a:lnTo>
                    <a:pt x="99" y="73"/>
                  </a:lnTo>
                  <a:lnTo>
                    <a:pt x="101" y="75"/>
                  </a:lnTo>
                  <a:lnTo>
                    <a:pt x="101" y="78"/>
                  </a:lnTo>
                  <a:lnTo>
                    <a:pt x="101" y="80"/>
                  </a:lnTo>
                  <a:lnTo>
                    <a:pt x="104" y="82"/>
                  </a:lnTo>
                  <a:lnTo>
                    <a:pt x="104" y="85"/>
                  </a:lnTo>
                  <a:lnTo>
                    <a:pt x="106" y="85"/>
                  </a:lnTo>
                  <a:lnTo>
                    <a:pt x="106" y="85"/>
                  </a:lnTo>
                  <a:lnTo>
                    <a:pt x="109" y="87"/>
                  </a:lnTo>
                  <a:lnTo>
                    <a:pt x="109" y="85"/>
                  </a:lnTo>
                  <a:lnTo>
                    <a:pt x="111" y="85"/>
                  </a:lnTo>
                  <a:lnTo>
                    <a:pt x="111" y="82"/>
                  </a:lnTo>
                  <a:lnTo>
                    <a:pt x="111" y="80"/>
                  </a:lnTo>
                  <a:lnTo>
                    <a:pt x="111" y="80"/>
                  </a:lnTo>
                  <a:lnTo>
                    <a:pt x="111" y="78"/>
                  </a:lnTo>
                  <a:lnTo>
                    <a:pt x="116" y="80"/>
                  </a:lnTo>
                  <a:lnTo>
                    <a:pt x="118" y="80"/>
                  </a:lnTo>
                  <a:lnTo>
                    <a:pt x="118" y="80"/>
                  </a:lnTo>
                  <a:lnTo>
                    <a:pt x="120" y="80"/>
                  </a:lnTo>
                  <a:lnTo>
                    <a:pt x="120" y="78"/>
                  </a:lnTo>
                  <a:lnTo>
                    <a:pt x="118" y="78"/>
                  </a:lnTo>
                  <a:lnTo>
                    <a:pt x="113" y="75"/>
                  </a:lnTo>
                  <a:lnTo>
                    <a:pt x="109" y="73"/>
                  </a:lnTo>
                  <a:lnTo>
                    <a:pt x="109" y="71"/>
                  </a:lnTo>
                  <a:lnTo>
                    <a:pt x="106" y="73"/>
                  </a:lnTo>
                  <a:lnTo>
                    <a:pt x="106" y="71"/>
                  </a:lnTo>
                  <a:lnTo>
                    <a:pt x="104" y="71"/>
                  </a:lnTo>
                  <a:lnTo>
                    <a:pt x="101" y="68"/>
                  </a:lnTo>
                  <a:lnTo>
                    <a:pt x="99" y="68"/>
                  </a:lnTo>
                  <a:lnTo>
                    <a:pt x="99" y="66"/>
                  </a:lnTo>
                  <a:lnTo>
                    <a:pt x="99" y="66"/>
                  </a:lnTo>
                  <a:lnTo>
                    <a:pt x="99" y="64"/>
                  </a:lnTo>
                  <a:lnTo>
                    <a:pt x="99" y="64"/>
                  </a:lnTo>
                  <a:lnTo>
                    <a:pt x="101" y="64"/>
                  </a:lnTo>
                  <a:lnTo>
                    <a:pt x="101" y="64"/>
                  </a:lnTo>
                  <a:lnTo>
                    <a:pt x="104" y="64"/>
                  </a:lnTo>
                  <a:lnTo>
                    <a:pt x="106" y="64"/>
                  </a:lnTo>
                  <a:lnTo>
                    <a:pt x="111" y="66"/>
                  </a:lnTo>
                  <a:lnTo>
                    <a:pt x="111" y="68"/>
                  </a:lnTo>
                  <a:lnTo>
                    <a:pt x="116" y="64"/>
                  </a:lnTo>
                  <a:lnTo>
                    <a:pt x="123" y="64"/>
                  </a:lnTo>
                  <a:lnTo>
                    <a:pt x="127" y="64"/>
                  </a:lnTo>
                  <a:lnTo>
                    <a:pt x="137" y="68"/>
                  </a:lnTo>
                  <a:lnTo>
                    <a:pt x="146" y="73"/>
                  </a:lnTo>
                  <a:lnTo>
                    <a:pt x="151" y="73"/>
                  </a:lnTo>
                  <a:lnTo>
                    <a:pt x="153" y="75"/>
                  </a:lnTo>
                  <a:lnTo>
                    <a:pt x="153" y="73"/>
                  </a:lnTo>
                  <a:lnTo>
                    <a:pt x="153" y="73"/>
                  </a:lnTo>
                  <a:lnTo>
                    <a:pt x="153" y="71"/>
                  </a:lnTo>
                  <a:lnTo>
                    <a:pt x="153" y="71"/>
                  </a:lnTo>
                  <a:lnTo>
                    <a:pt x="151" y="68"/>
                  </a:lnTo>
                  <a:lnTo>
                    <a:pt x="151" y="66"/>
                  </a:lnTo>
                  <a:lnTo>
                    <a:pt x="151" y="61"/>
                  </a:lnTo>
                  <a:lnTo>
                    <a:pt x="153" y="59"/>
                  </a:lnTo>
                  <a:lnTo>
                    <a:pt x="156" y="56"/>
                  </a:lnTo>
                  <a:lnTo>
                    <a:pt x="158" y="54"/>
                  </a:lnTo>
                  <a:lnTo>
                    <a:pt x="158" y="54"/>
                  </a:lnTo>
                  <a:lnTo>
                    <a:pt x="163" y="54"/>
                  </a:lnTo>
                  <a:lnTo>
                    <a:pt x="165" y="54"/>
                  </a:lnTo>
                  <a:lnTo>
                    <a:pt x="167" y="54"/>
                  </a:lnTo>
                  <a:lnTo>
                    <a:pt x="170" y="54"/>
                  </a:lnTo>
                  <a:lnTo>
                    <a:pt x="170" y="54"/>
                  </a:lnTo>
                  <a:lnTo>
                    <a:pt x="172" y="52"/>
                  </a:lnTo>
                  <a:lnTo>
                    <a:pt x="172" y="52"/>
                  </a:lnTo>
                  <a:lnTo>
                    <a:pt x="175" y="49"/>
                  </a:lnTo>
                  <a:lnTo>
                    <a:pt x="175" y="49"/>
                  </a:lnTo>
                  <a:lnTo>
                    <a:pt x="177" y="49"/>
                  </a:lnTo>
                  <a:lnTo>
                    <a:pt x="177" y="49"/>
                  </a:lnTo>
                  <a:lnTo>
                    <a:pt x="177" y="47"/>
                  </a:lnTo>
                  <a:lnTo>
                    <a:pt x="179" y="47"/>
                  </a:lnTo>
                  <a:lnTo>
                    <a:pt x="179" y="47"/>
                  </a:lnTo>
                  <a:lnTo>
                    <a:pt x="177" y="45"/>
                  </a:lnTo>
                  <a:lnTo>
                    <a:pt x="177" y="47"/>
                  </a:lnTo>
                  <a:lnTo>
                    <a:pt x="177" y="47"/>
                  </a:lnTo>
                  <a:lnTo>
                    <a:pt x="175" y="47"/>
                  </a:lnTo>
                  <a:lnTo>
                    <a:pt x="175" y="47"/>
                  </a:lnTo>
                  <a:lnTo>
                    <a:pt x="172" y="47"/>
                  </a:lnTo>
                  <a:lnTo>
                    <a:pt x="170" y="45"/>
                  </a:lnTo>
                  <a:lnTo>
                    <a:pt x="167" y="42"/>
                  </a:lnTo>
                  <a:lnTo>
                    <a:pt x="165" y="40"/>
                  </a:lnTo>
                  <a:lnTo>
                    <a:pt x="163" y="38"/>
                  </a:lnTo>
                  <a:lnTo>
                    <a:pt x="160" y="35"/>
                  </a:lnTo>
                  <a:lnTo>
                    <a:pt x="160" y="33"/>
                  </a:lnTo>
                  <a:lnTo>
                    <a:pt x="160" y="28"/>
                  </a:lnTo>
                  <a:lnTo>
                    <a:pt x="160" y="28"/>
                  </a:lnTo>
                  <a:lnTo>
                    <a:pt x="160" y="26"/>
                  </a:lnTo>
                  <a:lnTo>
                    <a:pt x="158" y="26"/>
                  </a:lnTo>
                  <a:lnTo>
                    <a:pt x="158" y="30"/>
                  </a:lnTo>
                  <a:lnTo>
                    <a:pt x="156" y="33"/>
                  </a:lnTo>
                  <a:lnTo>
                    <a:pt x="156" y="35"/>
                  </a:lnTo>
                  <a:lnTo>
                    <a:pt x="153" y="35"/>
                  </a:lnTo>
                  <a:lnTo>
                    <a:pt x="151" y="35"/>
                  </a:lnTo>
                  <a:lnTo>
                    <a:pt x="149" y="35"/>
                  </a:lnTo>
                  <a:lnTo>
                    <a:pt x="142" y="30"/>
                  </a:lnTo>
                  <a:lnTo>
                    <a:pt x="139" y="30"/>
                  </a:lnTo>
                  <a:lnTo>
                    <a:pt x="139" y="30"/>
                  </a:lnTo>
                  <a:lnTo>
                    <a:pt x="137" y="30"/>
                  </a:lnTo>
                  <a:lnTo>
                    <a:pt x="134" y="30"/>
                  </a:lnTo>
                  <a:lnTo>
                    <a:pt x="132" y="28"/>
                  </a:lnTo>
                  <a:lnTo>
                    <a:pt x="130" y="28"/>
                  </a:lnTo>
                  <a:lnTo>
                    <a:pt x="123" y="26"/>
                  </a:lnTo>
                  <a:lnTo>
                    <a:pt x="118" y="23"/>
                  </a:lnTo>
                  <a:lnTo>
                    <a:pt x="113" y="19"/>
                  </a:lnTo>
                  <a:lnTo>
                    <a:pt x="109" y="16"/>
                  </a:lnTo>
                  <a:lnTo>
                    <a:pt x="99" y="9"/>
                  </a:lnTo>
                  <a:lnTo>
                    <a:pt x="92" y="4"/>
                  </a:lnTo>
                  <a:lnTo>
                    <a:pt x="90" y="2"/>
                  </a:lnTo>
                  <a:lnTo>
                    <a:pt x="87" y="2"/>
                  </a:lnTo>
                  <a:lnTo>
                    <a:pt x="87" y="0"/>
                  </a:lnTo>
                  <a:lnTo>
                    <a:pt x="85" y="2"/>
                  </a:lnTo>
                  <a:lnTo>
                    <a:pt x="85" y="2"/>
                  </a:lnTo>
                  <a:lnTo>
                    <a:pt x="85" y="2"/>
                  </a:lnTo>
                  <a:lnTo>
                    <a:pt x="83" y="2"/>
                  </a:lnTo>
                  <a:lnTo>
                    <a:pt x="83" y="4"/>
                  </a:lnTo>
                  <a:lnTo>
                    <a:pt x="85" y="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7" name="Freeform 313"/>
            <p:cNvSpPr>
              <a:spLocks/>
            </p:cNvSpPr>
            <p:nvPr userDrawn="1"/>
          </p:nvSpPr>
          <p:spPr bwMode="auto">
            <a:xfrm>
              <a:off x="2220" y="2418"/>
              <a:ext cx="40" cy="16"/>
            </a:xfrm>
            <a:custGeom>
              <a:avLst/>
              <a:gdLst>
                <a:gd name="T0" fmla="*/ 38 w 40"/>
                <a:gd name="T1" fmla="*/ 11 h 16"/>
                <a:gd name="T2" fmla="*/ 38 w 40"/>
                <a:gd name="T3" fmla="*/ 7 h 16"/>
                <a:gd name="T4" fmla="*/ 31 w 40"/>
                <a:gd name="T5" fmla="*/ 4 h 16"/>
                <a:gd name="T6" fmla="*/ 31 w 40"/>
                <a:gd name="T7" fmla="*/ 4 h 16"/>
                <a:gd name="T8" fmla="*/ 28 w 40"/>
                <a:gd name="T9" fmla="*/ 2 h 16"/>
                <a:gd name="T10" fmla="*/ 26 w 40"/>
                <a:gd name="T11" fmla="*/ 2 h 16"/>
                <a:gd name="T12" fmla="*/ 26 w 40"/>
                <a:gd name="T13" fmla="*/ 2 h 16"/>
                <a:gd name="T14" fmla="*/ 24 w 40"/>
                <a:gd name="T15" fmla="*/ 2 h 16"/>
                <a:gd name="T16" fmla="*/ 21 w 40"/>
                <a:gd name="T17" fmla="*/ 0 h 16"/>
                <a:gd name="T18" fmla="*/ 19 w 40"/>
                <a:gd name="T19" fmla="*/ 0 h 16"/>
                <a:gd name="T20" fmla="*/ 19 w 40"/>
                <a:gd name="T21" fmla="*/ 0 h 16"/>
                <a:gd name="T22" fmla="*/ 9 w 40"/>
                <a:gd name="T23" fmla="*/ 0 h 16"/>
                <a:gd name="T24" fmla="*/ 9 w 40"/>
                <a:gd name="T25" fmla="*/ 0 h 16"/>
                <a:gd name="T26" fmla="*/ 7 w 40"/>
                <a:gd name="T27" fmla="*/ 0 h 16"/>
                <a:gd name="T28" fmla="*/ 7 w 40"/>
                <a:gd name="T29" fmla="*/ 0 h 16"/>
                <a:gd name="T30" fmla="*/ 5 w 40"/>
                <a:gd name="T31" fmla="*/ 0 h 16"/>
                <a:gd name="T32" fmla="*/ 2 w 40"/>
                <a:gd name="T33" fmla="*/ 2 h 16"/>
                <a:gd name="T34" fmla="*/ 2 w 40"/>
                <a:gd name="T35" fmla="*/ 2 h 16"/>
                <a:gd name="T36" fmla="*/ 0 w 40"/>
                <a:gd name="T37" fmla="*/ 4 h 16"/>
                <a:gd name="T38" fmla="*/ 2 w 40"/>
                <a:gd name="T39" fmla="*/ 4 h 16"/>
                <a:gd name="T40" fmla="*/ 5 w 40"/>
                <a:gd name="T41" fmla="*/ 7 h 16"/>
                <a:gd name="T42" fmla="*/ 7 w 40"/>
                <a:gd name="T43" fmla="*/ 7 h 16"/>
                <a:gd name="T44" fmla="*/ 7 w 40"/>
                <a:gd name="T45" fmla="*/ 9 h 16"/>
                <a:gd name="T46" fmla="*/ 9 w 40"/>
                <a:gd name="T47" fmla="*/ 9 h 16"/>
                <a:gd name="T48" fmla="*/ 9 w 40"/>
                <a:gd name="T49" fmla="*/ 9 h 16"/>
                <a:gd name="T50" fmla="*/ 9 w 40"/>
                <a:gd name="T51" fmla="*/ 11 h 16"/>
                <a:gd name="T52" fmla="*/ 12 w 40"/>
                <a:gd name="T53" fmla="*/ 14 h 16"/>
                <a:gd name="T54" fmla="*/ 16 w 40"/>
                <a:gd name="T55" fmla="*/ 14 h 16"/>
                <a:gd name="T56" fmla="*/ 19 w 40"/>
                <a:gd name="T57" fmla="*/ 14 h 16"/>
                <a:gd name="T58" fmla="*/ 19 w 40"/>
                <a:gd name="T59" fmla="*/ 14 h 16"/>
                <a:gd name="T60" fmla="*/ 21 w 40"/>
                <a:gd name="T61" fmla="*/ 16 h 16"/>
                <a:gd name="T62" fmla="*/ 21 w 40"/>
                <a:gd name="T63" fmla="*/ 14 h 16"/>
                <a:gd name="T64" fmla="*/ 21 w 40"/>
                <a:gd name="T65" fmla="*/ 11 h 16"/>
                <a:gd name="T66" fmla="*/ 24 w 40"/>
                <a:gd name="T67" fmla="*/ 11 h 16"/>
                <a:gd name="T68" fmla="*/ 24 w 40"/>
                <a:gd name="T69" fmla="*/ 14 h 16"/>
                <a:gd name="T70" fmla="*/ 26 w 40"/>
                <a:gd name="T71" fmla="*/ 14 h 16"/>
                <a:gd name="T72" fmla="*/ 26 w 40"/>
                <a:gd name="T73" fmla="*/ 11 h 16"/>
                <a:gd name="T74" fmla="*/ 28 w 40"/>
                <a:gd name="T75" fmla="*/ 11 h 16"/>
                <a:gd name="T76" fmla="*/ 28 w 40"/>
                <a:gd name="T77" fmla="*/ 11 h 16"/>
                <a:gd name="T78" fmla="*/ 28 w 40"/>
                <a:gd name="T79" fmla="*/ 11 h 16"/>
                <a:gd name="T80" fmla="*/ 28 w 40"/>
                <a:gd name="T81" fmla="*/ 11 h 16"/>
                <a:gd name="T82" fmla="*/ 31 w 40"/>
                <a:gd name="T83" fmla="*/ 11 h 16"/>
                <a:gd name="T84" fmla="*/ 31 w 40"/>
                <a:gd name="T85" fmla="*/ 11 h 16"/>
                <a:gd name="T86" fmla="*/ 33 w 40"/>
                <a:gd name="T87" fmla="*/ 14 h 16"/>
                <a:gd name="T88" fmla="*/ 35 w 40"/>
                <a:gd name="T89" fmla="*/ 11 h 16"/>
                <a:gd name="T90" fmla="*/ 38 w 40"/>
                <a:gd name="T91" fmla="*/ 11 h 16"/>
                <a:gd name="T92" fmla="*/ 40 w 40"/>
                <a:gd name="T93" fmla="*/ 11 h 16"/>
                <a:gd name="T94" fmla="*/ 38 w 40"/>
                <a:gd name="T9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16">
                  <a:moveTo>
                    <a:pt x="38" y="11"/>
                  </a:moveTo>
                  <a:lnTo>
                    <a:pt x="38" y="7"/>
                  </a:lnTo>
                  <a:lnTo>
                    <a:pt x="31" y="4"/>
                  </a:lnTo>
                  <a:lnTo>
                    <a:pt x="31" y="4"/>
                  </a:lnTo>
                  <a:lnTo>
                    <a:pt x="28" y="2"/>
                  </a:lnTo>
                  <a:lnTo>
                    <a:pt x="26" y="2"/>
                  </a:lnTo>
                  <a:lnTo>
                    <a:pt x="26" y="2"/>
                  </a:lnTo>
                  <a:lnTo>
                    <a:pt x="24" y="2"/>
                  </a:lnTo>
                  <a:lnTo>
                    <a:pt x="21" y="0"/>
                  </a:lnTo>
                  <a:lnTo>
                    <a:pt x="19" y="0"/>
                  </a:lnTo>
                  <a:lnTo>
                    <a:pt x="19" y="0"/>
                  </a:lnTo>
                  <a:lnTo>
                    <a:pt x="9" y="0"/>
                  </a:lnTo>
                  <a:lnTo>
                    <a:pt x="9" y="0"/>
                  </a:lnTo>
                  <a:lnTo>
                    <a:pt x="7" y="0"/>
                  </a:lnTo>
                  <a:lnTo>
                    <a:pt x="7" y="0"/>
                  </a:lnTo>
                  <a:lnTo>
                    <a:pt x="5" y="0"/>
                  </a:lnTo>
                  <a:lnTo>
                    <a:pt x="2" y="2"/>
                  </a:lnTo>
                  <a:lnTo>
                    <a:pt x="2" y="2"/>
                  </a:lnTo>
                  <a:lnTo>
                    <a:pt x="0" y="4"/>
                  </a:lnTo>
                  <a:lnTo>
                    <a:pt x="2" y="4"/>
                  </a:lnTo>
                  <a:lnTo>
                    <a:pt x="5" y="7"/>
                  </a:lnTo>
                  <a:lnTo>
                    <a:pt x="7" y="7"/>
                  </a:lnTo>
                  <a:lnTo>
                    <a:pt x="7" y="9"/>
                  </a:lnTo>
                  <a:lnTo>
                    <a:pt x="9" y="9"/>
                  </a:lnTo>
                  <a:lnTo>
                    <a:pt x="9" y="9"/>
                  </a:lnTo>
                  <a:lnTo>
                    <a:pt x="9" y="11"/>
                  </a:lnTo>
                  <a:lnTo>
                    <a:pt x="12" y="14"/>
                  </a:lnTo>
                  <a:lnTo>
                    <a:pt x="16" y="14"/>
                  </a:lnTo>
                  <a:lnTo>
                    <a:pt x="19" y="14"/>
                  </a:lnTo>
                  <a:lnTo>
                    <a:pt x="19" y="14"/>
                  </a:lnTo>
                  <a:lnTo>
                    <a:pt x="21" y="16"/>
                  </a:lnTo>
                  <a:lnTo>
                    <a:pt x="21" y="14"/>
                  </a:lnTo>
                  <a:lnTo>
                    <a:pt x="21" y="11"/>
                  </a:lnTo>
                  <a:lnTo>
                    <a:pt x="24" y="11"/>
                  </a:lnTo>
                  <a:lnTo>
                    <a:pt x="24" y="14"/>
                  </a:lnTo>
                  <a:lnTo>
                    <a:pt x="26" y="14"/>
                  </a:lnTo>
                  <a:lnTo>
                    <a:pt x="26" y="11"/>
                  </a:lnTo>
                  <a:lnTo>
                    <a:pt x="28" y="11"/>
                  </a:lnTo>
                  <a:lnTo>
                    <a:pt x="28" y="11"/>
                  </a:lnTo>
                  <a:lnTo>
                    <a:pt x="28" y="11"/>
                  </a:lnTo>
                  <a:lnTo>
                    <a:pt x="28" y="11"/>
                  </a:lnTo>
                  <a:lnTo>
                    <a:pt x="31" y="11"/>
                  </a:lnTo>
                  <a:lnTo>
                    <a:pt x="31" y="11"/>
                  </a:lnTo>
                  <a:lnTo>
                    <a:pt x="33" y="14"/>
                  </a:lnTo>
                  <a:lnTo>
                    <a:pt x="35" y="11"/>
                  </a:lnTo>
                  <a:lnTo>
                    <a:pt x="38" y="11"/>
                  </a:lnTo>
                  <a:lnTo>
                    <a:pt x="40" y="11"/>
                  </a:lnTo>
                  <a:lnTo>
                    <a:pt x="38" y="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8" name="Freeform 314"/>
            <p:cNvSpPr>
              <a:spLocks noEditPoints="1"/>
            </p:cNvSpPr>
            <p:nvPr userDrawn="1"/>
          </p:nvSpPr>
          <p:spPr bwMode="auto">
            <a:xfrm>
              <a:off x="3493" y="2581"/>
              <a:ext cx="115" cy="134"/>
            </a:xfrm>
            <a:custGeom>
              <a:avLst/>
              <a:gdLst>
                <a:gd name="T0" fmla="*/ 99 w 115"/>
                <a:gd name="T1" fmla="*/ 118 h 134"/>
                <a:gd name="T2" fmla="*/ 110 w 115"/>
                <a:gd name="T3" fmla="*/ 38 h 134"/>
                <a:gd name="T4" fmla="*/ 110 w 115"/>
                <a:gd name="T5" fmla="*/ 30 h 134"/>
                <a:gd name="T6" fmla="*/ 110 w 115"/>
                <a:gd name="T7" fmla="*/ 28 h 134"/>
                <a:gd name="T8" fmla="*/ 106 w 115"/>
                <a:gd name="T9" fmla="*/ 23 h 134"/>
                <a:gd name="T10" fmla="*/ 101 w 115"/>
                <a:gd name="T11" fmla="*/ 19 h 134"/>
                <a:gd name="T12" fmla="*/ 89 w 115"/>
                <a:gd name="T13" fmla="*/ 19 h 134"/>
                <a:gd name="T14" fmla="*/ 80 w 115"/>
                <a:gd name="T15" fmla="*/ 23 h 134"/>
                <a:gd name="T16" fmla="*/ 73 w 115"/>
                <a:gd name="T17" fmla="*/ 19 h 134"/>
                <a:gd name="T18" fmla="*/ 66 w 115"/>
                <a:gd name="T19" fmla="*/ 12 h 134"/>
                <a:gd name="T20" fmla="*/ 59 w 115"/>
                <a:gd name="T21" fmla="*/ 7 h 134"/>
                <a:gd name="T22" fmla="*/ 52 w 115"/>
                <a:gd name="T23" fmla="*/ 9 h 134"/>
                <a:gd name="T24" fmla="*/ 47 w 115"/>
                <a:gd name="T25" fmla="*/ 12 h 134"/>
                <a:gd name="T26" fmla="*/ 47 w 115"/>
                <a:gd name="T27" fmla="*/ 7 h 134"/>
                <a:gd name="T28" fmla="*/ 44 w 115"/>
                <a:gd name="T29" fmla="*/ 0 h 134"/>
                <a:gd name="T30" fmla="*/ 42 w 115"/>
                <a:gd name="T31" fmla="*/ 4 h 134"/>
                <a:gd name="T32" fmla="*/ 37 w 115"/>
                <a:gd name="T33" fmla="*/ 2 h 134"/>
                <a:gd name="T34" fmla="*/ 35 w 115"/>
                <a:gd name="T35" fmla="*/ 9 h 134"/>
                <a:gd name="T36" fmla="*/ 30 w 115"/>
                <a:gd name="T37" fmla="*/ 9 h 134"/>
                <a:gd name="T38" fmla="*/ 30 w 115"/>
                <a:gd name="T39" fmla="*/ 12 h 134"/>
                <a:gd name="T40" fmla="*/ 23 w 115"/>
                <a:gd name="T41" fmla="*/ 9 h 134"/>
                <a:gd name="T42" fmla="*/ 19 w 115"/>
                <a:gd name="T43" fmla="*/ 7 h 134"/>
                <a:gd name="T44" fmla="*/ 14 w 115"/>
                <a:gd name="T45" fmla="*/ 12 h 134"/>
                <a:gd name="T46" fmla="*/ 9 w 115"/>
                <a:gd name="T47" fmla="*/ 19 h 134"/>
                <a:gd name="T48" fmla="*/ 14 w 115"/>
                <a:gd name="T49" fmla="*/ 28 h 134"/>
                <a:gd name="T50" fmla="*/ 16 w 115"/>
                <a:gd name="T51" fmla="*/ 35 h 134"/>
                <a:gd name="T52" fmla="*/ 14 w 115"/>
                <a:gd name="T53" fmla="*/ 42 h 134"/>
                <a:gd name="T54" fmla="*/ 19 w 115"/>
                <a:gd name="T55" fmla="*/ 49 h 134"/>
                <a:gd name="T56" fmla="*/ 14 w 115"/>
                <a:gd name="T57" fmla="*/ 47 h 134"/>
                <a:gd name="T58" fmla="*/ 7 w 115"/>
                <a:gd name="T59" fmla="*/ 49 h 134"/>
                <a:gd name="T60" fmla="*/ 11 w 115"/>
                <a:gd name="T61" fmla="*/ 54 h 134"/>
                <a:gd name="T62" fmla="*/ 9 w 115"/>
                <a:gd name="T63" fmla="*/ 61 h 134"/>
                <a:gd name="T64" fmla="*/ 4 w 115"/>
                <a:gd name="T65" fmla="*/ 66 h 134"/>
                <a:gd name="T66" fmla="*/ 4 w 115"/>
                <a:gd name="T67" fmla="*/ 71 h 134"/>
                <a:gd name="T68" fmla="*/ 7 w 115"/>
                <a:gd name="T69" fmla="*/ 82 h 134"/>
                <a:gd name="T70" fmla="*/ 2 w 115"/>
                <a:gd name="T71" fmla="*/ 90 h 134"/>
                <a:gd name="T72" fmla="*/ 9 w 115"/>
                <a:gd name="T73" fmla="*/ 94 h 134"/>
                <a:gd name="T74" fmla="*/ 14 w 115"/>
                <a:gd name="T75" fmla="*/ 97 h 134"/>
                <a:gd name="T76" fmla="*/ 19 w 115"/>
                <a:gd name="T77" fmla="*/ 101 h 134"/>
                <a:gd name="T78" fmla="*/ 23 w 115"/>
                <a:gd name="T79" fmla="*/ 108 h 134"/>
                <a:gd name="T80" fmla="*/ 21 w 115"/>
                <a:gd name="T81" fmla="*/ 116 h 134"/>
                <a:gd name="T82" fmla="*/ 19 w 115"/>
                <a:gd name="T83" fmla="*/ 123 h 134"/>
                <a:gd name="T84" fmla="*/ 23 w 115"/>
                <a:gd name="T85" fmla="*/ 134 h 134"/>
                <a:gd name="T86" fmla="*/ 37 w 115"/>
                <a:gd name="T87" fmla="*/ 127 h 134"/>
                <a:gd name="T88" fmla="*/ 66 w 115"/>
                <a:gd name="T89" fmla="*/ 118 h 134"/>
                <a:gd name="T90" fmla="*/ 66 w 115"/>
                <a:gd name="T91" fmla="*/ 118 h 134"/>
                <a:gd name="T92" fmla="*/ 85 w 115"/>
                <a:gd name="T93" fmla="*/ 116 h 134"/>
                <a:gd name="T94" fmla="*/ 85 w 115"/>
                <a:gd name="T95" fmla="*/ 116 h 134"/>
                <a:gd name="T96" fmla="*/ 101 w 115"/>
                <a:gd name="T97" fmla="*/ 113 h 134"/>
                <a:gd name="T98" fmla="*/ 103 w 115"/>
                <a:gd name="T99" fmla="*/ 118 h 134"/>
                <a:gd name="T100" fmla="*/ 108 w 115"/>
                <a:gd name="T101" fmla="*/ 118 h 134"/>
                <a:gd name="T102" fmla="*/ 108 w 115"/>
                <a:gd name="T103" fmla="*/ 108 h 134"/>
                <a:gd name="T104" fmla="*/ 103 w 115"/>
                <a:gd name="T105" fmla="*/ 104 h 134"/>
                <a:gd name="T106" fmla="*/ 101 w 115"/>
                <a:gd name="T107" fmla="*/ 90 h 134"/>
                <a:gd name="T108" fmla="*/ 101 w 115"/>
                <a:gd name="T109" fmla="*/ 80 h 134"/>
                <a:gd name="T110" fmla="*/ 106 w 115"/>
                <a:gd name="T111" fmla="*/ 68 h 134"/>
                <a:gd name="T112" fmla="*/ 108 w 115"/>
                <a:gd name="T113" fmla="*/ 59 h 134"/>
                <a:gd name="T114" fmla="*/ 113 w 115"/>
                <a:gd name="T115" fmla="*/ 5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5" h="134">
                  <a:moveTo>
                    <a:pt x="99" y="118"/>
                  </a:moveTo>
                  <a:lnTo>
                    <a:pt x="103" y="120"/>
                  </a:lnTo>
                  <a:lnTo>
                    <a:pt x="103" y="118"/>
                  </a:lnTo>
                  <a:lnTo>
                    <a:pt x="101" y="118"/>
                  </a:lnTo>
                  <a:lnTo>
                    <a:pt x="99" y="118"/>
                  </a:lnTo>
                  <a:close/>
                  <a:moveTo>
                    <a:pt x="113" y="47"/>
                  </a:moveTo>
                  <a:lnTo>
                    <a:pt x="113" y="42"/>
                  </a:lnTo>
                  <a:lnTo>
                    <a:pt x="113" y="40"/>
                  </a:lnTo>
                  <a:lnTo>
                    <a:pt x="113" y="40"/>
                  </a:lnTo>
                  <a:lnTo>
                    <a:pt x="110" y="38"/>
                  </a:lnTo>
                  <a:lnTo>
                    <a:pt x="110" y="35"/>
                  </a:lnTo>
                  <a:lnTo>
                    <a:pt x="110" y="35"/>
                  </a:lnTo>
                  <a:lnTo>
                    <a:pt x="110" y="35"/>
                  </a:lnTo>
                  <a:lnTo>
                    <a:pt x="110" y="33"/>
                  </a:lnTo>
                  <a:lnTo>
                    <a:pt x="110" y="30"/>
                  </a:lnTo>
                  <a:lnTo>
                    <a:pt x="110" y="30"/>
                  </a:lnTo>
                  <a:lnTo>
                    <a:pt x="110" y="30"/>
                  </a:lnTo>
                  <a:lnTo>
                    <a:pt x="110" y="28"/>
                  </a:lnTo>
                  <a:lnTo>
                    <a:pt x="110" y="26"/>
                  </a:lnTo>
                  <a:lnTo>
                    <a:pt x="110" y="28"/>
                  </a:lnTo>
                  <a:lnTo>
                    <a:pt x="110" y="28"/>
                  </a:lnTo>
                  <a:lnTo>
                    <a:pt x="108" y="28"/>
                  </a:lnTo>
                  <a:lnTo>
                    <a:pt x="108" y="26"/>
                  </a:lnTo>
                  <a:lnTo>
                    <a:pt x="108" y="26"/>
                  </a:lnTo>
                  <a:lnTo>
                    <a:pt x="106" y="23"/>
                  </a:lnTo>
                  <a:lnTo>
                    <a:pt x="106" y="23"/>
                  </a:lnTo>
                  <a:lnTo>
                    <a:pt x="103" y="21"/>
                  </a:lnTo>
                  <a:lnTo>
                    <a:pt x="103" y="21"/>
                  </a:lnTo>
                  <a:lnTo>
                    <a:pt x="103" y="19"/>
                  </a:lnTo>
                  <a:lnTo>
                    <a:pt x="101" y="19"/>
                  </a:lnTo>
                  <a:lnTo>
                    <a:pt x="99" y="19"/>
                  </a:lnTo>
                  <a:lnTo>
                    <a:pt x="99" y="19"/>
                  </a:lnTo>
                  <a:lnTo>
                    <a:pt x="94" y="16"/>
                  </a:lnTo>
                  <a:lnTo>
                    <a:pt x="92" y="16"/>
                  </a:lnTo>
                  <a:lnTo>
                    <a:pt x="89" y="19"/>
                  </a:lnTo>
                  <a:lnTo>
                    <a:pt x="87" y="19"/>
                  </a:lnTo>
                  <a:lnTo>
                    <a:pt x="82" y="21"/>
                  </a:lnTo>
                  <a:lnTo>
                    <a:pt x="82" y="21"/>
                  </a:lnTo>
                  <a:lnTo>
                    <a:pt x="80" y="23"/>
                  </a:lnTo>
                  <a:lnTo>
                    <a:pt x="80" y="23"/>
                  </a:lnTo>
                  <a:lnTo>
                    <a:pt x="77" y="23"/>
                  </a:lnTo>
                  <a:lnTo>
                    <a:pt x="77" y="21"/>
                  </a:lnTo>
                  <a:lnTo>
                    <a:pt x="75" y="21"/>
                  </a:lnTo>
                  <a:lnTo>
                    <a:pt x="73" y="21"/>
                  </a:lnTo>
                  <a:lnTo>
                    <a:pt x="73" y="19"/>
                  </a:lnTo>
                  <a:lnTo>
                    <a:pt x="70" y="19"/>
                  </a:lnTo>
                  <a:lnTo>
                    <a:pt x="68" y="16"/>
                  </a:lnTo>
                  <a:lnTo>
                    <a:pt x="68" y="14"/>
                  </a:lnTo>
                  <a:lnTo>
                    <a:pt x="68" y="14"/>
                  </a:lnTo>
                  <a:lnTo>
                    <a:pt x="66" y="12"/>
                  </a:lnTo>
                  <a:lnTo>
                    <a:pt x="66" y="9"/>
                  </a:lnTo>
                  <a:lnTo>
                    <a:pt x="63" y="9"/>
                  </a:lnTo>
                  <a:lnTo>
                    <a:pt x="61" y="9"/>
                  </a:lnTo>
                  <a:lnTo>
                    <a:pt x="59" y="9"/>
                  </a:lnTo>
                  <a:lnTo>
                    <a:pt x="59" y="7"/>
                  </a:lnTo>
                  <a:lnTo>
                    <a:pt x="59" y="7"/>
                  </a:lnTo>
                  <a:lnTo>
                    <a:pt x="56" y="7"/>
                  </a:lnTo>
                  <a:lnTo>
                    <a:pt x="52" y="7"/>
                  </a:lnTo>
                  <a:lnTo>
                    <a:pt x="52" y="9"/>
                  </a:lnTo>
                  <a:lnTo>
                    <a:pt x="52" y="9"/>
                  </a:lnTo>
                  <a:lnTo>
                    <a:pt x="52" y="9"/>
                  </a:lnTo>
                  <a:lnTo>
                    <a:pt x="49" y="12"/>
                  </a:lnTo>
                  <a:lnTo>
                    <a:pt x="49" y="12"/>
                  </a:lnTo>
                  <a:lnTo>
                    <a:pt x="47" y="12"/>
                  </a:lnTo>
                  <a:lnTo>
                    <a:pt x="47" y="12"/>
                  </a:lnTo>
                  <a:lnTo>
                    <a:pt x="44" y="9"/>
                  </a:lnTo>
                  <a:lnTo>
                    <a:pt x="44" y="9"/>
                  </a:lnTo>
                  <a:lnTo>
                    <a:pt x="47" y="9"/>
                  </a:lnTo>
                  <a:lnTo>
                    <a:pt x="47" y="7"/>
                  </a:lnTo>
                  <a:lnTo>
                    <a:pt x="47" y="7"/>
                  </a:lnTo>
                  <a:lnTo>
                    <a:pt x="47" y="4"/>
                  </a:lnTo>
                  <a:lnTo>
                    <a:pt x="44" y="4"/>
                  </a:lnTo>
                  <a:lnTo>
                    <a:pt x="44" y="2"/>
                  </a:lnTo>
                  <a:lnTo>
                    <a:pt x="44" y="0"/>
                  </a:lnTo>
                  <a:lnTo>
                    <a:pt x="44" y="0"/>
                  </a:lnTo>
                  <a:lnTo>
                    <a:pt x="42" y="2"/>
                  </a:lnTo>
                  <a:lnTo>
                    <a:pt x="42" y="2"/>
                  </a:lnTo>
                  <a:lnTo>
                    <a:pt x="42" y="2"/>
                  </a:lnTo>
                  <a:lnTo>
                    <a:pt x="42" y="2"/>
                  </a:lnTo>
                  <a:lnTo>
                    <a:pt x="42" y="4"/>
                  </a:lnTo>
                  <a:lnTo>
                    <a:pt x="42" y="4"/>
                  </a:lnTo>
                  <a:lnTo>
                    <a:pt x="40" y="4"/>
                  </a:lnTo>
                  <a:lnTo>
                    <a:pt x="40" y="4"/>
                  </a:lnTo>
                  <a:lnTo>
                    <a:pt x="37" y="2"/>
                  </a:lnTo>
                  <a:lnTo>
                    <a:pt x="37" y="2"/>
                  </a:lnTo>
                  <a:lnTo>
                    <a:pt x="37" y="4"/>
                  </a:lnTo>
                  <a:lnTo>
                    <a:pt x="37" y="4"/>
                  </a:lnTo>
                  <a:lnTo>
                    <a:pt x="37" y="7"/>
                  </a:lnTo>
                  <a:lnTo>
                    <a:pt x="37" y="9"/>
                  </a:lnTo>
                  <a:lnTo>
                    <a:pt x="35" y="9"/>
                  </a:lnTo>
                  <a:lnTo>
                    <a:pt x="35" y="9"/>
                  </a:lnTo>
                  <a:lnTo>
                    <a:pt x="33" y="9"/>
                  </a:lnTo>
                  <a:lnTo>
                    <a:pt x="33" y="9"/>
                  </a:lnTo>
                  <a:lnTo>
                    <a:pt x="33" y="9"/>
                  </a:lnTo>
                  <a:lnTo>
                    <a:pt x="30" y="9"/>
                  </a:lnTo>
                  <a:lnTo>
                    <a:pt x="33" y="12"/>
                  </a:lnTo>
                  <a:lnTo>
                    <a:pt x="33" y="12"/>
                  </a:lnTo>
                  <a:lnTo>
                    <a:pt x="30" y="12"/>
                  </a:lnTo>
                  <a:lnTo>
                    <a:pt x="30" y="12"/>
                  </a:lnTo>
                  <a:lnTo>
                    <a:pt x="30" y="12"/>
                  </a:lnTo>
                  <a:lnTo>
                    <a:pt x="30" y="12"/>
                  </a:lnTo>
                  <a:lnTo>
                    <a:pt x="28" y="12"/>
                  </a:lnTo>
                  <a:lnTo>
                    <a:pt x="26" y="9"/>
                  </a:lnTo>
                  <a:lnTo>
                    <a:pt x="23" y="9"/>
                  </a:lnTo>
                  <a:lnTo>
                    <a:pt x="23" y="9"/>
                  </a:lnTo>
                  <a:lnTo>
                    <a:pt x="23" y="7"/>
                  </a:lnTo>
                  <a:lnTo>
                    <a:pt x="23" y="7"/>
                  </a:lnTo>
                  <a:lnTo>
                    <a:pt x="21" y="7"/>
                  </a:lnTo>
                  <a:lnTo>
                    <a:pt x="21" y="7"/>
                  </a:lnTo>
                  <a:lnTo>
                    <a:pt x="19" y="7"/>
                  </a:lnTo>
                  <a:lnTo>
                    <a:pt x="19" y="9"/>
                  </a:lnTo>
                  <a:lnTo>
                    <a:pt x="16" y="12"/>
                  </a:lnTo>
                  <a:lnTo>
                    <a:pt x="14" y="12"/>
                  </a:lnTo>
                  <a:lnTo>
                    <a:pt x="14" y="12"/>
                  </a:lnTo>
                  <a:lnTo>
                    <a:pt x="14" y="12"/>
                  </a:lnTo>
                  <a:lnTo>
                    <a:pt x="11" y="14"/>
                  </a:lnTo>
                  <a:lnTo>
                    <a:pt x="11" y="14"/>
                  </a:lnTo>
                  <a:lnTo>
                    <a:pt x="9" y="16"/>
                  </a:lnTo>
                  <a:lnTo>
                    <a:pt x="9" y="16"/>
                  </a:lnTo>
                  <a:lnTo>
                    <a:pt x="9" y="19"/>
                  </a:lnTo>
                  <a:lnTo>
                    <a:pt x="9" y="23"/>
                  </a:lnTo>
                  <a:lnTo>
                    <a:pt x="9" y="26"/>
                  </a:lnTo>
                  <a:lnTo>
                    <a:pt x="11" y="28"/>
                  </a:lnTo>
                  <a:lnTo>
                    <a:pt x="11" y="28"/>
                  </a:lnTo>
                  <a:lnTo>
                    <a:pt x="14" y="28"/>
                  </a:lnTo>
                  <a:lnTo>
                    <a:pt x="14" y="28"/>
                  </a:lnTo>
                  <a:lnTo>
                    <a:pt x="14" y="30"/>
                  </a:lnTo>
                  <a:lnTo>
                    <a:pt x="14" y="33"/>
                  </a:lnTo>
                  <a:lnTo>
                    <a:pt x="16" y="33"/>
                  </a:lnTo>
                  <a:lnTo>
                    <a:pt x="16" y="35"/>
                  </a:lnTo>
                  <a:lnTo>
                    <a:pt x="16" y="35"/>
                  </a:lnTo>
                  <a:lnTo>
                    <a:pt x="14" y="38"/>
                  </a:lnTo>
                  <a:lnTo>
                    <a:pt x="14" y="38"/>
                  </a:lnTo>
                  <a:lnTo>
                    <a:pt x="14" y="40"/>
                  </a:lnTo>
                  <a:lnTo>
                    <a:pt x="14" y="42"/>
                  </a:lnTo>
                  <a:lnTo>
                    <a:pt x="16" y="42"/>
                  </a:lnTo>
                  <a:lnTo>
                    <a:pt x="19" y="45"/>
                  </a:lnTo>
                  <a:lnTo>
                    <a:pt x="19" y="47"/>
                  </a:lnTo>
                  <a:lnTo>
                    <a:pt x="19" y="49"/>
                  </a:lnTo>
                  <a:lnTo>
                    <a:pt x="19" y="49"/>
                  </a:lnTo>
                  <a:lnTo>
                    <a:pt x="16" y="49"/>
                  </a:lnTo>
                  <a:lnTo>
                    <a:pt x="16" y="49"/>
                  </a:lnTo>
                  <a:lnTo>
                    <a:pt x="16" y="47"/>
                  </a:lnTo>
                  <a:lnTo>
                    <a:pt x="14" y="47"/>
                  </a:lnTo>
                  <a:lnTo>
                    <a:pt x="14" y="47"/>
                  </a:lnTo>
                  <a:lnTo>
                    <a:pt x="11" y="47"/>
                  </a:lnTo>
                  <a:lnTo>
                    <a:pt x="9" y="47"/>
                  </a:lnTo>
                  <a:lnTo>
                    <a:pt x="9" y="47"/>
                  </a:lnTo>
                  <a:lnTo>
                    <a:pt x="7" y="49"/>
                  </a:lnTo>
                  <a:lnTo>
                    <a:pt x="7" y="49"/>
                  </a:lnTo>
                  <a:lnTo>
                    <a:pt x="7" y="52"/>
                  </a:lnTo>
                  <a:lnTo>
                    <a:pt x="9" y="54"/>
                  </a:lnTo>
                  <a:lnTo>
                    <a:pt x="9" y="54"/>
                  </a:lnTo>
                  <a:lnTo>
                    <a:pt x="11" y="54"/>
                  </a:lnTo>
                  <a:lnTo>
                    <a:pt x="11" y="54"/>
                  </a:lnTo>
                  <a:lnTo>
                    <a:pt x="11" y="54"/>
                  </a:lnTo>
                  <a:lnTo>
                    <a:pt x="11" y="56"/>
                  </a:lnTo>
                  <a:lnTo>
                    <a:pt x="11" y="56"/>
                  </a:lnTo>
                  <a:lnTo>
                    <a:pt x="11" y="59"/>
                  </a:lnTo>
                  <a:lnTo>
                    <a:pt x="9" y="61"/>
                  </a:lnTo>
                  <a:lnTo>
                    <a:pt x="9" y="61"/>
                  </a:lnTo>
                  <a:lnTo>
                    <a:pt x="9" y="64"/>
                  </a:lnTo>
                  <a:lnTo>
                    <a:pt x="9" y="66"/>
                  </a:lnTo>
                  <a:lnTo>
                    <a:pt x="7" y="68"/>
                  </a:lnTo>
                  <a:lnTo>
                    <a:pt x="4" y="66"/>
                  </a:lnTo>
                  <a:lnTo>
                    <a:pt x="4" y="66"/>
                  </a:lnTo>
                  <a:lnTo>
                    <a:pt x="2" y="68"/>
                  </a:lnTo>
                  <a:lnTo>
                    <a:pt x="4" y="68"/>
                  </a:lnTo>
                  <a:lnTo>
                    <a:pt x="4" y="68"/>
                  </a:lnTo>
                  <a:lnTo>
                    <a:pt x="4" y="71"/>
                  </a:lnTo>
                  <a:lnTo>
                    <a:pt x="7" y="78"/>
                  </a:lnTo>
                  <a:lnTo>
                    <a:pt x="7" y="80"/>
                  </a:lnTo>
                  <a:lnTo>
                    <a:pt x="7" y="80"/>
                  </a:lnTo>
                  <a:lnTo>
                    <a:pt x="7" y="82"/>
                  </a:lnTo>
                  <a:lnTo>
                    <a:pt x="7" y="82"/>
                  </a:lnTo>
                  <a:lnTo>
                    <a:pt x="4" y="85"/>
                  </a:lnTo>
                  <a:lnTo>
                    <a:pt x="0" y="90"/>
                  </a:lnTo>
                  <a:lnTo>
                    <a:pt x="2" y="90"/>
                  </a:lnTo>
                  <a:lnTo>
                    <a:pt x="2" y="90"/>
                  </a:lnTo>
                  <a:lnTo>
                    <a:pt x="2" y="90"/>
                  </a:lnTo>
                  <a:lnTo>
                    <a:pt x="4" y="90"/>
                  </a:lnTo>
                  <a:lnTo>
                    <a:pt x="4" y="92"/>
                  </a:lnTo>
                  <a:lnTo>
                    <a:pt x="4" y="92"/>
                  </a:lnTo>
                  <a:lnTo>
                    <a:pt x="7" y="94"/>
                  </a:lnTo>
                  <a:lnTo>
                    <a:pt x="9" y="94"/>
                  </a:lnTo>
                  <a:lnTo>
                    <a:pt x="9" y="94"/>
                  </a:lnTo>
                  <a:lnTo>
                    <a:pt x="11" y="94"/>
                  </a:lnTo>
                  <a:lnTo>
                    <a:pt x="11" y="94"/>
                  </a:lnTo>
                  <a:lnTo>
                    <a:pt x="14" y="94"/>
                  </a:lnTo>
                  <a:lnTo>
                    <a:pt x="14" y="97"/>
                  </a:lnTo>
                  <a:lnTo>
                    <a:pt x="14" y="99"/>
                  </a:lnTo>
                  <a:lnTo>
                    <a:pt x="16" y="99"/>
                  </a:lnTo>
                  <a:lnTo>
                    <a:pt x="16" y="101"/>
                  </a:lnTo>
                  <a:lnTo>
                    <a:pt x="16" y="101"/>
                  </a:lnTo>
                  <a:lnTo>
                    <a:pt x="19" y="101"/>
                  </a:lnTo>
                  <a:lnTo>
                    <a:pt x="21" y="104"/>
                  </a:lnTo>
                  <a:lnTo>
                    <a:pt x="21" y="104"/>
                  </a:lnTo>
                  <a:lnTo>
                    <a:pt x="21" y="104"/>
                  </a:lnTo>
                  <a:lnTo>
                    <a:pt x="21" y="104"/>
                  </a:lnTo>
                  <a:lnTo>
                    <a:pt x="23" y="108"/>
                  </a:lnTo>
                  <a:lnTo>
                    <a:pt x="23" y="108"/>
                  </a:lnTo>
                  <a:lnTo>
                    <a:pt x="23" y="111"/>
                  </a:lnTo>
                  <a:lnTo>
                    <a:pt x="23" y="111"/>
                  </a:lnTo>
                  <a:lnTo>
                    <a:pt x="23" y="113"/>
                  </a:lnTo>
                  <a:lnTo>
                    <a:pt x="21" y="116"/>
                  </a:lnTo>
                  <a:lnTo>
                    <a:pt x="21" y="118"/>
                  </a:lnTo>
                  <a:lnTo>
                    <a:pt x="21" y="118"/>
                  </a:lnTo>
                  <a:lnTo>
                    <a:pt x="19" y="120"/>
                  </a:lnTo>
                  <a:lnTo>
                    <a:pt x="19" y="120"/>
                  </a:lnTo>
                  <a:lnTo>
                    <a:pt x="19" y="123"/>
                  </a:lnTo>
                  <a:lnTo>
                    <a:pt x="19" y="125"/>
                  </a:lnTo>
                  <a:lnTo>
                    <a:pt x="19" y="130"/>
                  </a:lnTo>
                  <a:lnTo>
                    <a:pt x="19" y="134"/>
                  </a:lnTo>
                  <a:lnTo>
                    <a:pt x="21" y="134"/>
                  </a:lnTo>
                  <a:lnTo>
                    <a:pt x="23" y="134"/>
                  </a:lnTo>
                  <a:lnTo>
                    <a:pt x="26" y="132"/>
                  </a:lnTo>
                  <a:lnTo>
                    <a:pt x="28" y="130"/>
                  </a:lnTo>
                  <a:lnTo>
                    <a:pt x="30" y="130"/>
                  </a:lnTo>
                  <a:lnTo>
                    <a:pt x="33" y="127"/>
                  </a:lnTo>
                  <a:lnTo>
                    <a:pt x="37" y="127"/>
                  </a:lnTo>
                  <a:lnTo>
                    <a:pt x="47" y="123"/>
                  </a:lnTo>
                  <a:lnTo>
                    <a:pt x="49" y="120"/>
                  </a:lnTo>
                  <a:lnTo>
                    <a:pt x="56" y="120"/>
                  </a:lnTo>
                  <a:lnTo>
                    <a:pt x="66" y="118"/>
                  </a:lnTo>
                  <a:lnTo>
                    <a:pt x="66" y="118"/>
                  </a:lnTo>
                  <a:lnTo>
                    <a:pt x="63" y="118"/>
                  </a:lnTo>
                  <a:lnTo>
                    <a:pt x="61" y="118"/>
                  </a:lnTo>
                  <a:lnTo>
                    <a:pt x="61" y="118"/>
                  </a:lnTo>
                  <a:lnTo>
                    <a:pt x="61" y="118"/>
                  </a:lnTo>
                  <a:lnTo>
                    <a:pt x="66" y="118"/>
                  </a:lnTo>
                  <a:lnTo>
                    <a:pt x="68" y="118"/>
                  </a:lnTo>
                  <a:lnTo>
                    <a:pt x="68" y="118"/>
                  </a:lnTo>
                  <a:lnTo>
                    <a:pt x="73" y="118"/>
                  </a:lnTo>
                  <a:lnTo>
                    <a:pt x="85" y="116"/>
                  </a:lnTo>
                  <a:lnTo>
                    <a:pt x="85" y="116"/>
                  </a:lnTo>
                  <a:lnTo>
                    <a:pt x="85" y="116"/>
                  </a:lnTo>
                  <a:lnTo>
                    <a:pt x="75" y="116"/>
                  </a:lnTo>
                  <a:lnTo>
                    <a:pt x="75" y="116"/>
                  </a:lnTo>
                  <a:lnTo>
                    <a:pt x="80" y="116"/>
                  </a:lnTo>
                  <a:lnTo>
                    <a:pt x="85" y="116"/>
                  </a:lnTo>
                  <a:lnTo>
                    <a:pt x="87" y="116"/>
                  </a:lnTo>
                  <a:lnTo>
                    <a:pt x="89" y="116"/>
                  </a:lnTo>
                  <a:lnTo>
                    <a:pt x="99" y="118"/>
                  </a:lnTo>
                  <a:lnTo>
                    <a:pt x="99" y="118"/>
                  </a:lnTo>
                  <a:lnTo>
                    <a:pt x="101" y="113"/>
                  </a:lnTo>
                  <a:lnTo>
                    <a:pt x="101" y="113"/>
                  </a:lnTo>
                  <a:lnTo>
                    <a:pt x="101" y="113"/>
                  </a:lnTo>
                  <a:lnTo>
                    <a:pt x="101" y="118"/>
                  </a:lnTo>
                  <a:lnTo>
                    <a:pt x="103" y="118"/>
                  </a:lnTo>
                  <a:lnTo>
                    <a:pt x="103" y="118"/>
                  </a:lnTo>
                  <a:lnTo>
                    <a:pt x="103" y="118"/>
                  </a:lnTo>
                  <a:lnTo>
                    <a:pt x="106" y="118"/>
                  </a:lnTo>
                  <a:lnTo>
                    <a:pt x="106" y="118"/>
                  </a:lnTo>
                  <a:lnTo>
                    <a:pt x="108" y="118"/>
                  </a:lnTo>
                  <a:lnTo>
                    <a:pt x="108" y="118"/>
                  </a:lnTo>
                  <a:lnTo>
                    <a:pt x="108" y="116"/>
                  </a:lnTo>
                  <a:lnTo>
                    <a:pt x="108" y="113"/>
                  </a:lnTo>
                  <a:lnTo>
                    <a:pt x="108" y="113"/>
                  </a:lnTo>
                  <a:lnTo>
                    <a:pt x="108" y="113"/>
                  </a:lnTo>
                  <a:lnTo>
                    <a:pt x="108" y="108"/>
                  </a:lnTo>
                  <a:lnTo>
                    <a:pt x="108" y="108"/>
                  </a:lnTo>
                  <a:lnTo>
                    <a:pt x="106" y="108"/>
                  </a:lnTo>
                  <a:lnTo>
                    <a:pt x="106" y="106"/>
                  </a:lnTo>
                  <a:lnTo>
                    <a:pt x="103" y="106"/>
                  </a:lnTo>
                  <a:lnTo>
                    <a:pt x="103" y="104"/>
                  </a:lnTo>
                  <a:lnTo>
                    <a:pt x="103" y="101"/>
                  </a:lnTo>
                  <a:lnTo>
                    <a:pt x="103" y="99"/>
                  </a:lnTo>
                  <a:lnTo>
                    <a:pt x="101" y="92"/>
                  </a:lnTo>
                  <a:lnTo>
                    <a:pt x="101" y="92"/>
                  </a:lnTo>
                  <a:lnTo>
                    <a:pt x="101" y="90"/>
                  </a:lnTo>
                  <a:lnTo>
                    <a:pt x="101" y="87"/>
                  </a:lnTo>
                  <a:lnTo>
                    <a:pt x="101" y="85"/>
                  </a:lnTo>
                  <a:lnTo>
                    <a:pt x="101" y="85"/>
                  </a:lnTo>
                  <a:lnTo>
                    <a:pt x="101" y="82"/>
                  </a:lnTo>
                  <a:lnTo>
                    <a:pt x="101" y="80"/>
                  </a:lnTo>
                  <a:lnTo>
                    <a:pt x="103" y="78"/>
                  </a:lnTo>
                  <a:lnTo>
                    <a:pt x="103" y="75"/>
                  </a:lnTo>
                  <a:lnTo>
                    <a:pt x="106" y="75"/>
                  </a:lnTo>
                  <a:lnTo>
                    <a:pt x="106" y="73"/>
                  </a:lnTo>
                  <a:lnTo>
                    <a:pt x="106" y="68"/>
                  </a:lnTo>
                  <a:lnTo>
                    <a:pt x="106" y="64"/>
                  </a:lnTo>
                  <a:lnTo>
                    <a:pt x="108" y="64"/>
                  </a:lnTo>
                  <a:lnTo>
                    <a:pt x="108" y="61"/>
                  </a:lnTo>
                  <a:lnTo>
                    <a:pt x="108" y="61"/>
                  </a:lnTo>
                  <a:lnTo>
                    <a:pt x="108" y="59"/>
                  </a:lnTo>
                  <a:lnTo>
                    <a:pt x="110" y="56"/>
                  </a:lnTo>
                  <a:lnTo>
                    <a:pt x="113" y="56"/>
                  </a:lnTo>
                  <a:lnTo>
                    <a:pt x="113" y="56"/>
                  </a:lnTo>
                  <a:lnTo>
                    <a:pt x="113" y="56"/>
                  </a:lnTo>
                  <a:lnTo>
                    <a:pt x="113" y="54"/>
                  </a:lnTo>
                  <a:lnTo>
                    <a:pt x="113" y="54"/>
                  </a:lnTo>
                  <a:lnTo>
                    <a:pt x="113" y="54"/>
                  </a:lnTo>
                  <a:lnTo>
                    <a:pt x="115" y="54"/>
                  </a:lnTo>
                  <a:lnTo>
                    <a:pt x="113" y="4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9" name="Freeform 315"/>
            <p:cNvSpPr>
              <a:spLocks noEditPoints="1"/>
            </p:cNvSpPr>
            <p:nvPr userDrawn="1"/>
          </p:nvSpPr>
          <p:spPr bwMode="auto">
            <a:xfrm>
              <a:off x="3785" y="1817"/>
              <a:ext cx="200" cy="215"/>
            </a:xfrm>
            <a:custGeom>
              <a:avLst/>
              <a:gdLst>
                <a:gd name="T0" fmla="*/ 139 w 200"/>
                <a:gd name="T1" fmla="*/ 184 h 215"/>
                <a:gd name="T2" fmla="*/ 120 w 200"/>
                <a:gd name="T3" fmla="*/ 187 h 215"/>
                <a:gd name="T4" fmla="*/ 108 w 200"/>
                <a:gd name="T5" fmla="*/ 187 h 215"/>
                <a:gd name="T6" fmla="*/ 99 w 200"/>
                <a:gd name="T7" fmla="*/ 189 h 215"/>
                <a:gd name="T8" fmla="*/ 108 w 200"/>
                <a:gd name="T9" fmla="*/ 199 h 215"/>
                <a:gd name="T10" fmla="*/ 127 w 200"/>
                <a:gd name="T11" fmla="*/ 206 h 215"/>
                <a:gd name="T12" fmla="*/ 144 w 200"/>
                <a:gd name="T13" fmla="*/ 215 h 215"/>
                <a:gd name="T14" fmla="*/ 146 w 200"/>
                <a:gd name="T15" fmla="*/ 206 h 215"/>
                <a:gd name="T16" fmla="*/ 144 w 200"/>
                <a:gd name="T17" fmla="*/ 196 h 215"/>
                <a:gd name="T18" fmla="*/ 151 w 200"/>
                <a:gd name="T19" fmla="*/ 182 h 215"/>
                <a:gd name="T20" fmla="*/ 49 w 200"/>
                <a:gd name="T21" fmla="*/ 130 h 215"/>
                <a:gd name="T22" fmla="*/ 47 w 200"/>
                <a:gd name="T23" fmla="*/ 123 h 215"/>
                <a:gd name="T24" fmla="*/ 35 w 200"/>
                <a:gd name="T25" fmla="*/ 128 h 215"/>
                <a:gd name="T26" fmla="*/ 23 w 200"/>
                <a:gd name="T27" fmla="*/ 130 h 215"/>
                <a:gd name="T28" fmla="*/ 28 w 200"/>
                <a:gd name="T29" fmla="*/ 144 h 215"/>
                <a:gd name="T30" fmla="*/ 28 w 200"/>
                <a:gd name="T31" fmla="*/ 151 h 215"/>
                <a:gd name="T32" fmla="*/ 31 w 200"/>
                <a:gd name="T33" fmla="*/ 165 h 215"/>
                <a:gd name="T34" fmla="*/ 40 w 200"/>
                <a:gd name="T35" fmla="*/ 161 h 215"/>
                <a:gd name="T36" fmla="*/ 49 w 200"/>
                <a:gd name="T37" fmla="*/ 147 h 215"/>
                <a:gd name="T38" fmla="*/ 49 w 200"/>
                <a:gd name="T39" fmla="*/ 130 h 215"/>
                <a:gd name="T40" fmla="*/ 158 w 200"/>
                <a:gd name="T41" fmla="*/ 116 h 215"/>
                <a:gd name="T42" fmla="*/ 146 w 200"/>
                <a:gd name="T43" fmla="*/ 106 h 215"/>
                <a:gd name="T44" fmla="*/ 115 w 200"/>
                <a:gd name="T45" fmla="*/ 73 h 215"/>
                <a:gd name="T46" fmla="*/ 94 w 200"/>
                <a:gd name="T47" fmla="*/ 47 h 215"/>
                <a:gd name="T48" fmla="*/ 94 w 200"/>
                <a:gd name="T49" fmla="*/ 35 h 215"/>
                <a:gd name="T50" fmla="*/ 104 w 200"/>
                <a:gd name="T51" fmla="*/ 31 h 215"/>
                <a:gd name="T52" fmla="*/ 118 w 200"/>
                <a:gd name="T53" fmla="*/ 31 h 215"/>
                <a:gd name="T54" fmla="*/ 115 w 200"/>
                <a:gd name="T55" fmla="*/ 24 h 215"/>
                <a:gd name="T56" fmla="*/ 115 w 200"/>
                <a:gd name="T57" fmla="*/ 19 h 215"/>
                <a:gd name="T58" fmla="*/ 115 w 200"/>
                <a:gd name="T59" fmla="*/ 14 h 215"/>
                <a:gd name="T60" fmla="*/ 99 w 200"/>
                <a:gd name="T61" fmla="*/ 9 h 215"/>
                <a:gd name="T62" fmla="*/ 92 w 200"/>
                <a:gd name="T63" fmla="*/ 0 h 215"/>
                <a:gd name="T64" fmla="*/ 75 w 200"/>
                <a:gd name="T65" fmla="*/ 2 h 215"/>
                <a:gd name="T66" fmla="*/ 64 w 200"/>
                <a:gd name="T67" fmla="*/ 5 h 215"/>
                <a:gd name="T68" fmla="*/ 59 w 200"/>
                <a:gd name="T69" fmla="*/ 9 h 215"/>
                <a:gd name="T70" fmla="*/ 59 w 200"/>
                <a:gd name="T71" fmla="*/ 17 h 215"/>
                <a:gd name="T72" fmla="*/ 49 w 200"/>
                <a:gd name="T73" fmla="*/ 17 h 215"/>
                <a:gd name="T74" fmla="*/ 42 w 200"/>
                <a:gd name="T75" fmla="*/ 17 h 215"/>
                <a:gd name="T76" fmla="*/ 38 w 200"/>
                <a:gd name="T77" fmla="*/ 26 h 215"/>
                <a:gd name="T78" fmla="*/ 31 w 200"/>
                <a:gd name="T79" fmla="*/ 17 h 215"/>
                <a:gd name="T80" fmla="*/ 26 w 200"/>
                <a:gd name="T81" fmla="*/ 19 h 215"/>
                <a:gd name="T82" fmla="*/ 12 w 200"/>
                <a:gd name="T83" fmla="*/ 24 h 215"/>
                <a:gd name="T84" fmla="*/ 5 w 200"/>
                <a:gd name="T85" fmla="*/ 28 h 215"/>
                <a:gd name="T86" fmla="*/ 5 w 200"/>
                <a:gd name="T87" fmla="*/ 38 h 215"/>
                <a:gd name="T88" fmla="*/ 2 w 200"/>
                <a:gd name="T89" fmla="*/ 47 h 215"/>
                <a:gd name="T90" fmla="*/ 2 w 200"/>
                <a:gd name="T91" fmla="*/ 52 h 215"/>
                <a:gd name="T92" fmla="*/ 12 w 200"/>
                <a:gd name="T93" fmla="*/ 61 h 215"/>
                <a:gd name="T94" fmla="*/ 14 w 200"/>
                <a:gd name="T95" fmla="*/ 69 h 215"/>
                <a:gd name="T96" fmla="*/ 42 w 200"/>
                <a:gd name="T97" fmla="*/ 57 h 215"/>
                <a:gd name="T98" fmla="*/ 64 w 200"/>
                <a:gd name="T99" fmla="*/ 83 h 215"/>
                <a:gd name="T100" fmla="*/ 71 w 200"/>
                <a:gd name="T101" fmla="*/ 90 h 215"/>
                <a:gd name="T102" fmla="*/ 80 w 200"/>
                <a:gd name="T103" fmla="*/ 97 h 215"/>
                <a:gd name="T104" fmla="*/ 108 w 200"/>
                <a:gd name="T105" fmla="*/ 121 h 215"/>
                <a:gd name="T106" fmla="*/ 125 w 200"/>
                <a:gd name="T107" fmla="*/ 130 h 215"/>
                <a:gd name="T108" fmla="*/ 132 w 200"/>
                <a:gd name="T109" fmla="*/ 132 h 215"/>
                <a:gd name="T110" fmla="*/ 139 w 200"/>
                <a:gd name="T111" fmla="*/ 142 h 215"/>
                <a:gd name="T112" fmla="*/ 160 w 200"/>
                <a:gd name="T113" fmla="*/ 163 h 215"/>
                <a:gd name="T114" fmla="*/ 155 w 200"/>
                <a:gd name="T115" fmla="*/ 182 h 215"/>
                <a:gd name="T116" fmla="*/ 167 w 200"/>
                <a:gd name="T117" fmla="*/ 180 h 215"/>
                <a:gd name="T118" fmla="*/ 177 w 200"/>
                <a:gd name="T119" fmla="*/ 158 h 215"/>
                <a:gd name="T120" fmla="*/ 174 w 200"/>
                <a:gd name="T121" fmla="*/ 137 h 215"/>
                <a:gd name="T122" fmla="*/ 196 w 200"/>
                <a:gd name="T123" fmla="*/ 149 h 215"/>
                <a:gd name="T124" fmla="*/ 97 w 200"/>
                <a:gd name="T125" fmla="*/ 6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15">
                  <a:moveTo>
                    <a:pt x="151" y="182"/>
                  </a:moveTo>
                  <a:lnTo>
                    <a:pt x="148" y="182"/>
                  </a:lnTo>
                  <a:lnTo>
                    <a:pt x="146" y="182"/>
                  </a:lnTo>
                  <a:lnTo>
                    <a:pt x="146" y="182"/>
                  </a:lnTo>
                  <a:lnTo>
                    <a:pt x="144" y="184"/>
                  </a:lnTo>
                  <a:lnTo>
                    <a:pt x="144" y="184"/>
                  </a:lnTo>
                  <a:lnTo>
                    <a:pt x="141" y="184"/>
                  </a:lnTo>
                  <a:lnTo>
                    <a:pt x="139" y="184"/>
                  </a:lnTo>
                  <a:lnTo>
                    <a:pt x="139" y="184"/>
                  </a:lnTo>
                  <a:lnTo>
                    <a:pt x="137" y="184"/>
                  </a:lnTo>
                  <a:lnTo>
                    <a:pt x="134" y="187"/>
                  </a:lnTo>
                  <a:lnTo>
                    <a:pt x="132" y="187"/>
                  </a:lnTo>
                  <a:lnTo>
                    <a:pt x="132" y="187"/>
                  </a:lnTo>
                  <a:lnTo>
                    <a:pt x="130" y="187"/>
                  </a:lnTo>
                  <a:lnTo>
                    <a:pt x="125" y="187"/>
                  </a:lnTo>
                  <a:lnTo>
                    <a:pt x="122" y="187"/>
                  </a:lnTo>
                  <a:lnTo>
                    <a:pt x="120" y="187"/>
                  </a:lnTo>
                  <a:lnTo>
                    <a:pt x="120" y="187"/>
                  </a:lnTo>
                  <a:lnTo>
                    <a:pt x="118" y="187"/>
                  </a:lnTo>
                  <a:lnTo>
                    <a:pt x="115" y="184"/>
                  </a:lnTo>
                  <a:lnTo>
                    <a:pt x="115" y="184"/>
                  </a:lnTo>
                  <a:lnTo>
                    <a:pt x="113" y="184"/>
                  </a:lnTo>
                  <a:lnTo>
                    <a:pt x="113" y="184"/>
                  </a:lnTo>
                  <a:lnTo>
                    <a:pt x="113" y="184"/>
                  </a:lnTo>
                  <a:lnTo>
                    <a:pt x="111" y="184"/>
                  </a:lnTo>
                  <a:lnTo>
                    <a:pt x="108" y="184"/>
                  </a:lnTo>
                  <a:lnTo>
                    <a:pt x="108" y="187"/>
                  </a:lnTo>
                  <a:lnTo>
                    <a:pt x="106" y="187"/>
                  </a:lnTo>
                  <a:lnTo>
                    <a:pt x="106" y="187"/>
                  </a:lnTo>
                  <a:lnTo>
                    <a:pt x="104" y="187"/>
                  </a:lnTo>
                  <a:lnTo>
                    <a:pt x="101" y="184"/>
                  </a:lnTo>
                  <a:lnTo>
                    <a:pt x="101" y="184"/>
                  </a:lnTo>
                  <a:lnTo>
                    <a:pt x="101" y="184"/>
                  </a:lnTo>
                  <a:lnTo>
                    <a:pt x="99" y="187"/>
                  </a:lnTo>
                  <a:lnTo>
                    <a:pt x="99" y="187"/>
                  </a:lnTo>
                  <a:lnTo>
                    <a:pt x="99" y="189"/>
                  </a:lnTo>
                  <a:lnTo>
                    <a:pt x="97" y="191"/>
                  </a:lnTo>
                  <a:lnTo>
                    <a:pt x="97" y="191"/>
                  </a:lnTo>
                  <a:lnTo>
                    <a:pt x="99" y="194"/>
                  </a:lnTo>
                  <a:lnTo>
                    <a:pt x="101" y="196"/>
                  </a:lnTo>
                  <a:lnTo>
                    <a:pt x="101" y="196"/>
                  </a:lnTo>
                  <a:lnTo>
                    <a:pt x="104" y="196"/>
                  </a:lnTo>
                  <a:lnTo>
                    <a:pt x="104" y="196"/>
                  </a:lnTo>
                  <a:lnTo>
                    <a:pt x="106" y="196"/>
                  </a:lnTo>
                  <a:lnTo>
                    <a:pt x="108" y="199"/>
                  </a:lnTo>
                  <a:lnTo>
                    <a:pt x="111" y="199"/>
                  </a:lnTo>
                  <a:lnTo>
                    <a:pt x="111" y="199"/>
                  </a:lnTo>
                  <a:lnTo>
                    <a:pt x="111" y="201"/>
                  </a:lnTo>
                  <a:lnTo>
                    <a:pt x="113" y="201"/>
                  </a:lnTo>
                  <a:lnTo>
                    <a:pt x="118" y="203"/>
                  </a:lnTo>
                  <a:lnTo>
                    <a:pt x="120" y="206"/>
                  </a:lnTo>
                  <a:lnTo>
                    <a:pt x="122" y="206"/>
                  </a:lnTo>
                  <a:lnTo>
                    <a:pt x="125" y="206"/>
                  </a:lnTo>
                  <a:lnTo>
                    <a:pt x="127" y="206"/>
                  </a:lnTo>
                  <a:lnTo>
                    <a:pt x="130" y="208"/>
                  </a:lnTo>
                  <a:lnTo>
                    <a:pt x="132" y="210"/>
                  </a:lnTo>
                  <a:lnTo>
                    <a:pt x="134" y="213"/>
                  </a:lnTo>
                  <a:lnTo>
                    <a:pt x="134" y="213"/>
                  </a:lnTo>
                  <a:lnTo>
                    <a:pt x="134" y="213"/>
                  </a:lnTo>
                  <a:lnTo>
                    <a:pt x="139" y="215"/>
                  </a:lnTo>
                  <a:lnTo>
                    <a:pt x="139" y="215"/>
                  </a:lnTo>
                  <a:lnTo>
                    <a:pt x="141" y="215"/>
                  </a:lnTo>
                  <a:lnTo>
                    <a:pt x="144" y="215"/>
                  </a:lnTo>
                  <a:lnTo>
                    <a:pt x="144" y="215"/>
                  </a:lnTo>
                  <a:lnTo>
                    <a:pt x="144" y="213"/>
                  </a:lnTo>
                  <a:lnTo>
                    <a:pt x="144" y="213"/>
                  </a:lnTo>
                  <a:lnTo>
                    <a:pt x="144" y="210"/>
                  </a:lnTo>
                  <a:lnTo>
                    <a:pt x="146" y="210"/>
                  </a:lnTo>
                  <a:lnTo>
                    <a:pt x="146" y="208"/>
                  </a:lnTo>
                  <a:lnTo>
                    <a:pt x="146" y="208"/>
                  </a:lnTo>
                  <a:lnTo>
                    <a:pt x="146" y="206"/>
                  </a:lnTo>
                  <a:lnTo>
                    <a:pt x="146" y="206"/>
                  </a:lnTo>
                  <a:lnTo>
                    <a:pt x="144" y="203"/>
                  </a:lnTo>
                  <a:lnTo>
                    <a:pt x="146" y="203"/>
                  </a:lnTo>
                  <a:lnTo>
                    <a:pt x="146" y="203"/>
                  </a:lnTo>
                  <a:lnTo>
                    <a:pt x="144" y="203"/>
                  </a:lnTo>
                  <a:lnTo>
                    <a:pt x="144" y="201"/>
                  </a:lnTo>
                  <a:lnTo>
                    <a:pt x="144" y="201"/>
                  </a:lnTo>
                  <a:lnTo>
                    <a:pt x="144" y="199"/>
                  </a:lnTo>
                  <a:lnTo>
                    <a:pt x="144" y="199"/>
                  </a:lnTo>
                  <a:lnTo>
                    <a:pt x="144" y="196"/>
                  </a:lnTo>
                  <a:lnTo>
                    <a:pt x="146" y="194"/>
                  </a:lnTo>
                  <a:lnTo>
                    <a:pt x="146" y="194"/>
                  </a:lnTo>
                  <a:lnTo>
                    <a:pt x="146" y="191"/>
                  </a:lnTo>
                  <a:lnTo>
                    <a:pt x="151" y="187"/>
                  </a:lnTo>
                  <a:lnTo>
                    <a:pt x="151" y="184"/>
                  </a:lnTo>
                  <a:lnTo>
                    <a:pt x="151" y="182"/>
                  </a:lnTo>
                  <a:lnTo>
                    <a:pt x="153" y="182"/>
                  </a:lnTo>
                  <a:lnTo>
                    <a:pt x="151" y="182"/>
                  </a:lnTo>
                  <a:lnTo>
                    <a:pt x="151" y="182"/>
                  </a:lnTo>
                  <a:close/>
                  <a:moveTo>
                    <a:pt x="122" y="132"/>
                  </a:moveTo>
                  <a:lnTo>
                    <a:pt x="122" y="132"/>
                  </a:lnTo>
                  <a:lnTo>
                    <a:pt x="122" y="132"/>
                  </a:lnTo>
                  <a:lnTo>
                    <a:pt x="122" y="130"/>
                  </a:lnTo>
                  <a:lnTo>
                    <a:pt x="120" y="132"/>
                  </a:lnTo>
                  <a:lnTo>
                    <a:pt x="120" y="132"/>
                  </a:lnTo>
                  <a:lnTo>
                    <a:pt x="122" y="132"/>
                  </a:lnTo>
                  <a:lnTo>
                    <a:pt x="122" y="132"/>
                  </a:lnTo>
                  <a:close/>
                  <a:moveTo>
                    <a:pt x="49" y="130"/>
                  </a:moveTo>
                  <a:lnTo>
                    <a:pt x="49" y="128"/>
                  </a:lnTo>
                  <a:lnTo>
                    <a:pt x="47" y="128"/>
                  </a:lnTo>
                  <a:lnTo>
                    <a:pt x="47" y="128"/>
                  </a:lnTo>
                  <a:lnTo>
                    <a:pt x="49" y="125"/>
                  </a:lnTo>
                  <a:lnTo>
                    <a:pt x="49" y="125"/>
                  </a:lnTo>
                  <a:lnTo>
                    <a:pt x="49" y="125"/>
                  </a:lnTo>
                  <a:lnTo>
                    <a:pt x="47" y="125"/>
                  </a:lnTo>
                  <a:lnTo>
                    <a:pt x="47" y="125"/>
                  </a:lnTo>
                  <a:lnTo>
                    <a:pt x="47" y="123"/>
                  </a:lnTo>
                  <a:lnTo>
                    <a:pt x="47" y="123"/>
                  </a:lnTo>
                  <a:lnTo>
                    <a:pt x="45" y="123"/>
                  </a:lnTo>
                  <a:lnTo>
                    <a:pt x="42" y="121"/>
                  </a:lnTo>
                  <a:lnTo>
                    <a:pt x="42" y="121"/>
                  </a:lnTo>
                  <a:lnTo>
                    <a:pt x="42" y="121"/>
                  </a:lnTo>
                  <a:lnTo>
                    <a:pt x="40" y="123"/>
                  </a:lnTo>
                  <a:lnTo>
                    <a:pt x="40" y="123"/>
                  </a:lnTo>
                  <a:lnTo>
                    <a:pt x="38" y="123"/>
                  </a:lnTo>
                  <a:lnTo>
                    <a:pt x="35" y="128"/>
                  </a:lnTo>
                  <a:lnTo>
                    <a:pt x="33" y="128"/>
                  </a:lnTo>
                  <a:lnTo>
                    <a:pt x="31" y="130"/>
                  </a:lnTo>
                  <a:lnTo>
                    <a:pt x="28" y="130"/>
                  </a:lnTo>
                  <a:lnTo>
                    <a:pt x="28" y="130"/>
                  </a:lnTo>
                  <a:lnTo>
                    <a:pt x="26" y="128"/>
                  </a:lnTo>
                  <a:lnTo>
                    <a:pt x="26" y="128"/>
                  </a:lnTo>
                  <a:lnTo>
                    <a:pt x="26" y="128"/>
                  </a:lnTo>
                  <a:lnTo>
                    <a:pt x="23" y="128"/>
                  </a:lnTo>
                  <a:lnTo>
                    <a:pt x="23" y="130"/>
                  </a:lnTo>
                  <a:lnTo>
                    <a:pt x="23" y="132"/>
                  </a:lnTo>
                  <a:lnTo>
                    <a:pt x="26" y="135"/>
                  </a:lnTo>
                  <a:lnTo>
                    <a:pt x="26" y="135"/>
                  </a:lnTo>
                  <a:lnTo>
                    <a:pt x="28" y="137"/>
                  </a:lnTo>
                  <a:lnTo>
                    <a:pt x="28" y="137"/>
                  </a:lnTo>
                  <a:lnTo>
                    <a:pt x="28" y="139"/>
                  </a:lnTo>
                  <a:lnTo>
                    <a:pt x="28" y="139"/>
                  </a:lnTo>
                  <a:lnTo>
                    <a:pt x="28" y="144"/>
                  </a:lnTo>
                  <a:lnTo>
                    <a:pt x="28" y="144"/>
                  </a:lnTo>
                  <a:lnTo>
                    <a:pt x="28" y="147"/>
                  </a:lnTo>
                  <a:lnTo>
                    <a:pt x="28" y="147"/>
                  </a:lnTo>
                  <a:lnTo>
                    <a:pt x="28" y="147"/>
                  </a:lnTo>
                  <a:lnTo>
                    <a:pt x="31" y="147"/>
                  </a:lnTo>
                  <a:lnTo>
                    <a:pt x="31" y="149"/>
                  </a:lnTo>
                  <a:lnTo>
                    <a:pt x="31" y="149"/>
                  </a:lnTo>
                  <a:lnTo>
                    <a:pt x="31" y="151"/>
                  </a:lnTo>
                  <a:lnTo>
                    <a:pt x="31" y="151"/>
                  </a:lnTo>
                  <a:lnTo>
                    <a:pt x="28" y="151"/>
                  </a:lnTo>
                  <a:lnTo>
                    <a:pt x="28" y="151"/>
                  </a:lnTo>
                  <a:lnTo>
                    <a:pt x="28" y="151"/>
                  </a:lnTo>
                  <a:lnTo>
                    <a:pt x="28" y="154"/>
                  </a:lnTo>
                  <a:lnTo>
                    <a:pt x="28" y="156"/>
                  </a:lnTo>
                  <a:lnTo>
                    <a:pt x="28" y="156"/>
                  </a:lnTo>
                  <a:lnTo>
                    <a:pt x="28" y="161"/>
                  </a:lnTo>
                  <a:lnTo>
                    <a:pt x="28" y="161"/>
                  </a:lnTo>
                  <a:lnTo>
                    <a:pt x="28" y="163"/>
                  </a:lnTo>
                  <a:lnTo>
                    <a:pt x="31" y="165"/>
                  </a:lnTo>
                  <a:lnTo>
                    <a:pt x="31" y="168"/>
                  </a:lnTo>
                  <a:lnTo>
                    <a:pt x="33" y="168"/>
                  </a:lnTo>
                  <a:lnTo>
                    <a:pt x="33" y="168"/>
                  </a:lnTo>
                  <a:lnTo>
                    <a:pt x="35" y="168"/>
                  </a:lnTo>
                  <a:lnTo>
                    <a:pt x="35" y="168"/>
                  </a:lnTo>
                  <a:lnTo>
                    <a:pt x="38" y="168"/>
                  </a:lnTo>
                  <a:lnTo>
                    <a:pt x="38" y="165"/>
                  </a:lnTo>
                  <a:lnTo>
                    <a:pt x="40" y="161"/>
                  </a:lnTo>
                  <a:lnTo>
                    <a:pt x="40" y="161"/>
                  </a:lnTo>
                  <a:lnTo>
                    <a:pt x="40" y="161"/>
                  </a:lnTo>
                  <a:lnTo>
                    <a:pt x="42" y="161"/>
                  </a:lnTo>
                  <a:lnTo>
                    <a:pt x="42" y="161"/>
                  </a:lnTo>
                  <a:lnTo>
                    <a:pt x="45" y="163"/>
                  </a:lnTo>
                  <a:lnTo>
                    <a:pt x="47" y="163"/>
                  </a:lnTo>
                  <a:lnTo>
                    <a:pt x="47" y="163"/>
                  </a:lnTo>
                  <a:lnTo>
                    <a:pt x="47" y="161"/>
                  </a:lnTo>
                  <a:lnTo>
                    <a:pt x="49" y="158"/>
                  </a:lnTo>
                  <a:lnTo>
                    <a:pt x="49" y="147"/>
                  </a:lnTo>
                  <a:lnTo>
                    <a:pt x="49" y="147"/>
                  </a:lnTo>
                  <a:lnTo>
                    <a:pt x="49" y="144"/>
                  </a:lnTo>
                  <a:lnTo>
                    <a:pt x="49" y="144"/>
                  </a:lnTo>
                  <a:lnTo>
                    <a:pt x="49" y="142"/>
                  </a:lnTo>
                  <a:lnTo>
                    <a:pt x="52" y="139"/>
                  </a:lnTo>
                  <a:lnTo>
                    <a:pt x="52" y="137"/>
                  </a:lnTo>
                  <a:lnTo>
                    <a:pt x="52" y="137"/>
                  </a:lnTo>
                  <a:lnTo>
                    <a:pt x="52" y="135"/>
                  </a:lnTo>
                  <a:lnTo>
                    <a:pt x="49" y="130"/>
                  </a:lnTo>
                  <a:close/>
                  <a:moveTo>
                    <a:pt x="200" y="142"/>
                  </a:moveTo>
                  <a:lnTo>
                    <a:pt x="198" y="139"/>
                  </a:lnTo>
                  <a:lnTo>
                    <a:pt x="193" y="135"/>
                  </a:lnTo>
                  <a:lnTo>
                    <a:pt x="191" y="132"/>
                  </a:lnTo>
                  <a:lnTo>
                    <a:pt x="184" y="130"/>
                  </a:lnTo>
                  <a:lnTo>
                    <a:pt x="179" y="125"/>
                  </a:lnTo>
                  <a:lnTo>
                    <a:pt x="177" y="125"/>
                  </a:lnTo>
                  <a:lnTo>
                    <a:pt x="167" y="121"/>
                  </a:lnTo>
                  <a:lnTo>
                    <a:pt x="158" y="116"/>
                  </a:lnTo>
                  <a:lnTo>
                    <a:pt x="155" y="116"/>
                  </a:lnTo>
                  <a:lnTo>
                    <a:pt x="155" y="113"/>
                  </a:lnTo>
                  <a:lnTo>
                    <a:pt x="158" y="111"/>
                  </a:lnTo>
                  <a:lnTo>
                    <a:pt x="160" y="111"/>
                  </a:lnTo>
                  <a:lnTo>
                    <a:pt x="160" y="109"/>
                  </a:lnTo>
                  <a:lnTo>
                    <a:pt x="160" y="106"/>
                  </a:lnTo>
                  <a:lnTo>
                    <a:pt x="158" y="106"/>
                  </a:lnTo>
                  <a:lnTo>
                    <a:pt x="155" y="106"/>
                  </a:lnTo>
                  <a:lnTo>
                    <a:pt x="146" y="106"/>
                  </a:lnTo>
                  <a:lnTo>
                    <a:pt x="144" y="106"/>
                  </a:lnTo>
                  <a:lnTo>
                    <a:pt x="139" y="104"/>
                  </a:lnTo>
                  <a:lnTo>
                    <a:pt x="132" y="99"/>
                  </a:lnTo>
                  <a:lnTo>
                    <a:pt x="127" y="95"/>
                  </a:lnTo>
                  <a:lnTo>
                    <a:pt x="122" y="92"/>
                  </a:lnTo>
                  <a:lnTo>
                    <a:pt x="122" y="87"/>
                  </a:lnTo>
                  <a:lnTo>
                    <a:pt x="120" y="80"/>
                  </a:lnTo>
                  <a:lnTo>
                    <a:pt x="118" y="78"/>
                  </a:lnTo>
                  <a:lnTo>
                    <a:pt x="115" y="73"/>
                  </a:lnTo>
                  <a:lnTo>
                    <a:pt x="115" y="73"/>
                  </a:lnTo>
                  <a:lnTo>
                    <a:pt x="111" y="71"/>
                  </a:lnTo>
                  <a:lnTo>
                    <a:pt x="104" y="66"/>
                  </a:lnTo>
                  <a:lnTo>
                    <a:pt x="101" y="64"/>
                  </a:lnTo>
                  <a:lnTo>
                    <a:pt x="97" y="61"/>
                  </a:lnTo>
                  <a:lnTo>
                    <a:pt x="97" y="59"/>
                  </a:lnTo>
                  <a:lnTo>
                    <a:pt x="94" y="57"/>
                  </a:lnTo>
                  <a:lnTo>
                    <a:pt x="94" y="50"/>
                  </a:lnTo>
                  <a:lnTo>
                    <a:pt x="94" y="47"/>
                  </a:lnTo>
                  <a:lnTo>
                    <a:pt x="94" y="47"/>
                  </a:lnTo>
                  <a:lnTo>
                    <a:pt x="97" y="47"/>
                  </a:lnTo>
                  <a:lnTo>
                    <a:pt x="97" y="47"/>
                  </a:lnTo>
                  <a:lnTo>
                    <a:pt x="97" y="45"/>
                  </a:lnTo>
                  <a:lnTo>
                    <a:pt x="97" y="45"/>
                  </a:lnTo>
                  <a:lnTo>
                    <a:pt x="97" y="43"/>
                  </a:lnTo>
                  <a:lnTo>
                    <a:pt x="94" y="38"/>
                  </a:lnTo>
                  <a:lnTo>
                    <a:pt x="92" y="38"/>
                  </a:lnTo>
                  <a:lnTo>
                    <a:pt x="94" y="35"/>
                  </a:lnTo>
                  <a:lnTo>
                    <a:pt x="94" y="33"/>
                  </a:lnTo>
                  <a:lnTo>
                    <a:pt x="94" y="33"/>
                  </a:lnTo>
                  <a:lnTo>
                    <a:pt x="97" y="31"/>
                  </a:lnTo>
                  <a:lnTo>
                    <a:pt x="99" y="31"/>
                  </a:lnTo>
                  <a:lnTo>
                    <a:pt x="97" y="33"/>
                  </a:lnTo>
                  <a:lnTo>
                    <a:pt x="97" y="33"/>
                  </a:lnTo>
                  <a:lnTo>
                    <a:pt x="99" y="33"/>
                  </a:lnTo>
                  <a:lnTo>
                    <a:pt x="101" y="31"/>
                  </a:lnTo>
                  <a:lnTo>
                    <a:pt x="104" y="31"/>
                  </a:lnTo>
                  <a:lnTo>
                    <a:pt x="106" y="28"/>
                  </a:lnTo>
                  <a:lnTo>
                    <a:pt x="108" y="28"/>
                  </a:lnTo>
                  <a:lnTo>
                    <a:pt x="108" y="26"/>
                  </a:lnTo>
                  <a:lnTo>
                    <a:pt x="108" y="26"/>
                  </a:lnTo>
                  <a:lnTo>
                    <a:pt x="113" y="28"/>
                  </a:lnTo>
                  <a:lnTo>
                    <a:pt x="115" y="26"/>
                  </a:lnTo>
                  <a:lnTo>
                    <a:pt x="115" y="26"/>
                  </a:lnTo>
                  <a:lnTo>
                    <a:pt x="118" y="28"/>
                  </a:lnTo>
                  <a:lnTo>
                    <a:pt x="118" y="31"/>
                  </a:lnTo>
                  <a:lnTo>
                    <a:pt x="118" y="31"/>
                  </a:lnTo>
                  <a:lnTo>
                    <a:pt x="120" y="31"/>
                  </a:lnTo>
                  <a:lnTo>
                    <a:pt x="120" y="31"/>
                  </a:lnTo>
                  <a:lnTo>
                    <a:pt x="120" y="28"/>
                  </a:lnTo>
                  <a:lnTo>
                    <a:pt x="118" y="26"/>
                  </a:lnTo>
                  <a:lnTo>
                    <a:pt x="115" y="26"/>
                  </a:lnTo>
                  <a:lnTo>
                    <a:pt x="115" y="26"/>
                  </a:lnTo>
                  <a:lnTo>
                    <a:pt x="115" y="26"/>
                  </a:lnTo>
                  <a:lnTo>
                    <a:pt x="115" y="24"/>
                  </a:lnTo>
                  <a:lnTo>
                    <a:pt x="115" y="21"/>
                  </a:lnTo>
                  <a:lnTo>
                    <a:pt x="113" y="21"/>
                  </a:lnTo>
                  <a:lnTo>
                    <a:pt x="113" y="21"/>
                  </a:lnTo>
                  <a:lnTo>
                    <a:pt x="113" y="21"/>
                  </a:lnTo>
                  <a:lnTo>
                    <a:pt x="113" y="21"/>
                  </a:lnTo>
                  <a:lnTo>
                    <a:pt x="115" y="19"/>
                  </a:lnTo>
                  <a:lnTo>
                    <a:pt x="115" y="19"/>
                  </a:lnTo>
                  <a:lnTo>
                    <a:pt x="115" y="19"/>
                  </a:lnTo>
                  <a:lnTo>
                    <a:pt x="115" y="19"/>
                  </a:lnTo>
                  <a:lnTo>
                    <a:pt x="115" y="19"/>
                  </a:lnTo>
                  <a:lnTo>
                    <a:pt x="113" y="17"/>
                  </a:lnTo>
                  <a:lnTo>
                    <a:pt x="113" y="17"/>
                  </a:lnTo>
                  <a:lnTo>
                    <a:pt x="113" y="17"/>
                  </a:lnTo>
                  <a:lnTo>
                    <a:pt x="113" y="17"/>
                  </a:lnTo>
                  <a:lnTo>
                    <a:pt x="111" y="17"/>
                  </a:lnTo>
                  <a:lnTo>
                    <a:pt x="113" y="14"/>
                  </a:lnTo>
                  <a:lnTo>
                    <a:pt x="113" y="14"/>
                  </a:lnTo>
                  <a:lnTo>
                    <a:pt x="115" y="14"/>
                  </a:lnTo>
                  <a:lnTo>
                    <a:pt x="115" y="12"/>
                  </a:lnTo>
                  <a:lnTo>
                    <a:pt x="115" y="12"/>
                  </a:lnTo>
                  <a:lnTo>
                    <a:pt x="118" y="12"/>
                  </a:lnTo>
                  <a:lnTo>
                    <a:pt x="113" y="9"/>
                  </a:lnTo>
                  <a:lnTo>
                    <a:pt x="111" y="9"/>
                  </a:lnTo>
                  <a:lnTo>
                    <a:pt x="108" y="9"/>
                  </a:lnTo>
                  <a:lnTo>
                    <a:pt x="101" y="9"/>
                  </a:lnTo>
                  <a:lnTo>
                    <a:pt x="101" y="9"/>
                  </a:lnTo>
                  <a:lnTo>
                    <a:pt x="99" y="9"/>
                  </a:lnTo>
                  <a:lnTo>
                    <a:pt x="97" y="7"/>
                  </a:lnTo>
                  <a:lnTo>
                    <a:pt x="94" y="7"/>
                  </a:lnTo>
                  <a:lnTo>
                    <a:pt x="94" y="7"/>
                  </a:lnTo>
                  <a:lnTo>
                    <a:pt x="94" y="5"/>
                  </a:lnTo>
                  <a:lnTo>
                    <a:pt x="92" y="2"/>
                  </a:lnTo>
                  <a:lnTo>
                    <a:pt x="92" y="2"/>
                  </a:lnTo>
                  <a:lnTo>
                    <a:pt x="92" y="0"/>
                  </a:lnTo>
                  <a:lnTo>
                    <a:pt x="92" y="0"/>
                  </a:lnTo>
                  <a:lnTo>
                    <a:pt x="92" y="0"/>
                  </a:lnTo>
                  <a:lnTo>
                    <a:pt x="92" y="0"/>
                  </a:lnTo>
                  <a:lnTo>
                    <a:pt x="87" y="0"/>
                  </a:lnTo>
                  <a:lnTo>
                    <a:pt x="85" y="2"/>
                  </a:lnTo>
                  <a:lnTo>
                    <a:pt x="85" y="2"/>
                  </a:lnTo>
                  <a:lnTo>
                    <a:pt x="82" y="2"/>
                  </a:lnTo>
                  <a:lnTo>
                    <a:pt x="80" y="2"/>
                  </a:lnTo>
                  <a:lnTo>
                    <a:pt x="80" y="2"/>
                  </a:lnTo>
                  <a:lnTo>
                    <a:pt x="75" y="2"/>
                  </a:lnTo>
                  <a:lnTo>
                    <a:pt x="75" y="2"/>
                  </a:lnTo>
                  <a:lnTo>
                    <a:pt x="73" y="5"/>
                  </a:lnTo>
                  <a:lnTo>
                    <a:pt x="73" y="5"/>
                  </a:lnTo>
                  <a:lnTo>
                    <a:pt x="73" y="5"/>
                  </a:lnTo>
                  <a:lnTo>
                    <a:pt x="71" y="7"/>
                  </a:lnTo>
                  <a:lnTo>
                    <a:pt x="71" y="5"/>
                  </a:lnTo>
                  <a:lnTo>
                    <a:pt x="68" y="5"/>
                  </a:lnTo>
                  <a:lnTo>
                    <a:pt x="68" y="5"/>
                  </a:lnTo>
                  <a:lnTo>
                    <a:pt x="66" y="5"/>
                  </a:lnTo>
                  <a:lnTo>
                    <a:pt x="64" y="5"/>
                  </a:lnTo>
                  <a:lnTo>
                    <a:pt x="64" y="5"/>
                  </a:lnTo>
                  <a:lnTo>
                    <a:pt x="64" y="7"/>
                  </a:lnTo>
                  <a:lnTo>
                    <a:pt x="64" y="7"/>
                  </a:lnTo>
                  <a:lnTo>
                    <a:pt x="64" y="9"/>
                  </a:lnTo>
                  <a:lnTo>
                    <a:pt x="64" y="9"/>
                  </a:lnTo>
                  <a:lnTo>
                    <a:pt x="64" y="9"/>
                  </a:lnTo>
                  <a:lnTo>
                    <a:pt x="61" y="9"/>
                  </a:lnTo>
                  <a:lnTo>
                    <a:pt x="61" y="9"/>
                  </a:lnTo>
                  <a:lnTo>
                    <a:pt x="59" y="9"/>
                  </a:lnTo>
                  <a:lnTo>
                    <a:pt x="59" y="9"/>
                  </a:lnTo>
                  <a:lnTo>
                    <a:pt x="56" y="9"/>
                  </a:lnTo>
                  <a:lnTo>
                    <a:pt x="56" y="9"/>
                  </a:lnTo>
                  <a:lnTo>
                    <a:pt x="56" y="12"/>
                  </a:lnTo>
                  <a:lnTo>
                    <a:pt x="56" y="12"/>
                  </a:lnTo>
                  <a:lnTo>
                    <a:pt x="56" y="14"/>
                  </a:lnTo>
                  <a:lnTo>
                    <a:pt x="56" y="14"/>
                  </a:lnTo>
                  <a:lnTo>
                    <a:pt x="59" y="17"/>
                  </a:lnTo>
                  <a:lnTo>
                    <a:pt x="59" y="17"/>
                  </a:lnTo>
                  <a:lnTo>
                    <a:pt x="59" y="17"/>
                  </a:lnTo>
                  <a:lnTo>
                    <a:pt x="56" y="17"/>
                  </a:lnTo>
                  <a:lnTo>
                    <a:pt x="56" y="17"/>
                  </a:lnTo>
                  <a:lnTo>
                    <a:pt x="56" y="14"/>
                  </a:lnTo>
                  <a:lnTo>
                    <a:pt x="54" y="14"/>
                  </a:lnTo>
                  <a:lnTo>
                    <a:pt x="54" y="14"/>
                  </a:lnTo>
                  <a:lnTo>
                    <a:pt x="52" y="14"/>
                  </a:lnTo>
                  <a:lnTo>
                    <a:pt x="49" y="17"/>
                  </a:lnTo>
                  <a:lnTo>
                    <a:pt x="49" y="17"/>
                  </a:lnTo>
                  <a:lnTo>
                    <a:pt x="47" y="17"/>
                  </a:lnTo>
                  <a:lnTo>
                    <a:pt x="47" y="14"/>
                  </a:lnTo>
                  <a:lnTo>
                    <a:pt x="47" y="12"/>
                  </a:lnTo>
                  <a:lnTo>
                    <a:pt x="47" y="12"/>
                  </a:lnTo>
                  <a:lnTo>
                    <a:pt x="47" y="12"/>
                  </a:lnTo>
                  <a:lnTo>
                    <a:pt x="45" y="12"/>
                  </a:lnTo>
                  <a:lnTo>
                    <a:pt x="45" y="12"/>
                  </a:lnTo>
                  <a:lnTo>
                    <a:pt x="45" y="14"/>
                  </a:lnTo>
                  <a:lnTo>
                    <a:pt x="42" y="17"/>
                  </a:lnTo>
                  <a:lnTo>
                    <a:pt x="42" y="17"/>
                  </a:lnTo>
                  <a:lnTo>
                    <a:pt x="40" y="19"/>
                  </a:lnTo>
                  <a:lnTo>
                    <a:pt x="40" y="21"/>
                  </a:lnTo>
                  <a:lnTo>
                    <a:pt x="40" y="21"/>
                  </a:lnTo>
                  <a:lnTo>
                    <a:pt x="40" y="21"/>
                  </a:lnTo>
                  <a:lnTo>
                    <a:pt x="40" y="24"/>
                  </a:lnTo>
                  <a:lnTo>
                    <a:pt x="40" y="24"/>
                  </a:lnTo>
                  <a:lnTo>
                    <a:pt x="40" y="26"/>
                  </a:lnTo>
                  <a:lnTo>
                    <a:pt x="38" y="26"/>
                  </a:lnTo>
                  <a:lnTo>
                    <a:pt x="38" y="24"/>
                  </a:lnTo>
                  <a:lnTo>
                    <a:pt x="38" y="24"/>
                  </a:lnTo>
                  <a:lnTo>
                    <a:pt x="35" y="21"/>
                  </a:lnTo>
                  <a:lnTo>
                    <a:pt x="35" y="21"/>
                  </a:lnTo>
                  <a:lnTo>
                    <a:pt x="35" y="21"/>
                  </a:lnTo>
                  <a:lnTo>
                    <a:pt x="33" y="19"/>
                  </a:lnTo>
                  <a:lnTo>
                    <a:pt x="33" y="19"/>
                  </a:lnTo>
                  <a:lnTo>
                    <a:pt x="31" y="17"/>
                  </a:lnTo>
                  <a:lnTo>
                    <a:pt x="31" y="17"/>
                  </a:lnTo>
                  <a:lnTo>
                    <a:pt x="31" y="14"/>
                  </a:lnTo>
                  <a:lnTo>
                    <a:pt x="31" y="12"/>
                  </a:lnTo>
                  <a:lnTo>
                    <a:pt x="31" y="12"/>
                  </a:lnTo>
                  <a:lnTo>
                    <a:pt x="28" y="12"/>
                  </a:lnTo>
                  <a:lnTo>
                    <a:pt x="28" y="14"/>
                  </a:lnTo>
                  <a:lnTo>
                    <a:pt x="26" y="14"/>
                  </a:lnTo>
                  <a:lnTo>
                    <a:pt x="23" y="17"/>
                  </a:lnTo>
                  <a:lnTo>
                    <a:pt x="23" y="17"/>
                  </a:lnTo>
                  <a:lnTo>
                    <a:pt x="26" y="19"/>
                  </a:lnTo>
                  <a:lnTo>
                    <a:pt x="26" y="19"/>
                  </a:lnTo>
                  <a:lnTo>
                    <a:pt x="23" y="21"/>
                  </a:lnTo>
                  <a:lnTo>
                    <a:pt x="23" y="21"/>
                  </a:lnTo>
                  <a:lnTo>
                    <a:pt x="21" y="24"/>
                  </a:lnTo>
                  <a:lnTo>
                    <a:pt x="19" y="24"/>
                  </a:lnTo>
                  <a:lnTo>
                    <a:pt x="16" y="21"/>
                  </a:lnTo>
                  <a:lnTo>
                    <a:pt x="14" y="21"/>
                  </a:lnTo>
                  <a:lnTo>
                    <a:pt x="14" y="24"/>
                  </a:lnTo>
                  <a:lnTo>
                    <a:pt x="12" y="24"/>
                  </a:lnTo>
                  <a:lnTo>
                    <a:pt x="7" y="24"/>
                  </a:lnTo>
                  <a:lnTo>
                    <a:pt x="7" y="24"/>
                  </a:lnTo>
                  <a:lnTo>
                    <a:pt x="7" y="24"/>
                  </a:lnTo>
                  <a:lnTo>
                    <a:pt x="5" y="24"/>
                  </a:lnTo>
                  <a:lnTo>
                    <a:pt x="2" y="26"/>
                  </a:lnTo>
                  <a:lnTo>
                    <a:pt x="2" y="26"/>
                  </a:lnTo>
                  <a:lnTo>
                    <a:pt x="2" y="26"/>
                  </a:lnTo>
                  <a:lnTo>
                    <a:pt x="2" y="28"/>
                  </a:lnTo>
                  <a:lnTo>
                    <a:pt x="5" y="28"/>
                  </a:lnTo>
                  <a:lnTo>
                    <a:pt x="5" y="31"/>
                  </a:lnTo>
                  <a:lnTo>
                    <a:pt x="7" y="33"/>
                  </a:lnTo>
                  <a:lnTo>
                    <a:pt x="7" y="33"/>
                  </a:lnTo>
                  <a:lnTo>
                    <a:pt x="9" y="33"/>
                  </a:lnTo>
                  <a:lnTo>
                    <a:pt x="9" y="35"/>
                  </a:lnTo>
                  <a:lnTo>
                    <a:pt x="7" y="35"/>
                  </a:lnTo>
                  <a:lnTo>
                    <a:pt x="7" y="38"/>
                  </a:lnTo>
                  <a:lnTo>
                    <a:pt x="7" y="38"/>
                  </a:lnTo>
                  <a:lnTo>
                    <a:pt x="5" y="38"/>
                  </a:lnTo>
                  <a:lnTo>
                    <a:pt x="2" y="40"/>
                  </a:lnTo>
                  <a:lnTo>
                    <a:pt x="2" y="40"/>
                  </a:lnTo>
                  <a:lnTo>
                    <a:pt x="0" y="40"/>
                  </a:lnTo>
                  <a:lnTo>
                    <a:pt x="0" y="40"/>
                  </a:lnTo>
                  <a:lnTo>
                    <a:pt x="0" y="40"/>
                  </a:lnTo>
                  <a:lnTo>
                    <a:pt x="0" y="43"/>
                  </a:lnTo>
                  <a:lnTo>
                    <a:pt x="0" y="45"/>
                  </a:lnTo>
                  <a:lnTo>
                    <a:pt x="2" y="45"/>
                  </a:lnTo>
                  <a:lnTo>
                    <a:pt x="2" y="47"/>
                  </a:lnTo>
                  <a:lnTo>
                    <a:pt x="5" y="47"/>
                  </a:lnTo>
                  <a:lnTo>
                    <a:pt x="5" y="47"/>
                  </a:lnTo>
                  <a:lnTo>
                    <a:pt x="5" y="47"/>
                  </a:lnTo>
                  <a:lnTo>
                    <a:pt x="5" y="47"/>
                  </a:lnTo>
                  <a:lnTo>
                    <a:pt x="7" y="50"/>
                  </a:lnTo>
                  <a:lnTo>
                    <a:pt x="5" y="50"/>
                  </a:lnTo>
                  <a:lnTo>
                    <a:pt x="5" y="50"/>
                  </a:lnTo>
                  <a:lnTo>
                    <a:pt x="5" y="52"/>
                  </a:lnTo>
                  <a:lnTo>
                    <a:pt x="2" y="52"/>
                  </a:lnTo>
                  <a:lnTo>
                    <a:pt x="2" y="54"/>
                  </a:lnTo>
                  <a:lnTo>
                    <a:pt x="2" y="54"/>
                  </a:lnTo>
                  <a:lnTo>
                    <a:pt x="5" y="57"/>
                  </a:lnTo>
                  <a:lnTo>
                    <a:pt x="2" y="57"/>
                  </a:lnTo>
                  <a:lnTo>
                    <a:pt x="5" y="57"/>
                  </a:lnTo>
                  <a:lnTo>
                    <a:pt x="5" y="59"/>
                  </a:lnTo>
                  <a:lnTo>
                    <a:pt x="7" y="61"/>
                  </a:lnTo>
                  <a:lnTo>
                    <a:pt x="12" y="61"/>
                  </a:lnTo>
                  <a:lnTo>
                    <a:pt x="12" y="61"/>
                  </a:lnTo>
                  <a:lnTo>
                    <a:pt x="16" y="61"/>
                  </a:lnTo>
                  <a:lnTo>
                    <a:pt x="16" y="61"/>
                  </a:lnTo>
                  <a:lnTo>
                    <a:pt x="16" y="61"/>
                  </a:lnTo>
                  <a:lnTo>
                    <a:pt x="16" y="64"/>
                  </a:lnTo>
                  <a:lnTo>
                    <a:pt x="16" y="64"/>
                  </a:lnTo>
                  <a:lnTo>
                    <a:pt x="14" y="66"/>
                  </a:lnTo>
                  <a:lnTo>
                    <a:pt x="14" y="66"/>
                  </a:lnTo>
                  <a:lnTo>
                    <a:pt x="14" y="66"/>
                  </a:lnTo>
                  <a:lnTo>
                    <a:pt x="14" y="69"/>
                  </a:lnTo>
                  <a:lnTo>
                    <a:pt x="14" y="69"/>
                  </a:lnTo>
                  <a:lnTo>
                    <a:pt x="16" y="69"/>
                  </a:lnTo>
                  <a:lnTo>
                    <a:pt x="21" y="66"/>
                  </a:lnTo>
                  <a:lnTo>
                    <a:pt x="23" y="66"/>
                  </a:lnTo>
                  <a:lnTo>
                    <a:pt x="26" y="61"/>
                  </a:lnTo>
                  <a:lnTo>
                    <a:pt x="31" y="57"/>
                  </a:lnTo>
                  <a:lnTo>
                    <a:pt x="35" y="57"/>
                  </a:lnTo>
                  <a:lnTo>
                    <a:pt x="38" y="57"/>
                  </a:lnTo>
                  <a:lnTo>
                    <a:pt x="42" y="57"/>
                  </a:lnTo>
                  <a:lnTo>
                    <a:pt x="45" y="59"/>
                  </a:lnTo>
                  <a:lnTo>
                    <a:pt x="52" y="61"/>
                  </a:lnTo>
                  <a:lnTo>
                    <a:pt x="56" y="64"/>
                  </a:lnTo>
                  <a:lnTo>
                    <a:pt x="59" y="66"/>
                  </a:lnTo>
                  <a:lnTo>
                    <a:pt x="59" y="69"/>
                  </a:lnTo>
                  <a:lnTo>
                    <a:pt x="61" y="73"/>
                  </a:lnTo>
                  <a:lnTo>
                    <a:pt x="64" y="78"/>
                  </a:lnTo>
                  <a:lnTo>
                    <a:pt x="64" y="80"/>
                  </a:lnTo>
                  <a:lnTo>
                    <a:pt x="64" y="83"/>
                  </a:lnTo>
                  <a:lnTo>
                    <a:pt x="64" y="83"/>
                  </a:lnTo>
                  <a:lnTo>
                    <a:pt x="64" y="85"/>
                  </a:lnTo>
                  <a:lnTo>
                    <a:pt x="66" y="85"/>
                  </a:lnTo>
                  <a:lnTo>
                    <a:pt x="66" y="85"/>
                  </a:lnTo>
                  <a:lnTo>
                    <a:pt x="68" y="85"/>
                  </a:lnTo>
                  <a:lnTo>
                    <a:pt x="68" y="87"/>
                  </a:lnTo>
                  <a:lnTo>
                    <a:pt x="68" y="87"/>
                  </a:lnTo>
                  <a:lnTo>
                    <a:pt x="68" y="90"/>
                  </a:lnTo>
                  <a:lnTo>
                    <a:pt x="71" y="90"/>
                  </a:lnTo>
                  <a:lnTo>
                    <a:pt x="75" y="95"/>
                  </a:lnTo>
                  <a:lnTo>
                    <a:pt x="75" y="97"/>
                  </a:lnTo>
                  <a:lnTo>
                    <a:pt x="75" y="97"/>
                  </a:lnTo>
                  <a:lnTo>
                    <a:pt x="73" y="97"/>
                  </a:lnTo>
                  <a:lnTo>
                    <a:pt x="75" y="97"/>
                  </a:lnTo>
                  <a:lnTo>
                    <a:pt x="75" y="97"/>
                  </a:lnTo>
                  <a:lnTo>
                    <a:pt x="78" y="97"/>
                  </a:lnTo>
                  <a:lnTo>
                    <a:pt x="78" y="97"/>
                  </a:lnTo>
                  <a:lnTo>
                    <a:pt x="80" y="97"/>
                  </a:lnTo>
                  <a:lnTo>
                    <a:pt x="82" y="99"/>
                  </a:lnTo>
                  <a:lnTo>
                    <a:pt x="87" y="104"/>
                  </a:lnTo>
                  <a:lnTo>
                    <a:pt x="89" y="106"/>
                  </a:lnTo>
                  <a:lnTo>
                    <a:pt x="92" y="109"/>
                  </a:lnTo>
                  <a:lnTo>
                    <a:pt x="99" y="116"/>
                  </a:lnTo>
                  <a:lnTo>
                    <a:pt x="104" y="118"/>
                  </a:lnTo>
                  <a:lnTo>
                    <a:pt x="106" y="121"/>
                  </a:lnTo>
                  <a:lnTo>
                    <a:pt x="106" y="121"/>
                  </a:lnTo>
                  <a:lnTo>
                    <a:pt x="108" y="121"/>
                  </a:lnTo>
                  <a:lnTo>
                    <a:pt x="108" y="121"/>
                  </a:lnTo>
                  <a:lnTo>
                    <a:pt x="111" y="121"/>
                  </a:lnTo>
                  <a:lnTo>
                    <a:pt x="113" y="121"/>
                  </a:lnTo>
                  <a:lnTo>
                    <a:pt x="115" y="121"/>
                  </a:lnTo>
                  <a:lnTo>
                    <a:pt x="118" y="121"/>
                  </a:lnTo>
                  <a:lnTo>
                    <a:pt x="118" y="121"/>
                  </a:lnTo>
                  <a:lnTo>
                    <a:pt x="120" y="123"/>
                  </a:lnTo>
                  <a:lnTo>
                    <a:pt x="125" y="128"/>
                  </a:lnTo>
                  <a:lnTo>
                    <a:pt x="125" y="130"/>
                  </a:lnTo>
                  <a:lnTo>
                    <a:pt x="125" y="130"/>
                  </a:lnTo>
                  <a:lnTo>
                    <a:pt x="125" y="130"/>
                  </a:lnTo>
                  <a:lnTo>
                    <a:pt x="127" y="130"/>
                  </a:lnTo>
                  <a:lnTo>
                    <a:pt x="130" y="130"/>
                  </a:lnTo>
                  <a:lnTo>
                    <a:pt x="132" y="130"/>
                  </a:lnTo>
                  <a:lnTo>
                    <a:pt x="132" y="132"/>
                  </a:lnTo>
                  <a:lnTo>
                    <a:pt x="130" y="135"/>
                  </a:lnTo>
                  <a:lnTo>
                    <a:pt x="130" y="135"/>
                  </a:lnTo>
                  <a:lnTo>
                    <a:pt x="132" y="132"/>
                  </a:lnTo>
                  <a:lnTo>
                    <a:pt x="132" y="135"/>
                  </a:lnTo>
                  <a:lnTo>
                    <a:pt x="134" y="132"/>
                  </a:lnTo>
                  <a:lnTo>
                    <a:pt x="137" y="132"/>
                  </a:lnTo>
                  <a:lnTo>
                    <a:pt x="139" y="132"/>
                  </a:lnTo>
                  <a:lnTo>
                    <a:pt x="139" y="135"/>
                  </a:lnTo>
                  <a:lnTo>
                    <a:pt x="139" y="137"/>
                  </a:lnTo>
                  <a:lnTo>
                    <a:pt x="141" y="139"/>
                  </a:lnTo>
                  <a:lnTo>
                    <a:pt x="139" y="139"/>
                  </a:lnTo>
                  <a:lnTo>
                    <a:pt x="139" y="142"/>
                  </a:lnTo>
                  <a:lnTo>
                    <a:pt x="139" y="142"/>
                  </a:lnTo>
                  <a:lnTo>
                    <a:pt x="146" y="144"/>
                  </a:lnTo>
                  <a:lnTo>
                    <a:pt x="148" y="147"/>
                  </a:lnTo>
                  <a:lnTo>
                    <a:pt x="151" y="147"/>
                  </a:lnTo>
                  <a:lnTo>
                    <a:pt x="153" y="144"/>
                  </a:lnTo>
                  <a:lnTo>
                    <a:pt x="153" y="147"/>
                  </a:lnTo>
                  <a:lnTo>
                    <a:pt x="155" y="154"/>
                  </a:lnTo>
                  <a:lnTo>
                    <a:pt x="158" y="158"/>
                  </a:lnTo>
                  <a:lnTo>
                    <a:pt x="160" y="163"/>
                  </a:lnTo>
                  <a:lnTo>
                    <a:pt x="160" y="165"/>
                  </a:lnTo>
                  <a:lnTo>
                    <a:pt x="163" y="168"/>
                  </a:lnTo>
                  <a:lnTo>
                    <a:pt x="163" y="170"/>
                  </a:lnTo>
                  <a:lnTo>
                    <a:pt x="160" y="173"/>
                  </a:lnTo>
                  <a:lnTo>
                    <a:pt x="158" y="173"/>
                  </a:lnTo>
                  <a:lnTo>
                    <a:pt x="158" y="173"/>
                  </a:lnTo>
                  <a:lnTo>
                    <a:pt x="155" y="175"/>
                  </a:lnTo>
                  <a:lnTo>
                    <a:pt x="158" y="177"/>
                  </a:lnTo>
                  <a:lnTo>
                    <a:pt x="155" y="182"/>
                  </a:lnTo>
                  <a:lnTo>
                    <a:pt x="153" y="182"/>
                  </a:lnTo>
                  <a:lnTo>
                    <a:pt x="153" y="184"/>
                  </a:lnTo>
                  <a:lnTo>
                    <a:pt x="153" y="187"/>
                  </a:lnTo>
                  <a:lnTo>
                    <a:pt x="153" y="189"/>
                  </a:lnTo>
                  <a:lnTo>
                    <a:pt x="160" y="189"/>
                  </a:lnTo>
                  <a:lnTo>
                    <a:pt x="160" y="187"/>
                  </a:lnTo>
                  <a:lnTo>
                    <a:pt x="160" y="187"/>
                  </a:lnTo>
                  <a:lnTo>
                    <a:pt x="163" y="182"/>
                  </a:lnTo>
                  <a:lnTo>
                    <a:pt x="167" y="180"/>
                  </a:lnTo>
                  <a:lnTo>
                    <a:pt x="170" y="177"/>
                  </a:lnTo>
                  <a:lnTo>
                    <a:pt x="167" y="173"/>
                  </a:lnTo>
                  <a:lnTo>
                    <a:pt x="170" y="170"/>
                  </a:lnTo>
                  <a:lnTo>
                    <a:pt x="172" y="168"/>
                  </a:lnTo>
                  <a:lnTo>
                    <a:pt x="174" y="168"/>
                  </a:lnTo>
                  <a:lnTo>
                    <a:pt x="177" y="168"/>
                  </a:lnTo>
                  <a:lnTo>
                    <a:pt x="179" y="165"/>
                  </a:lnTo>
                  <a:lnTo>
                    <a:pt x="177" y="163"/>
                  </a:lnTo>
                  <a:lnTo>
                    <a:pt x="177" y="158"/>
                  </a:lnTo>
                  <a:lnTo>
                    <a:pt x="174" y="156"/>
                  </a:lnTo>
                  <a:lnTo>
                    <a:pt x="172" y="154"/>
                  </a:lnTo>
                  <a:lnTo>
                    <a:pt x="167" y="154"/>
                  </a:lnTo>
                  <a:lnTo>
                    <a:pt x="167" y="151"/>
                  </a:lnTo>
                  <a:lnTo>
                    <a:pt x="167" y="149"/>
                  </a:lnTo>
                  <a:lnTo>
                    <a:pt x="170" y="144"/>
                  </a:lnTo>
                  <a:lnTo>
                    <a:pt x="172" y="139"/>
                  </a:lnTo>
                  <a:lnTo>
                    <a:pt x="174" y="137"/>
                  </a:lnTo>
                  <a:lnTo>
                    <a:pt x="174" y="137"/>
                  </a:lnTo>
                  <a:lnTo>
                    <a:pt x="179" y="137"/>
                  </a:lnTo>
                  <a:lnTo>
                    <a:pt x="179" y="137"/>
                  </a:lnTo>
                  <a:lnTo>
                    <a:pt x="179" y="137"/>
                  </a:lnTo>
                  <a:lnTo>
                    <a:pt x="179" y="139"/>
                  </a:lnTo>
                  <a:lnTo>
                    <a:pt x="181" y="139"/>
                  </a:lnTo>
                  <a:lnTo>
                    <a:pt x="184" y="139"/>
                  </a:lnTo>
                  <a:lnTo>
                    <a:pt x="191" y="142"/>
                  </a:lnTo>
                  <a:lnTo>
                    <a:pt x="193" y="147"/>
                  </a:lnTo>
                  <a:lnTo>
                    <a:pt x="196" y="149"/>
                  </a:lnTo>
                  <a:lnTo>
                    <a:pt x="198" y="149"/>
                  </a:lnTo>
                  <a:lnTo>
                    <a:pt x="198" y="147"/>
                  </a:lnTo>
                  <a:lnTo>
                    <a:pt x="200" y="144"/>
                  </a:lnTo>
                  <a:lnTo>
                    <a:pt x="200" y="144"/>
                  </a:lnTo>
                  <a:lnTo>
                    <a:pt x="200" y="142"/>
                  </a:lnTo>
                  <a:close/>
                  <a:moveTo>
                    <a:pt x="97" y="66"/>
                  </a:moveTo>
                  <a:lnTo>
                    <a:pt x="97" y="66"/>
                  </a:lnTo>
                  <a:lnTo>
                    <a:pt x="97" y="66"/>
                  </a:lnTo>
                  <a:lnTo>
                    <a:pt x="97" y="64"/>
                  </a:lnTo>
                  <a:lnTo>
                    <a:pt x="97" y="64"/>
                  </a:lnTo>
                  <a:lnTo>
                    <a:pt x="97" y="66"/>
                  </a:lnTo>
                  <a:lnTo>
                    <a:pt x="97" y="6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0" name="Freeform 316"/>
            <p:cNvSpPr>
              <a:spLocks/>
            </p:cNvSpPr>
            <p:nvPr userDrawn="1"/>
          </p:nvSpPr>
          <p:spPr bwMode="auto">
            <a:xfrm>
              <a:off x="4270" y="2103"/>
              <a:ext cx="26" cy="83"/>
            </a:xfrm>
            <a:custGeom>
              <a:avLst/>
              <a:gdLst>
                <a:gd name="T0" fmla="*/ 26 w 26"/>
                <a:gd name="T1" fmla="*/ 7 h 83"/>
                <a:gd name="T2" fmla="*/ 26 w 26"/>
                <a:gd name="T3" fmla="*/ 5 h 83"/>
                <a:gd name="T4" fmla="*/ 26 w 26"/>
                <a:gd name="T5" fmla="*/ 2 h 83"/>
                <a:gd name="T6" fmla="*/ 26 w 26"/>
                <a:gd name="T7" fmla="*/ 2 h 83"/>
                <a:gd name="T8" fmla="*/ 26 w 26"/>
                <a:gd name="T9" fmla="*/ 0 h 83"/>
                <a:gd name="T10" fmla="*/ 24 w 26"/>
                <a:gd name="T11" fmla="*/ 0 h 83"/>
                <a:gd name="T12" fmla="*/ 22 w 26"/>
                <a:gd name="T13" fmla="*/ 2 h 83"/>
                <a:gd name="T14" fmla="*/ 22 w 26"/>
                <a:gd name="T15" fmla="*/ 2 h 83"/>
                <a:gd name="T16" fmla="*/ 19 w 26"/>
                <a:gd name="T17" fmla="*/ 5 h 83"/>
                <a:gd name="T18" fmla="*/ 17 w 26"/>
                <a:gd name="T19" fmla="*/ 7 h 83"/>
                <a:gd name="T20" fmla="*/ 12 w 26"/>
                <a:gd name="T21" fmla="*/ 7 h 83"/>
                <a:gd name="T22" fmla="*/ 12 w 26"/>
                <a:gd name="T23" fmla="*/ 12 h 83"/>
                <a:gd name="T24" fmla="*/ 10 w 26"/>
                <a:gd name="T25" fmla="*/ 26 h 83"/>
                <a:gd name="T26" fmla="*/ 5 w 26"/>
                <a:gd name="T27" fmla="*/ 38 h 83"/>
                <a:gd name="T28" fmla="*/ 5 w 26"/>
                <a:gd name="T29" fmla="*/ 38 h 83"/>
                <a:gd name="T30" fmla="*/ 3 w 26"/>
                <a:gd name="T31" fmla="*/ 43 h 83"/>
                <a:gd name="T32" fmla="*/ 0 w 26"/>
                <a:gd name="T33" fmla="*/ 45 h 83"/>
                <a:gd name="T34" fmla="*/ 3 w 26"/>
                <a:gd name="T35" fmla="*/ 54 h 83"/>
                <a:gd name="T36" fmla="*/ 7 w 26"/>
                <a:gd name="T37" fmla="*/ 62 h 83"/>
                <a:gd name="T38" fmla="*/ 10 w 26"/>
                <a:gd name="T39" fmla="*/ 66 h 83"/>
                <a:gd name="T40" fmla="*/ 12 w 26"/>
                <a:gd name="T41" fmla="*/ 76 h 83"/>
                <a:gd name="T42" fmla="*/ 15 w 26"/>
                <a:gd name="T43" fmla="*/ 83 h 83"/>
                <a:gd name="T44" fmla="*/ 17 w 26"/>
                <a:gd name="T45" fmla="*/ 76 h 83"/>
                <a:gd name="T46" fmla="*/ 17 w 26"/>
                <a:gd name="T47" fmla="*/ 71 h 83"/>
                <a:gd name="T48" fmla="*/ 17 w 26"/>
                <a:gd name="T49" fmla="*/ 66 h 83"/>
                <a:gd name="T50" fmla="*/ 17 w 26"/>
                <a:gd name="T51" fmla="*/ 62 h 83"/>
                <a:gd name="T52" fmla="*/ 19 w 26"/>
                <a:gd name="T53" fmla="*/ 57 h 83"/>
                <a:gd name="T54" fmla="*/ 19 w 26"/>
                <a:gd name="T55" fmla="*/ 54 h 83"/>
                <a:gd name="T56" fmla="*/ 22 w 26"/>
                <a:gd name="T57" fmla="*/ 47 h 83"/>
                <a:gd name="T58" fmla="*/ 22 w 26"/>
                <a:gd name="T59" fmla="*/ 45 h 83"/>
                <a:gd name="T60" fmla="*/ 22 w 26"/>
                <a:gd name="T61" fmla="*/ 43 h 83"/>
                <a:gd name="T62" fmla="*/ 22 w 26"/>
                <a:gd name="T63" fmla="*/ 40 h 83"/>
                <a:gd name="T64" fmla="*/ 15 w 26"/>
                <a:gd name="T65" fmla="*/ 43 h 83"/>
                <a:gd name="T66" fmla="*/ 12 w 26"/>
                <a:gd name="T67" fmla="*/ 43 h 83"/>
                <a:gd name="T68" fmla="*/ 12 w 26"/>
                <a:gd name="T69" fmla="*/ 40 h 83"/>
                <a:gd name="T70" fmla="*/ 15 w 26"/>
                <a:gd name="T71" fmla="*/ 36 h 83"/>
                <a:gd name="T72" fmla="*/ 17 w 26"/>
                <a:gd name="T73" fmla="*/ 36 h 83"/>
                <a:gd name="T74" fmla="*/ 15 w 26"/>
                <a:gd name="T75" fmla="*/ 33 h 83"/>
                <a:gd name="T76" fmla="*/ 12 w 26"/>
                <a:gd name="T77" fmla="*/ 33 h 83"/>
                <a:gd name="T78" fmla="*/ 12 w 26"/>
                <a:gd name="T79" fmla="*/ 33 h 83"/>
                <a:gd name="T80" fmla="*/ 12 w 26"/>
                <a:gd name="T81" fmla="*/ 31 h 83"/>
                <a:gd name="T82" fmla="*/ 12 w 26"/>
                <a:gd name="T83" fmla="*/ 28 h 83"/>
                <a:gd name="T84" fmla="*/ 12 w 26"/>
                <a:gd name="T85" fmla="*/ 24 h 83"/>
                <a:gd name="T86" fmla="*/ 12 w 26"/>
                <a:gd name="T87" fmla="*/ 19 h 83"/>
                <a:gd name="T88" fmla="*/ 17 w 26"/>
                <a:gd name="T89" fmla="*/ 19 h 83"/>
                <a:gd name="T90" fmla="*/ 19 w 26"/>
                <a:gd name="T91" fmla="*/ 19 h 83"/>
                <a:gd name="T92" fmla="*/ 22 w 26"/>
                <a:gd name="T93" fmla="*/ 21 h 83"/>
                <a:gd name="T94" fmla="*/ 22 w 26"/>
                <a:gd name="T95" fmla="*/ 17 h 83"/>
                <a:gd name="T96" fmla="*/ 22 w 26"/>
                <a:gd name="T97" fmla="*/ 14 h 83"/>
                <a:gd name="T98" fmla="*/ 24 w 26"/>
                <a:gd name="T99" fmla="*/ 14 h 83"/>
                <a:gd name="T100" fmla="*/ 26 w 26"/>
                <a:gd name="T101" fmla="*/ 12 h 83"/>
                <a:gd name="T102" fmla="*/ 26 w 26"/>
                <a:gd name="T103"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 h="83">
                  <a:moveTo>
                    <a:pt x="26" y="10"/>
                  </a:moveTo>
                  <a:lnTo>
                    <a:pt x="26" y="7"/>
                  </a:lnTo>
                  <a:lnTo>
                    <a:pt x="26" y="7"/>
                  </a:lnTo>
                  <a:lnTo>
                    <a:pt x="26" y="5"/>
                  </a:lnTo>
                  <a:lnTo>
                    <a:pt x="26" y="5"/>
                  </a:lnTo>
                  <a:lnTo>
                    <a:pt x="26" y="2"/>
                  </a:lnTo>
                  <a:lnTo>
                    <a:pt x="26" y="2"/>
                  </a:lnTo>
                  <a:lnTo>
                    <a:pt x="26" y="2"/>
                  </a:lnTo>
                  <a:lnTo>
                    <a:pt x="26" y="0"/>
                  </a:lnTo>
                  <a:lnTo>
                    <a:pt x="26" y="0"/>
                  </a:lnTo>
                  <a:lnTo>
                    <a:pt x="26" y="0"/>
                  </a:lnTo>
                  <a:lnTo>
                    <a:pt x="24" y="0"/>
                  </a:lnTo>
                  <a:lnTo>
                    <a:pt x="24" y="2"/>
                  </a:lnTo>
                  <a:lnTo>
                    <a:pt x="22" y="2"/>
                  </a:lnTo>
                  <a:lnTo>
                    <a:pt x="22" y="2"/>
                  </a:lnTo>
                  <a:lnTo>
                    <a:pt x="22" y="2"/>
                  </a:lnTo>
                  <a:lnTo>
                    <a:pt x="19" y="2"/>
                  </a:lnTo>
                  <a:lnTo>
                    <a:pt x="19" y="5"/>
                  </a:lnTo>
                  <a:lnTo>
                    <a:pt x="19" y="7"/>
                  </a:lnTo>
                  <a:lnTo>
                    <a:pt x="17" y="7"/>
                  </a:lnTo>
                  <a:lnTo>
                    <a:pt x="15" y="7"/>
                  </a:lnTo>
                  <a:lnTo>
                    <a:pt x="12" y="7"/>
                  </a:lnTo>
                  <a:lnTo>
                    <a:pt x="12" y="10"/>
                  </a:lnTo>
                  <a:lnTo>
                    <a:pt x="12" y="12"/>
                  </a:lnTo>
                  <a:lnTo>
                    <a:pt x="10" y="17"/>
                  </a:lnTo>
                  <a:lnTo>
                    <a:pt x="10" y="26"/>
                  </a:lnTo>
                  <a:lnTo>
                    <a:pt x="7" y="31"/>
                  </a:lnTo>
                  <a:lnTo>
                    <a:pt x="5" y="38"/>
                  </a:lnTo>
                  <a:lnTo>
                    <a:pt x="5" y="38"/>
                  </a:lnTo>
                  <a:lnTo>
                    <a:pt x="5" y="38"/>
                  </a:lnTo>
                  <a:lnTo>
                    <a:pt x="5" y="40"/>
                  </a:lnTo>
                  <a:lnTo>
                    <a:pt x="3" y="43"/>
                  </a:lnTo>
                  <a:lnTo>
                    <a:pt x="3" y="45"/>
                  </a:lnTo>
                  <a:lnTo>
                    <a:pt x="0" y="45"/>
                  </a:lnTo>
                  <a:lnTo>
                    <a:pt x="3" y="50"/>
                  </a:lnTo>
                  <a:lnTo>
                    <a:pt x="3" y="54"/>
                  </a:lnTo>
                  <a:lnTo>
                    <a:pt x="5" y="59"/>
                  </a:lnTo>
                  <a:lnTo>
                    <a:pt x="7" y="62"/>
                  </a:lnTo>
                  <a:lnTo>
                    <a:pt x="7" y="62"/>
                  </a:lnTo>
                  <a:lnTo>
                    <a:pt x="10" y="66"/>
                  </a:lnTo>
                  <a:lnTo>
                    <a:pt x="10" y="71"/>
                  </a:lnTo>
                  <a:lnTo>
                    <a:pt x="12" y="76"/>
                  </a:lnTo>
                  <a:lnTo>
                    <a:pt x="15" y="80"/>
                  </a:lnTo>
                  <a:lnTo>
                    <a:pt x="15" y="83"/>
                  </a:lnTo>
                  <a:lnTo>
                    <a:pt x="17" y="80"/>
                  </a:lnTo>
                  <a:lnTo>
                    <a:pt x="17" y="76"/>
                  </a:lnTo>
                  <a:lnTo>
                    <a:pt x="17" y="73"/>
                  </a:lnTo>
                  <a:lnTo>
                    <a:pt x="17" y="71"/>
                  </a:lnTo>
                  <a:lnTo>
                    <a:pt x="17" y="69"/>
                  </a:lnTo>
                  <a:lnTo>
                    <a:pt x="17" y="66"/>
                  </a:lnTo>
                  <a:lnTo>
                    <a:pt x="17" y="64"/>
                  </a:lnTo>
                  <a:lnTo>
                    <a:pt x="17" y="62"/>
                  </a:lnTo>
                  <a:lnTo>
                    <a:pt x="17" y="62"/>
                  </a:lnTo>
                  <a:lnTo>
                    <a:pt x="19" y="57"/>
                  </a:lnTo>
                  <a:lnTo>
                    <a:pt x="19" y="54"/>
                  </a:lnTo>
                  <a:lnTo>
                    <a:pt x="19" y="54"/>
                  </a:lnTo>
                  <a:lnTo>
                    <a:pt x="22" y="50"/>
                  </a:lnTo>
                  <a:lnTo>
                    <a:pt x="22" y="47"/>
                  </a:lnTo>
                  <a:lnTo>
                    <a:pt x="22" y="45"/>
                  </a:lnTo>
                  <a:lnTo>
                    <a:pt x="22" y="45"/>
                  </a:lnTo>
                  <a:lnTo>
                    <a:pt x="22" y="43"/>
                  </a:lnTo>
                  <a:lnTo>
                    <a:pt x="22" y="43"/>
                  </a:lnTo>
                  <a:lnTo>
                    <a:pt x="22" y="40"/>
                  </a:lnTo>
                  <a:lnTo>
                    <a:pt x="22" y="40"/>
                  </a:lnTo>
                  <a:lnTo>
                    <a:pt x="19" y="43"/>
                  </a:lnTo>
                  <a:lnTo>
                    <a:pt x="15" y="43"/>
                  </a:lnTo>
                  <a:lnTo>
                    <a:pt x="12" y="43"/>
                  </a:lnTo>
                  <a:lnTo>
                    <a:pt x="12" y="43"/>
                  </a:lnTo>
                  <a:lnTo>
                    <a:pt x="12" y="43"/>
                  </a:lnTo>
                  <a:lnTo>
                    <a:pt x="12" y="40"/>
                  </a:lnTo>
                  <a:lnTo>
                    <a:pt x="12" y="38"/>
                  </a:lnTo>
                  <a:lnTo>
                    <a:pt x="15" y="36"/>
                  </a:lnTo>
                  <a:lnTo>
                    <a:pt x="17" y="36"/>
                  </a:lnTo>
                  <a:lnTo>
                    <a:pt x="17" y="36"/>
                  </a:lnTo>
                  <a:lnTo>
                    <a:pt x="17" y="33"/>
                  </a:lnTo>
                  <a:lnTo>
                    <a:pt x="15" y="33"/>
                  </a:lnTo>
                  <a:lnTo>
                    <a:pt x="15" y="33"/>
                  </a:lnTo>
                  <a:lnTo>
                    <a:pt x="12" y="33"/>
                  </a:lnTo>
                  <a:lnTo>
                    <a:pt x="12" y="33"/>
                  </a:lnTo>
                  <a:lnTo>
                    <a:pt x="12" y="33"/>
                  </a:lnTo>
                  <a:lnTo>
                    <a:pt x="12" y="33"/>
                  </a:lnTo>
                  <a:lnTo>
                    <a:pt x="12" y="31"/>
                  </a:lnTo>
                  <a:lnTo>
                    <a:pt x="12" y="28"/>
                  </a:lnTo>
                  <a:lnTo>
                    <a:pt x="12" y="28"/>
                  </a:lnTo>
                  <a:lnTo>
                    <a:pt x="12" y="26"/>
                  </a:lnTo>
                  <a:lnTo>
                    <a:pt x="12" y="24"/>
                  </a:lnTo>
                  <a:lnTo>
                    <a:pt x="12" y="21"/>
                  </a:lnTo>
                  <a:lnTo>
                    <a:pt x="12" y="19"/>
                  </a:lnTo>
                  <a:lnTo>
                    <a:pt x="15" y="19"/>
                  </a:lnTo>
                  <a:lnTo>
                    <a:pt x="17" y="19"/>
                  </a:lnTo>
                  <a:lnTo>
                    <a:pt x="19" y="19"/>
                  </a:lnTo>
                  <a:lnTo>
                    <a:pt x="19" y="19"/>
                  </a:lnTo>
                  <a:lnTo>
                    <a:pt x="19" y="19"/>
                  </a:lnTo>
                  <a:lnTo>
                    <a:pt x="22" y="21"/>
                  </a:lnTo>
                  <a:lnTo>
                    <a:pt x="22" y="21"/>
                  </a:lnTo>
                  <a:lnTo>
                    <a:pt x="22" y="17"/>
                  </a:lnTo>
                  <a:lnTo>
                    <a:pt x="22" y="17"/>
                  </a:lnTo>
                  <a:lnTo>
                    <a:pt x="22" y="14"/>
                  </a:lnTo>
                  <a:lnTo>
                    <a:pt x="22" y="14"/>
                  </a:lnTo>
                  <a:lnTo>
                    <a:pt x="24" y="14"/>
                  </a:lnTo>
                  <a:lnTo>
                    <a:pt x="26" y="14"/>
                  </a:lnTo>
                  <a:lnTo>
                    <a:pt x="26" y="12"/>
                  </a:lnTo>
                  <a:lnTo>
                    <a:pt x="26" y="12"/>
                  </a:lnTo>
                  <a:lnTo>
                    <a:pt x="26" y="10"/>
                  </a:lnTo>
                  <a:lnTo>
                    <a:pt x="26" y="1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1" name="Freeform 317"/>
            <p:cNvSpPr>
              <a:spLocks/>
            </p:cNvSpPr>
            <p:nvPr userDrawn="1"/>
          </p:nvSpPr>
          <p:spPr bwMode="auto">
            <a:xfrm>
              <a:off x="3611" y="1668"/>
              <a:ext cx="7" cy="7"/>
            </a:xfrm>
            <a:custGeom>
              <a:avLst/>
              <a:gdLst>
                <a:gd name="T0" fmla="*/ 7 w 7"/>
                <a:gd name="T1" fmla="*/ 0 h 7"/>
                <a:gd name="T2" fmla="*/ 7 w 7"/>
                <a:gd name="T3" fmla="*/ 0 h 7"/>
                <a:gd name="T4" fmla="*/ 7 w 7"/>
                <a:gd name="T5" fmla="*/ 0 h 7"/>
                <a:gd name="T6" fmla="*/ 4 w 7"/>
                <a:gd name="T7" fmla="*/ 0 h 7"/>
                <a:gd name="T8" fmla="*/ 2 w 7"/>
                <a:gd name="T9" fmla="*/ 2 h 7"/>
                <a:gd name="T10" fmla="*/ 2 w 7"/>
                <a:gd name="T11" fmla="*/ 2 h 7"/>
                <a:gd name="T12" fmla="*/ 0 w 7"/>
                <a:gd name="T13" fmla="*/ 5 h 7"/>
                <a:gd name="T14" fmla="*/ 0 w 7"/>
                <a:gd name="T15" fmla="*/ 5 h 7"/>
                <a:gd name="T16" fmla="*/ 0 w 7"/>
                <a:gd name="T17" fmla="*/ 7 h 7"/>
                <a:gd name="T18" fmla="*/ 2 w 7"/>
                <a:gd name="T19" fmla="*/ 5 h 7"/>
                <a:gd name="T20" fmla="*/ 2 w 7"/>
                <a:gd name="T21" fmla="*/ 7 h 7"/>
                <a:gd name="T22" fmla="*/ 7 w 7"/>
                <a:gd name="T23" fmla="*/ 5 h 7"/>
                <a:gd name="T24" fmla="*/ 7 w 7"/>
                <a:gd name="T25" fmla="*/ 2 h 7"/>
                <a:gd name="T26" fmla="*/ 7 w 7"/>
                <a:gd name="T27" fmla="*/ 2 h 7"/>
                <a:gd name="T28" fmla="*/ 7 w 7"/>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7" y="0"/>
                  </a:moveTo>
                  <a:lnTo>
                    <a:pt x="7" y="0"/>
                  </a:lnTo>
                  <a:lnTo>
                    <a:pt x="7" y="0"/>
                  </a:lnTo>
                  <a:lnTo>
                    <a:pt x="4" y="0"/>
                  </a:lnTo>
                  <a:lnTo>
                    <a:pt x="2" y="2"/>
                  </a:lnTo>
                  <a:lnTo>
                    <a:pt x="2" y="2"/>
                  </a:lnTo>
                  <a:lnTo>
                    <a:pt x="0" y="5"/>
                  </a:lnTo>
                  <a:lnTo>
                    <a:pt x="0" y="5"/>
                  </a:lnTo>
                  <a:lnTo>
                    <a:pt x="0" y="7"/>
                  </a:lnTo>
                  <a:lnTo>
                    <a:pt x="2" y="5"/>
                  </a:lnTo>
                  <a:lnTo>
                    <a:pt x="2" y="7"/>
                  </a:lnTo>
                  <a:lnTo>
                    <a:pt x="7" y="5"/>
                  </a:lnTo>
                  <a:lnTo>
                    <a:pt x="7" y="2"/>
                  </a:lnTo>
                  <a:lnTo>
                    <a:pt x="7" y="2"/>
                  </a:lnTo>
                  <a:lnTo>
                    <a:pt x="7"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2" name="Freeform 318"/>
            <p:cNvSpPr>
              <a:spLocks noEditPoints="1"/>
            </p:cNvSpPr>
            <p:nvPr userDrawn="1"/>
          </p:nvSpPr>
          <p:spPr bwMode="auto">
            <a:xfrm>
              <a:off x="3516" y="1649"/>
              <a:ext cx="73" cy="78"/>
            </a:xfrm>
            <a:custGeom>
              <a:avLst/>
              <a:gdLst>
                <a:gd name="T0" fmla="*/ 12 w 73"/>
                <a:gd name="T1" fmla="*/ 26 h 78"/>
                <a:gd name="T2" fmla="*/ 12 w 73"/>
                <a:gd name="T3" fmla="*/ 28 h 78"/>
                <a:gd name="T4" fmla="*/ 71 w 73"/>
                <a:gd name="T5" fmla="*/ 36 h 78"/>
                <a:gd name="T6" fmla="*/ 71 w 73"/>
                <a:gd name="T7" fmla="*/ 28 h 78"/>
                <a:gd name="T8" fmla="*/ 73 w 73"/>
                <a:gd name="T9" fmla="*/ 26 h 78"/>
                <a:gd name="T10" fmla="*/ 69 w 73"/>
                <a:gd name="T11" fmla="*/ 26 h 78"/>
                <a:gd name="T12" fmla="*/ 66 w 73"/>
                <a:gd name="T13" fmla="*/ 24 h 78"/>
                <a:gd name="T14" fmla="*/ 62 w 73"/>
                <a:gd name="T15" fmla="*/ 21 h 78"/>
                <a:gd name="T16" fmla="*/ 59 w 73"/>
                <a:gd name="T17" fmla="*/ 19 h 78"/>
                <a:gd name="T18" fmla="*/ 54 w 73"/>
                <a:gd name="T19" fmla="*/ 24 h 78"/>
                <a:gd name="T20" fmla="*/ 50 w 73"/>
                <a:gd name="T21" fmla="*/ 24 h 78"/>
                <a:gd name="T22" fmla="*/ 43 w 73"/>
                <a:gd name="T23" fmla="*/ 19 h 78"/>
                <a:gd name="T24" fmla="*/ 50 w 73"/>
                <a:gd name="T25" fmla="*/ 14 h 78"/>
                <a:gd name="T26" fmla="*/ 47 w 73"/>
                <a:gd name="T27" fmla="*/ 12 h 78"/>
                <a:gd name="T28" fmla="*/ 52 w 73"/>
                <a:gd name="T29" fmla="*/ 12 h 78"/>
                <a:gd name="T30" fmla="*/ 57 w 73"/>
                <a:gd name="T31" fmla="*/ 7 h 78"/>
                <a:gd name="T32" fmla="*/ 64 w 73"/>
                <a:gd name="T33" fmla="*/ 2 h 78"/>
                <a:gd name="T34" fmla="*/ 57 w 73"/>
                <a:gd name="T35" fmla="*/ 0 h 78"/>
                <a:gd name="T36" fmla="*/ 54 w 73"/>
                <a:gd name="T37" fmla="*/ 2 h 78"/>
                <a:gd name="T38" fmla="*/ 52 w 73"/>
                <a:gd name="T39" fmla="*/ 5 h 78"/>
                <a:gd name="T40" fmla="*/ 52 w 73"/>
                <a:gd name="T41" fmla="*/ 2 h 78"/>
                <a:gd name="T42" fmla="*/ 50 w 73"/>
                <a:gd name="T43" fmla="*/ 2 h 78"/>
                <a:gd name="T44" fmla="*/ 43 w 73"/>
                <a:gd name="T45" fmla="*/ 5 h 78"/>
                <a:gd name="T46" fmla="*/ 38 w 73"/>
                <a:gd name="T47" fmla="*/ 10 h 78"/>
                <a:gd name="T48" fmla="*/ 33 w 73"/>
                <a:gd name="T49" fmla="*/ 12 h 78"/>
                <a:gd name="T50" fmla="*/ 40 w 73"/>
                <a:gd name="T51" fmla="*/ 17 h 78"/>
                <a:gd name="T52" fmla="*/ 36 w 73"/>
                <a:gd name="T53" fmla="*/ 21 h 78"/>
                <a:gd name="T54" fmla="*/ 29 w 73"/>
                <a:gd name="T55" fmla="*/ 21 h 78"/>
                <a:gd name="T56" fmla="*/ 17 w 73"/>
                <a:gd name="T57" fmla="*/ 21 h 78"/>
                <a:gd name="T58" fmla="*/ 12 w 73"/>
                <a:gd name="T59" fmla="*/ 21 h 78"/>
                <a:gd name="T60" fmla="*/ 14 w 73"/>
                <a:gd name="T61" fmla="*/ 24 h 78"/>
                <a:gd name="T62" fmla="*/ 17 w 73"/>
                <a:gd name="T63" fmla="*/ 28 h 78"/>
                <a:gd name="T64" fmla="*/ 14 w 73"/>
                <a:gd name="T65" fmla="*/ 31 h 78"/>
                <a:gd name="T66" fmla="*/ 14 w 73"/>
                <a:gd name="T67" fmla="*/ 36 h 78"/>
                <a:gd name="T68" fmla="*/ 10 w 73"/>
                <a:gd name="T69" fmla="*/ 38 h 78"/>
                <a:gd name="T70" fmla="*/ 14 w 73"/>
                <a:gd name="T71" fmla="*/ 38 h 78"/>
                <a:gd name="T72" fmla="*/ 17 w 73"/>
                <a:gd name="T73" fmla="*/ 40 h 78"/>
                <a:gd name="T74" fmla="*/ 19 w 73"/>
                <a:gd name="T75" fmla="*/ 43 h 78"/>
                <a:gd name="T76" fmla="*/ 26 w 73"/>
                <a:gd name="T77" fmla="*/ 43 h 78"/>
                <a:gd name="T78" fmla="*/ 19 w 73"/>
                <a:gd name="T79" fmla="*/ 47 h 78"/>
                <a:gd name="T80" fmla="*/ 12 w 73"/>
                <a:gd name="T81" fmla="*/ 54 h 78"/>
                <a:gd name="T82" fmla="*/ 17 w 73"/>
                <a:gd name="T83" fmla="*/ 54 h 78"/>
                <a:gd name="T84" fmla="*/ 26 w 73"/>
                <a:gd name="T85" fmla="*/ 52 h 78"/>
                <a:gd name="T86" fmla="*/ 14 w 73"/>
                <a:gd name="T87" fmla="*/ 54 h 78"/>
                <a:gd name="T88" fmla="*/ 10 w 73"/>
                <a:gd name="T89" fmla="*/ 59 h 78"/>
                <a:gd name="T90" fmla="*/ 7 w 73"/>
                <a:gd name="T91" fmla="*/ 62 h 78"/>
                <a:gd name="T92" fmla="*/ 3 w 73"/>
                <a:gd name="T93" fmla="*/ 64 h 78"/>
                <a:gd name="T94" fmla="*/ 7 w 73"/>
                <a:gd name="T95" fmla="*/ 66 h 78"/>
                <a:gd name="T96" fmla="*/ 3 w 73"/>
                <a:gd name="T97" fmla="*/ 71 h 78"/>
                <a:gd name="T98" fmla="*/ 10 w 73"/>
                <a:gd name="T99" fmla="*/ 71 h 78"/>
                <a:gd name="T100" fmla="*/ 7 w 73"/>
                <a:gd name="T101" fmla="*/ 73 h 78"/>
                <a:gd name="T102" fmla="*/ 12 w 73"/>
                <a:gd name="T103" fmla="*/ 76 h 78"/>
                <a:gd name="T104" fmla="*/ 17 w 73"/>
                <a:gd name="T105" fmla="*/ 76 h 78"/>
                <a:gd name="T106" fmla="*/ 29 w 73"/>
                <a:gd name="T107" fmla="*/ 73 h 78"/>
                <a:gd name="T108" fmla="*/ 33 w 73"/>
                <a:gd name="T109" fmla="*/ 69 h 78"/>
                <a:gd name="T110" fmla="*/ 36 w 73"/>
                <a:gd name="T111" fmla="*/ 69 h 78"/>
                <a:gd name="T112" fmla="*/ 43 w 73"/>
                <a:gd name="T113" fmla="*/ 69 h 78"/>
                <a:gd name="T114" fmla="*/ 47 w 73"/>
                <a:gd name="T115" fmla="*/ 64 h 78"/>
                <a:gd name="T116" fmla="*/ 57 w 73"/>
                <a:gd name="T117" fmla="*/ 62 h 78"/>
                <a:gd name="T118" fmla="*/ 62 w 73"/>
                <a:gd name="T119" fmla="*/ 62 h 78"/>
                <a:gd name="T120" fmla="*/ 66 w 73"/>
                <a:gd name="T121" fmla="*/ 59 h 78"/>
                <a:gd name="T122" fmla="*/ 71 w 73"/>
                <a:gd name="T123" fmla="*/ 50 h 78"/>
                <a:gd name="T124" fmla="*/ 71 w 73"/>
                <a:gd name="T125" fmla="*/ 4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78">
                  <a:moveTo>
                    <a:pt x="12" y="28"/>
                  </a:moveTo>
                  <a:lnTo>
                    <a:pt x="12" y="28"/>
                  </a:lnTo>
                  <a:lnTo>
                    <a:pt x="12" y="28"/>
                  </a:lnTo>
                  <a:lnTo>
                    <a:pt x="14" y="26"/>
                  </a:lnTo>
                  <a:lnTo>
                    <a:pt x="12" y="26"/>
                  </a:lnTo>
                  <a:lnTo>
                    <a:pt x="10" y="26"/>
                  </a:lnTo>
                  <a:lnTo>
                    <a:pt x="10" y="26"/>
                  </a:lnTo>
                  <a:lnTo>
                    <a:pt x="7" y="26"/>
                  </a:lnTo>
                  <a:lnTo>
                    <a:pt x="12" y="26"/>
                  </a:lnTo>
                  <a:lnTo>
                    <a:pt x="12" y="28"/>
                  </a:lnTo>
                  <a:close/>
                  <a:moveTo>
                    <a:pt x="71" y="40"/>
                  </a:moveTo>
                  <a:lnTo>
                    <a:pt x="71" y="38"/>
                  </a:lnTo>
                  <a:lnTo>
                    <a:pt x="71" y="38"/>
                  </a:lnTo>
                  <a:lnTo>
                    <a:pt x="71" y="38"/>
                  </a:lnTo>
                  <a:lnTo>
                    <a:pt x="71" y="36"/>
                  </a:lnTo>
                  <a:lnTo>
                    <a:pt x="71" y="36"/>
                  </a:lnTo>
                  <a:lnTo>
                    <a:pt x="71" y="33"/>
                  </a:lnTo>
                  <a:lnTo>
                    <a:pt x="71" y="31"/>
                  </a:lnTo>
                  <a:lnTo>
                    <a:pt x="71" y="28"/>
                  </a:lnTo>
                  <a:lnTo>
                    <a:pt x="71" y="28"/>
                  </a:lnTo>
                  <a:lnTo>
                    <a:pt x="69" y="28"/>
                  </a:lnTo>
                  <a:lnTo>
                    <a:pt x="71" y="26"/>
                  </a:lnTo>
                  <a:lnTo>
                    <a:pt x="71" y="26"/>
                  </a:lnTo>
                  <a:lnTo>
                    <a:pt x="71" y="26"/>
                  </a:lnTo>
                  <a:lnTo>
                    <a:pt x="73" y="26"/>
                  </a:lnTo>
                  <a:lnTo>
                    <a:pt x="73" y="26"/>
                  </a:lnTo>
                  <a:lnTo>
                    <a:pt x="71" y="24"/>
                  </a:lnTo>
                  <a:lnTo>
                    <a:pt x="71" y="24"/>
                  </a:lnTo>
                  <a:lnTo>
                    <a:pt x="69" y="24"/>
                  </a:lnTo>
                  <a:lnTo>
                    <a:pt x="69" y="26"/>
                  </a:lnTo>
                  <a:lnTo>
                    <a:pt x="69" y="26"/>
                  </a:lnTo>
                  <a:lnTo>
                    <a:pt x="66" y="26"/>
                  </a:lnTo>
                  <a:lnTo>
                    <a:pt x="66" y="26"/>
                  </a:lnTo>
                  <a:lnTo>
                    <a:pt x="64" y="24"/>
                  </a:lnTo>
                  <a:lnTo>
                    <a:pt x="66" y="24"/>
                  </a:lnTo>
                  <a:lnTo>
                    <a:pt x="66" y="24"/>
                  </a:lnTo>
                  <a:lnTo>
                    <a:pt x="64" y="21"/>
                  </a:lnTo>
                  <a:lnTo>
                    <a:pt x="64" y="21"/>
                  </a:lnTo>
                  <a:lnTo>
                    <a:pt x="62" y="21"/>
                  </a:lnTo>
                  <a:lnTo>
                    <a:pt x="62" y="21"/>
                  </a:lnTo>
                  <a:lnTo>
                    <a:pt x="62" y="19"/>
                  </a:lnTo>
                  <a:lnTo>
                    <a:pt x="62" y="19"/>
                  </a:lnTo>
                  <a:lnTo>
                    <a:pt x="62" y="19"/>
                  </a:lnTo>
                  <a:lnTo>
                    <a:pt x="59" y="19"/>
                  </a:lnTo>
                  <a:lnTo>
                    <a:pt x="59" y="19"/>
                  </a:lnTo>
                  <a:lnTo>
                    <a:pt x="57" y="21"/>
                  </a:lnTo>
                  <a:lnTo>
                    <a:pt x="57" y="21"/>
                  </a:lnTo>
                  <a:lnTo>
                    <a:pt x="57" y="21"/>
                  </a:lnTo>
                  <a:lnTo>
                    <a:pt x="57" y="21"/>
                  </a:lnTo>
                  <a:lnTo>
                    <a:pt x="54" y="24"/>
                  </a:lnTo>
                  <a:lnTo>
                    <a:pt x="54" y="24"/>
                  </a:lnTo>
                  <a:lnTo>
                    <a:pt x="54" y="24"/>
                  </a:lnTo>
                  <a:lnTo>
                    <a:pt x="54" y="24"/>
                  </a:lnTo>
                  <a:lnTo>
                    <a:pt x="52" y="24"/>
                  </a:lnTo>
                  <a:lnTo>
                    <a:pt x="50" y="24"/>
                  </a:lnTo>
                  <a:lnTo>
                    <a:pt x="50" y="24"/>
                  </a:lnTo>
                  <a:lnTo>
                    <a:pt x="47" y="21"/>
                  </a:lnTo>
                  <a:lnTo>
                    <a:pt x="47" y="21"/>
                  </a:lnTo>
                  <a:lnTo>
                    <a:pt x="45" y="21"/>
                  </a:lnTo>
                  <a:lnTo>
                    <a:pt x="43" y="19"/>
                  </a:lnTo>
                  <a:lnTo>
                    <a:pt x="43" y="17"/>
                  </a:lnTo>
                  <a:lnTo>
                    <a:pt x="43" y="17"/>
                  </a:lnTo>
                  <a:lnTo>
                    <a:pt x="45" y="17"/>
                  </a:lnTo>
                  <a:lnTo>
                    <a:pt x="47" y="14"/>
                  </a:lnTo>
                  <a:lnTo>
                    <a:pt x="50" y="14"/>
                  </a:lnTo>
                  <a:lnTo>
                    <a:pt x="50" y="14"/>
                  </a:lnTo>
                  <a:lnTo>
                    <a:pt x="47" y="14"/>
                  </a:lnTo>
                  <a:lnTo>
                    <a:pt x="47" y="12"/>
                  </a:lnTo>
                  <a:lnTo>
                    <a:pt x="47" y="12"/>
                  </a:lnTo>
                  <a:lnTo>
                    <a:pt x="47" y="12"/>
                  </a:lnTo>
                  <a:lnTo>
                    <a:pt x="47" y="12"/>
                  </a:lnTo>
                  <a:lnTo>
                    <a:pt x="50" y="12"/>
                  </a:lnTo>
                  <a:lnTo>
                    <a:pt x="50" y="12"/>
                  </a:lnTo>
                  <a:lnTo>
                    <a:pt x="50" y="12"/>
                  </a:lnTo>
                  <a:lnTo>
                    <a:pt x="52" y="12"/>
                  </a:lnTo>
                  <a:lnTo>
                    <a:pt x="52" y="12"/>
                  </a:lnTo>
                  <a:lnTo>
                    <a:pt x="54" y="10"/>
                  </a:lnTo>
                  <a:lnTo>
                    <a:pt x="54" y="10"/>
                  </a:lnTo>
                  <a:lnTo>
                    <a:pt x="54" y="7"/>
                  </a:lnTo>
                  <a:lnTo>
                    <a:pt x="57" y="7"/>
                  </a:lnTo>
                  <a:lnTo>
                    <a:pt x="57" y="5"/>
                  </a:lnTo>
                  <a:lnTo>
                    <a:pt x="59" y="5"/>
                  </a:lnTo>
                  <a:lnTo>
                    <a:pt x="59" y="2"/>
                  </a:lnTo>
                  <a:lnTo>
                    <a:pt x="62" y="2"/>
                  </a:lnTo>
                  <a:lnTo>
                    <a:pt x="64" y="2"/>
                  </a:lnTo>
                  <a:lnTo>
                    <a:pt x="62" y="0"/>
                  </a:lnTo>
                  <a:lnTo>
                    <a:pt x="59" y="0"/>
                  </a:lnTo>
                  <a:lnTo>
                    <a:pt x="59" y="0"/>
                  </a:lnTo>
                  <a:lnTo>
                    <a:pt x="57" y="0"/>
                  </a:lnTo>
                  <a:lnTo>
                    <a:pt x="57" y="0"/>
                  </a:lnTo>
                  <a:lnTo>
                    <a:pt x="57" y="0"/>
                  </a:lnTo>
                  <a:lnTo>
                    <a:pt x="54" y="0"/>
                  </a:lnTo>
                  <a:lnTo>
                    <a:pt x="54" y="2"/>
                  </a:lnTo>
                  <a:lnTo>
                    <a:pt x="54" y="2"/>
                  </a:lnTo>
                  <a:lnTo>
                    <a:pt x="54" y="2"/>
                  </a:lnTo>
                  <a:lnTo>
                    <a:pt x="54" y="5"/>
                  </a:lnTo>
                  <a:lnTo>
                    <a:pt x="54" y="5"/>
                  </a:lnTo>
                  <a:lnTo>
                    <a:pt x="52" y="7"/>
                  </a:lnTo>
                  <a:lnTo>
                    <a:pt x="52" y="7"/>
                  </a:lnTo>
                  <a:lnTo>
                    <a:pt x="52" y="5"/>
                  </a:lnTo>
                  <a:lnTo>
                    <a:pt x="52" y="5"/>
                  </a:lnTo>
                  <a:lnTo>
                    <a:pt x="52" y="5"/>
                  </a:lnTo>
                  <a:lnTo>
                    <a:pt x="54" y="5"/>
                  </a:lnTo>
                  <a:lnTo>
                    <a:pt x="54" y="2"/>
                  </a:lnTo>
                  <a:lnTo>
                    <a:pt x="52" y="2"/>
                  </a:lnTo>
                  <a:lnTo>
                    <a:pt x="52" y="2"/>
                  </a:lnTo>
                  <a:lnTo>
                    <a:pt x="52" y="0"/>
                  </a:lnTo>
                  <a:lnTo>
                    <a:pt x="50" y="2"/>
                  </a:lnTo>
                  <a:lnTo>
                    <a:pt x="50" y="2"/>
                  </a:lnTo>
                  <a:lnTo>
                    <a:pt x="50" y="2"/>
                  </a:lnTo>
                  <a:lnTo>
                    <a:pt x="47" y="2"/>
                  </a:lnTo>
                  <a:lnTo>
                    <a:pt x="47" y="2"/>
                  </a:lnTo>
                  <a:lnTo>
                    <a:pt x="45" y="2"/>
                  </a:lnTo>
                  <a:lnTo>
                    <a:pt x="43" y="2"/>
                  </a:lnTo>
                  <a:lnTo>
                    <a:pt x="43" y="5"/>
                  </a:lnTo>
                  <a:lnTo>
                    <a:pt x="40" y="5"/>
                  </a:lnTo>
                  <a:lnTo>
                    <a:pt x="40" y="5"/>
                  </a:lnTo>
                  <a:lnTo>
                    <a:pt x="40" y="7"/>
                  </a:lnTo>
                  <a:lnTo>
                    <a:pt x="40" y="10"/>
                  </a:lnTo>
                  <a:lnTo>
                    <a:pt x="38" y="10"/>
                  </a:lnTo>
                  <a:lnTo>
                    <a:pt x="38" y="10"/>
                  </a:lnTo>
                  <a:lnTo>
                    <a:pt x="38" y="10"/>
                  </a:lnTo>
                  <a:lnTo>
                    <a:pt x="36" y="12"/>
                  </a:lnTo>
                  <a:lnTo>
                    <a:pt x="36" y="12"/>
                  </a:lnTo>
                  <a:lnTo>
                    <a:pt x="33" y="12"/>
                  </a:lnTo>
                  <a:lnTo>
                    <a:pt x="38" y="14"/>
                  </a:lnTo>
                  <a:lnTo>
                    <a:pt x="43" y="14"/>
                  </a:lnTo>
                  <a:lnTo>
                    <a:pt x="43" y="14"/>
                  </a:lnTo>
                  <a:lnTo>
                    <a:pt x="43" y="17"/>
                  </a:lnTo>
                  <a:lnTo>
                    <a:pt x="40" y="17"/>
                  </a:lnTo>
                  <a:lnTo>
                    <a:pt x="38" y="17"/>
                  </a:lnTo>
                  <a:lnTo>
                    <a:pt x="38" y="17"/>
                  </a:lnTo>
                  <a:lnTo>
                    <a:pt x="36" y="19"/>
                  </a:lnTo>
                  <a:lnTo>
                    <a:pt x="36" y="19"/>
                  </a:lnTo>
                  <a:lnTo>
                    <a:pt x="36" y="21"/>
                  </a:lnTo>
                  <a:lnTo>
                    <a:pt x="36" y="21"/>
                  </a:lnTo>
                  <a:lnTo>
                    <a:pt x="36" y="21"/>
                  </a:lnTo>
                  <a:lnTo>
                    <a:pt x="33" y="21"/>
                  </a:lnTo>
                  <a:lnTo>
                    <a:pt x="29" y="21"/>
                  </a:lnTo>
                  <a:lnTo>
                    <a:pt x="29" y="21"/>
                  </a:lnTo>
                  <a:lnTo>
                    <a:pt x="26" y="21"/>
                  </a:lnTo>
                  <a:lnTo>
                    <a:pt x="26" y="21"/>
                  </a:lnTo>
                  <a:lnTo>
                    <a:pt x="24" y="21"/>
                  </a:lnTo>
                  <a:lnTo>
                    <a:pt x="19" y="19"/>
                  </a:lnTo>
                  <a:lnTo>
                    <a:pt x="17" y="21"/>
                  </a:lnTo>
                  <a:lnTo>
                    <a:pt x="17" y="21"/>
                  </a:lnTo>
                  <a:lnTo>
                    <a:pt x="14" y="21"/>
                  </a:lnTo>
                  <a:lnTo>
                    <a:pt x="14" y="21"/>
                  </a:lnTo>
                  <a:lnTo>
                    <a:pt x="12" y="21"/>
                  </a:lnTo>
                  <a:lnTo>
                    <a:pt x="12" y="21"/>
                  </a:lnTo>
                  <a:lnTo>
                    <a:pt x="12" y="24"/>
                  </a:lnTo>
                  <a:lnTo>
                    <a:pt x="14" y="24"/>
                  </a:lnTo>
                  <a:lnTo>
                    <a:pt x="14" y="24"/>
                  </a:lnTo>
                  <a:lnTo>
                    <a:pt x="14" y="24"/>
                  </a:lnTo>
                  <a:lnTo>
                    <a:pt x="14" y="24"/>
                  </a:lnTo>
                  <a:lnTo>
                    <a:pt x="14" y="26"/>
                  </a:lnTo>
                  <a:lnTo>
                    <a:pt x="14" y="26"/>
                  </a:lnTo>
                  <a:lnTo>
                    <a:pt x="14" y="28"/>
                  </a:lnTo>
                  <a:lnTo>
                    <a:pt x="14" y="28"/>
                  </a:lnTo>
                  <a:lnTo>
                    <a:pt x="17" y="28"/>
                  </a:lnTo>
                  <a:lnTo>
                    <a:pt x="19" y="28"/>
                  </a:lnTo>
                  <a:lnTo>
                    <a:pt x="19" y="28"/>
                  </a:lnTo>
                  <a:lnTo>
                    <a:pt x="19" y="31"/>
                  </a:lnTo>
                  <a:lnTo>
                    <a:pt x="17" y="31"/>
                  </a:lnTo>
                  <a:lnTo>
                    <a:pt x="14" y="31"/>
                  </a:lnTo>
                  <a:lnTo>
                    <a:pt x="12" y="33"/>
                  </a:lnTo>
                  <a:lnTo>
                    <a:pt x="12" y="33"/>
                  </a:lnTo>
                  <a:lnTo>
                    <a:pt x="14" y="33"/>
                  </a:lnTo>
                  <a:lnTo>
                    <a:pt x="17" y="33"/>
                  </a:lnTo>
                  <a:lnTo>
                    <a:pt x="14" y="36"/>
                  </a:lnTo>
                  <a:lnTo>
                    <a:pt x="12" y="36"/>
                  </a:lnTo>
                  <a:lnTo>
                    <a:pt x="10" y="36"/>
                  </a:lnTo>
                  <a:lnTo>
                    <a:pt x="10" y="36"/>
                  </a:lnTo>
                  <a:lnTo>
                    <a:pt x="10" y="36"/>
                  </a:lnTo>
                  <a:lnTo>
                    <a:pt x="10" y="38"/>
                  </a:lnTo>
                  <a:lnTo>
                    <a:pt x="10" y="38"/>
                  </a:lnTo>
                  <a:lnTo>
                    <a:pt x="10" y="38"/>
                  </a:lnTo>
                  <a:lnTo>
                    <a:pt x="12" y="38"/>
                  </a:lnTo>
                  <a:lnTo>
                    <a:pt x="12" y="38"/>
                  </a:lnTo>
                  <a:lnTo>
                    <a:pt x="14" y="38"/>
                  </a:lnTo>
                  <a:lnTo>
                    <a:pt x="12" y="40"/>
                  </a:lnTo>
                  <a:lnTo>
                    <a:pt x="14" y="40"/>
                  </a:lnTo>
                  <a:lnTo>
                    <a:pt x="14" y="40"/>
                  </a:lnTo>
                  <a:lnTo>
                    <a:pt x="14" y="40"/>
                  </a:lnTo>
                  <a:lnTo>
                    <a:pt x="17" y="40"/>
                  </a:lnTo>
                  <a:lnTo>
                    <a:pt x="17" y="40"/>
                  </a:lnTo>
                  <a:lnTo>
                    <a:pt x="17" y="40"/>
                  </a:lnTo>
                  <a:lnTo>
                    <a:pt x="17" y="40"/>
                  </a:lnTo>
                  <a:lnTo>
                    <a:pt x="19" y="43"/>
                  </a:lnTo>
                  <a:lnTo>
                    <a:pt x="19" y="43"/>
                  </a:lnTo>
                  <a:lnTo>
                    <a:pt x="24" y="40"/>
                  </a:lnTo>
                  <a:lnTo>
                    <a:pt x="26" y="43"/>
                  </a:lnTo>
                  <a:lnTo>
                    <a:pt x="26" y="43"/>
                  </a:lnTo>
                  <a:lnTo>
                    <a:pt x="26" y="43"/>
                  </a:lnTo>
                  <a:lnTo>
                    <a:pt x="26" y="43"/>
                  </a:lnTo>
                  <a:lnTo>
                    <a:pt x="26" y="43"/>
                  </a:lnTo>
                  <a:lnTo>
                    <a:pt x="24" y="43"/>
                  </a:lnTo>
                  <a:lnTo>
                    <a:pt x="21" y="45"/>
                  </a:lnTo>
                  <a:lnTo>
                    <a:pt x="21" y="45"/>
                  </a:lnTo>
                  <a:lnTo>
                    <a:pt x="19" y="47"/>
                  </a:lnTo>
                  <a:lnTo>
                    <a:pt x="19" y="47"/>
                  </a:lnTo>
                  <a:lnTo>
                    <a:pt x="19" y="47"/>
                  </a:lnTo>
                  <a:lnTo>
                    <a:pt x="19" y="50"/>
                  </a:lnTo>
                  <a:lnTo>
                    <a:pt x="17" y="50"/>
                  </a:lnTo>
                  <a:lnTo>
                    <a:pt x="12" y="54"/>
                  </a:lnTo>
                  <a:lnTo>
                    <a:pt x="10" y="54"/>
                  </a:lnTo>
                  <a:lnTo>
                    <a:pt x="12" y="54"/>
                  </a:lnTo>
                  <a:lnTo>
                    <a:pt x="14" y="54"/>
                  </a:lnTo>
                  <a:lnTo>
                    <a:pt x="14" y="54"/>
                  </a:lnTo>
                  <a:lnTo>
                    <a:pt x="17" y="54"/>
                  </a:lnTo>
                  <a:lnTo>
                    <a:pt x="17" y="54"/>
                  </a:lnTo>
                  <a:lnTo>
                    <a:pt x="19" y="54"/>
                  </a:lnTo>
                  <a:lnTo>
                    <a:pt x="21" y="54"/>
                  </a:lnTo>
                  <a:lnTo>
                    <a:pt x="24" y="52"/>
                  </a:lnTo>
                  <a:lnTo>
                    <a:pt x="26" y="52"/>
                  </a:lnTo>
                  <a:lnTo>
                    <a:pt x="26" y="52"/>
                  </a:lnTo>
                  <a:lnTo>
                    <a:pt x="29" y="52"/>
                  </a:lnTo>
                  <a:lnTo>
                    <a:pt x="24" y="54"/>
                  </a:lnTo>
                  <a:lnTo>
                    <a:pt x="19" y="54"/>
                  </a:lnTo>
                  <a:lnTo>
                    <a:pt x="14" y="54"/>
                  </a:lnTo>
                  <a:lnTo>
                    <a:pt x="14" y="54"/>
                  </a:lnTo>
                  <a:lnTo>
                    <a:pt x="12" y="57"/>
                  </a:lnTo>
                  <a:lnTo>
                    <a:pt x="12" y="57"/>
                  </a:lnTo>
                  <a:lnTo>
                    <a:pt x="10" y="59"/>
                  </a:lnTo>
                  <a:lnTo>
                    <a:pt x="10" y="59"/>
                  </a:lnTo>
                  <a:lnTo>
                    <a:pt x="10" y="62"/>
                  </a:lnTo>
                  <a:lnTo>
                    <a:pt x="12" y="62"/>
                  </a:lnTo>
                  <a:lnTo>
                    <a:pt x="10" y="62"/>
                  </a:lnTo>
                  <a:lnTo>
                    <a:pt x="7" y="62"/>
                  </a:lnTo>
                  <a:lnTo>
                    <a:pt x="7" y="62"/>
                  </a:lnTo>
                  <a:lnTo>
                    <a:pt x="5" y="62"/>
                  </a:lnTo>
                  <a:lnTo>
                    <a:pt x="5" y="62"/>
                  </a:lnTo>
                  <a:lnTo>
                    <a:pt x="3" y="62"/>
                  </a:lnTo>
                  <a:lnTo>
                    <a:pt x="3" y="64"/>
                  </a:lnTo>
                  <a:lnTo>
                    <a:pt x="3" y="64"/>
                  </a:lnTo>
                  <a:lnTo>
                    <a:pt x="3" y="64"/>
                  </a:lnTo>
                  <a:lnTo>
                    <a:pt x="7" y="64"/>
                  </a:lnTo>
                  <a:lnTo>
                    <a:pt x="10" y="64"/>
                  </a:lnTo>
                  <a:lnTo>
                    <a:pt x="7" y="64"/>
                  </a:lnTo>
                  <a:lnTo>
                    <a:pt x="7" y="66"/>
                  </a:lnTo>
                  <a:lnTo>
                    <a:pt x="5" y="66"/>
                  </a:lnTo>
                  <a:lnTo>
                    <a:pt x="3" y="66"/>
                  </a:lnTo>
                  <a:lnTo>
                    <a:pt x="0" y="69"/>
                  </a:lnTo>
                  <a:lnTo>
                    <a:pt x="3" y="71"/>
                  </a:lnTo>
                  <a:lnTo>
                    <a:pt x="3" y="71"/>
                  </a:lnTo>
                  <a:lnTo>
                    <a:pt x="3" y="71"/>
                  </a:lnTo>
                  <a:lnTo>
                    <a:pt x="5" y="71"/>
                  </a:lnTo>
                  <a:lnTo>
                    <a:pt x="14" y="69"/>
                  </a:lnTo>
                  <a:lnTo>
                    <a:pt x="12" y="71"/>
                  </a:lnTo>
                  <a:lnTo>
                    <a:pt x="10" y="71"/>
                  </a:lnTo>
                  <a:lnTo>
                    <a:pt x="10" y="71"/>
                  </a:lnTo>
                  <a:lnTo>
                    <a:pt x="7" y="71"/>
                  </a:lnTo>
                  <a:lnTo>
                    <a:pt x="5" y="73"/>
                  </a:lnTo>
                  <a:lnTo>
                    <a:pt x="5" y="76"/>
                  </a:lnTo>
                  <a:lnTo>
                    <a:pt x="7" y="73"/>
                  </a:lnTo>
                  <a:lnTo>
                    <a:pt x="7" y="73"/>
                  </a:lnTo>
                  <a:lnTo>
                    <a:pt x="14" y="73"/>
                  </a:lnTo>
                  <a:lnTo>
                    <a:pt x="14" y="73"/>
                  </a:lnTo>
                  <a:lnTo>
                    <a:pt x="14" y="73"/>
                  </a:lnTo>
                  <a:lnTo>
                    <a:pt x="12" y="76"/>
                  </a:lnTo>
                  <a:lnTo>
                    <a:pt x="10" y="78"/>
                  </a:lnTo>
                  <a:lnTo>
                    <a:pt x="10" y="78"/>
                  </a:lnTo>
                  <a:lnTo>
                    <a:pt x="14" y="76"/>
                  </a:lnTo>
                  <a:lnTo>
                    <a:pt x="14" y="76"/>
                  </a:lnTo>
                  <a:lnTo>
                    <a:pt x="17" y="76"/>
                  </a:lnTo>
                  <a:lnTo>
                    <a:pt x="17" y="76"/>
                  </a:lnTo>
                  <a:lnTo>
                    <a:pt x="17" y="76"/>
                  </a:lnTo>
                  <a:lnTo>
                    <a:pt x="26" y="76"/>
                  </a:lnTo>
                  <a:lnTo>
                    <a:pt x="26" y="73"/>
                  </a:lnTo>
                  <a:lnTo>
                    <a:pt x="29" y="73"/>
                  </a:lnTo>
                  <a:lnTo>
                    <a:pt x="31" y="73"/>
                  </a:lnTo>
                  <a:lnTo>
                    <a:pt x="31" y="73"/>
                  </a:lnTo>
                  <a:lnTo>
                    <a:pt x="33" y="71"/>
                  </a:lnTo>
                  <a:lnTo>
                    <a:pt x="33" y="71"/>
                  </a:lnTo>
                  <a:lnTo>
                    <a:pt x="33" y="69"/>
                  </a:lnTo>
                  <a:lnTo>
                    <a:pt x="33" y="69"/>
                  </a:lnTo>
                  <a:lnTo>
                    <a:pt x="33" y="69"/>
                  </a:lnTo>
                  <a:lnTo>
                    <a:pt x="33" y="69"/>
                  </a:lnTo>
                  <a:lnTo>
                    <a:pt x="36" y="69"/>
                  </a:lnTo>
                  <a:lnTo>
                    <a:pt x="36" y="69"/>
                  </a:lnTo>
                  <a:lnTo>
                    <a:pt x="36" y="71"/>
                  </a:lnTo>
                  <a:lnTo>
                    <a:pt x="38" y="71"/>
                  </a:lnTo>
                  <a:lnTo>
                    <a:pt x="40" y="69"/>
                  </a:lnTo>
                  <a:lnTo>
                    <a:pt x="40" y="69"/>
                  </a:lnTo>
                  <a:lnTo>
                    <a:pt x="43" y="69"/>
                  </a:lnTo>
                  <a:lnTo>
                    <a:pt x="45" y="66"/>
                  </a:lnTo>
                  <a:lnTo>
                    <a:pt x="45" y="66"/>
                  </a:lnTo>
                  <a:lnTo>
                    <a:pt x="45" y="66"/>
                  </a:lnTo>
                  <a:lnTo>
                    <a:pt x="47" y="66"/>
                  </a:lnTo>
                  <a:lnTo>
                    <a:pt x="47" y="64"/>
                  </a:lnTo>
                  <a:lnTo>
                    <a:pt x="47" y="64"/>
                  </a:lnTo>
                  <a:lnTo>
                    <a:pt x="52" y="64"/>
                  </a:lnTo>
                  <a:lnTo>
                    <a:pt x="54" y="64"/>
                  </a:lnTo>
                  <a:lnTo>
                    <a:pt x="54" y="64"/>
                  </a:lnTo>
                  <a:lnTo>
                    <a:pt x="57" y="62"/>
                  </a:lnTo>
                  <a:lnTo>
                    <a:pt x="57" y="64"/>
                  </a:lnTo>
                  <a:lnTo>
                    <a:pt x="57" y="64"/>
                  </a:lnTo>
                  <a:lnTo>
                    <a:pt x="57" y="64"/>
                  </a:lnTo>
                  <a:lnTo>
                    <a:pt x="59" y="62"/>
                  </a:lnTo>
                  <a:lnTo>
                    <a:pt x="62" y="62"/>
                  </a:lnTo>
                  <a:lnTo>
                    <a:pt x="62" y="64"/>
                  </a:lnTo>
                  <a:lnTo>
                    <a:pt x="64" y="62"/>
                  </a:lnTo>
                  <a:lnTo>
                    <a:pt x="66" y="62"/>
                  </a:lnTo>
                  <a:lnTo>
                    <a:pt x="64" y="59"/>
                  </a:lnTo>
                  <a:lnTo>
                    <a:pt x="66" y="59"/>
                  </a:lnTo>
                  <a:lnTo>
                    <a:pt x="66" y="59"/>
                  </a:lnTo>
                  <a:lnTo>
                    <a:pt x="69" y="54"/>
                  </a:lnTo>
                  <a:lnTo>
                    <a:pt x="69" y="52"/>
                  </a:lnTo>
                  <a:lnTo>
                    <a:pt x="71" y="52"/>
                  </a:lnTo>
                  <a:lnTo>
                    <a:pt x="71" y="50"/>
                  </a:lnTo>
                  <a:lnTo>
                    <a:pt x="71" y="50"/>
                  </a:lnTo>
                  <a:lnTo>
                    <a:pt x="73" y="47"/>
                  </a:lnTo>
                  <a:lnTo>
                    <a:pt x="73" y="45"/>
                  </a:lnTo>
                  <a:lnTo>
                    <a:pt x="73" y="43"/>
                  </a:lnTo>
                  <a:lnTo>
                    <a:pt x="71"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3" name="Freeform 319"/>
            <p:cNvSpPr>
              <a:spLocks/>
            </p:cNvSpPr>
            <p:nvPr userDrawn="1"/>
          </p:nvSpPr>
          <p:spPr bwMode="auto">
            <a:xfrm>
              <a:off x="4348" y="2018"/>
              <a:ext cx="179" cy="177"/>
            </a:xfrm>
            <a:custGeom>
              <a:avLst/>
              <a:gdLst>
                <a:gd name="T0" fmla="*/ 177 w 179"/>
                <a:gd name="T1" fmla="*/ 154 h 177"/>
                <a:gd name="T2" fmla="*/ 175 w 179"/>
                <a:gd name="T3" fmla="*/ 149 h 177"/>
                <a:gd name="T4" fmla="*/ 170 w 179"/>
                <a:gd name="T5" fmla="*/ 147 h 177"/>
                <a:gd name="T6" fmla="*/ 168 w 179"/>
                <a:gd name="T7" fmla="*/ 135 h 177"/>
                <a:gd name="T8" fmla="*/ 160 w 179"/>
                <a:gd name="T9" fmla="*/ 128 h 177"/>
                <a:gd name="T10" fmla="*/ 158 w 179"/>
                <a:gd name="T11" fmla="*/ 113 h 177"/>
                <a:gd name="T12" fmla="*/ 153 w 179"/>
                <a:gd name="T13" fmla="*/ 104 h 177"/>
                <a:gd name="T14" fmla="*/ 142 w 179"/>
                <a:gd name="T15" fmla="*/ 99 h 177"/>
                <a:gd name="T16" fmla="*/ 130 w 179"/>
                <a:gd name="T17" fmla="*/ 95 h 177"/>
                <a:gd name="T18" fmla="*/ 130 w 179"/>
                <a:gd name="T19" fmla="*/ 90 h 177"/>
                <a:gd name="T20" fmla="*/ 125 w 179"/>
                <a:gd name="T21" fmla="*/ 83 h 177"/>
                <a:gd name="T22" fmla="*/ 123 w 179"/>
                <a:gd name="T23" fmla="*/ 80 h 177"/>
                <a:gd name="T24" fmla="*/ 116 w 179"/>
                <a:gd name="T25" fmla="*/ 73 h 177"/>
                <a:gd name="T26" fmla="*/ 116 w 179"/>
                <a:gd name="T27" fmla="*/ 69 h 177"/>
                <a:gd name="T28" fmla="*/ 116 w 179"/>
                <a:gd name="T29" fmla="*/ 61 h 177"/>
                <a:gd name="T30" fmla="*/ 118 w 179"/>
                <a:gd name="T31" fmla="*/ 59 h 177"/>
                <a:gd name="T32" fmla="*/ 120 w 179"/>
                <a:gd name="T33" fmla="*/ 50 h 177"/>
                <a:gd name="T34" fmla="*/ 125 w 179"/>
                <a:gd name="T35" fmla="*/ 45 h 177"/>
                <a:gd name="T36" fmla="*/ 120 w 179"/>
                <a:gd name="T37" fmla="*/ 40 h 177"/>
                <a:gd name="T38" fmla="*/ 125 w 179"/>
                <a:gd name="T39" fmla="*/ 35 h 177"/>
                <a:gd name="T40" fmla="*/ 120 w 179"/>
                <a:gd name="T41" fmla="*/ 33 h 177"/>
                <a:gd name="T42" fmla="*/ 113 w 179"/>
                <a:gd name="T43" fmla="*/ 31 h 177"/>
                <a:gd name="T44" fmla="*/ 109 w 179"/>
                <a:gd name="T45" fmla="*/ 28 h 177"/>
                <a:gd name="T46" fmla="*/ 104 w 179"/>
                <a:gd name="T47" fmla="*/ 21 h 177"/>
                <a:gd name="T48" fmla="*/ 102 w 179"/>
                <a:gd name="T49" fmla="*/ 16 h 177"/>
                <a:gd name="T50" fmla="*/ 99 w 179"/>
                <a:gd name="T51" fmla="*/ 14 h 177"/>
                <a:gd name="T52" fmla="*/ 97 w 179"/>
                <a:gd name="T53" fmla="*/ 5 h 177"/>
                <a:gd name="T54" fmla="*/ 92 w 179"/>
                <a:gd name="T55" fmla="*/ 5 h 177"/>
                <a:gd name="T56" fmla="*/ 87 w 179"/>
                <a:gd name="T57" fmla="*/ 9 h 177"/>
                <a:gd name="T58" fmla="*/ 85 w 179"/>
                <a:gd name="T59" fmla="*/ 5 h 177"/>
                <a:gd name="T60" fmla="*/ 83 w 179"/>
                <a:gd name="T61" fmla="*/ 2 h 177"/>
                <a:gd name="T62" fmla="*/ 76 w 179"/>
                <a:gd name="T63" fmla="*/ 2 h 177"/>
                <a:gd name="T64" fmla="*/ 69 w 179"/>
                <a:gd name="T65" fmla="*/ 0 h 177"/>
                <a:gd name="T66" fmla="*/ 61 w 179"/>
                <a:gd name="T67" fmla="*/ 0 h 177"/>
                <a:gd name="T68" fmla="*/ 57 w 179"/>
                <a:gd name="T69" fmla="*/ 5 h 177"/>
                <a:gd name="T70" fmla="*/ 52 w 179"/>
                <a:gd name="T71" fmla="*/ 9 h 177"/>
                <a:gd name="T72" fmla="*/ 43 w 179"/>
                <a:gd name="T73" fmla="*/ 16 h 177"/>
                <a:gd name="T74" fmla="*/ 38 w 179"/>
                <a:gd name="T75" fmla="*/ 24 h 177"/>
                <a:gd name="T76" fmla="*/ 40 w 179"/>
                <a:gd name="T77" fmla="*/ 33 h 177"/>
                <a:gd name="T78" fmla="*/ 38 w 179"/>
                <a:gd name="T79" fmla="*/ 42 h 177"/>
                <a:gd name="T80" fmla="*/ 38 w 179"/>
                <a:gd name="T81" fmla="*/ 57 h 177"/>
                <a:gd name="T82" fmla="*/ 31 w 179"/>
                <a:gd name="T83" fmla="*/ 66 h 177"/>
                <a:gd name="T84" fmla="*/ 12 w 179"/>
                <a:gd name="T85" fmla="*/ 78 h 177"/>
                <a:gd name="T86" fmla="*/ 0 w 179"/>
                <a:gd name="T87" fmla="*/ 90 h 177"/>
                <a:gd name="T88" fmla="*/ 5 w 179"/>
                <a:gd name="T89" fmla="*/ 104 h 177"/>
                <a:gd name="T90" fmla="*/ 10 w 179"/>
                <a:gd name="T91" fmla="*/ 109 h 177"/>
                <a:gd name="T92" fmla="*/ 24 w 179"/>
                <a:gd name="T93" fmla="*/ 113 h 177"/>
                <a:gd name="T94" fmla="*/ 43 w 179"/>
                <a:gd name="T95" fmla="*/ 123 h 177"/>
                <a:gd name="T96" fmla="*/ 61 w 179"/>
                <a:gd name="T97" fmla="*/ 135 h 177"/>
                <a:gd name="T98" fmla="*/ 83 w 179"/>
                <a:gd name="T99" fmla="*/ 149 h 177"/>
                <a:gd name="T100" fmla="*/ 106 w 179"/>
                <a:gd name="T101" fmla="*/ 168 h 177"/>
                <a:gd name="T102" fmla="*/ 127 w 179"/>
                <a:gd name="T103" fmla="*/ 175 h 177"/>
                <a:gd name="T104" fmla="*/ 149 w 179"/>
                <a:gd name="T105" fmla="*/ 173 h 177"/>
                <a:gd name="T106" fmla="*/ 153 w 179"/>
                <a:gd name="T107" fmla="*/ 161 h 177"/>
                <a:gd name="T108" fmla="*/ 156 w 179"/>
                <a:gd name="T109" fmla="*/ 156 h 177"/>
                <a:gd name="T110" fmla="*/ 163 w 179"/>
                <a:gd name="T111" fmla="*/ 154 h 177"/>
                <a:gd name="T112" fmla="*/ 170 w 179"/>
                <a:gd name="T113" fmla="*/ 156 h 177"/>
                <a:gd name="T114" fmla="*/ 179 w 179"/>
                <a:gd name="T115" fmla="*/ 15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 h="177">
                  <a:moveTo>
                    <a:pt x="179" y="156"/>
                  </a:moveTo>
                  <a:lnTo>
                    <a:pt x="177" y="156"/>
                  </a:lnTo>
                  <a:lnTo>
                    <a:pt x="177" y="154"/>
                  </a:lnTo>
                  <a:lnTo>
                    <a:pt x="177" y="154"/>
                  </a:lnTo>
                  <a:lnTo>
                    <a:pt x="177" y="154"/>
                  </a:lnTo>
                  <a:lnTo>
                    <a:pt x="177" y="151"/>
                  </a:lnTo>
                  <a:lnTo>
                    <a:pt x="175" y="151"/>
                  </a:lnTo>
                  <a:lnTo>
                    <a:pt x="175" y="149"/>
                  </a:lnTo>
                  <a:lnTo>
                    <a:pt x="172" y="149"/>
                  </a:lnTo>
                  <a:lnTo>
                    <a:pt x="172" y="149"/>
                  </a:lnTo>
                  <a:lnTo>
                    <a:pt x="172" y="147"/>
                  </a:lnTo>
                  <a:lnTo>
                    <a:pt x="170" y="147"/>
                  </a:lnTo>
                  <a:lnTo>
                    <a:pt x="170" y="147"/>
                  </a:lnTo>
                  <a:lnTo>
                    <a:pt x="168" y="142"/>
                  </a:lnTo>
                  <a:lnTo>
                    <a:pt x="168" y="139"/>
                  </a:lnTo>
                  <a:lnTo>
                    <a:pt x="168" y="135"/>
                  </a:lnTo>
                  <a:lnTo>
                    <a:pt x="165" y="135"/>
                  </a:lnTo>
                  <a:lnTo>
                    <a:pt x="163" y="135"/>
                  </a:lnTo>
                  <a:lnTo>
                    <a:pt x="160" y="132"/>
                  </a:lnTo>
                  <a:lnTo>
                    <a:pt x="160" y="128"/>
                  </a:lnTo>
                  <a:lnTo>
                    <a:pt x="163" y="123"/>
                  </a:lnTo>
                  <a:lnTo>
                    <a:pt x="163" y="118"/>
                  </a:lnTo>
                  <a:lnTo>
                    <a:pt x="160" y="116"/>
                  </a:lnTo>
                  <a:lnTo>
                    <a:pt x="158" y="113"/>
                  </a:lnTo>
                  <a:lnTo>
                    <a:pt x="156" y="111"/>
                  </a:lnTo>
                  <a:lnTo>
                    <a:pt x="153" y="106"/>
                  </a:lnTo>
                  <a:lnTo>
                    <a:pt x="153" y="106"/>
                  </a:lnTo>
                  <a:lnTo>
                    <a:pt x="153" y="104"/>
                  </a:lnTo>
                  <a:lnTo>
                    <a:pt x="151" y="104"/>
                  </a:lnTo>
                  <a:lnTo>
                    <a:pt x="149" y="104"/>
                  </a:lnTo>
                  <a:lnTo>
                    <a:pt x="146" y="102"/>
                  </a:lnTo>
                  <a:lnTo>
                    <a:pt x="142" y="99"/>
                  </a:lnTo>
                  <a:lnTo>
                    <a:pt x="137" y="97"/>
                  </a:lnTo>
                  <a:lnTo>
                    <a:pt x="135" y="95"/>
                  </a:lnTo>
                  <a:lnTo>
                    <a:pt x="132" y="95"/>
                  </a:lnTo>
                  <a:lnTo>
                    <a:pt x="130" y="95"/>
                  </a:lnTo>
                  <a:lnTo>
                    <a:pt x="130" y="95"/>
                  </a:lnTo>
                  <a:lnTo>
                    <a:pt x="130" y="92"/>
                  </a:lnTo>
                  <a:lnTo>
                    <a:pt x="130" y="92"/>
                  </a:lnTo>
                  <a:lnTo>
                    <a:pt x="130" y="90"/>
                  </a:lnTo>
                  <a:lnTo>
                    <a:pt x="130" y="87"/>
                  </a:lnTo>
                  <a:lnTo>
                    <a:pt x="127" y="85"/>
                  </a:lnTo>
                  <a:lnTo>
                    <a:pt x="125" y="83"/>
                  </a:lnTo>
                  <a:lnTo>
                    <a:pt x="125" y="83"/>
                  </a:lnTo>
                  <a:lnTo>
                    <a:pt x="125" y="83"/>
                  </a:lnTo>
                  <a:lnTo>
                    <a:pt x="125" y="80"/>
                  </a:lnTo>
                  <a:lnTo>
                    <a:pt x="125" y="80"/>
                  </a:lnTo>
                  <a:lnTo>
                    <a:pt x="123" y="80"/>
                  </a:lnTo>
                  <a:lnTo>
                    <a:pt x="123" y="80"/>
                  </a:lnTo>
                  <a:lnTo>
                    <a:pt x="120" y="80"/>
                  </a:lnTo>
                  <a:lnTo>
                    <a:pt x="120" y="78"/>
                  </a:lnTo>
                  <a:lnTo>
                    <a:pt x="116" y="73"/>
                  </a:lnTo>
                  <a:lnTo>
                    <a:pt x="116" y="73"/>
                  </a:lnTo>
                  <a:lnTo>
                    <a:pt x="116" y="73"/>
                  </a:lnTo>
                  <a:lnTo>
                    <a:pt x="116" y="71"/>
                  </a:lnTo>
                  <a:lnTo>
                    <a:pt x="116" y="69"/>
                  </a:lnTo>
                  <a:lnTo>
                    <a:pt x="116" y="69"/>
                  </a:lnTo>
                  <a:lnTo>
                    <a:pt x="116" y="66"/>
                  </a:lnTo>
                  <a:lnTo>
                    <a:pt x="113" y="64"/>
                  </a:lnTo>
                  <a:lnTo>
                    <a:pt x="116" y="61"/>
                  </a:lnTo>
                  <a:lnTo>
                    <a:pt x="116" y="61"/>
                  </a:lnTo>
                  <a:lnTo>
                    <a:pt x="116" y="59"/>
                  </a:lnTo>
                  <a:lnTo>
                    <a:pt x="116" y="59"/>
                  </a:lnTo>
                  <a:lnTo>
                    <a:pt x="118" y="59"/>
                  </a:lnTo>
                  <a:lnTo>
                    <a:pt x="118" y="59"/>
                  </a:lnTo>
                  <a:lnTo>
                    <a:pt x="118" y="57"/>
                  </a:lnTo>
                  <a:lnTo>
                    <a:pt x="118" y="54"/>
                  </a:lnTo>
                  <a:lnTo>
                    <a:pt x="120" y="50"/>
                  </a:lnTo>
                  <a:lnTo>
                    <a:pt x="123" y="50"/>
                  </a:lnTo>
                  <a:lnTo>
                    <a:pt x="125" y="47"/>
                  </a:lnTo>
                  <a:lnTo>
                    <a:pt x="125" y="47"/>
                  </a:lnTo>
                  <a:lnTo>
                    <a:pt x="125" y="45"/>
                  </a:lnTo>
                  <a:lnTo>
                    <a:pt x="125" y="45"/>
                  </a:lnTo>
                  <a:lnTo>
                    <a:pt x="125" y="45"/>
                  </a:lnTo>
                  <a:lnTo>
                    <a:pt x="123" y="42"/>
                  </a:lnTo>
                  <a:lnTo>
                    <a:pt x="120" y="40"/>
                  </a:lnTo>
                  <a:lnTo>
                    <a:pt x="120" y="40"/>
                  </a:lnTo>
                  <a:lnTo>
                    <a:pt x="120" y="38"/>
                  </a:lnTo>
                  <a:lnTo>
                    <a:pt x="123" y="35"/>
                  </a:lnTo>
                  <a:lnTo>
                    <a:pt x="125" y="35"/>
                  </a:lnTo>
                  <a:lnTo>
                    <a:pt x="125" y="35"/>
                  </a:lnTo>
                  <a:lnTo>
                    <a:pt x="125" y="35"/>
                  </a:lnTo>
                  <a:lnTo>
                    <a:pt x="123" y="33"/>
                  </a:lnTo>
                  <a:lnTo>
                    <a:pt x="120" y="33"/>
                  </a:lnTo>
                  <a:lnTo>
                    <a:pt x="116" y="33"/>
                  </a:lnTo>
                  <a:lnTo>
                    <a:pt x="116" y="33"/>
                  </a:lnTo>
                  <a:lnTo>
                    <a:pt x="113" y="31"/>
                  </a:lnTo>
                  <a:lnTo>
                    <a:pt x="113" y="31"/>
                  </a:lnTo>
                  <a:lnTo>
                    <a:pt x="111" y="28"/>
                  </a:lnTo>
                  <a:lnTo>
                    <a:pt x="111" y="28"/>
                  </a:lnTo>
                  <a:lnTo>
                    <a:pt x="109" y="28"/>
                  </a:lnTo>
                  <a:lnTo>
                    <a:pt x="109" y="28"/>
                  </a:lnTo>
                  <a:lnTo>
                    <a:pt x="106" y="21"/>
                  </a:lnTo>
                  <a:lnTo>
                    <a:pt x="106" y="21"/>
                  </a:lnTo>
                  <a:lnTo>
                    <a:pt x="104" y="21"/>
                  </a:lnTo>
                  <a:lnTo>
                    <a:pt x="104" y="21"/>
                  </a:lnTo>
                  <a:lnTo>
                    <a:pt x="104" y="21"/>
                  </a:lnTo>
                  <a:lnTo>
                    <a:pt x="102" y="19"/>
                  </a:lnTo>
                  <a:lnTo>
                    <a:pt x="102" y="19"/>
                  </a:lnTo>
                  <a:lnTo>
                    <a:pt x="102" y="16"/>
                  </a:lnTo>
                  <a:lnTo>
                    <a:pt x="102" y="14"/>
                  </a:lnTo>
                  <a:lnTo>
                    <a:pt x="102" y="14"/>
                  </a:lnTo>
                  <a:lnTo>
                    <a:pt x="102" y="14"/>
                  </a:lnTo>
                  <a:lnTo>
                    <a:pt x="99" y="14"/>
                  </a:lnTo>
                  <a:lnTo>
                    <a:pt x="99" y="12"/>
                  </a:lnTo>
                  <a:lnTo>
                    <a:pt x="97" y="7"/>
                  </a:lnTo>
                  <a:lnTo>
                    <a:pt x="97" y="5"/>
                  </a:lnTo>
                  <a:lnTo>
                    <a:pt x="97" y="5"/>
                  </a:lnTo>
                  <a:lnTo>
                    <a:pt x="94" y="5"/>
                  </a:lnTo>
                  <a:lnTo>
                    <a:pt x="94" y="5"/>
                  </a:lnTo>
                  <a:lnTo>
                    <a:pt x="92" y="5"/>
                  </a:lnTo>
                  <a:lnTo>
                    <a:pt x="92" y="5"/>
                  </a:lnTo>
                  <a:lnTo>
                    <a:pt x="92" y="5"/>
                  </a:lnTo>
                  <a:lnTo>
                    <a:pt x="90" y="7"/>
                  </a:lnTo>
                  <a:lnTo>
                    <a:pt x="87" y="7"/>
                  </a:lnTo>
                  <a:lnTo>
                    <a:pt x="87" y="9"/>
                  </a:lnTo>
                  <a:lnTo>
                    <a:pt x="87" y="9"/>
                  </a:lnTo>
                  <a:lnTo>
                    <a:pt x="87" y="7"/>
                  </a:lnTo>
                  <a:lnTo>
                    <a:pt x="87" y="7"/>
                  </a:lnTo>
                  <a:lnTo>
                    <a:pt x="85" y="5"/>
                  </a:lnTo>
                  <a:lnTo>
                    <a:pt x="85" y="2"/>
                  </a:lnTo>
                  <a:lnTo>
                    <a:pt x="85" y="2"/>
                  </a:lnTo>
                  <a:lnTo>
                    <a:pt x="85" y="2"/>
                  </a:lnTo>
                  <a:lnTo>
                    <a:pt x="83" y="2"/>
                  </a:lnTo>
                  <a:lnTo>
                    <a:pt x="83" y="2"/>
                  </a:lnTo>
                  <a:lnTo>
                    <a:pt x="80" y="2"/>
                  </a:lnTo>
                  <a:lnTo>
                    <a:pt x="80" y="2"/>
                  </a:lnTo>
                  <a:lnTo>
                    <a:pt x="76" y="2"/>
                  </a:lnTo>
                  <a:lnTo>
                    <a:pt x="76" y="2"/>
                  </a:lnTo>
                  <a:lnTo>
                    <a:pt x="73" y="2"/>
                  </a:lnTo>
                  <a:lnTo>
                    <a:pt x="71" y="2"/>
                  </a:lnTo>
                  <a:lnTo>
                    <a:pt x="69" y="0"/>
                  </a:lnTo>
                  <a:lnTo>
                    <a:pt x="69" y="0"/>
                  </a:lnTo>
                  <a:lnTo>
                    <a:pt x="66" y="0"/>
                  </a:lnTo>
                  <a:lnTo>
                    <a:pt x="64" y="0"/>
                  </a:lnTo>
                  <a:lnTo>
                    <a:pt x="61" y="0"/>
                  </a:lnTo>
                  <a:lnTo>
                    <a:pt x="61" y="0"/>
                  </a:lnTo>
                  <a:lnTo>
                    <a:pt x="59" y="0"/>
                  </a:lnTo>
                  <a:lnTo>
                    <a:pt x="59" y="2"/>
                  </a:lnTo>
                  <a:lnTo>
                    <a:pt x="57" y="5"/>
                  </a:lnTo>
                  <a:lnTo>
                    <a:pt x="54" y="5"/>
                  </a:lnTo>
                  <a:lnTo>
                    <a:pt x="54" y="7"/>
                  </a:lnTo>
                  <a:lnTo>
                    <a:pt x="54" y="7"/>
                  </a:lnTo>
                  <a:lnTo>
                    <a:pt x="52" y="9"/>
                  </a:lnTo>
                  <a:lnTo>
                    <a:pt x="50" y="12"/>
                  </a:lnTo>
                  <a:lnTo>
                    <a:pt x="47" y="14"/>
                  </a:lnTo>
                  <a:lnTo>
                    <a:pt x="45" y="16"/>
                  </a:lnTo>
                  <a:lnTo>
                    <a:pt x="43" y="16"/>
                  </a:lnTo>
                  <a:lnTo>
                    <a:pt x="38" y="19"/>
                  </a:lnTo>
                  <a:lnTo>
                    <a:pt x="38" y="19"/>
                  </a:lnTo>
                  <a:lnTo>
                    <a:pt x="38" y="21"/>
                  </a:lnTo>
                  <a:lnTo>
                    <a:pt x="38" y="24"/>
                  </a:lnTo>
                  <a:lnTo>
                    <a:pt x="38" y="26"/>
                  </a:lnTo>
                  <a:lnTo>
                    <a:pt x="38" y="28"/>
                  </a:lnTo>
                  <a:lnTo>
                    <a:pt x="38" y="31"/>
                  </a:lnTo>
                  <a:lnTo>
                    <a:pt x="40" y="33"/>
                  </a:lnTo>
                  <a:lnTo>
                    <a:pt x="40" y="35"/>
                  </a:lnTo>
                  <a:lnTo>
                    <a:pt x="40" y="38"/>
                  </a:lnTo>
                  <a:lnTo>
                    <a:pt x="40" y="40"/>
                  </a:lnTo>
                  <a:lnTo>
                    <a:pt x="38" y="42"/>
                  </a:lnTo>
                  <a:lnTo>
                    <a:pt x="38" y="45"/>
                  </a:lnTo>
                  <a:lnTo>
                    <a:pt x="38" y="50"/>
                  </a:lnTo>
                  <a:lnTo>
                    <a:pt x="38" y="54"/>
                  </a:lnTo>
                  <a:lnTo>
                    <a:pt x="38" y="57"/>
                  </a:lnTo>
                  <a:lnTo>
                    <a:pt x="38" y="59"/>
                  </a:lnTo>
                  <a:lnTo>
                    <a:pt x="36" y="64"/>
                  </a:lnTo>
                  <a:lnTo>
                    <a:pt x="36" y="64"/>
                  </a:lnTo>
                  <a:lnTo>
                    <a:pt x="31" y="66"/>
                  </a:lnTo>
                  <a:lnTo>
                    <a:pt x="26" y="69"/>
                  </a:lnTo>
                  <a:lnTo>
                    <a:pt x="21" y="71"/>
                  </a:lnTo>
                  <a:lnTo>
                    <a:pt x="17" y="73"/>
                  </a:lnTo>
                  <a:lnTo>
                    <a:pt x="12" y="78"/>
                  </a:lnTo>
                  <a:lnTo>
                    <a:pt x="7" y="80"/>
                  </a:lnTo>
                  <a:lnTo>
                    <a:pt x="5" y="83"/>
                  </a:lnTo>
                  <a:lnTo>
                    <a:pt x="0" y="85"/>
                  </a:lnTo>
                  <a:lnTo>
                    <a:pt x="0" y="90"/>
                  </a:lnTo>
                  <a:lnTo>
                    <a:pt x="3" y="95"/>
                  </a:lnTo>
                  <a:lnTo>
                    <a:pt x="5" y="99"/>
                  </a:lnTo>
                  <a:lnTo>
                    <a:pt x="5" y="104"/>
                  </a:lnTo>
                  <a:lnTo>
                    <a:pt x="5" y="104"/>
                  </a:lnTo>
                  <a:lnTo>
                    <a:pt x="5" y="109"/>
                  </a:lnTo>
                  <a:lnTo>
                    <a:pt x="7" y="106"/>
                  </a:lnTo>
                  <a:lnTo>
                    <a:pt x="10" y="106"/>
                  </a:lnTo>
                  <a:lnTo>
                    <a:pt x="10" y="109"/>
                  </a:lnTo>
                  <a:lnTo>
                    <a:pt x="7" y="111"/>
                  </a:lnTo>
                  <a:lnTo>
                    <a:pt x="12" y="113"/>
                  </a:lnTo>
                  <a:lnTo>
                    <a:pt x="19" y="113"/>
                  </a:lnTo>
                  <a:lnTo>
                    <a:pt x="24" y="113"/>
                  </a:lnTo>
                  <a:lnTo>
                    <a:pt x="31" y="116"/>
                  </a:lnTo>
                  <a:lnTo>
                    <a:pt x="33" y="116"/>
                  </a:lnTo>
                  <a:lnTo>
                    <a:pt x="38" y="121"/>
                  </a:lnTo>
                  <a:lnTo>
                    <a:pt x="43" y="123"/>
                  </a:lnTo>
                  <a:lnTo>
                    <a:pt x="47" y="125"/>
                  </a:lnTo>
                  <a:lnTo>
                    <a:pt x="52" y="128"/>
                  </a:lnTo>
                  <a:lnTo>
                    <a:pt x="57" y="130"/>
                  </a:lnTo>
                  <a:lnTo>
                    <a:pt x="61" y="135"/>
                  </a:lnTo>
                  <a:lnTo>
                    <a:pt x="66" y="137"/>
                  </a:lnTo>
                  <a:lnTo>
                    <a:pt x="71" y="142"/>
                  </a:lnTo>
                  <a:lnTo>
                    <a:pt x="78" y="147"/>
                  </a:lnTo>
                  <a:lnTo>
                    <a:pt x="83" y="149"/>
                  </a:lnTo>
                  <a:lnTo>
                    <a:pt x="87" y="154"/>
                  </a:lnTo>
                  <a:lnTo>
                    <a:pt x="94" y="161"/>
                  </a:lnTo>
                  <a:lnTo>
                    <a:pt x="102" y="165"/>
                  </a:lnTo>
                  <a:lnTo>
                    <a:pt x="106" y="168"/>
                  </a:lnTo>
                  <a:lnTo>
                    <a:pt x="113" y="173"/>
                  </a:lnTo>
                  <a:lnTo>
                    <a:pt x="113" y="173"/>
                  </a:lnTo>
                  <a:lnTo>
                    <a:pt x="118" y="175"/>
                  </a:lnTo>
                  <a:lnTo>
                    <a:pt x="127" y="175"/>
                  </a:lnTo>
                  <a:lnTo>
                    <a:pt x="135" y="175"/>
                  </a:lnTo>
                  <a:lnTo>
                    <a:pt x="142" y="177"/>
                  </a:lnTo>
                  <a:lnTo>
                    <a:pt x="146" y="175"/>
                  </a:lnTo>
                  <a:lnTo>
                    <a:pt x="149" y="173"/>
                  </a:lnTo>
                  <a:lnTo>
                    <a:pt x="149" y="170"/>
                  </a:lnTo>
                  <a:lnTo>
                    <a:pt x="151" y="165"/>
                  </a:lnTo>
                  <a:lnTo>
                    <a:pt x="151" y="163"/>
                  </a:lnTo>
                  <a:lnTo>
                    <a:pt x="153" y="161"/>
                  </a:lnTo>
                  <a:lnTo>
                    <a:pt x="153" y="158"/>
                  </a:lnTo>
                  <a:lnTo>
                    <a:pt x="153" y="158"/>
                  </a:lnTo>
                  <a:lnTo>
                    <a:pt x="153" y="156"/>
                  </a:lnTo>
                  <a:lnTo>
                    <a:pt x="156" y="156"/>
                  </a:lnTo>
                  <a:lnTo>
                    <a:pt x="158" y="154"/>
                  </a:lnTo>
                  <a:lnTo>
                    <a:pt x="160" y="154"/>
                  </a:lnTo>
                  <a:lnTo>
                    <a:pt x="163" y="154"/>
                  </a:lnTo>
                  <a:lnTo>
                    <a:pt x="163" y="154"/>
                  </a:lnTo>
                  <a:lnTo>
                    <a:pt x="165" y="154"/>
                  </a:lnTo>
                  <a:lnTo>
                    <a:pt x="170" y="156"/>
                  </a:lnTo>
                  <a:lnTo>
                    <a:pt x="170" y="156"/>
                  </a:lnTo>
                  <a:lnTo>
                    <a:pt x="170" y="156"/>
                  </a:lnTo>
                  <a:lnTo>
                    <a:pt x="172" y="156"/>
                  </a:lnTo>
                  <a:lnTo>
                    <a:pt x="177" y="158"/>
                  </a:lnTo>
                  <a:lnTo>
                    <a:pt x="177" y="158"/>
                  </a:lnTo>
                  <a:lnTo>
                    <a:pt x="179" y="158"/>
                  </a:lnTo>
                  <a:lnTo>
                    <a:pt x="179" y="15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4" name="Freeform 320"/>
            <p:cNvSpPr>
              <a:spLocks noEditPoints="1"/>
            </p:cNvSpPr>
            <p:nvPr userDrawn="1"/>
          </p:nvSpPr>
          <p:spPr bwMode="auto">
            <a:xfrm>
              <a:off x="4426" y="1966"/>
              <a:ext cx="372" cy="312"/>
            </a:xfrm>
            <a:custGeom>
              <a:avLst/>
              <a:gdLst>
                <a:gd name="T0" fmla="*/ 229 w 372"/>
                <a:gd name="T1" fmla="*/ 279 h 312"/>
                <a:gd name="T2" fmla="*/ 243 w 372"/>
                <a:gd name="T3" fmla="*/ 277 h 312"/>
                <a:gd name="T4" fmla="*/ 370 w 372"/>
                <a:gd name="T5" fmla="*/ 267 h 312"/>
                <a:gd name="T6" fmla="*/ 361 w 372"/>
                <a:gd name="T7" fmla="*/ 251 h 312"/>
                <a:gd name="T8" fmla="*/ 344 w 372"/>
                <a:gd name="T9" fmla="*/ 239 h 312"/>
                <a:gd name="T10" fmla="*/ 320 w 372"/>
                <a:gd name="T11" fmla="*/ 210 h 312"/>
                <a:gd name="T12" fmla="*/ 325 w 372"/>
                <a:gd name="T13" fmla="*/ 180 h 312"/>
                <a:gd name="T14" fmla="*/ 311 w 372"/>
                <a:gd name="T15" fmla="*/ 154 h 312"/>
                <a:gd name="T16" fmla="*/ 309 w 372"/>
                <a:gd name="T17" fmla="*/ 132 h 312"/>
                <a:gd name="T18" fmla="*/ 306 w 372"/>
                <a:gd name="T19" fmla="*/ 116 h 312"/>
                <a:gd name="T20" fmla="*/ 309 w 372"/>
                <a:gd name="T21" fmla="*/ 109 h 312"/>
                <a:gd name="T22" fmla="*/ 309 w 372"/>
                <a:gd name="T23" fmla="*/ 97 h 312"/>
                <a:gd name="T24" fmla="*/ 309 w 372"/>
                <a:gd name="T25" fmla="*/ 87 h 312"/>
                <a:gd name="T26" fmla="*/ 304 w 372"/>
                <a:gd name="T27" fmla="*/ 68 h 312"/>
                <a:gd name="T28" fmla="*/ 273 w 372"/>
                <a:gd name="T29" fmla="*/ 54 h 312"/>
                <a:gd name="T30" fmla="*/ 257 w 372"/>
                <a:gd name="T31" fmla="*/ 45 h 312"/>
                <a:gd name="T32" fmla="*/ 236 w 372"/>
                <a:gd name="T33" fmla="*/ 40 h 312"/>
                <a:gd name="T34" fmla="*/ 224 w 372"/>
                <a:gd name="T35" fmla="*/ 33 h 312"/>
                <a:gd name="T36" fmla="*/ 212 w 372"/>
                <a:gd name="T37" fmla="*/ 38 h 312"/>
                <a:gd name="T38" fmla="*/ 189 w 372"/>
                <a:gd name="T39" fmla="*/ 50 h 312"/>
                <a:gd name="T40" fmla="*/ 179 w 372"/>
                <a:gd name="T41" fmla="*/ 64 h 312"/>
                <a:gd name="T42" fmla="*/ 141 w 372"/>
                <a:gd name="T43" fmla="*/ 68 h 312"/>
                <a:gd name="T44" fmla="*/ 99 w 372"/>
                <a:gd name="T45" fmla="*/ 50 h 312"/>
                <a:gd name="T46" fmla="*/ 85 w 372"/>
                <a:gd name="T47" fmla="*/ 28 h 312"/>
                <a:gd name="T48" fmla="*/ 68 w 372"/>
                <a:gd name="T49" fmla="*/ 21 h 312"/>
                <a:gd name="T50" fmla="*/ 71 w 372"/>
                <a:gd name="T51" fmla="*/ 14 h 312"/>
                <a:gd name="T52" fmla="*/ 64 w 372"/>
                <a:gd name="T53" fmla="*/ 2 h 312"/>
                <a:gd name="T54" fmla="*/ 45 w 372"/>
                <a:gd name="T55" fmla="*/ 19 h 312"/>
                <a:gd name="T56" fmla="*/ 21 w 372"/>
                <a:gd name="T57" fmla="*/ 14 h 312"/>
                <a:gd name="T58" fmla="*/ 7 w 372"/>
                <a:gd name="T59" fmla="*/ 0 h 312"/>
                <a:gd name="T60" fmla="*/ 0 w 372"/>
                <a:gd name="T61" fmla="*/ 9 h 312"/>
                <a:gd name="T62" fmla="*/ 5 w 372"/>
                <a:gd name="T63" fmla="*/ 19 h 312"/>
                <a:gd name="T64" fmla="*/ 9 w 372"/>
                <a:gd name="T65" fmla="*/ 31 h 312"/>
                <a:gd name="T66" fmla="*/ 9 w 372"/>
                <a:gd name="T67" fmla="*/ 40 h 312"/>
                <a:gd name="T68" fmla="*/ 14 w 372"/>
                <a:gd name="T69" fmla="*/ 52 h 312"/>
                <a:gd name="T70" fmla="*/ 21 w 372"/>
                <a:gd name="T71" fmla="*/ 66 h 312"/>
                <a:gd name="T72" fmla="*/ 28 w 372"/>
                <a:gd name="T73" fmla="*/ 73 h 312"/>
                <a:gd name="T74" fmla="*/ 42 w 372"/>
                <a:gd name="T75" fmla="*/ 85 h 312"/>
                <a:gd name="T76" fmla="*/ 47 w 372"/>
                <a:gd name="T77" fmla="*/ 97 h 312"/>
                <a:gd name="T78" fmla="*/ 40 w 372"/>
                <a:gd name="T79" fmla="*/ 111 h 312"/>
                <a:gd name="T80" fmla="*/ 38 w 372"/>
                <a:gd name="T81" fmla="*/ 125 h 312"/>
                <a:gd name="T82" fmla="*/ 47 w 372"/>
                <a:gd name="T83" fmla="*/ 135 h 312"/>
                <a:gd name="T84" fmla="*/ 57 w 372"/>
                <a:gd name="T85" fmla="*/ 147 h 312"/>
                <a:gd name="T86" fmla="*/ 80 w 372"/>
                <a:gd name="T87" fmla="*/ 165 h 312"/>
                <a:gd name="T88" fmla="*/ 90 w 372"/>
                <a:gd name="T89" fmla="*/ 194 h 312"/>
                <a:gd name="T90" fmla="*/ 99 w 372"/>
                <a:gd name="T91" fmla="*/ 206 h 312"/>
                <a:gd name="T92" fmla="*/ 108 w 372"/>
                <a:gd name="T93" fmla="*/ 203 h 312"/>
                <a:gd name="T94" fmla="*/ 111 w 372"/>
                <a:gd name="T95" fmla="*/ 201 h 312"/>
                <a:gd name="T96" fmla="*/ 132 w 372"/>
                <a:gd name="T97" fmla="*/ 210 h 312"/>
                <a:gd name="T98" fmla="*/ 144 w 372"/>
                <a:gd name="T99" fmla="*/ 232 h 312"/>
                <a:gd name="T100" fmla="*/ 163 w 372"/>
                <a:gd name="T101" fmla="*/ 253 h 312"/>
                <a:gd name="T102" fmla="*/ 196 w 372"/>
                <a:gd name="T103" fmla="*/ 272 h 312"/>
                <a:gd name="T104" fmla="*/ 226 w 372"/>
                <a:gd name="T105" fmla="*/ 277 h 312"/>
                <a:gd name="T106" fmla="*/ 254 w 372"/>
                <a:gd name="T107" fmla="*/ 269 h 312"/>
                <a:gd name="T108" fmla="*/ 269 w 372"/>
                <a:gd name="T109" fmla="*/ 298 h 312"/>
                <a:gd name="T110" fmla="*/ 304 w 372"/>
                <a:gd name="T111" fmla="*/ 305 h 312"/>
                <a:gd name="T112" fmla="*/ 330 w 372"/>
                <a:gd name="T113" fmla="*/ 307 h 312"/>
                <a:gd name="T114" fmla="*/ 346 w 372"/>
                <a:gd name="T115" fmla="*/ 298 h 312"/>
                <a:gd name="T116" fmla="*/ 356 w 372"/>
                <a:gd name="T117" fmla="*/ 286 h 312"/>
                <a:gd name="T118" fmla="*/ 372 w 372"/>
                <a:gd name="T119" fmla="*/ 27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2" h="312">
                  <a:moveTo>
                    <a:pt x="243" y="272"/>
                  </a:moveTo>
                  <a:lnTo>
                    <a:pt x="240" y="274"/>
                  </a:lnTo>
                  <a:lnTo>
                    <a:pt x="238" y="272"/>
                  </a:lnTo>
                  <a:lnTo>
                    <a:pt x="238" y="274"/>
                  </a:lnTo>
                  <a:lnTo>
                    <a:pt x="238" y="274"/>
                  </a:lnTo>
                  <a:lnTo>
                    <a:pt x="238" y="277"/>
                  </a:lnTo>
                  <a:lnTo>
                    <a:pt x="233" y="279"/>
                  </a:lnTo>
                  <a:lnTo>
                    <a:pt x="231" y="279"/>
                  </a:lnTo>
                  <a:lnTo>
                    <a:pt x="229" y="279"/>
                  </a:lnTo>
                  <a:lnTo>
                    <a:pt x="229" y="279"/>
                  </a:lnTo>
                  <a:lnTo>
                    <a:pt x="231" y="281"/>
                  </a:lnTo>
                  <a:lnTo>
                    <a:pt x="231" y="281"/>
                  </a:lnTo>
                  <a:lnTo>
                    <a:pt x="231" y="281"/>
                  </a:lnTo>
                  <a:lnTo>
                    <a:pt x="233" y="279"/>
                  </a:lnTo>
                  <a:lnTo>
                    <a:pt x="236" y="279"/>
                  </a:lnTo>
                  <a:lnTo>
                    <a:pt x="238" y="279"/>
                  </a:lnTo>
                  <a:lnTo>
                    <a:pt x="240" y="277"/>
                  </a:lnTo>
                  <a:lnTo>
                    <a:pt x="240" y="277"/>
                  </a:lnTo>
                  <a:lnTo>
                    <a:pt x="240" y="279"/>
                  </a:lnTo>
                  <a:lnTo>
                    <a:pt x="243" y="277"/>
                  </a:lnTo>
                  <a:lnTo>
                    <a:pt x="245" y="274"/>
                  </a:lnTo>
                  <a:lnTo>
                    <a:pt x="247" y="272"/>
                  </a:lnTo>
                  <a:lnTo>
                    <a:pt x="245" y="272"/>
                  </a:lnTo>
                  <a:lnTo>
                    <a:pt x="243" y="272"/>
                  </a:lnTo>
                  <a:close/>
                  <a:moveTo>
                    <a:pt x="372" y="269"/>
                  </a:moveTo>
                  <a:lnTo>
                    <a:pt x="372" y="269"/>
                  </a:lnTo>
                  <a:lnTo>
                    <a:pt x="372" y="269"/>
                  </a:lnTo>
                  <a:lnTo>
                    <a:pt x="372" y="267"/>
                  </a:lnTo>
                  <a:lnTo>
                    <a:pt x="370" y="267"/>
                  </a:lnTo>
                  <a:lnTo>
                    <a:pt x="370" y="267"/>
                  </a:lnTo>
                  <a:lnTo>
                    <a:pt x="365" y="267"/>
                  </a:lnTo>
                  <a:lnTo>
                    <a:pt x="363" y="267"/>
                  </a:lnTo>
                  <a:lnTo>
                    <a:pt x="363" y="267"/>
                  </a:lnTo>
                  <a:lnTo>
                    <a:pt x="363" y="267"/>
                  </a:lnTo>
                  <a:lnTo>
                    <a:pt x="363" y="265"/>
                  </a:lnTo>
                  <a:lnTo>
                    <a:pt x="363" y="265"/>
                  </a:lnTo>
                  <a:lnTo>
                    <a:pt x="363" y="262"/>
                  </a:lnTo>
                  <a:lnTo>
                    <a:pt x="363" y="262"/>
                  </a:lnTo>
                  <a:lnTo>
                    <a:pt x="361" y="255"/>
                  </a:lnTo>
                  <a:lnTo>
                    <a:pt x="361" y="251"/>
                  </a:lnTo>
                  <a:lnTo>
                    <a:pt x="361" y="246"/>
                  </a:lnTo>
                  <a:lnTo>
                    <a:pt x="361" y="246"/>
                  </a:lnTo>
                  <a:lnTo>
                    <a:pt x="361" y="246"/>
                  </a:lnTo>
                  <a:lnTo>
                    <a:pt x="358" y="246"/>
                  </a:lnTo>
                  <a:lnTo>
                    <a:pt x="356" y="246"/>
                  </a:lnTo>
                  <a:lnTo>
                    <a:pt x="353" y="243"/>
                  </a:lnTo>
                  <a:lnTo>
                    <a:pt x="353" y="241"/>
                  </a:lnTo>
                  <a:lnTo>
                    <a:pt x="349" y="241"/>
                  </a:lnTo>
                  <a:lnTo>
                    <a:pt x="346" y="241"/>
                  </a:lnTo>
                  <a:lnTo>
                    <a:pt x="344" y="239"/>
                  </a:lnTo>
                  <a:lnTo>
                    <a:pt x="342" y="236"/>
                  </a:lnTo>
                  <a:lnTo>
                    <a:pt x="339" y="234"/>
                  </a:lnTo>
                  <a:lnTo>
                    <a:pt x="337" y="232"/>
                  </a:lnTo>
                  <a:lnTo>
                    <a:pt x="335" y="229"/>
                  </a:lnTo>
                  <a:lnTo>
                    <a:pt x="332" y="225"/>
                  </a:lnTo>
                  <a:lnTo>
                    <a:pt x="332" y="222"/>
                  </a:lnTo>
                  <a:lnTo>
                    <a:pt x="332" y="222"/>
                  </a:lnTo>
                  <a:lnTo>
                    <a:pt x="328" y="217"/>
                  </a:lnTo>
                  <a:lnTo>
                    <a:pt x="325" y="215"/>
                  </a:lnTo>
                  <a:lnTo>
                    <a:pt x="320" y="210"/>
                  </a:lnTo>
                  <a:lnTo>
                    <a:pt x="323" y="210"/>
                  </a:lnTo>
                  <a:lnTo>
                    <a:pt x="325" y="206"/>
                  </a:lnTo>
                  <a:lnTo>
                    <a:pt x="328" y="201"/>
                  </a:lnTo>
                  <a:lnTo>
                    <a:pt x="332" y="196"/>
                  </a:lnTo>
                  <a:lnTo>
                    <a:pt x="335" y="191"/>
                  </a:lnTo>
                  <a:lnTo>
                    <a:pt x="335" y="189"/>
                  </a:lnTo>
                  <a:lnTo>
                    <a:pt x="335" y="187"/>
                  </a:lnTo>
                  <a:lnTo>
                    <a:pt x="332" y="182"/>
                  </a:lnTo>
                  <a:lnTo>
                    <a:pt x="332" y="180"/>
                  </a:lnTo>
                  <a:lnTo>
                    <a:pt x="325" y="180"/>
                  </a:lnTo>
                  <a:lnTo>
                    <a:pt x="320" y="177"/>
                  </a:lnTo>
                  <a:lnTo>
                    <a:pt x="316" y="177"/>
                  </a:lnTo>
                  <a:lnTo>
                    <a:pt x="316" y="177"/>
                  </a:lnTo>
                  <a:lnTo>
                    <a:pt x="316" y="173"/>
                  </a:lnTo>
                  <a:lnTo>
                    <a:pt x="316" y="173"/>
                  </a:lnTo>
                  <a:lnTo>
                    <a:pt x="313" y="168"/>
                  </a:lnTo>
                  <a:lnTo>
                    <a:pt x="313" y="168"/>
                  </a:lnTo>
                  <a:lnTo>
                    <a:pt x="313" y="163"/>
                  </a:lnTo>
                  <a:lnTo>
                    <a:pt x="313" y="161"/>
                  </a:lnTo>
                  <a:lnTo>
                    <a:pt x="311" y="154"/>
                  </a:lnTo>
                  <a:lnTo>
                    <a:pt x="309" y="149"/>
                  </a:lnTo>
                  <a:lnTo>
                    <a:pt x="306" y="147"/>
                  </a:lnTo>
                  <a:lnTo>
                    <a:pt x="306" y="144"/>
                  </a:lnTo>
                  <a:lnTo>
                    <a:pt x="306" y="142"/>
                  </a:lnTo>
                  <a:lnTo>
                    <a:pt x="309" y="139"/>
                  </a:lnTo>
                  <a:lnTo>
                    <a:pt x="309" y="137"/>
                  </a:lnTo>
                  <a:lnTo>
                    <a:pt x="311" y="135"/>
                  </a:lnTo>
                  <a:lnTo>
                    <a:pt x="311" y="135"/>
                  </a:lnTo>
                  <a:lnTo>
                    <a:pt x="311" y="135"/>
                  </a:lnTo>
                  <a:lnTo>
                    <a:pt x="309" y="132"/>
                  </a:lnTo>
                  <a:lnTo>
                    <a:pt x="306" y="132"/>
                  </a:lnTo>
                  <a:lnTo>
                    <a:pt x="304" y="132"/>
                  </a:lnTo>
                  <a:lnTo>
                    <a:pt x="304" y="132"/>
                  </a:lnTo>
                  <a:lnTo>
                    <a:pt x="304" y="130"/>
                  </a:lnTo>
                  <a:lnTo>
                    <a:pt x="304" y="128"/>
                  </a:lnTo>
                  <a:lnTo>
                    <a:pt x="302" y="123"/>
                  </a:lnTo>
                  <a:lnTo>
                    <a:pt x="304" y="121"/>
                  </a:lnTo>
                  <a:lnTo>
                    <a:pt x="304" y="118"/>
                  </a:lnTo>
                  <a:lnTo>
                    <a:pt x="309" y="118"/>
                  </a:lnTo>
                  <a:lnTo>
                    <a:pt x="306" y="116"/>
                  </a:lnTo>
                  <a:lnTo>
                    <a:pt x="306" y="113"/>
                  </a:lnTo>
                  <a:lnTo>
                    <a:pt x="304" y="113"/>
                  </a:lnTo>
                  <a:lnTo>
                    <a:pt x="304" y="113"/>
                  </a:lnTo>
                  <a:lnTo>
                    <a:pt x="304" y="113"/>
                  </a:lnTo>
                  <a:lnTo>
                    <a:pt x="306" y="113"/>
                  </a:lnTo>
                  <a:lnTo>
                    <a:pt x="306" y="111"/>
                  </a:lnTo>
                  <a:lnTo>
                    <a:pt x="306" y="111"/>
                  </a:lnTo>
                  <a:lnTo>
                    <a:pt x="309" y="111"/>
                  </a:lnTo>
                  <a:lnTo>
                    <a:pt x="309" y="109"/>
                  </a:lnTo>
                  <a:lnTo>
                    <a:pt x="309" y="109"/>
                  </a:lnTo>
                  <a:lnTo>
                    <a:pt x="309" y="106"/>
                  </a:lnTo>
                  <a:lnTo>
                    <a:pt x="309" y="106"/>
                  </a:lnTo>
                  <a:lnTo>
                    <a:pt x="309" y="104"/>
                  </a:lnTo>
                  <a:lnTo>
                    <a:pt x="309" y="104"/>
                  </a:lnTo>
                  <a:lnTo>
                    <a:pt x="309" y="102"/>
                  </a:lnTo>
                  <a:lnTo>
                    <a:pt x="311" y="102"/>
                  </a:lnTo>
                  <a:lnTo>
                    <a:pt x="309" y="99"/>
                  </a:lnTo>
                  <a:lnTo>
                    <a:pt x="309" y="99"/>
                  </a:lnTo>
                  <a:lnTo>
                    <a:pt x="309" y="97"/>
                  </a:lnTo>
                  <a:lnTo>
                    <a:pt x="309" y="97"/>
                  </a:lnTo>
                  <a:lnTo>
                    <a:pt x="309" y="97"/>
                  </a:lnTo>
                  <a:lnTo>
                    <a:pt x="309" y="94"/>
                  </a:lnTo>
                  <a:lnTo>
                    <a:pt x="311" y="94"/>
                  </a:lnTo>
                  <a:lnTo>
                    <a:pt x="311" y="92"/>
                  </a:lnTo>
                  <a:lnTo>
                    <a:pt x="311" y="92"/>
                  </a:lnTo>
                  <a:lnTo>
                    <a:pt x="311" y="92"/>
                  </a:lnTo>
                  <a:lnTo>
                    <a:pt x="311" y="90"/>
                  </a:lnTo>
                  <a:lnTo>
                    <a:pt x="309" y="90"/>
                  </a:lnTo>
                  <a:lnTo>
                    <a:pt x="309" y="87"/>
                  </a:lnTo>
                  <a:lnTo>
                    <a:pt x="309" y="87"/>
                  </a:lnTo>
                  <a:lnTo>
                    <a:pt x="309" y="85"/>
                  </a:lnTo>
                  <a:lnTo>
                    <a:pt x="309" y="83"/>
                  </a:lnTo>
                  <a:lnTo>
                    <a:pt x="306" y="83"/>
                  </a:lnTo>
                  <a:lnTo>
                    <a:pt x="306" y="80"/>
                  </a:lnTo>
                  <a:lnTo>
                    <a:pt x="306" y="80"/>
                  </a:lnTo>
                  <a:lnTo>
                    <a:pt x="306" y="80"/>
                  </a:lnTo>
                  <a:lnTo>
                    <a:pt x="306" y="78"/>
                  </a:lnTo>
                  <a:lnTo>
                    <a:pt x="306" y="76"/>
                  </a:lnTo>
                  <a:lnTo>
                    <a:pt x="306" y="73"/>
                  </a:lnTo>
                  <a:lnTo>
                    <a:pt x="304" y="68"/>
                  </a:lnTo>
                  <a:lnTo>
                    <a:pt x="304" y="68"/>
                  </a:lnTo>
                  <a:lnTo>
                    <a:pt x="297" y="68"/>
                  </a:lnTo>
                  <a:lnTo>
                    <a:pt x="290" y="68"/>
                  </a:lnTo>
                  <a:lnTo>
                    <a:pt x="290" y="68"/>
                  </a:lnTo>
                  <a:lnTo>
                    <a:pt x="287" y="64"/>
                  </a:lnTo>
                  <a:lnTo>
                    <a:pt x="285" y="61"/>
                  </a:lnTo>
                  <a:lnTo>
                    <a:pt x="283" y="59"/>
                  </a:lnTo>
                  <a:lnTo>
                    <a:pt x="278" y="57"/>
                  </a:lnTo>
                  <a:lnTo>
                    <a:pt x="276" y="57"/>
                  </a:lnTo>
                  <a:lnTo>
                    <a:pt x="273" y="54"/>
                  </a:lnTo>
                  <a:lnTo>
                    <a:pt x="271" y="52"/>
                  </a:lnTo>
                  <a:lnTo>
                    <a:pt x="271" y="50"/>
                  </a:lnTo>
                  <a:lnTo>
                    <a:pt x="269" y="50"/>
                  </a:lnTo>
                  <a:lnTo>
                    <a:pt x="269" y="50"/>
                  </a:lnTo>
                  <a:lnTo>
                    <a:pt x="269" y="50"/>
                  </a:lnTo>
                  <a:lnTo>
                    <a:pt x="269" y="50"/>
                  </a:lnTo>
                  <a:lnTo>
                    <a:pt x="262" y="45"/>
                  </a:lnTo>
                  <a:lnTo>
                    <a:pt x="259" y="45"/>
                  </a:lnTo>
                  <a:lnTo>
                    <a:pt x="257" y="45"/>
                  </a:lnTo>
                  <a:lnTo>
                    <a:pt x="257" y="45"/>
                  </a:lnTo>
                  <a:lnTo>
                    <a:pt x="254" y="45"/>
                  </a:lnTo>
                  <a:lnTo>
                    <a:pt x="254" y="47"/>
                  </a:lnTo>
                  <a:lnTo>
                    <a:pt x="252" y="47"/>
                  </a:lnTo>
                  <a:lnTo>
                    <a:pt x="252" y="45"/>
                  </a:lnTo>
                  <a:lnTo>
                    <a:pt x="250" y="45"/>
                  </a:lnTo>
                  <a:lnTo>
                    <a:pt x="247" y="42"/>
                  </a:lnTo>
                  <a:lnTo>
                    <a:pt x="245" y="42"/>
                  </a:lnTo>
                  <a:lnTo>
                    <a:pt x="243" y="42"/>
                  </a:lnTo>
                  <a:lnTo>
                    <a:pt x="240" y="40"/>
                  </a:lnTo>
                  <a:lnTo>
                    <a:pt x="236" y="40"/>
                  </a:lnTo>
                  <a:lnTo>
                    <a:pt x="236" y="40"/>
                  </a:lnTo>
                  <a:lnTo>
                    <a:pt x="233" y="40"/>
                  </a:lnTo>
                  <a:lnTo>
                    <a:pt x="233" y="38"/>
                  </a:lnTo>
                  <a:lnTo>
                    <a:pt x="233" y="38"/>
                  </a:lnTo>
                  <a:lnTo>
                    <a:pt x="233" y="35"/>
                  </a:lnTo>
                  <a:lnTo>
                    <a:pt x="231" y="35"/>
                  </a:lnTo>
                  <a:lnTo>
                    <a:pt x="231" y="35"/>
                  </a:lnTo>
                  <a:lnTo>
                    <a:pt x="229" y="33"/>
                  </a:lnTo>
                  <a:lnTo>
                    <a:pt x="229" y="33"/>
                  </a:lnTo>
                  <a:lnTo>
                    <a:pt x="224" y="33"/>
                  </a:lnTo>
                  <a:lnTo>
                    <a:pt x="221" y="33"/>
                  </a:lnTo>
                  <a:lnTo>
                    <a:pt x="221" y="33"/>
                  </a:lnTo>
                  <a:lnTo>
                    <a:pt x="219" y="33"/>
                  </a:lnTo>
                  <a:lnTo>
                    <a:pt x="217" y="33"/>
                  </a:lnTo>
                  <a:lnTo>
                    <a:pt x="214" y="33"/>
                  </a:lnTo>
                  <a:lnTo>
                    <a:pt x="214" y="35"/>
                  </a:lnTo>
                  <a:lnTo>
                    <a:pt x="214" y="35"/>
                  </a:lnTo>
                  <a:lnTo>
                    <a:pt x="214" y="38"/>
                  </a:lnTo>
                  <a:lnTo>
                    <a:pt x="214" y="38"/>
                  </a:lnTo>
                  <a:lnTo>
                    <a:pt x="212" y="38"/>
                  </a:lnTo>
                  <a:lnTo>
                    <a:pt x="210" y="38"/>
                  </a:lnTo>
                  <a:lnTo>
                    <a:pt x="207" y="35"/>
                  </a:lnTo>
                  <a:lnTo>
                    <a:pt x="203" y="35"/>
                  </a:lnTo>
                  <a:lnTo>
                    <a:pt x="198" y="38"/>
                  </a:lnTo>
                  <a:lnTo>
                    <a:pt x="196" y="38"/>
                  </a:lnTo>
                  <a:lnTo>
                    <a:pt x="193" y="40"/>
                  </a:lnTo>
                  <a:lnTo>
                    <a:pt x="191" y="42"/>
                  </a:lnTo>
                  <a:lnTo>
                    <a:pt x="191" y="45"/>
                  </a:lnTo>
                  <a:lnTo>
                    <a:pt x="191" y="50"/>
                  </a:lnTo>
                  <a:lnTo>
                    <a:pt x="189" y="50"/>
                  </a:lnTo>
                  <a:lnTo>
                    <a:pt x="189" y="50"/>
                  </a:lnTo>
                  <a:lnTo>
                    <a:pt x="186" y="50"/>
                  </a:lnTo>
                  <a:lnTo>
                    <a:pt x="186" y="52"/>
                  </a:lnTo>
                  <a:lnTo>
                    <a:pt x="184" y="52"/>
                  </a:lnTo>
                  <a:lnTo>
                    <a:pt x="181" y="52"/>
                  </a:lnTo>
                  <a:lnTo>
                    <a:pt x="177" y="52"/>
                  </a:lnTo>
                  <a:lnTo>
                    <a:pt x="177" y="57"/>
                  </a:lnTo>
                  <a:lnTo>
                    <a:pt x="179" y="61"/>
                  </a:lnTo>
                  <a:lnTo>
                    <a:pt x="179" y="61"/>
                  </a:lnTo>
                  <a:lnTo>
                    <a:pt x="179" y="64"/>
                  </a:lnTo>
                  <a:lnTo>
                    <a:pt x="179" y="64"/>
                  </a:lnTo>
                  <a:lnTo>
                    <a:pt x="177" y="64"/>
                  </a:lnTo>
                  <a:lnTo>
                    <a:pt x="174" y="64"/>
                  </a:lnTo>
                  <a:lnTo>
                    <a:pt x="174" y="64"/>
                  </a:lnTo>
                  <a:lnTo>
                    <a:pt x="177" y="61"/>
                  </a:lnTo>
                  <a:lnTo>
                    <a:pt x="177" y="61"/>
                  </a:lnTo>
                  <a:lnTo>
                    <a:pt x="174" y="61"/>
                  </a:lnTo>
                  <a:lnTo>
                    <a:pt x="167" y="64"/>
                  </a:lnTo>
                  <a:lnTo>
                    <a:pt x="148" y="68"/>
                  </a:lnTo>
                  <a:lnTo>
                    <a:pt x="141" y="68"/>
                  </a:lnTo>
                  <a:lnTo>
                    <a:pt x="130" y="66"/>
                  </a:lnTo>
                  <a:lnTo>
                    <a:pt x="125" y="64"/>
                  </a:lnTo>
                  <a:lnTo>
                    <a:pt x="118" y="59"/>
                  </a:lnTo>
                  <a:lnTo>
                    <a:pt x="115" y="57"/>
                  </a:lnTo>
                  <a:lnTo>
                    <a:pt x="111" y="52"/>
                  </a:lnTo>
                  <a:lnTo>
                    <a:pt x="111" y="52"/>
                  </a:lnTo>
                  <a:lnTo>
                    <a:pt x="111" y="52"/>
                  </a:lnTo>
                  <a:lnTo>
                    <a:pt x="108" y="50"/>
                  </a:lnTo>
                  <a:lnTo>
                    <a:pt x="104" y="50"/>
                  </a:lnTo>
                  <a:lnTo>
                    <a:pt x="99" y="50"/>
                  </a:lnTo>
                  <a:lnTo>
                    <a:pt x="97" y="50"/>
                  </a:lnTo>
                  <a:lnTo>
                    <a:pt x="92" y="47"/>
                  </a:lnTo>
                  <a:lnTo>
                    <a:pt x="92" y="45"/>
                  </a:lnTo>
                  <a:lnTo>
                    <a:pt x="90" y="42"/>
                  </a:lnTo>
                  <a:lnTo>
                    <a:pt x="90" y="40"/>
                  </a:lnTo>
                  <a:lnTo>
                    <a:pt x="87" y="38"/>
                  </a:lnTo>
                  <a:lnTo>
                    <a:pt x="87" y="35"/>
                  </a:lnTo>
                  <a:lnTo>
                    <a:pt x="85" y="31"/>
                  </a:lnTo>
                  <a:lnTo>
                    <a:pt x="85" y="28"/>
                  </a:lnTo>
                  <a:lnTo>
                    <a:pt x="85" y="28"/>
                  </a:lnTo>
                  <a:lnTo>
                    <a:pt x="80" y="31"/>
                  </a:lnTo>
                  <a:lnTo>
                    <a:pt x="80" y="31"/>
                  </a:lnTo>
                  <a:lnTo>
                    <a:pt x="78" y="26"/>
                  </a:lnTo>
                  <a:lnTo>
                    <a:pt x="75" y="26"/>
                  </a:lnTo>
                  <a:lnTo>
                    <a:pt x="75" y="26"/>
                  </a:lnTo>
                  <a:lnTo>
                    <a:pt x="73" y="24"/>
                  </a:lnTo>
                  <a:lnTo>
                    <a:pt x="73" y="24"/>
                  </a:lnTo>
                  <a:lnTo>
                    <a:pt x="73" y="24"/>
                  </a:lnTo>
                  <a:lnTo>
                    <a:pt x="68" y="21"/>
                  </a:lnTo>
                  <a:lnTo>
                    <a:pt x="68" y="21"/>
                  </a:lnTo>
                  <a:lnTo>
                    <a:pt x="68" y="19"/>
                  </a:lnTo>
                  <a:lnTo>
                    <a:pt x="68" y="19"/>
                  </a:lnTo>
                  <a:lnTo>
                    <a:pt x="71" y="19"/>
                  </a:lnTo>
                  <a:lnTo>
                    <a:pt x="71" y="19"/>
                  </a:lnTo>
                  <a:lnTo>
                    <a:pt x="73" y="16"/>
                  </a:lnTo>
                  <a:lnTo>
                    <a:pt x="73" y="16"/>
                  </a:lnTo>
                  <a:lnTo>
                    <a:pt x="73" y="16"/>
                  </a:lnTo>
                  <a:lnTo>
                    <a:pt x="73" y="16"/>
                  </a:lnTo>
                  <a:lnTo>
                    <a:pt x="73" y="14"/>
                  </a:lnTo>
                  <a:lnTo>
                    <a:pt x="71" y="14"/>
                  </a:lnTo>
                  <a:lnTo>
                    <a:pt x="71" y="12"/>
                  </a:lnTo>
                  <a:lnTo>
                    <a:pt x="71" y="12"/>
                  </a:lnTo>
                  <a:lnTo>
                    <a:pt x="71" y="12"/>
                  </a:lnTo>
                  <a:lnTo>
                    <a:pt x="71" y="9"/>
                  </a:lnTo>
                  <a:lnTo>
                    <a:pt x="71" y="9"/>
                  </a:lnTo>
                  <a:lnTo>
                    <a:pt x="73" y="9"/>
                  </a:lnTo>
                  <a:lnTo>
                    <a:pt x="73" y="7"/>
                  </a:lnTo>
                  <a:lnTo>
                    <a:pt x="68" y="5"/>
                  </a:lnTo>
                  <a:lnTo>
                    <a:pt x="66" y="2"/>
                  </a:lnTo>
                  <a:lnTo>
                    <a:pt x="64" y="2"/>
                  </a:lnTo>
                  <a:lnTo>
                    <a:pt x="64" y="2"/>
                  </a:lnTo>
                  <a:lnTo>
                    <a:pt x="59" y="5"/>
                  </a:lnTo>
                  <a:lnTo>
                    <a:pt x="59" y="7"/>
                  </a:lnTo>
                  <a:lnTo>
                    <a:pt x="57" y="7"/>
                  </a:lnTo>
                  <a:lnTo>
                    <a:pt x="54" y="9"/>
                  </a:lnTo>
                  <a:lnTo>
                    <a:pt x="52" y="12"/>
                  </a:lnTo>
                  <a:lnTo>
                    <a:pt x="49" y="14"/>
                  </a:lnTo>
                  <a:lnTo>
                    <a:pt x="47" y="14"/>
                  </a:lnTo>
                  <a:lnTo>
                    <a:pt x="47" y="14"/>
                  </a:lnTo>
                  <a:lnTo>
                    <a:pt x="45" y="19"/>
                  </a:lnTo>
                  <a:lnTo>
                    <a:pt x="42" y="19"/>
                  </a:lnTo>
                  <a:lnTo>
                    <a:pt x="40" y="19"/>
                  </a:lnTo>
                  <a:lnTo>
                    <a:pt x="38" y="19"/>
                  </a:lnTo>
                  <a:lnTo>
                    <a:pt x="35" y="19"/>
                  </a:lnTo>
                  <a:lnTo>
                    <a:pt x="33" y="19"/>
                  </a:lnTo>
                  <a:lnTo>
                    <a:pt x="26" y="19"/>
                  </a:lnTo>
                  <a:lnTo>
                    <a:pt x="26" y="16"/>
                  </a:lnTo>
                  <a:lnTo>
                    <a:pt x="24" y="14"/>
                  </a:lnTo>
                  <a:lnTo>
                    <a:pt x="21" y="14"/>
                  </a:lnTo>
                  <a:lnTo>
                    <a:pt x="21" y="14"/>
                  </a:lnTo>
                  <a:lnTo>
                    <a:pt x="19" y="12"/>
                  </a:lnTo>
                  <a:lnTo>
                    <a:pt x="19" y="12"/>
                  </a:lnTo>
                  <a:lnTo>
                    <a:pt x="19" y="9"/>
                  </a:lnTo>
                  <a:lnTo>
                    <a:pt x="16" y="9"/>
                  </a:lnTo>
                  <a:lnTo>
                    <a:pt x="16" y="7"/>
                  </a:lnTo>
                  <a:lnTo>
                    <a:pt x="12" y="5"/>
                  </a:lnTo>
                  <a:lnTo>
                    <a:pt x="12" y="2"/>
                  </a:lnTo>
                  <a:lnTo>
                    <a:pt x="12" y="2"/>
                  </a:lnTo>
                  <a:lnTo>
                    <a:pt x="9" y="2"/>
                  </a:lnTo>
                  <a:lnTo>
                    <a:pt x="7" y="0"/>
                  </a:lnTo>
                  <a:lnTo>
                    <a:pt x="7" y="2"/>
                  </a:lnTo>
                  <a:lnTo>
                    <a:pt x="5" y="2"/>
                  </a:lnTo>
                  <a:lnTo>
                    <a:pt x="5" y="7"/>
                  </a:lnTo>
                  <a:lnTo>
                    <a:pt x="5" y="9"/>
                  </a:lnTo>
                  <a:lnTo>
                    <a:pt x="2" y="9"/>
                  </a:lnTo>
                  <a:lnTo>
                    <a:pt x="0" y="9"/>
                  </a:lnTo>
                  <a:lnTo>
                    <a:pt x="0" y="9"/>
                  </a:lnTo>
                  <a:lnTo>
                    <a:pt x="0" y="9"/>
                  </a:lnTo>
                  <a:lnTo>
                    <a:pt x="0" y="9"/>
                  </a:lnTo>
                  <a:lnTo>
                    <a:pt x="0" y="9"/>
                  </a:lnTo>
                  <a:lnTo>
                    <a:pt x="0" y="12"/>
                  </a:lnTo>
                  <a:lnTo>
                    <a:pt x="0" y="12"/>
                  </a:lnTo>
                  <a:lnTo>
                    <a:pt x="2" y="14"/>
                  </a:lnTo>
                  <a:lnTo>
                    <a:pt x="2" y="14"/>
                  </a:lnTo>
                  <a:lnTo>
                    <a:pt x="2" y="14"/>
                  </a:lnTo>
                  <a:lnTo>
                    <a:pt x="2" y="16"/>
                  </a:lnTo>
                  <a:lnTo>
                    <a:pt x="2" y="16"/>
                  </a:lnTo>
                  <a:lnTo>
                    <a:pt x="2" y="16"/>
                  </a:lnTo>
                  <a:lnTo>
                    <a:pt x="2" y="19"/>
                  </a:lnTo>
                  <a:lnTo>
                    <a:pt x="5" y="19"/>
                  </a:lnTo>
                  <a:lnTo>
                    <a:pt x="5" y="21"/>
                  </a:lnTo>
                  <a:lnTo>
                    <a:pt x="5" y="24"/>
                  </a:lnTo>
                  <a:lnTo>
                    <a:pt x="5" y="24"/>
                  </a:lnTo>
                  <a:lnTo>
                    <a:pt x="7" y="26"/>
                  </a:lnTo>
                  <a:lnTo>
                    <a:pt x="7" y="28"/>
                  </a:lnTo>
                  <a:lnTo>
                    <a:pt x="7" y="31"/>
                  </a:lnTo>
                  <a:lnTo>
                    <a:pt x="7" y="31"/>
                  </a:lnTo>
                  <a:lnTo>
                    <a:pt x="7" y="31"/>
                  </a:lnTo>
                  <a:lnTo>
                    <a:pt x="9" y="31"/>
                  </a:lnTo>
                  <a:lnTo>
                    <a:pt x="9" y="31"/>
                  </a:lnTo>
                  <a:lnTo>
                    <a:pt x="9" y="31"/>
                  </a:lnTo>
                  <a:lnTo>
                    <a:pt x="7" y="33"/>
                  </a:lnTo>
                  <a:lnTo>
                    <a:pt x="7" y="33"/>
                  </a:lnTo>
                  <a:lnTo>
                    <a:pt x="7" y="35"/>
                  </a:lnTo>
                  <a:lnTo>
                    <a:pt x="7" y="35"/>
                  </a:lnTo>
                  <a:lnTo>
                    <a:pt x="7" y="38"/>
                  </a:lnTo>
                  <a:lnTo>
                    <a:pt x="7" y="40"/>
                  </a:lnTo>
                  <a:lnTo>
                    <a:pt x="7" y="40"/>
                  </a:lnTo>
                  <a:lnTo>
                    <a:pt x="7" y="40"/>
                  </a:lnTo>
                  <a:lnTo>
                    <a:pt x="9" y="40"/>
                  </a:lnTo>
                  <a:lnTo>
                    <a:pt x="9" y="42"/>
                  </a:lnTo>
                  <a:lnTo>
                    <a:pt x="12" y="45"/>
                  </a:lnTo>
                  <a:lnTo>
                    <a:pt x="14" y="45"/>
                  </a:lnTo>
                  <a:lnTo>
                    <a:pt x="12" y="45"/>
                  </a:lnTo>
                  <a:lnTo>
                    <a:pt x="12" y="47"/>
                  </a:lnTo>
                  <a:lnTo>
                    <a:pt x="14" y="47"/>
                  </a:lnTo>
                  <a:lnTo>
                    <a:pt x="14" y="47"/>
                  </a:lnTo>
                  <a:lnTo>
                    <a:pt x="14" y="50"/>
                  </a:lnTo>
                  <a:lnTo>
                    <a:pt x="14" y="50"/>
                  </a:lnTo>
                  <a:lnTo>
                    <a:pt x="14" y="52"/>
                  </a:lnTo>
                  <a:lnTo>
                    <a:pt x="16" y="52"/>
                  </a:lnTo>
                  <a:lnTo>
                    <a:pt x="19" y="54"/>
                  </a:lnTo>
                  <a:lnTo>
                    <a:pt x="19" y="54"/>
                  </a:lnTo>
                  <a:lnTo>
                    <a:pt x="16" y="54"/>
                  </a:lnTo>
                  <a:lnTo>
                    <a:pt x="19" y="57"/>
                  </a:lnTo>
                  <a:lnTo>
                    <a:pt x="19" y="57"/>
                  </a:lnTo>
                  <a:lnTo>
                    <a:pt x="19" y="57"/>
                  </a:lnTo>
                  <a:lnTo>
                    <a:pt x="19" y="59"/>
                  </a:lnTo>
                  <a:lnTo>
                    <a:pt x="21" y="64"/>
                  </a:lnTo>
                  <a:lnTo>
                    <a:pt x="21" y="66"/>
                  </a:lnTo>
                  <a:lnTo>
                    <a:pt x="24" y="66"/>
                  </a:lnTo>
                  <a:lnTo>
                    <a:pt x="24" y="66"/>
                  </a:lnTo>
                  <a:lnTo>
                    <a:pt x="24" y="66"/>
                  </a:lnTo>
                  <a:lnTo>
                    <a:pt x="24" y="68"/>
                  </a:lnTo>
                  <a:lnTo>
                    <a:pt x="24" y="71"/>
                  </a:lnTo>
                  <a:lnTo>
                    <a:pt x="24" y="71"/>
                  </a:lnTo>
                  <a:lnTo>
                    <a:pt x="26" y="73"/>
                  </a:lnTo>
                  <a:lnTo>
                    <a:pt x="26" y="73"/>
                  </a:lnTo>
                  <a:lnTo>
                    <a:pt x="26" y="73"/>
                  </a:lnTo>
                  <a:lnTo>
                    <a:pt x="28" y="73"/>
                  </a:lnTo>
                  <a:lnTo>
                    <a:pt x="28" y="73"/>
                  </a:lnTo>
                  <a:lnTo>
                    <a:pt x="31" y="80"/>
                  </a:lnTo>
                  <a:lnTo>
                    <a:pt x="31" y="80"/>
                  </a:lnTo>
                  <a:lnTo>
                    <a:pt x="33" y="80"/>
                  </a:lnTo>
                  <a:lnTo>
                    <a:pt x="33" y="80"/>
                  </a:lnTo>
                  <a:lnTo>
                    <a:pt x="35" y="83"/>
                  </a:lnTo>
                  <a:lnTo>
                    <a:pt x="35" y="83"/>
                  </a:lnTo>
                  <a:lnTo>
                    <a:pt x="38" y="85"/>
                  </a:lnTo>
                  <a:lnTo>
                    <a:pt x="38" y="85"/>
                  </a:lnTo>
                  <a:lnTo>
                    <a:pt x="42" y="85"/>
                  </a:lnTo>
                  <a:lnTo>
                    <a:pt x="45" y="85"/>
                  </a:lnTo>
                  <a:lnTo>
                    <a:pt x="47" y="87"/>
                  </a:lnTo>
                  <a:lnTo>
                    <a:pt x="47" y="87"/>
                  </a:lnTo>
                  <a:lnTo>
                    <a:pt x="47" y="87"/>
                  </a:lnTo>
                  <a:lnTo>
                    <a:pt x="45" y="87"/>
                  </a:lnTo>
                  <a:lnTo>
                    <a:pt x="42" y="90"/>
                  </a:lnTo>
                  <a:lnTo>
                    <a:pt x="42" y="92"/>
                  </a:lnTo>
                  <a:lnTo>
                    <a:pt x="42" y="92"/>
                  </a:lnTo>
                  <a:lnTo>
                    <a:pt x="45" y="94"/>
                  </a:lnTo>
                  <a:lnTo>
                    <a:pt x="47" y="97"/>
                  </a:lnTo>
                  <a:lnTo>
                    <a:pt x="47" y="97"/>
                  </a:lnTo>
                  <a:lnTo>
                    <a:pt x="47" y="97"/>
                  </a:lnTo>
                  <a:lnTo>
                    <a:pt x="47" y="99"/>
                  </a:lnTo>
                  <a:lnTo>
                    <a:pt x="47" y="99"/>
                  </a:lnTo>
                  <a:lnTo>
                    <a:pt x="45" y="102"/>
                  </a:lnTo>
                  <a:lnTo>
                    <a:pt x="42" y="102"/>
                  </a:lnTo>
                  <a:lnTo>
                    <a:pt x="40" y="106"/>
                  </a:lnTo>
                  <a:lnTo>
                    <a:pt x="40" y="109"/>
                  </a:lnTo>
                  <a:lnTo>
                    <a:pt x="40" y="111"/>
                  </a:lnTo>
                  <a:lnTo>
                    <a:pt x="40" y="111"/>
                  </a:lnTo>
                  <a:lnTo>
                    <a:pt x="38" y="111"/>
                  </a:lnTo>
                  <a:lnTo>
                    <a:pt x="38" y="111"/>
                  </a:lnTo>
                  <a:lnTo>
                    <a:pt x="38" y="113"/>
                  </a:lnTo>
                  <a:lnTo>
                    <a:pt x="38" y="113"/>
                  </a:lnTo>
                  <a:lnTo>
                    <a:pt x="35" y="116"/>
                  </a:lnTo>
                  <a:lnTo>
                    <a:pt x="38" y="118"/>
                  </a:lnTo>
                  <a:lnTo>
                    <a:pt x="38" y="121"/>
                  </a:lnTo>
                  <a:lnTo>
                    <a:pt x="38" y="121"/>
                  </a:lnTo>
                  <a:lnTo>
                    <a:pt x="38" y="123"/>
                  </a:lnTo>
                  <a:lnTo>
                    <a:pt x="38" y="125"/>
                  </a:lnTo>
                  <a:lnTo>
                    <a:pt x="38" y="125"/>
                  </a:lnTo>
                  <a:lnTo>
                    <a:pt x="38" y="125"/>
                  </a:lnTo>
                  <a:lnTo>
                    <a:pt x="42" y="130"/>
                  </a:lnTo>
                  <a:lnTo>
                    <a:pt x="42" y="132"/>
                  </a:lnTo>
                  <a:lnTo>
                    <a:pt x="45" y="132"/>
                  </a:lnTo>
                  <a:lnTo>
                    <a:pt x="45" y="132"/>
                  </a:lnTo>
                  <a:lnTo>
                    <a:pt x="47" y="132"/>
                  </a:lnTo>
                  <a:lnTo>
                    <a:pt x="47" y="132"/>
                  </a:lnTo>
                  <a:lnTo>
                    <a:pt x="47" y="135"/>
                  </a:lnTo>
                  <a:lnTo>
                    <a:pt x="47" y="135"/>
                  </a:lnTo>
                  <a:lnTo>
                    <a:pt x="47" y="135"/>
                  </a:lnTo>
                  <a:lnTo>
                    <a:pt x="49" y="137"/>
                  </a:lnTo>
                  <a:lnTo>
                    <a:pt x="52" y="139"/>
                  </a:lnTo>
                  <a:lnTo>
                    <a:pt x="52" y="142"/>
                  </a:lnTo>
                  <a:lnTo>
                    <a:pt x="52" y="144"/>
                  </a:lnTo>
                  <a:lnTo>
                    <a:pt x="52" y="144"/>
                  </a:lnTo>
                  <a:lnTo>
                    <a:pt x="52" y="147"/>
                  </a:lnTo>
                  <a:lnTo>
                    <a:pt x="52" y="147"/>
                  </a:lnTo>
                  <a:lnTo>
                    <a:pt x="54" y="147"/>
                  </a:lnTo>
                  <a:lnTo>
                    <a:pt x="57" y="147"/>
                  </a:lnTo>
                  <a:lnTo>
                    <a:pt x="59" y="149"/>
                  </a:lnTo>
                  <a:lnTo>
                    <a:pt x="64" y="151"/>
                  </a:lnTo>
                  <a:lnTo>
                    <a:pt x="68" y="154"/>
                  </a:lnTo>
                  <a:lnTo>
                    <a:pt x="71" y="156"/>
                  </a:lnTo>
                  <a:lnTo>
                    <a:pt x="73" y="156"/>
                  </a:lnTo>
                  <a:lnTo>
                    <a:pt x="75" y="156"/>
                  </a:lnTo>
                  <a:lnTo>
                    <a:pt x="75" y="158"/>
                  </a:lnTo>
                  <a:lnTo>
                    <a:pt x="75" y="158"/>
                  </a:lnTo>
                  <a:lnTo>
                    <a:pt x="78" y="163"/>
                  </a:lnTo>
                  <a:lnTo>
                    <a:pt x="80" y="165"/>
                  </a:lnTo>
                  <a:lnTo>
                    <a:pt x="82" y="168"/>
                  </a:lnTo>
                  <a:lnTo>
                    <a:pt x="85" y="170"/>
                  </a:lnTo>
                  <a:lnTo>
                    <a:pt x="85" y="175"/>
                  </a:lnTo>
                  <a:lnTo>
                    <a:pt x="82" y="180"/>
                  </a:lnTo>
                  <a:lnTo>
                    <a:pt x="82" y="184"/>
                  </a:lnTo>
                  <a:lnTo>
                    <a:pt x="85" y="187"/>
                  </a:lnTo>
                  <a:lnTo>
                    <a:pt x="87" y="187"/>
                  </a:lnTo>
                  <a:lnTo>
                    <a:pt x="90" y="187"/>
                  </a:lnTo>
                  <a:lnTo>
                    <a:pt x="90" y="191"/>
                  </a:lnTo>
                  <a:lnTo>
                    <a:pt x="90" y="194"/>
                  </a:lnTo>
                  <a:lnTo>
                    <a:pt x="92" y="199"/>
                  </a:lnTo>
                  <a:lnTo>
                    <a:pt x="92" y="199"/>
                  </a:lnTo>
                  <a:lnTo>
                    <a:pt x="94" y="199"/>
                  </a:lnTo>
                  <a:lnTo>
                    <a:pt x="94" y="201"/>
                  </a:lnTo>
                  <a:lnTo>
                    <a:pt x="94" y="201"/>
                  </a:lnTo>
                  <a:lnTo>
                    <a:pt x="97" y="201"/>
                  </a:lnTo>
                  <a:lnTo>
                    <a:pt x="97" y="203"/>
                  </a:lnTo>
                  <a:lnTo>
                    <a:pt x="99" y="203"/>
                  </a:lnTo>
                  <a:lnTo>
                    <a:pt x="99" y="206"/>
                  </a:lnTo>
                  <a:lnTo>
                    <a:pt x="99" y="206"/>
                  </a:lnTo>
                  <a:lnTo>
                    <a:pt x="99" y="206"/>
                  </a:lnTo>
                  <a:lnTo>
                    <a:pt x="99" y="208"/>
                  </a:lnTo>
                  <a:lnTo>
                    <a:pt x="101" y="208"/>
                  </a:lnTo>
                  <a:lnTo>
                    <a:pt x="101" y="210"/>
                  </a:lnTo>
                  <a:lnTo>
                    <a:pt x="101" y="208"/>
                  </a:lnTo>
                  <a:lnTo>
                    <a:pt x="104" y="208"/>
                  </a:lnTo>
                  <a:lnTo>
                    <a:pt x="106" y="208"/>
                  </a:lnTo>
                  <a:lnTo>
                    <a:pt x="106" y="208"/>
                  </a:lnTo>
                  <a:lnTo>
                    <a:pt x="108" y="206"/>
                  </a:lnTo>
                  <a:lnTo>
                    <a:pt x="108" y="203"/>
                  </a:lnTo>
                  <a:lnTo>
                    <a:pt x="106" y="201"/>
                  </a:lnTo>
                  <a:lnTo>
                    <a:pt x="108" y="201"/>
                  </a:lnTo>
                  <a:lnTo>
                    <a:pt x="108" y="199"/>
                  </a:lnTo>
                  <a:lnTo>
                    <a:pt x="108" y="199"/>
                  </a:lnTo>
                  <a:lnTo>
                    <a:pt x="111" y="199"/>
                  </a:lnTo>
                  <a:lnTo>
                    <a:pt x="113" y="199"/>
                  </a:lnTo>
                  <a:lnTo>
                    <a:pt x="113" y="201"/>
                  </a:lnTo>
                  <a:lnTo>
                    <a:pt x="113" y="201"/>
                  </a:lnTo>
                  <a:lnTo>
                    <a:pt x="111" y="201"/>
                  </a:lnTo>
                  <a:lnTo>
                    <a:pt x="111" y="201"/>
                  </a:lnTo>
                  <a:lnTo>
                    <a:pt x="108" y="201"/>
                  </a:lnTo>
                  <a:lnTo>
                    <a:pt x="108" y="201"/>
                  </a:lnTo>
                  <a:lnTo>
                    <a:pt x="111" y="201"/>
                  </a:lnTo>
                  <a:lnTo>
                    <a:pt x="118" y="206"/>
                  </a:lnTo>
                  <a:lnTo>
                    <a:pt x="120" y="208"/>
                  </a:lnTo>
                  <a:lnTo>
                    <a:pt x="127" y="203"/>
                  </a:lnTo>
                  <a:lnTo>
                    <a:pt x="127" y="203"/>
                  </a:lnTo>
                  <a:lnTo>
                    <a:pt x="130" y="208"/>
                  </a:lnTo>
                  <a:lnTo>
                    <a:pt x="130" y="210"/>
                  </a:lnTo>
                  <a:lnTo>
                    <a:pt x="132" y="210"/>
                  </a:lnTo>
                  <a:lnTo>
                    <a:pt x="134" y="215"/>
                  </a:lnTo>
                  <a:lnTo>
                    <a:pt x="139" y="217"/>
                  </a:lnTo>
                  <a:lnTo>
                    <a:pt x="141" y="220"/>
                  </a:lnTo>
                  <a:lnTo>
                    <a:pt x="141" y="222"/>
                  </a:lnTo>
                  <a:lnTo>
                    <a:pt x="141" y="225"/>
                  </a:lnTo>
                  <a:lnTo>
                    <a:pt x="141" y="227"/>
                  </a:lnTo>
                  <a:lnTo>
                    <a:pt x="144" y="227"/>
                  </a:lnTo>
                  <a:lnTo>
                    <a:pt x="146" y="229"/>
                  </a:lnTo>
                  <a:lnTo>
                    <a:pt x="146" y="229"/>
                  </a:lnTo>
                  <a:lnTo>
                    <a:pt x="144" y="232"/>
                  </a:lnTo>
                  <a:lnTo>
                    <a:pt x="146" y="232"/>
                  </a:lnTo>
                  <a:lnTo>
                    <a:pt x="148" y="234"/>
                  </a:lnTo>
                  <a:lnTo>
                    <a:pt x="148" y="236"/>
                  </a:lnTo>
                  <a:lnTo>
                    <a:pt x="151" y="239"/>
                  </a:lnTo>
                  <a:lnTo>
                    <a:pt x="151" y="241"/>
                  </a:lnTo>
                  <a:lnTo>
                    <a:pt x="153" y="246"/>
                  </a:lnTo>
                  <a:lnTo>
                    <a:pt x="153" y="248"/>
                  </a:lnTo>
                  <a:lnTo>
                    <a:pt x="158" y="253"/>
                  </a:lnTo>
                  <a:lnTo>
                    <a:pt x="160" y="253"/>
                  </a:lnTo>
                  <a:lnTo>
                    <a:pt x="163" y="253"/>
                  </a:lnTo>
                  <a:lnTo>
                    <a:pt x="165" y="253"/>
                  </a:lnTo>
                  <a:lnTo>
                    <a:pt x="167" y="255"/>
                  </a:lnTo>
                  <a:lnTo>
                    <a:pt x="172" y="258"/>
                  </a:lnTo>
                  <a:lnTo>
                    <a:pt x="177" y="258"/>
                  </a:lnTo>
                  <a:lnTo>
                    <a:pt x="179" y="262"/>
                  </a:lnTo>
                  <a:lnTo>
                    <a:pt x="179" y="262"/>
                  </a:lnTo>
                  <a:lnTo>
                    <a:pt x="181" y="265"/>
                  </a:lnTo>
                  <a:lnTo>
                    <a:pt x="186" y="269"/>
                  </a:lnTo>
                  <a:lnTo>
                    <a:pt x="193" y="272"/>
                  </a:lnTo>
                  <a:lnTo>
                    <a:pt x="196" y="272"/>
                  </a:lnTo>
                  <a:lnTo>
                    <a:pt x="198" y="274"/>
                  </a:lnTo>
                  <a:lnTo>
                    <a:pt x="200" y="277"/>
                  </a:lnTo>
                  <a:lnTo>
                    <a:pt x="203" y="279"/>
                  </a:lnTo>
                  <a:lnTo>
                    <a:pt x="207" y="277"/>
                  </a:lnTo>
                  <a:lnTo>
                    <a:pt x="210" y="279"/>
                  </a:lnTo>
                  <a:lnTo>
                    <a:pt x="217" y="281"/>
                  </a:lnTo>
                  <a:lnTo>
                    <a:pt x="219" y="281"/>
                  </a:lnTo>
                  <a:lnTo>
                    <a:pt x="219" y="281"/>
                  </a:lnTo>
                  <a:lnTo>
                    <a:pt x="221" y="281"/>
                  </a:lnTo>
                  <a:lnTo>
                    <a:pt x="226" y="277"/>
                  </a:lnTo>
                  <a:lnTo>
                    <a:pt x="229" y="277"/>
                  </a:lnTo>
                  <a:lnTo>
                    <a:pt x="231" y="277"/>
                  </a:lnTo>
                  <a:lnTo>
                    <a:pt x="233" y="274"/>
                  </a:lnTo>
                  <a:lnTo>
                    <a:pt x="233" y="274"/>
                  </a:lnTo>
                  <a:lnTo>
                    <a:pt x="236" y="272"/>
                  </a:lnTo>
                  <a:lnTo>
                    <a:pt x="240" y="272"/>
                  </a:lnTo>
                  <a:lnTo>
                    <a:pt x="243" y="269"/>
                  </a:lnTo>
                  <a:lnTo>
                    <a:pt x="245" y="267"/>
                  </a:lnTo>
                  <a:lnTo>
                    <a:pt x="247" y="267"/>
                  </a:lnTo>
                  <a:lnTo>
                    <a:pt x="254" y="269"/>
                  </a:lnTo>
                  <a:lnTo>
                    <a:pt x="257" y="269"/>
                  </a:lnTo>
                  <a:lnTo>
                    <a:pt x="257" y="272"/>
                  </a:lnTo>
                  <a:lnTo>
                    <a:pt x="259" y="274"/>
                  </a:lnTo>
                  <a:lnTo>
                    <a:pt x="262" y="277"/>
                  </a:lnTo>
                  <a:lnTo>
                    <a:pt x="262" y="279"/>
                  </a:lnTo>
                  <a:lnTo>
                    <a:pt x="262" y="286"/>
                  </a:lnTo>
                  <a:lnTo>
                    <a:pt x="264" y="288"/>
                  </a:lnTo>
                  <a:lnTo>
                    <a:pt x="266" y="293"/>
                  </a:lnTo>
                  <a:lnTo>
                    <a:pt x="266" y="295"/>
                  </a:lnTo>
                  <a:lnTo>
                    <a:pt x="269" y="298"/>
                  </a:lnTo>
                  <a:lnTo>
                    <a:pt x="276" y="298"/>
                  </a:lnTo>
                  <a:lnTo>
                    <a:pt x="276" y="300"/>
                  </a:lnTo>
                  <a:lnTo>
                    <a:pt x="278" y="300"/>
                  </a:lnTo>
                  <a:lnTo>
                    <a:pt x="280" y="300"/>
                  </a:lnTo>
                  <a:lnTo>
                    <a:pt x="285" y="303"/>
                  </a:lnTo>
                  <a:lnTo>
                    <a:pt x="285" y="303"/>
                  </a:lnTo>
                  <a:lnTo>
                    <a:pt x="290" y="303"/>
                  </a:lnTo>
                  <a:lnTo>
                    <a:pt x="295" y="303"/>
                  </a:lnTo>
                  <a:lnTo>
                    <a:pt x="299" y="305"/>
                  </a:lnTo>
                  <a:lnTo>
                    <a:pt x="304" y="305"/>
                  </a:lnTo>
                  <a:lnTo>
                    <a:pt x="306" y="305"/>
                  </a:lnTo>
                  <a:lnTo>
                    <a:pt x="311" y="305"/>
                  </a:lnTo>
                  <a:lnTo>
                    <a:pt x="313" y="305"/>
                  </a:lnTo>
                  <a:lnTo>
                    <a:pt x="316" y="307"/>
                  </a:lnTo>
                  <a:lnTo>
                    <a:pt x="318" y="305"/>
                  </a:lnTo>
                  <a:lnTo>
                    <a:pt x="325" y="307"/>
                  </a:lnTo>
                  <a:lnTo>
                    <a:pt x="325" y="305"/>
                  </a:lnTo>
                  <a:lnTo>
                    <a:pt x="328" y="305"/>
                  </a:lnTo>
                  <a:lnTo>
                    <a:pt x="328" y="307"/>
                  </a:lnTo>
                  <a:lnTo>
                    <a:pt x="330" y="307"/>
                  </a:lnTo>
                  <a:lnTo>
                    <a:pt x="337" y="310"/>
                  </a:lnTo>
                  <a:lnTo>
                    <a:pt x="339" y="312"/>
                  </a:lnTo>
                  <a:lnTo>
                    <a:pt x="344" y="312"/>
                  </a:lnTo>
                  <a:lnTo>
                    <a:pt x="344" y="310"/>
                  </a:lnTo>
                  <a:lnTo>
                    <a:pt x="344" y="310"/>
                  </a:lnTo>
                  <a:lnTo>
                    <a:pt x="346" y="310"/>
                  </a:lnTo>
                  <a:lnTo>
                    <a:pt x="346" y="307"/>
                  </a:lnTo>
                  <a:lnTo>
                    <a:pt x="346" y="303"/>
                  </a:lnTo>
                  <a:lnTo>
                    <a:pt x="346" y="300"/>
                  </a:lnTo>
                  <a:lnTo>
                    <a:pt x="346" y="298"/>
                  </a:lnTo>
                  <a:lnTo>
                    <a:pt x="346" y="298"/>
                  </a:lnTo>
                  <a:lnTo>
                    <a:pt x="346" y="295"/>
                  </a:lnTo>
                  <a:lnTo>
                    <a:pt x="349" y="295"/>
                  </a:lnTo>
                  <a:lnTo>
                    <a:pt x="349" y="293"/>
                  </a:lnTo>
                  <a:lnTo>
                    <a:pt x="349" y="288"/>
                  </a:lnTo>
                  <a:lnTo>
                    <a:pt x="349" y="288"/>
                  </a:lnTo>
                  <a:lnTo>
                    <a:pt x="349" y="288"/>
                  </a:lnTo>
                  <a:lnTo>
                    <a:pt x="353" y="286"/>
                  </a:lnTo>
                  <a:lnTo>
                    <a:pt x="353" y="286"/>
                  </a:lnTo>
                  <a:lnTo>
                    <a:pt x="356" y="286"/>
                  </a:lnTo>
                  <a:lnTo>
                    <a:pt x="356" y="286"/>
                  </a:lnTo>
                  <a:lnTo>
                    <a:pt x="356" y="284"/>
                  </a:lnTo>
                  <a:lnTo>
                    <a:pt x="356" y="281"/>
                  </a:lnTo>
                  <a:lnTo>
                    <a:pt x="358" y="281"/>
                  </a:lnTo>
                  <a:lnTo>
                    <a:pt x="358" y="281"/>
                  </a:lnTo>
                  <a:lnTo>
                    <a:pt x="363" y="281"/>
                  </a:lnTo>
                  <a:lnTo>
                    <a:pt x="363" y="279"/>
                  </a:lnTo>
                  <a:lnTo>
                    <a:pt x="365" y="279"/>
                  </a:lnTo>
                  <a:lnTo>
                    <a:pt x="370" y="279"/>
                  </a:lnTo>
                  <a:lnTo>
                    <a:pt x="372" y="279"/>
                  </a:lnTo>
                  <a:lnTo>
                    <a:pt x="372" y="279"/>
                  </a:lnTo>
                  <a:lnTo>
                    <a:pt x="372" y="274"/>
                  </a:lnTo>
                  <a:lnTo>
                    <a:pt x="372" y="274"/>
                  </a:lnTo>
                  <a:lnTo>
                    <a:pt x="372" y="274"/>
                  </a:lnTo>
                  <a:lnTo>
                    <a:pt x="372" y="272"/>
                  </a:lnTo>
                  <a:lnTo>
                    <a:pt x="372" y="26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5" name="Freeform 321"/>
            <p:cNvSpPr>
              <a:spLocks noEditPoints="1"/>
            </p:cNvSpPr>
            <p:nvPr userDrawn="1"/>
          </p:nvSpPr>
          <p:spPr bwMode="auto">
            <a:xfrm>
              <a:off x="5421" y="2689"/>
              <a:ext cx="853" cy="348"/>
            </a:xfrm>
            <a:custGeom>
              <a:avLst/>
              <a:gdLst>
                <a:gd name="T0" fmla="*/ 436 w 853"/>
                <a:gd name="T1" fmla="*/ 320 h 348"/>
                <a:gd name="T2" fmla="*/ 520 w 853"/>
                <a:gd name="T3" fmla="*/ 329 h 348"/>
                <a:gd name="T4" fmla="*/ 518 w 853"/>
                <a:gd name="T5" fmla="*/ 296 h 348"/>
                <a:gd name="T6" fmla="*/ 523 w 853"/>
                <a:gd name="T7" fmla="*/ 301 h 348"/>
                <a:gd name="T8" fmla="*/ 549 w 853"/>
                <a:gd name="T9" fmla="*/ 291 h 348"/>
                <a:gd name="T10" fmla="*/ 483 w 853"/>
                <a:gd name="T11" fmla="*/ 301 h 348"/>
                <a:gd name="T12" fmla="*/ 504 w 853"/>
                <a:gd name="T13" fmla="*/ 303 h 348"/>
                <a:gd name="T14" fmla="*/ 417 w 853"/>
                <a:gd name="T15" fmla="*/ 303 h 348"/>
                <a:gd name="T16" fmla="*/ 372 w 853"/>
                <a:gd name="T17" fmla="*/ 291 h 348"/>
                <a:gd name="T18" fmla="*/ 575 w 853"/>
                <a:gd name="T19" fmla="*/ 287 h 348"/>
                <a:gd name="T20" fmla="*/ 667 w 853"/>
                <a:gd name="T21" fmla="*/ 289 h 348"/>
                <a:gd name="T22" fmla="*/ 374 w 853"/>
                <a:gd name="T23" fmla="*/ 265 h 348"/>
                <a:gd name="T24" fmla="*/ 325 w 853"/>
                <a:gd name="T25" fmla="*/ 277 h 348"/>
                <a:gd name="T26" fmla="*/ 245 w 853"/>
                <a:gd name="T27" fmla="*/ 256 h 348"/>
                <a:gd name="T28" fmla="*/ 193 w 853"/>
                <a:gd name="T29" fmla="*/ 263 h 348"/>
                <a:gd name="T30" fmla="*/ 351 w 853"/>
                <a:gd name="T31" fmla="*/ 303 h 348"/>
                <a:gd name="T32" fmla="*/ 733 w 853"/>
                <a:gd name="T33" fmla="*/ 246 h 348"/>
                <a:gd name="T34" fmla="*/ 516 w 853"/>
                <a:gd name="T35" fmla="*/ 220 h 348"/>
                <a:gd name="T36" fmla="*/ 516 w 853"/>
                <a:gd name="T37" fmla="*/ 204 h 348"/>
                <a:gd name="T38" fmla="*/ 393 w 853"/>
                <a:gd name="T39" fmla="*/ 197 h 348"/>
                <a:gd name="T40" fmla="*/ 636 w 853"/>
                <a:gd name="T41" fmla="*/ 178 h 348"/>
                <a:gd name="T42" fmla="*/ 645 w 853"/>
                <a:gd name="T43" fmla="*/ 190 h 348"/>
                <a:gd name="T44" fmla="*/ 94 w 853"/>
                <a:gd name="T45" fmla="*/ 175 h 348"/>
                <a:gd name="T46" fmla="*/ 645 w 853"/>
                <a:gd name="T47" fmla="*/ 161 h 348"/>
                <a:gd name="T48" fmla="*/ 758 w 853"/>
                <a:gd name="T49" fmla="*/ 157 h 348"/>
                <a:gd name="T50" fmla="*/ 200 w 853"/>
                <a:gd name="T51" fmla="*/ 149 h 348"/>
                <a:gd name="T52" fmla="*/ 527 w 853"/>
                <a:gd name="T53" fmla="*/ 145 h 348"/>
                <a:gd name="T54" fmla="*/ 66 w 853"/>
                <a:gd name="T55" fmla="*/ 145 h 348"/>
                <a:gd name="T56" fmla="*/ 596 w 853"/>
                <a:gd name="T57" fmla="*/ 133 h 348"/>
                <a:gd name="T58" fmla="*/ 751 w 853"/>
                <a:gd name="T59" fmla="*/ 187 h 348"/>
                <a:gd name="T60" fmla="*/ 688 w 853"/>
                <a:gd name="T61" fmla="*/ 128 h 348"/>
                <a:gd name="T62" fmla="*/ 718 w 853"/>
                <a:gd name="T63" fmla="*/ 171 h 348"/>
                <a:gd name="T64" fmla="*/ 718 w 853"/>
                <a:gd name="T65" fmla="*/ 183 h 348"/>
                <a:gd name="T66" fmla="*/ 791 w 853"/>
                <a:gd name="T67" fmla="*/ 232 h 348"/>
                <a:gd name="T68" fmla="*/ 810 w 853"/>
                <a:gd name="T69" fmla="*/ 284 h 348"/>
                <a:gd name="T70" fmla="*/ 848 w 853"/>
                <a:gd name="T71" fmla="*/ 246 h 348"/>
                <a:gd name="T72" fmla="*/ 598 w 853"/>
                <a:gd name="T73" fmla="*/ 126 h 348"/>
                <a:gd name="T74" fmla="*/ 659 w 853"/>
                <a:gd name="T75" fmla="*/ 126 h 348"/>
                <a:gd name="T76" fmla="*/ 134 w 853"/>
                <a:gd name="T77" fmla="*/ 90 h 348"/>
                <a:gd name="T78" fmla="*/ 450 w 853"/>
                <a:gd name="T79" fmla="*/ 192 h 348"/>
                <a:gd name="T80" fmla="*/ 476 w 853"/>
                <a:gd name="T81" fmla="*/ 175 h 348"/>
                <a:gd name="T82" fmla="*/ 509 w 853"/>
                <a:gd name="T83" fmla="*/ 204 h 348"/>
                <a:gd name="T84" fmla="*/ 525 w 853"/>
                <a:gd name="T85" fmla="*/ 140 h 348"/>
                <a:gd name="T86" fmla="*/ 469 w 853"/>
                <a:gd name="T87" fmla="*/ 109 h 348"/>
                <a:gd name="T88" fmla="*/ 544 w 853"/>
                <a:gd name="T89" fmla="*/ 93 h 348"/>
                <a:gd name="T90" fmla="*/ 459 w 853"/>
                <a:gd name="T91" fmla="*/ 114 h 348"/>
                <a:gd name="T92" fmla="*/ 605 w 853"/>
                <a:gd name="T93" fmla="*/ 112 h 348"/>
                <a:gd name="T94" fmla="*/ 624 w 853"/>
                <a:gd name="T95" fmla="*/ 86 h 348"/>
                <a:gd name="T96" fmla="*/ 619 w 853"/>
                <a:gd name="T97" fmla="*/ 64 h 348"/>
                <a:gd name="T98" fmla="*/ 261 w 853"/>
                <a:gd name="T99" fmla="*/ 121 h 348"/>
                <a:gd name="T100" fmla="*/ 308 w 853"/>
                <a:gd name="T101" fmla="*/ 180 h 348"/>
                <a:gd name="T102" fmla="*/ 388 w 853"/>
                <a:gd name="T103" fmla="*/ 192 h 348"/>
                <a:gd name="T104" fmla="*/ 405 w 853"/>
                <a:gd name="T105" fmla="*/ 145 h 348"/>
                <a:gd name="T106" fmla="*/ 421 w 853"/>
                <a:gd name="T107" fmla="*/ 62 h 348"/>
                <a:gd name="T108" fmla="*/ 393 w 853"/>
                <a:gd name="T109" fmla="*/ 29 h 348"/>
                <a:gd name="T110" fmla="*/ 365 w 853"/>
                <a:gd name="T111" fmla="*/ 78 h 348"/>
                <a:gd name="T112" fmla="*/ 280 w 853"/>
                <a:gd name="T113" fmla="*/ 93 h 348"/>
                <a:gd name="T114" fmla="*/ 198 w 853"/>
                <a:gd name="T115" fmla="*/ 197 h 348"/>
                <a:gd name="T116" fmla="*/ 155 w 853"/>
                <a:gd name="T117" fmla="*/ 123 h 348"/>
                <a:gd name="T118" fmla="*/ 101 w 853"/>
                <a:gd name="T119" fmla="*/ 74 h 348"/>
                <a:gd name="T120" fmla="*/ 0 w 853"/>
                <a:gd name="T121" fmla="*/ 5 h 348"/>
                <a:gd name="T122" fmla="*/ 106 w 853"/>
                <a:gd name="T123" fmla="*/ 16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348">
                  <a:moveTo>
                    <a:pt x="516" y="341"/>
                  </a:moveTo>
                  <a:lnTo>
                    <a:pt x="516" y="341"/>
                  </a:lnTo>
                  <a:lnTo>
                    <a:pt x="516" y="341"/>
                  </a:lnTo>
                  <a:lnTo>
                    <a:pt x="516" y="341"/>
                  </a:lnTo>
                  <a:lnTo>
                    <a:pt x="513" y="341"/>
                  </a:lnTo>
                  <a:lnTo>
                    <a:pt x="511" y="343"/>
                  </a:lnTo>
                  <a:lnTo>
                    <a:pt x="509" y="346"/>
                  </a:lnTo>
                  <a:lnTo>
                    <a:pt x="504" y="346"/>
                  </a:lnTo>
                  <a:lnTo>
                    <a:pt x="504" y="348"/>
                  </a:lnTo>
                  <a:lnTo>
                    <a:pt x="504" y="348"/>
                  </a:lnTo>
                  <a:lnTo>
                    <a:pt x="504" y="348"/>
                  </a:lnTo>
                  <a:lnTo>
                    <a:pt x="506" y="348"/>
                  </a:lnTo>
                  <a:lnTo>
                    <a:pt x="509" y="348"/>
                  </a:lnTo>
                  <a:lnTo>
                    <a:pt x="511" y="348"/>
                  </a:lnTo>
                  <a:lnTo>
                    <a:pt x="513" y="346"/>
                  </a:lnTo>
                  <a:lnTo>
                    <a:pt x="516" y="343"/>
                  </a:lnTo>
                  <a:lnTo>
                    <a:pt x="516" y="343"/>
                  </a:lnTo>
                  <a:lnTo>
                    <a:pt x="516" y="341"/>
                  </a:lnTo>
                  <a:close/>
                  <a:moveTo>
                    <a:pt x="487" y="339"/>
                  </a:moveTo>
                  <a:lnTo>
                    <a:pt x="485" y="341"/>
                  </a:lnTo>
                  <a:lnTo>
                    <a:pt x="485" y="341"/>
                  </a:lnTo>
                  <a:lnTo>
                    <a:pt x="485" y="341"/>
                  </a:lnTo>
                  <a:lnTo>
                    <a:pt x="487" y="343"/>
                  </a:lnTo>
                  <a:lnTo>
                    <a:pt x="487" y="343"/>
                  </a:lnTo>
                  <a:lnTo>
                    <a:pt x="490" y="341"/>
                  </a:lnTo>
                  <a:lnTo>
                    <a:pt x="490" y="339"/>
                  </a:lnTo>
                  <a:lnTo>
                    <a:pt x="490" y="339"/>
                  </a:lnTo>
                  <a:lnTo>
                    <a:pt x="487" y="339"/>
                  </a:lnTo>
                  <a:close/>
                  <a:moveTo>
                    <a:pt x="466" y="327"/>
                  </a:moveTo>
                  <a:lnTo>
                    <a:pt x="466" y="327"/>
                  </a:lnTo>
                  <a:lnTo>
                    <a:pt x="464" y="324"/>
                  </a:lnTo>
                  <a:lnTo>
                    <a:pt x="464" y="322"/>
                  </a:lnTo>
                  <a:lnTo>
                    <a:pt x="461" y="322"/>
                  </a:lnTo>
                  <a:lnTo>
                    <a:pt x="461" y="322"/>
                  </a:lnTo>
                  <a:lnTo>
                    <a:pt x="459" y="322"/>
                  </a:lnTo>
                  <a:lnTo>
                    <a:pt x="459" y="322"/>
                  </a:lnTo>
                  <a:lnTo>
                    <a:pt x="459" y="320"/>
                  </a:lnTo>
                  <a:lnTo>
                    <a:pt x="459" y="320"/>
                  </a:lnTo>
                  <a:lnTo>
                    <a:pt x="457" y="317"/>
                  </a:lnTo>
                  <a:lnTo>
                    <a:pt x="454" y="317"/>
                  </a:lnTo>
                  <a:lnTo>
                    <a:pt x="454" y="315"/>
                  </a:lnTo>
                  <a:lnTo>
                    <a:pt x="454" y="315"/>
                  </a:lnTo>
                  <a:lnTo>
                    <a:pt x="452" y="317"/>
                  </a:lnTo>
                  <a:lnTo>
                    <a:pt x="450" y="317"/>
                  </a:lnTo>
                  <a:lnTo>
                    <a:pt x="447" y="317"/>
                  </a:lnTo>
                  <a:lnTo>
                    <a:pt x="445" y="317"/>
                  </a:lnTo>
                  <a:lnTo>
                    <a:pt x="443" y="317"/>
                  </a:lnTo>
                  <a:lnTo>
                    <a:pt x="440" y="317"/>
                  </a:lnTo>
                  <a:lnTo>
                    <a:pt x="436" y="317"/>
                  </a:lnTo>
                  <a:lnTo>
                    <a:pt x="436" y="320"/>
                  </a:lnTo>
                  <a:lnTo>
                    <a:pt x="436" y="320"/>
                  </a:lnTo>
                  <a:lnTo>
                    <a:pt x="436" y="322"/>
                  </a:lnTo>
                  <a:lnTo>
                    <a:pt x="436" y="322"/>
                  </a:lnTo>
                  <a:lnTo>
                    <a:pt x="436" y="322"/>
                  </a:lnTo>
                  <a:lnTo>
                    <a:pt x="438" y="324"/>
                  </a:lnTo>
                  <a:lnTo>
                    <a:pt x="443" y="324"/>
                  </a:lnTo>
                  <a:lnTo>
                    <a:pt x="443" y="324"/>
                  </a:lnTo>
                  <a:lnTo>
                    <a:pt x="445" y="324"/>
                  </a:lnTo>
                  <a:lnTo>
                    <a:pt x="447" y="324"/>
                  </a:lnTo>
                  <a:lnTo>
                    <a:pt x="450" y="329"/>
                  </a:lnTo>
                  <a:lnTo>
                    <a:pt x="452" y="329"/>
                  </a:lnTo>
                  <a:lnTo>
                    <a:pt x="454" y="331"/>
                  </a:lnTo>
                  <a:lnTo>
                    <a:pt x="454" y="331"/>
                  </a:lnTo>
                  <a:lnTo>
                    <a:pt x="457" y="334"/>
                  </a:lnTo>
                  <a:lnTo>
                    <a:pt x="457" y="334"/>
                  </a:lnTo>
                  <a:lnTo>
                    <a:pt x="461" y="336"/>
                  </a:lnTo>
                  <a:lnTo>
                    <a:pt x="461" y="336"/>
                  </a:lnTo>
                  <a:lnTo>
                    <a:pt x="464" y="334"/>
                  </a:lnTo>
                  <a:lnTo>
                    <a:pt x="466" y="334"/>
                  </a:lnTo>
                  <a:lnTo>
                    <a:pt x="466" y="334"/>
                  </a:lnTo>
                  <a:lnTo>
                    <a:pt x="469" y="331"/>
                  </a:lnTo>
                  <a:lnTo>
                    <a:pt x="469" y="331"/>
                  </a:lnTo>
                  <a:lnTo>
                    <a:pt x="469" y="329"/>
                  </a:lnTo>
                  <a:lnTo>
                    <a:pt x="466" y="327"/>
                  </a:lnTo>
                  <a:close/>
                  <a:moveTo>
                    <a:pt x="549" y="308"/>
                  </a:moveTo>
                  <a:lnTo>
                    <a:pt x="546" y="310"/>
                  </a:lnTo>
                  <a:lnTo>
                    <a:pt x="546" y="310"/>
                  </a:lnTo>
                  <a:lnTo>
                    <a:pt x="546" y="310"/>
                  </a:lnTo>
                  <a:lnTo>
                    <a:pt x="546" y="308"/>
                  </a:lnTo>
                  <a:lnTo>
                    <a:pt x="546" y="308"/>
                  </a:lnTo>
                  <a:lnTo>
                    <a:pt x="542" y="310"/>
                  </a:lnTo>
                  <a:lnTo>
                    <a:pt x="542" y="310"/>
                  </a:lnTo>
                  <a:lnTo>
                    <a:pt x="539" y="313"/>
                  </a:lnTo>
                  <a:lnTo>
                    <a:pt x="537" y="313"/>
                  </a:lnTo>
                  <a:lnTo>
                    <a:pt x="537" y="315"/>
                  </a:lnTo>
                  <a:lnTo>
                    <a:pt x="537" y="315"/>
                  </a:lnTo>
                  <a:lnTo>
                    <a:pt x="535" y="317"/>
                  </a:lnTo>
                  <a:lnTo>
                    <a:pt x="535" y="317"/>
                  </a:lnTo>
                  <a:lnTo>
                    <a:pt x="535" y="317"/>
                  </a:lnTo>
                  <a:lnTo>
                    <a:pt x="532" y="317"/>
                  </a:lnTo>
                  <a:lnTo>
                    <a:pt x="530" y="317"/>
                  </a:lnTo>
                  <a:lnTo>
                    <a:pt x="530" y="317"/>
                  </a:lnTo>
                  <a:lnTo>
                    <a:pt x="530" y="317"/>
                  </a:lnTo>
                  <a:lnTo>
                    <a:pt x="530" y="315"/>
                  </a:lnTo>
                  <a:lnTo>
                    <a:pt x="527" y="317"/>
                  </a:lnTo>
                  <a:lnTo>
                    <a:pt x="525" y="317"/>
                  </a:lnTo>
                  <a:lnTo>
                    <a:pt x="523" y="322"/>
                  </a:lnTo>
                  <a:lnTo>
                    <a:pt x="523" y="324"/>
                  </a:lnTo>
                  <a:lnTo>
                    <a:pt x="520" y="327"/>
                  </a:lnTo>
                  <a:lnTo>
                    <a:pt x="520" y="329"/>
                  </a:lnTo>
                  <a:lnTo>
                    <a:pt x="520" y="329"/>
                  </a:lnTo>
                  <a:lnTo>
                    <a:pt x="523" y="331"/>
                  </a:lnTo>
                  <a:lnTo>
                    <a:pt x="523" y="331"/>
                  </a:lnTo>
                  <a:lnTo>
                    <a:pt x="520" y="334"/>
                  </a:lnTo>
                  <a:lnTo>
                    <a:pt x="520" y="334"/>
                  </a:lnTo>
                  <a:lnTo>
                    <a:pt x="520" y="336"/>
                  </a:lnTo>
                  <a:lnTo>
                    <a:pt x="520" y="336"/>
                  </a:lnTo>
                  <a:lnTo>
                    <a:pt x="523" y="336"/>
                  </a:lnTo>
                  <a:lnTo>
                    <a:pt x="525" y="336"/>
                  </a:lnTo>
                  <a:lnTo>
                    <a:pt x="527" y="336"/>
                  </a:lnTo>
                  <a:lnTo>
                    <a:pt x="530" y="334"/>
                  </a:lnTo>
                  <a:lnTo>
                    <a:pt x="535" y="334"/>
                  </a:lnTo>
                  <a:lnTo>
                    <a:pt x="535" y="334"/>
                  </a:lnTo>
                  <a:lnTo>
                    <a:pt x="537" y="331"/>
                  </a:lnTo>
                  <a:lnTo>
                    <a:pt x="539" y="329"/>
                  </a:lnTo>
                  <a:lnTo>
                    <a:pt x="542" y="329"/>
                  </a:lnTo>
                  <a:lnTo>
                    <a:pt x="544" y="324"/>
                  </a:lnTo>
                  <a:lnTo>
                    <a:pt x="546" y="322"/>
                  </a:lnTo>
                  <a:lnTo>
                    <a:pt x="546" y="320"/>
                  </a:lnTo>
                  <a:lnTo>
                    <a:pt x="549" y="320"/>
                  </a:lnTo>
                  <a:lnTo>
                    <a:pt x="549" y="317"/>
                  </a:lnTo>
                  <a:lnTo>
                    <a:pt x="546" y="315"/>
                  </a:lnTo>
                  <a:lnTo>
                    <a:pt x="546" y="315"/>
                  </a:lnTo>
                  <a:lnTo>
                    <a:pt x="546" y="315"/>
                  </a:lnTo>
                  <a:lnTo>
                    <a:pt x="546" y="313"/>
                  </a:lnTo>
                  <a:lnTo>
                    <a:pt x="546" y="313"/>
                  </a:lnTo>
                  <a:lnTo>
                    <a:pt x="549" y="313"/>
                  </a:lnTo>
                  <a:lnTo>
                    <a:pt x="551" y="310"/>
                  </a:lnTo>
                  <a:lnTo>
                    <a:pt x="551" y="310"/>
                  </a:lnTo>
                  <a:lnTo>
                    <a:pt x="551" y="310"/>
                  </a:lnTo>
                  <a:lnTo>
                    <a:pt x="549" y="308"/>
                  </a:lnTo>
                  <a:close/>
                  <a:moveTo>
                    <a:pt x="447" y="301"/>
                  </a:moveTo>
                  <a:lnTo>
                    <a:pt x="447" y="298"/>
                  </a:lnTo>
                  <a:lnTo>
                    <a:pt x="447" y="298"/>
                  </a:lnTo>
                  <a:lnTo>
                    <a:pt x="447" y="298"/>
                  </a:lnTo>
                  <a:lnTo>
                    <a:pt x="447" y="298"/>
                  </a:lnTo>
                  <a:lnTo>
                    <a:pt x="447" y="298"/>
                  </a:lnTo>
                  <a:lnTo>
                    <a:pt x="447" y="298"/>
                  </a:lnTo>
                  <a:lnTo>
                    <a:pt x="445" y="296"/>
                  </a:lnTo>
                  <a:lnTo>
                    <a:pt x="445" y="298"/>
                  </a:lnTo>
                  <a:lnTo>
                    <a:pt x="445" y="298"/>
                  </a:lnTo>
                  <a:lnTo>
                    <a:pt x="445" y="301"/>
                  </a:lnTo>
                  <a:lnTo>
                    <a:pt x="445" y="301"/>
                  </a:lnTo>
                  <a:lnTo>
                    <a:pt x="445" y="303"/>
                  </a:lnTo>
                  <a:lnTo>
                    <a:pt x="445" y="303"/>
                  </a:lnTo>
                  <a:lnTo>
                    <a:pt x="445" y="303"/>
                  </a:lnTo>
                  <a:lnTo>
                    <a:pt x="445" y="301"/>
                  </a:lnTo>
                  <a:lnTo>
                    <a:pt x="447" y="301"/>
                  </a:lnTo>
                  <a:lnTo>
                    <a:pt x="447" y="301"/>
                  </a:lnTo>
                  <a:close/>
                  <a:moveTo>
                    <a:pt x="518" y="296"/>
                  </a:moveTo>
                  <a:lnTo>
                    <a:pt x="518" y="294"/>
                  </a:lnTo>
                  <a:lnTo>
                    <a:pt x="516" y="294"/>
                  </a:lnTo>
                  <a:lnTo>
                    <a:pt x="513" y="294"/>
                  </a:lnTo>
                  <a:lnTo>
                    <a:pt x="513" y="294"/>
                  </a:lnTo>
                  <a:lnTo>
                    <a:pt x="513" y="294"/>
                  </a:lnTo>
                  <a:lnTo>
                    <a:pt x="511" y="296"/>
                  </a:lnTo>
                  <a:lnTo>
                    <a:pt x="518" y="296"/>
                  </a:lnTo>
                  <a:lnTo>
                    <a:pt x="518" y="296"/>
                  </a:lnTo>
                  <a:close/>
                  <a:moveTo>
                    <a:pt x="395" y="296"/>
                  </a:moveTo>
                  <a:lnTo>
                    <a:pt x="395" y="294"/>
                  </a:lnTo>
                  <a:lnTo>
                    <a:pt x="395" y="294"/>
                  </a:lnTo>
                  <a:lnTo>
                    <a:pt x="393" y="294"/>
                  </a:lnTo>
                  <a:lnTo>
                    <a:pt x="391" y="291"/>
                  </a:lnTo>
                  <a:lnTo>
                    <a:pt x="388" y="294"/>
                  </a:lnTo>
                  <a:lnTo>
                    <a:pt x="386" y="294"/>
                  </a:lnTo>
                  <a:lnTo>
                    <a:pt x="384" y="296"/>
                  </a:lnTo>
                  <a:lnTo>
                    <a:pt x="384" y="301"/>
                  </a:lnTo>
                  <a:lnTo>
                    <a:pt x="384" y="303"/>
                  </a:lnTo>
                  <a:lnTo>
                    <a:pt x="381" y="303"/>
                  </a:lnTo>
                  <a:lnTo>
                    <a:pt x="379" y="303"/>
                  </a:lnTo>
                  <a:lnTo>
                    <a:pt x="379" y="303"/>
                  </a:lnTo>
                  <a:lnTo>
                    <a:pt x="379" y="303"/>
                  </a:lnTo>
                  <a:lnTo>
                    <a:pt x="379" y="305"/>
                  </a:lnTo>
                  <a:lnTo>
                    <a:pt x="381" y="305"/>
                  </a:lnTo>
                  <a:lnTo>
                    <a:pt x="386" y="308"/>
                  </a:lnTo>
                  <a:lnTo>
                    <a:pt x="386" y="308"/>
                  </a:lnTo>
                  <a:lnTo>
                    <a:pt x="388" y="308"/>
                  </a:lnTo>
                  <a:lnTo>
                    <a:pt x="393" y="305"/>
                  </a:lnTo>
                  <a:lnTo>
                    <a:pt x="391" y="305"/>
                  </a:lnTo>
                  <a:lnTo>
                    <a:pt x="391" y="305"/>
                  </a:lnTo>
                  <a:lnTo>
                    <a:pt x="393" y="301"/>
                  </a:lnTo>
                  <a:lnTo>
                    <a:pt x="395" y="296"/>
                  </a:lnTo>
                  <a:close/>
                  <a:moveTo>
                    <a:pt x="530" y="296"/>
                  </a:moveTo>
                  <a:lnTo>
                    <a:pt x="532" y="298"/>
                  </a:lnTo>
                  <a:lnTo>
                    <a:pt x="532" y="298"/>
                  </a:lnTo>
                  <a:lnTo>
                    <a:pt x="535" y="298"/>
                  </a:lnTo>
                  <a:lnTo>
                    <a:pt x="535" y="296"/>
                  </a:lnTo>
                  <a:lnTo>
                    <a:pt x="535" y="294"/>
                  </a:lnTo>
                  <a:lnTo>
                    <a:pt x="537" y="294"/>
                  </a:lnTo>
                  <a:lnTo>
                    <a:pt x="537" y="291"/>
                  </a:lnTo>
                  <a:lnTo>
                    <a:pt x="535" y="291"/>
                  </a:lnTo>
                  <a:lnTo>
                    <a:pt x="535" y="291"/>
                  </a:lnTo>
                  <a:lnTo>
                    <a:pt x="532" y="296"/>
                  </a:lnTo>
                  <a:lnTo>
                    <a:pt x="532" y="296"/>
                  </a:lnTo>
                  <a:lnTo>
                    <a:pt x="532" y="294"/>
                  </a:lnTo>
                  <a:lnTo>
                    <a:pt x="530" y="294"/>
                  </a:lnTo>
                  <a:lnTo>
                    <a:pt x="530" y="296"/>
                  </a:lnTo>
                  <a:lnTo>
                    <a:pt x="530" y="296"/>
                  </a:lnTo>
                  <a:lnTo>
                    <a:pt x="530" y="296"/>
                  </a:lnTo>
                  <a:close/>
                  <a:moveTo>
                    <a:pt x="523" y="301"/>
                  </a:moveTo>
                  <a:lnTo>
                    <a:pt x="523" y="298"/>
                  </a:lnTo>
                  <a:lnTo>
                    <a:pt x="523" y="298"/>
                  </a:lnTo>
                  <a:lnTo>
                    <a:pt x="523" y="298"/>
                  </a:lnTo>
                  <a:lnTo>
                    <a:pt x="523" y="298"/>
                  </a:lnTo>
                  <a:lnTo>
                    <a:pt x="523" y="296"/>
                  </a:lnTo>
                  <a:lnTo>
                    <a:pt x="525" y="296"/>
                  </a:lnTo>
                  <a:lnTo>
                    <a:pt x="527" y="294"/>
                  </a:lnTo>
                  <a:lnTo>
                    <a:pt x="530" y="294"/>
                  </a:lnTo>
                  <a:lnTo>
                    <a:pt x="527" y="294"/>
                  </a:lnTo>
                  <a:lnTo>
                    <a:pt x="527" y="291"/>
                  </a:lnTo>
                  <a:lnTo>
                    <a:pt x="527" y="291"/>
                  </a:lnTo>
                  <a:lnTo>
                    <a:pt x="523" y="294"/>
                  </a:lnTo>
                  <a:lnTo>
                    <a:pt x="523" y="294"/>
                  </a:lnTo>
                  <a:lnTo>
                    <a:pt x="523" y="294"/>
                  </a:lnTo>
                  <a:lnTo>
                    <a:pt x="520" y="294"/>
                  </a:lnTo>
                  <a:lnTo>
                    <a:pt x="518" y="294"/>
                  </a:lnTo>
                  <a:lnTo>
                    <a:pt x="518" y="294"/>
                  </a:lnTo>
                  <a:lnTo>
                    <a:pt x="520" y="294"/>
                  </a:lnTo>
                  <a:lnTo>
                    <a:pt x="520" y="294"/>
                  </a:lnTo>
                  <a:lnTo>
                    <a:pt x="520" y="296"/>
                  </a:lnTo>
                  <a:lnTo>
                    <a:pt x="518" y="296"/>
                  </a:lnTo>
                  <a:lnTo>
                    <a:pt x="516" y="298"/>
                  </a:lnTo>
                  <a:lnTo>
                    <a:pt x="516" y="298"/>
                  </a:lnTo>
                  <a:lnTo>
                    <a:pt x="518" y="298"/>
                  </a:lnTo>
                  <a:lnTo>
                    <a:pt x="518" y="301"/>
                  </a:lnTo>
                  <a:lnTo>
                    <a:pt x="520" y="301"/>
                  </a:lnTo>
                  <a:lnTo>
                    <a:pt x="520" y="298"/>
                  </a:lnTo>
                  <a:lnTo>
                    <a:pt x="523" y="301"/>
                  </a:lnTo>
                  <a:close/>
                  <a:moveTo>
                    <a:pt x="803" y="291"/>
                  </a:moveTo>
                  <a:lnTo>
                    <a:pt x="803" y="291"/>
                  </a:lnTo>
                  <a:lnTo>
                    <a:pt x="801" y="294"/>
                  </a:lnTo>
                  <a:lnTo>
                    <a:pt x="801" y="294"/>
                  </a:lnTo>
                  <a:lnTo>
                    <a:pt x="801" y="294"/>
                  </a:lnTo>
                  <a:lnTo>
                    <a:pt x="801" y="296"/>
                  </a:lnTo>
                  <a:lnTo>
                    <a:pt x="806" y="296"/>
                  </a:lnTo>
                  <a:lnTo>
                    <a:pt x="806" y="296"/>
                  </a:lnTo>
                  <a:lnTo>
                    <a:pt x="806" y="294"/>
                  </a:lnTo>
                  <a:lnTo>
                    <a:pt x="806" y="291"/>
                  </a:lnTo>
                  <a:lnTo>
                    <a:pt x="803" y="291"/>
                  </a:lnTo>
                  <a:close/>
                  <a:moveTo>
                    <a:pt x="410" y="296"/>
                  </a:moveTo>
                  <a:lnTo>
                    <a:pt x="412" y="296"/>
                  </a:lnTo>
                  <a:lnTo>
                    <a:pt x="414" y="291"/>
                  </a:lnTo>
                  <a:lnTo>
                    <a:pt x="412" y="291"/>
                  </a:lnTo>
                  <a:lnTo>
                    <a:pt x="412" y="291"/>
                  </a:lnTo>
                  <a:lnTo>
                    <a:pt x="410" y="291"/>
                  </a:lnTo>
                  <a:lnTo>
                    <a:pt x="410" y="294"/>
                  </a:lnTo>
                  <a:lnTo>
                    <a:pt x="410" y="294"/>
                  </a:lnTo>
                  <a:lnTo>
                    <a:pt x="410" y="296"/>
                  </a:lnTo>
                  <a:lnTo>
                    <a:pt x="410" y="296"/>
                  </a:lnTo>
                  <a:close/>
                  <a:moveTo>
                    <a:pt x="549" y="291"/>
                  </a:moveTo>
                  <a:lnTo>
                    <a:pt x="544" y="291"/>
                  </a:lnTo>
                  <a:lnTo>
                    <a:pt x="544" y="291"/>
                  </a:lnTo>
                  <a:lnTo>
                    <a:pt x="542" y="291"/>
                  </a:lnTo>
                  <a:lnTo>
                    <a:pt x="542" y="291"/>
                  </a:lnTo>
                  <a:lnTo>
                    <a:pt x="539" y="291"/>
                  </a:lnTo>
                  <a:lnTo>
                    <a:pt x="539" y="291"/>
                  </a:lnTo>
                  <a:lnTo>
                    <a:pt x="537" y="294"/>
                  </a:lnTo>
                  <a:lnTo>
                    <a:pt x="539" y="294"/>
                  </a:lnTo>
                  <a:lnTo>
                    <a:pt x="537" y="296"/>
                  </a:lnTo>
                  <a:lnTo>
                    <a:pt x="537" y="296"/>
                  </a:lnTo>
                  <a:lnTo>
                    <a:pt x="539" y="296"/>
                  </a:lnTo>
                  <a:lnTo>
                    <a:pt x="551" y="296"/>
                  </a:lnTo>
                  <a:lnTo>
                    <a:pt x="551" y="294"/>
                  </a:lnTo>
                  <a:lnTo>
                    <a:pt x="551" y="291"/>
                  </a:lnTo>
                  <a:lnTo>
                    <a:pt x="551" y="291"/>
                  </a:lnTo>
                  <a:lnTo>
                    <a:pt x="549" y="291"/>
                  </a:lnTo>
                  <a:close/>
                  <a:moveTo>
                    <a:pt x="506" y="301"/>
                  </a:moveTo>
                  <a:lnTo>
                    <a:pt x="509" y="301"/>
                  </a:lnTo>
                  <a:lnTo>
                    <a:pt x="509" y="298"/>
                  </a:lnTo>
                  <a:lnTo>
                    <a:pt x="509" y="298"/>
                  </a:lnTo>
                  <a:lnTo>
                    <a:pt x="511" y="296"/>
                  </a:lnTo>
                  <a:lnTo>
                    <a:pt x="511" y="296"/>
                  </a:lnTo>
                  <a:lnTo>
                    <a:pt x="511" y="296"/>
                  </a:lnTo>
                  <a:lnTo>
                    <a:pt x="511" y="294"/>
                  </a:lnTo>
                  <a:lnTo>
                    <a:pt x="511" y="291"/>
                  </a:lnTo>
                  <a:lnTo>
                    <a:pt x="511" y="289"/>
                  </a:lnTo>
                  <a:lnTo>
                    <a:pt x="509" y="289"/>
                  </a:lnTo>
                  <a:lnTo>
                    <a:pt x="509" y="291"/>
                  </a:lnTo>
                  <a:lnTo>
                    <a:pt x="509" y="291"/>
                  </a:lnTo>
                  <a:lnTo>
                    <a:pt x="511" y="291"/>
                  </a:lnTo>
                  <a:lnTo>
                    <a:pt x="509" y="294"/>
                  </a:lnTo>
                  <a:lnTo>
                    <a:pt x="506" y="296"/>
                  </a:lnTo>
                  <a:lnTo>
                    <a:pt x="504" y="296"/>
                  </a:lnTo>
                  <a:lnTo>
                    <a:pt x="504" y="296"/>
                  </a:lnTo>
                  <a:lnTo>
                    <a:pt x="502" y="298"/>
                  </a:lnTo>
                  <a:lnTo>
                    <a:pt x="502" y="298"/>
                  </a:lnTo>
                  <a:lnTo>
                    <a:pt x="502" y="301"/>
                  </a:lnTo>
                  <a:lnTo>
                    <a:pt x="502" y="301"/>
                  </a:lnTo>
                  <a:lnTo>
                    <a:pt x="499" y="301"/>
                  </a:lnTo>
                  <a:lnTo>
                    <a:pt x="497" y="301"/>
                  </a:lnTo>
                  <a:lnTo>
                    <a:pt x="494" y="298"/>
                  </a:lnTo>
                  <a:lnTo>
                    <a:pt x="494" y="298"/>
                  </a:lnTo>
                  <a:lnTo>
                    <a:pt x="492" y="298"/>
                  </a:lnTo>
                  <a:lnTo>
                    <a:pt x="492" y="298"/>
                  </a:lnTo>
                  <a:lnTo>
                    <a:pt x="490" y="298"/>
                  </a:lnTo>
                  <a:lnTo>
                    <a:pt x="487" y="298"/>
                  </a:lnTo>
                  <a:lnTo>
                    <a:pt x="487" y="298"/>
                  </a:lnTo>
                  <a:lnTo>
                    <a:pt x="485" y="298"/>
                  </a:lnTo>
                  <a:lnTo>
                    <a:pt x="485" y="301"/>
                  </a:lnTo>
                  <a:lnTo>
                    <a:pt x="483" y="301"/>
                  </a:lnTo>
                  <a:lnTo>
                    <a:pt x="483" y="301"/>
                  </a:lnTo>
                  <a:lnTo>
                    <a:pt x="480" y="298"/>
                  </a:lnTo>
                  <a:lnTo>
                    <a:pt x="480" y="298"/>
                  </a:lnTo>
                  <a:lnTo>
                    <a:pt x="476" y="296"/>
                  </a:lnTo>
                  <a:lnTo>
                    <a:pt x="476" y="296"/>
                  </a:lnTo>
                  <a:lnTo>
                    <a:pt x="473" y="294"/>
                  </a:lnTo>
                  <a:lnTo>
                    <a:pt x="471" y="294"/>
                  </a:lnTo>
                  <a:lnTo>
                    <a:pt x="469" y="294"/>
                  </a:lnTo>
                  <a:lnTo>
                    <a:pt x="469" y="294"/>
                  </a:lnTo>
                  <a:lnTo>
                    <a:pt x="466" y="294"/>
                  </a:lnTo>
                  <a:lnTo>
                    <a:pt x="466" y="294"/>
                  </a:lnTo>
                  <a:lnTo>
                    <a:pt x="464" y="294"/>
                  </a:lnTo>
                  <a:lnTo>
                    <a:pt x="464" y="294"/>
                  </a:lnTo>
                  <a:lnTo>
                    <a:pt x="461" y="294"/>
                  </a:lnTo>
                  <a:lnTo>
                    <a:pt x="459" y="296"/>
                  </a:lnTo>
                  <a:lnTo>
                    <a:pt x="454" y="296"/>
                  </a:lnTo>
                  <a:lnTo>
                    <a:pt x="454" y="296"/>
                  </a:lnTo>
                  <a:lnTo>
                    <a:pt x="454" y="296"/>
                  </a:lnTo>
                  <a:lnTo>
                    <a:pt x="454" y="298"/>
                  </a:lnTo>
                  <a:lnTo>
                    <a:pt x="452" y="298"/>
                  </a:lnTo>
                  <a:lnTo>
                    <a:pt x="452" y="301"/>
                  </a:lnTo>
                  <a:lnTo>
                    <a:pt x="452" y="301"/>
                  </a:lnTo>
                  <a:lnTo>
                    <a:pt x="452" y="303"/>
                  </a:lnTo>
                  <a:lnTo>
                    <a:pt x="452" y="303"/>
                  </a:lnTo>
                  <a:lnTo>
                    <a:pt x="454" y="305"/>
                  </a:lnTo>
                  <a:lnTo>
                    <a:pt x="454" y="305"/>
                  </a:lnTo>
                  <a:lnTo>
                    <a:pt x="457" y="305"/>
                  </a:lnTo>
                  <a:lnTo>
                    <a:pt x="457" y="303"/>
                  </a:lnTo>
                  <a:lnTo>
                    <a:pt x="461" y="305"/>
                  </a:lnTo>
                  <a:lnTo>
                    <a:pt x="466" y="305"/>
                  </a:lnTo>
                  <a:lnTo>
                    <a:pt x="471" y="305"/>
                  </a:lnTo>
                  <a:lnTo>
                    <a:pt x="473" y="308"/>
                  </a:lnTo>
                  <a:lnTo>
                    <a:pt x="476" y="308"/>
                  </a:lnTo>
                  <a:lnTo>
                    <a:pt x="476" y="308"/>
                  </a:lnTo>
                  <a:lnTo>
                    <a:pt x="476" y="308"/>
                  </a:lnTo>
                  <a:lnTo>
                    <a:pt x="478" y="305"/>
                  </a:lnTo>
                  <a:lnTo>
                    <a:pt x="480" y="308"/>
                  </a:lnTo>
                  <a:lnTo>
                    <a:pt x="483" y="305"/>
                  </a:lnTo>
                  <a:lnTo>
                    <a:pt x="483" y="305"/>
                  </a:lnTo>
                  <a:lnTo>
                    <a:pt x="485" y="305"/>
                  </a:lnTo>
                  <a:lnTo>
                    <a:pt x="485" y="305"/>
                  </a:lnTo>
                  <a:lnTo>
                    <a:pt x="485" y="305"/>
                  </a:lnTo>
                  <a:lnTo>
                    <a:pt x="487" y="305"/>
                  </a:lnTo>
                  <a:lnTo>
                    <a:pt x="490" y="305"/>
                  </a:lnTo>
                  <a:lnTo>
                    <a:pt x="494" y="303"/>
                  </a:lnTo>
                  <a:lnTo>
                    <a:pt x="497" y="303"/>
                  </a:lnTo>
                  <a:lnTo>
                    <a:pt x="499" y="303"/>
                  </a:lnTo>
                  <a:lnTo>
                    <a:pt x="502" y="303"/>
                  </a:lnTo>
                  <a:lnTo>
                    <a:pt x="502" y="303"/>
                  </a:lnTo>
                  <a:lnTo>
                    <a:pt x="504" y="303"/>
                  </a:lnTo>
                  <a:lnTo>
                    <a:pt x="504" y="301"/>
                  </a:lnTo>
                  <a:lnTo>
                    <a:pt x="506" y="301"/>
                  </a:lnTo>
                  <a:close/>
                  <a:moveTo>
                    <a:pt x="433" y="303"/>
                  </a:moveTo>
                  <a:lnTo>
                    <a:pt x="433" y="303"/>
                  </a:lnTo>
                  <a:lnTo>
                    <a:pt x="433" y="303"/>
                  </a:lnTo>
                  <a:lnTo>
                    <a:pt x="436" y="303"/>
                  </a:lnTo>
                  <a:lnTo>
                    <a:pt x="436" y="303"/>
                  </a:lnTo>
                  <a:lnTo>
                    <a:pt x="436" y="303"/>
                  </a:lnTo>
                  <a:lnTo>
                    <a:pt x="438" y="303"/>
                  </a:lnTo>
                  <a:lnTo>
                    <a:pt x="438" y="303"/>
                  </a:lnTo>
                  <a:lnTo>
                    <a:pt x="438" y="303"/>
                  </a:lnTo>
                  <a:lnTo>
                    <a:pt x="440" y="301"/>
                  </a:lnTo>
                  <a:lnTo>
                    <a:pt x="440" y="301"/>
                  </a:lnTo>
                  <a:lnTo>
                    <a:pt x="438" y="301"/>
                  </a:lnTo>
                  <a:lnTo>
                    <a:pt x="438" y="298"/>
                  </a:lnTo>
                  <a:lnTo>
                    <a:pt x="438" y="298"/>
                  </a:lnTo>
                  <a:lnTo>
                    <a:pt x="438" y="294"/>
                  </a:lnTo>
                  <a:lnTo>
                    <a:pt x="436" y="294"/>
                  </a:lnTo>
                  <a:lnTo>
                    <a:pt x="436" y="294"/>
                  </a:lnTo>
                  <a:lnTo>
                    <a:pt x="433" y="294"/>
                  </a:lnTo>
                  <a:lnTo>
                    <a:pt x="433" y="294"/>
                  </a:lnTo>
                  <a:lnTo>
                    <a:pt x="433" y="296"/>
                  </a:lnTo>
                  <a:lnTo>
                    <a:pt x="431" y="296"/>
                  </a:lnTo>
                  <a:lnTo>
                    <a:pt x="431" y="294"/>
                  </a:lnTo>
                  <a:lnTo>
                    <a:pt x="431" y="294"/>
                  </a:lnTo>
                  <a:lnTo>
                    <a:pt x="428" y="294"/>
                  </a:lnTo>
                  <a:lnTo>
                    <a:pt x="428" y="294"/>
                  </a:lnTo>
                  <a:lnTo>
                    <a:pt x="426" y="294"/>
                  </a:lnTo>
                  <a:lnTo>
                    <a:pt x="426" y="296"/>
                  </a:lnTo>
                  <a:lnTo>
                    <a:pt x="424" y="296"/>
                  </a:lnTo>
                  <a:lnTo>
                    <a:pt x="424" y="294"/>
                  </a:lnTo>
                  <a:lnTo>
                    <a:pt x="424" y="294"/>
                  </a:lnTo>
                  <a:lnTo>
                    <a:pt x="421" y="291"/>
                  </a:lnTo>
                  <a:lnTo>
                    <a:pt x="421" y="291"/>
                  </a:lnTo>
                  <a:lnTo>
                    <a:pt x="419" y="289"/>
                  </a:lnTo>
                  <a:lnTo>
                    <a:pt x="417" y="289"/>
                  </a:lnTo>
                  <a:lnTo>
                    <a:pt x="414" y="291"/>
                  </a:lnTo>
                  <a:lnTo>
                    <a:pt x="414" y="291"/>
                  </a:lnTo>
                  <a:lnTo>
                    <a:pt x="414" y="294"/>
                  </a:lnTo>
                  <a:lnTo>
                    <a:pt x="417" y="296"/>
                  </a:lnTo>
                  <a:lnTo>
                    <a:pt x="419" y="298"/>
                  </a:lnTo>
                  <a:lnTo>
                    <a:pt x="419" y="298"/>
                  </a:lnTo>
                  <a:lnTo>
                    <a:pt x="419" y="298"/>
                  </a:lnTo>
                  <a:lnTo>
                    <a:pt x="421" y="298"/>
                  </a:lnTo>
                  <a:lnTo>
                    <a:pt x="421" y="298"/>
                  </a:lnTo>
                  <a:lnTo>
                    <a:pt x="424" y="301"/>
                  </a:lnTo>
                  <a:lnTo>
                    <a:pt x="421" y="301"/>
                  </a:lnTo>
                  <a:lnTo>
                    <a:pt x="421" y="301"/>
                  </a:lnTo>
                  <a:lnTo>
                    <a:pt x="419" y="303"/>
                  </a:lnTo>
                  <a:lnTo>
                    <a:pt x="417" y="303"/>
                  </a:lnTo>
                  <a:lnTo>
                    <a:pt x="414" y="303"/>
                  </a:lnTo>
                  <a:lnTo>
                    <a:pt x="414" y="301"/>
                  </a:lnTo>
                  <a:lnTo>
                    <a:pt x="412" y="298"/>
                  </a:lnTo>
                  <a:lnTo>
                    <a:pt x="412" y="298"/>
                  </a:lnTo>
                  <a:lnTo>
                    <a:pt x="412" y="298"/>
                  </a:lnTo>
                  <a:lnTo>
                    <a:pt x="412" y="296"/>
                  </a:lnTo>
                  <a:lnTo>
                    <a:pt x="410" y="296"/>
                  </a:lnTo>
                  <a:lnTo>
                    <a:pt x="407" y="296"/>
                  </a:lnTo>
                  <a:lnTo>
                    <a:pt x="405" y="296"/>
                  </a:lnTo>
                  <a:lnTo>
                    <a:pt x="403" y="296"/>
                  </a:lnTo>
                  <a:lnTo>
                    <a:pt x="403" y="296"/>
                  </a:lnTo>
                  <a:lnTo>
                    <a:pt x="400" y="298"/>
                  </a:lnTo>
                  <a:lnTo>
                    <a:pt x="398" y="298"/>
                  </a:lnTo>
                  <a:lnTo>
                    <a:pt x="398" y="298"/>
                  </a:lnTo>
                  <a:lnTo>
                    <a:pt x="395" y="301"/>
                  </a:lnTo>
                  <a:lnTo>
                    <a:pt x="395" y="301"/>
                  </a:lnTo>
                  <a:lnTo>
                    <a:pt x="395" y="305"/>
                  </a:lnTo>
                  <a:lnTo>
                    <a:pt x="395" y="305"/>
                  </a:lnTo>
                  <a:lnTo>
                    <a:pt x="395" y="308"/>
                  </a:lnTo>
                  <a:lnTo>
                    <a:pt x="395" y="308"/>
                  </a:lnTo>
                  <a:lnTo>
                    <a:pt x="398" y="310"/>
                  </a:lnTo>
                  <a:lnTo>
                    <a:pt x="398" y="310"/>
                  </a:lnTo>
                  <a:lnTo>
                    <a:pt x="400" y="310"/>
                  </a:lnTo>
                  <a:lnTo>
                    <a:pt x="403" y="310"/>
                  </a:lnTo>
                  <a:lnTo>
                    <a:pt x="403" y="310"/>
                  </a:lnTo>
                  <a:lnTo>
                    <a:pt x="405" y="310"/>
                  </a:lnTo>
                  <a:lnTo>
                    <a:pt x="405" y="310"/>
                  </a:lnTo>
                  <a:lnTo>
                    <a:pt x="407" y="310"/>
                  </a:lnTo>
                  <a:lnTo>
                    <a:pt x="410" y="308"/>
                  </a:lnTo>
                  <a:lnTo>
                    <a:pt x="414" y="308"/>
                  </a:lnTo>
                  <a:lnTo>
                    <a:pt x="414" y="308"/>
                  </a:lnTo>
                  <a:lnTo>
                    <a:pt x="417" y="308"/>
                  </a:lnTo>
                  <a:lnTo>
                    <a:pt x="419" y="305"/>
                  </a:lnTo>
                  <a:lnTo>
                    <a:pt x="421" y="305"/>
                  </a:lnTo>
                  <a:lnTo>
                    <a:pt x="421" y="305"/>
                  </a:lnTo>
                  <a:lnTo>
                    <a:pt x="424" y="305"/>
                  </a:lnTo>
                  <a:lnTo>
                    <a:pt x="426" y="301"/>
                  </a:lnTo>
                  <a:lnTo>
                    <a:pt x="426" y="303"/>
                  </a:lnTo>
                  <a:lnTo>
                    <a:pt x="426" y="305"/>
                  </a:lnTo>
                  <a:lnTo>
                    <a:pt x="426" y="305"/>
                  </a:lnTo>
                  <a:lnTo>
                    <a:pt x="426" y="305"/>
                  </a:lnTo>
                  <a:lnTo>
                    <a:pt x="431" y="305"/>
                  </a:lnTo>
                  <a:lnTo>
                    <a:pt x="431" y="305"/>
                  </a:lnTo>
                  <a:lnTo>
                    <a:pt x="433" y="305"/>
                  </a:lnTo>
                  <a:lnTo>
                    <a:pt x="433" y="305"/>
                  </a:lnTo>
                  <a:lnTo>
                    <a:pt x="433" y="305"/>
                  </a:lnTo>
                  <a:lnTo>
                    <a:pt x="433" y="305"/>
                  </a:lnTo>
                  <a:lnTo>
                    <a:pt x="433" y="303"/>
                  </a:lnTo>
                  <a:close/>
                  <a:moveTo>
                    <a:pt x="374" y="291"/>
                  </a:moveTo>
                  <a:lnTo>
                    <a:pt x="372" y="291"/>
                  </a:lnTo>
                  <a:lnTo>
                    <a:pt x="370" y="289"/>
                  </a:lnTo>
                  <a:lnTo>
                    <a:pt x="367" y="289"/>
                  </a:lnTo>
                  <a:lnTo>
                    <a:pt x="367" y="289"/>
                  </a:lnTo>
                  <a:lnTo>
                    <a:pt x="365" y="291"/>
                  </a:lnTo>
                  <a:lnTo>
                    <a:pt x="362" y="291"/>
                  </a:lnTo>
                  <a:lnTo>
                    <a:pt x="360" y="291"/>
                  </a:lnTo>
                  <a:lnTo>
                    <a:pt x="358" y="291"/>
                  </a:lnTo>
                  <a:lnTo>
                    <a:pt x="355" y="289"/>
                  </a:lnTo>
                  <a:lnTo>
                    <a:pt x="353" y="291"/>
                  </a:lnTo>
                  <a:lnTo>
                    <a:pt x="353" y="291"/>
                  </a:lnTo>
                  <a:lnTo>
                    <a:pt x="353" y="291"/>
                  </a:lnTo>
                  <a:lnTo>
                    <a:pt x="355" y="294"/>
                  </a:lnTo>
                  <a:lnTo>
                    <a:pt x="355" y="296"/>
                  </a:lnTo>
                  <a:lnTo>
                    <a:pt x="355" y="296"/>
                  </a:lnTo>
                  <a:lnTo>
                    <a:pt x="358" y="296"/>
                  </a:lnTo>
                  <a:lnTo>
                    <a:pt x="360" y="296"/>
                  </a:lnTo>
                  <a:lnTo>
                    <a:pt x="362" y="298"/>
                  </a:lnTo>
                  <a:lnTo>
                    <a:pt x="365" y="301"/>
                  </a:lnTo>
                  <a:lnTo>
                    <a:pt x="365" y="301"/>
                  </a:lnTo>
                  <a:lnTo>
                    <a:pt x="365" y="303"/>
                  </a:lnTo>
                  <a:lnTo>
                    <a:pt x="365" y="303"/>
                  </a:lnTo>
                  <a:lnTo>
                    <a:pt x="365" y="305"/>
                  </a:lnTo>
                  <a:lnTo>
                    <a:pt x="365" y="305"/>
                  </a:lnTo>
                  <a:lnTo>
                    <a:pt x="367" y="305"/>
                  </a:lnTo>
                  <a:lnTo>
                    <a:pt x="367" y="305"/>
                  </a:lnTo>
                  <a:lnTo>
                    <a:pt x="367" y="305"/>
                  </a:lnTo>
                  <a:lnTo>
                    <a:pt x="367" y="303"/>
                  </a:lnTo>
                  <a:lnTo>
                    <a:pt x="370" y="301"/>
                  </a:lnTo>
                  <a:lnTo>
                    <a:pt x="370" y="301"/>
                  </a:lnTo>
                  <a:lnTo>
                    <a:pt x="374" y="298"/>
                  </a:lnTo>
                  <a:lnTo>
                    <a:pt x="377" y="296"/>
                  </a:lnTo>
                  <a:lnTo>
                    <a:pt x="377" y="296"/>
                  </a:lnTo>
                  <a:lnTo>
                    <a:pt x="377" y="296"/>
                  </a:lnTo>
                  <a:lnTo>
                    <a:pt x="374" y="291"/>
                  </a:lnTo>
                  <a:close/>
                  <a:moveTo>
                    <a:pt x="582" y="279"/>
                  </a:moveTo>
                  <a:lnTo>
                    <a:pt x="579" y="279"/>
                  </a:lnTo>
                  <a:lnTo>
                    <a:pt x="577" y="279"/>
                  </a:lnTo>
                  <a:lnTo>
                    <a:pt x="575" y="282"/>
                  </a:lnTo>
                  <a:lnTo>
                    <a:pt x="572" y="282"/>
                  </a:lnTo>
                  <a:lnTo>
                    <a:pt x="570" y="282"/>
                  </a:lnTo>
                  <a:lnTo>
                    <a:pt x="568" y="279"/>
                  </a:lnTo>
                  <a:lnTo>
                    <a:pt x="565" y="284"/>
                  </a:lnTo>
                  <a:lnTo>
                    <a:pt x="565" y="284"/>
                  </a:lnTo>
                  <a:lnTo>
                    <a:pt x="565" y="287"/>
                  </a:lnTo>
                  <a:lnTo>
                    <a:pt x="565" y="287"/>
                  </a:lnTo>
                  <a:lnTo>
                    <a:pt x="568" y="287"/>
                  </a:lnTo>
                  <a:lnTo>
                    <a:pt x="570" y="284"/>
                  </a:lnTo>
                  <a:lnTo>
                    <a:pt x="570" y="284"/>
                  </a:lnTo>
                  <a:lnTo>
                    <a:pt x="572" y="287"/>
                  </a:lnTo>
                  <a:lnTo>
                    <a:pt x="575" y="287"/>
                  </a:lnTo>
                  <a:lnTo>
                    <a:pt x="577" y="287"/>
                  </a:lnTo>
                  <a:lnTo>
                    <a:pt x="577" y="284"/>
                  </a:lnTo>
                  <a:lnTo>
                    <a:pt x="579" y="284"/>
                  </a:lnTo>
                  <a:lnTo>
                    <a:pt x="582" y="282"/>
                  </a:lnTo>
                  <a:lnTo>
                    <a:pt x="584" y="282"/>
                  </a:lnTo>
                  <a:lnTo>
                    <a:pt x="584" y="282"/>
                  </a:lnTo>
                  <a:lnTo>
                    <a:pt x="584" y="279"/>
                  </a:lnTo>
                  <a:lnTo>
                    <a:pt x="582" y="279"/>
                  </a:lnTo>
                  <a:close/>
                  <a:moveTo>
                    <a:pt x="806" y="289"/>
                  </a:moveTo>
                  <a:lnTo>
                    <a:pt x="808" y="284"/>
                  </a:lnTo>
                  <a:lnTo>
                    <a:pt x="808" y="282"/>
                  </a:lnTo>
                  <a:lnTo>
                    <a:pt x="808" y="279"/>
                  </a:lnTo>
                  <a:lnTo>
                    <a:pt x="808" y="277"/>
                  </a:lnTo>
                  <a:lnTo>
                    <a:pt x="806" y="275"/>
                  </a:lnTo>
                  <a:lnTo>
                    <a:pt x="806" y="275"/>
                  </a:lnTo>
                  <a:lnTo>
                    <a:pt x="801" y="275"/>
                  </a:lnTo>
                  <a:lnTo>
                    <a:pt x="796" y="275"/>
                  </a:lnTo>
                  <a:lnTo>
                    <a:pt x="794" y="277"/>
                  </a:lnTo>
                  <a:lnTo>
                    <a:pt x="791" y="279"/>
                  </a:lnTo>
                  <a:lnTo>
                    <a:pt x="791" y="279"/>
                  </a:lnTo>
                  <a:lnTo>
                    <a:pt x="787" y="287"/>
                  </a:lnTo>
                  <a:lnTo>
                    <a:pt x="784" y="294"/>
                  </a:lnTo>
                  <a:lnTo>
                    <a:pt x="782" y="296"/>
                  </a:lnTo>
                  <a:lnTo>
                    <a:pt x="784" y="296"/>
                  </a:lnTo>
                  <a:lnTo>
                    <a:pt x="787" y="296"/>
                  </a:lnTo>
                  <a:lnTo>
                    <a:pt x="789" y="296"/>
                  </a:lnTo>
                  <a:lnTo>
                    <a:pt x="796" y="296"/>
                  </a:lnTo>
                  <a:lnTo>
                    <a:pt x="801" y="294"/>
                  </a:lnTo>
                  <a:lnTo>
                    <a:pt x="801" y="291"/>
                  </a:lnTo>
                  <a:lnTo>
                    <a:pt x="806" y="289"/>
                  </a:lnTo>
                  <a:close/>
                  <a:moveTo>
                    <a:pt x="674" y="270"/>
                  </a:moveTo>
                  <a:lnTo>
                    <a:pt x="674" y="270"/>
                  </a:lnTo>
                  <a:lnTo>
                    <a:pt x="671" y="270"/>
                  </a:lnTo>
                  <a:lnTo>
                    <a:pt x="671" y="270"/>
                  </a:lnTo>
                  <a:lnTo>
                    <a:pt x="671" y="270"/>
                  </a:lnTo>
                  <a:lnTo>
                    <a:pt x="671" y="272"/>
                  </a:lnTo>
                  <a:lnTo>
                    <a:pt x="669" y="272"/>
                  </a:lnTo>
                  <a:lnTo>
                    <a:pt x="669" y="275"/>
                  </a:lnTo>
                  <a:lnTo>
                    <a:pt x="669" y="275"/>
                  </a:lnTo>
                  <a:lnTo>
                    <a:pt x="667" y="275"/>
                  </a:lnTo>
                  <a:lnTo>
                    <a:pt x="667" y="277"/>
                  </a:lnTo>
                  <a:lnTo>
                    <a:pt x="664" y="279"/>
                  </a:lnTo>
                  <a:lnTo>
                    <a:pt x="664" y="282"/>
                  </a:lnTo>
                  <a:lnTo>
                    <a:pt x="664" y="282"/>
                  </a:lnTo>
                  <a:lnTo>
                    <a:pt x="664" y="284"/>
                  </a:lnTo>
                  <a:lnTo>
                    <a:pt x="662" y="284"/>
                  </a:lnTo>
                  <a:lnTo>
                    <a:pt x="662" y="287"/>
                  </a:lnTo>
                  <a:lnTo>
                    <a:pt x="662" y="287"/>
                  </a:lnTo>
                  <a:lnTo>
                    <a:pt x="664" y="287"/>
                  </a:lnTo>
                  <a:lnTo>
                    <a:pt x="667" y="289"/>
                  </a:lnTo>
                  <a:lnTo>
                    <a:pt x="667" y="287"/>
                  </a:lnTo>
                  <a:lnTo>
                    <a:pt x="667" y="287"/>
                  </a:lnTo>
                  <a:lnTo>
                    <a:pt x="667" y="287"/>
                  </a:lnTo>
                  <a:lnTo>
                    <a:pt x="667" y="284"/>
                  </a:lnTo>
                  <a:lnTo>
                    <a:pt x="669" y="282"/>
                  </a:lnTo>
                  <a:lnTo>
                    <a:pt x="671" y="282"/>
                  </a:lnTo>
                  <a:lnTo>
                    <a:pt x="671" y="282"/>
                  </a:lnTo>
                  <a:lnTo>
                    <a:pt x="674" y="279"/>
                  </a:lnTo>
                  <a:lnTo>
                    <a:pt x="674" y="275"/>
                  </a:lnTo>
                  <a:lnTo>
                    <a:pt x="674" y="272"/>
                  </a:lnTo>
                  <a:lnTo>
                    <a:pt x="676" y="270"/>
                  </a:lnTo>
                  <a:lnTo>
                    <a:pt x="674" y="270"/>
                  </a:lnTo>
                  <a:close/>
                  <a:moveTo>
                    <a:pt x="676" y="270"/>
                  </a:moveTo>
                  <a:lnTo>
                    <a:pt x="676" y="270"/>
                  </a:lnTo>
                  <a:lnTo>
                    <a:pt x="676" y="270"/>
                  </a:lnTo>
                  <a:lnTo>
                    <a:pt x="678" y="270"/>
                  </a:lnTo>
                  <a:lnTo>
                    <a:pt x="678" y="272"/>
                  </a:lnTo>
                  <a:lnTo>
                    <a:pt x="681" y="272"/>
                  </a:lnTo>
                  <a:lnTo>
                    <a:pt x="681" y="270"/>
                  </a:lnTo>
                  <a:lnTo>
                    <a:pt x="678" y="268"/>
                  </a:lnTo>
                  <a:lnTo>
                    <a:pt x="676" y="270"/>
                  </a:lnTo>
                  <a:close/>
                  <a:moveTo>
                    <a:pt x="329" y="270"/>
                  </a:moveTo>
                  <a:lnTo>
                    <a:pt x="329" y="272"/>
                  </a:lnTo>
                  <a:lnTo>
                    <a:pt x="329" y="270"/>
                  </a:lnTo>
                  <a:lnTo>
                    <a:pt x="332" y="270"/>
                  </a:lnTo>
                  <a:lnTo>
                    <a:pt x="332" y="270"/>
                  </a:lnTo>
                  <a:lnTo>
                    <a:pt x="337" y="270"/>
                  </a:lnTo>
                  <a:lnTo>
                    <a:pt x="339" y="270"/>
                  </a:lnTo>
                  <a:lnTo>
                    <a:pt x="341" y="270"/>
                  </a:lnTo>
                  <a:lnTo>
                    <a:pt x="344" y="270"/>
                  </a:lnTo>
                  <a:lnTo>
                    <a:pt x="344" y="268"/>
                  </a:lnTo>
                  <a:lnTo>
                    <a:pt x="344" y="268"/>
                  </a:lnTo>
                  <a:lnTo>
                    <a:pt x="348" y="265"/>
                  </a:lnTo>
                  <a:lnTo>
                    <a:pt x="348" y="265"/>
                  </a:lnTo>
                  <a:lnTo>
                    <a:pt x="346" y="263"/>
                  </a:lnTo>
                  <a:lnTo>
                    <a:pt x="329" y="263"/>
                  </a:lnTo>
                  <a:lnTo>
                    <a:pt x="325" y="265"/>
                  </a:lnTo>
                  <a:lnTo>
                    <a:pt x="325" y="268"/>
                  </a:lnTo>
                  <a:lnTo>
                    <a:pt x="322" y="268"/>
                  </a:lnTo>
                  <a:lnTo>
                    <a:pt x="322" y="270"/>
                  </a:lnTo>
                  <a:lnTo>
                    <a:pt x="329" y="270"/>
                  </a:lnTo>
                  <a:close/>
                  <a:moveTo>
                    <a:pt x="372" y="263"/>
                  </a:moveTo>
                  <a:lnTo>
                    <a:pt x="372" y="263"/>
                  </a:lnTo>
                  <a:lnTo>
                    <a:pt x="370" y="263"/>
                  </a:lnTo>
                  <a:lnTo>
                    <a:pt x="370" y="265"/>
                  </a:lnTo>
                  <a:lnTo>
                    <a:pt x="370" y="265"/>
                  </a:lnTo>
                  <a:lnTo>
                    <a:pt x="370" y="265"/>
                  </a:lnTo>
                  <a:lnTo>
                    <a:pt x="372" y="265"/>
                  </a:lnTo>
                  <a:lnTo>
                    <a:pt x="374" y="265"/>
                  </a:lnTo>
                  <a:lnTo>
                    <a:pt x="374" y="265"/>
                  </a:lnTo>
                  <a:lnTo>
                    <a:pt x="374" y="265"/>
                  </a:lnTo>
                  <a:lnTo>
                    <a:pt x="374" y="263"/>
                  </a:lnTo>
                  <a:lnTo>
                    <a:pt x="372" y="263"/>
                  </a:lnTo>
                  <a:close/>
                  <a:moveTo>
                    <a:pt x="186" y="258"/>
                  </a:moveTo>
                  <a:lnTo>
                    <a:pt x="186" y="256"/>
                  </a:lnTo>
                  <a:lnTo>
                    <a:pt x="183" y="256"/>
                  </a:lnTo>
                  <a:lnTo>
                    <a:pt x="183" y="256"/>
                  </a:lnTo>
                  <a:lnTo>
                    <a:pt x="183" y="258"/>
                  </a:lnTo>
                  <a:lnTo>
                    <a:pt x="183" y="258"/>
                  </a:lnTo>
                  <a:lnTo>
                    <a:pt x="183" y="261"/>
                  </a:lnTo>
                  <a:lnTo>
                    <a:pt x="186" y="258"/>
                  </a:lnTo>
                  <a:lnTo>
                    <a:pt x="186" y="258"/>
                  </a:lnTo>
                  <a:close/>
                  <a:moveTo>
                    <a:pt x="725" y="251"/>
                  </a:moveTo>
                  <a:lnTo>
                    <a:pt x="723" y="251"/>
                  </a:lnTo>
                  <a:lnTo>
                    <a:pt x="721" y="249"/>
                  </a:lnTo>
                  <a:lnTo>
                    <a:pt x="721" y="249"/>
                  </a:lnTo>
                  <a:lnTo>
                    <a:pt x="721" y="251"/>
                  </a:lnTo>
                  <a:lnTo>
                    <a:pt x="721" y="253"/>
                  </a:lnTo>
                  <a:lnTo>
                    <a:pt x="721" y="256"/>
                  </a:lnTo>
                  <a:lnTo>
                    <a:pt x="721" y="256"/>
                  </a:lnTo>
                  <a:lnTo>
                    <a:pt x="721" y="256"/>
                  </a:lnTo>
                  <a:lnTo>
                    <a:pt x="721" y="256"/>
                  </a:lnTo>
                  <a:lnTo>
                    <a:pt x="718" y="261"/>
                  </a:lnTo>
                  <a:lnTo>
                    <a:pt x="718" y="263"/>
                  </a:lnTo>
                  <a:lnTo>
                    <a:pt x="721" y="265"/>
                  </a:lnTo>
                  <a:lnTo>
                    <a:pt x="723" y="263"/>
                  </a:lnTo>
                  <a:lnTo>
                    <a:pt x="725" y="263"/>
                  </a:lnTo>
                  <a:lnTo>
                    <a:pt x="725" y="261"/>
                  </a:lnTo>
                  <a:lnTo>
                    <a:pt x="728" y="258"/>
                  </a:lnTo>
                  <a:lnTo>
                    <a:pt x="728" y="256"/>
                  </a:lnTo>
                  <a:lnTo>
                    <a:pt x="728" y="256"/>
                  </a:lnTo>
                  <a:lnTo>
                    <a:pt x="725" y="253"/>
                  </a:lnTo>
                  <a:lnTo>
                    <a:pt x="725" y="251"/>
                  </a:lnTo>
                  <a:close/>
                  <a:moveTo>
                    <a:pt x="353" y="301"/>
                  </a:moveTo>
                  <a:lnTo>
                    <a:pt x="353" y="298"/>
                  </a:lnTo>
                  <a:lnTo>
                    <a:pt x="353" y="296"/>
                  </a:lnTo>
                  <a:lnTo>
                    <a:pt x="353" y="294"/>
                  </a:lnTo>
                  <a:lnTo>
                    <a:pt x="353" y="294"/>
                  </a:lnTo>
                  <a:lnTo>
                    <a:pt x="353" y="287"/>
                  </a:lnTo>
                  <a:lnTo>
                    <a:pt x="353" y="287"/>
                  </a:lnTo>
                  <a:lnTo>
                    <a:pt x="353" y="284"/>
                  </a:lnTo>
                  <a:lnTo>
                    <a:pt x="353" y="282"/>
                  </a:lnTo>
                  <a:lnTo>
                    <a:pt x="348" y="279"/>
                  </a:lnTo>
                  <a:lnTo>
                    <a:pt x="346" y="279"/>
                  </a:lnTo>
                  <a:lnTo>
                    <a:pt x="344" y="282"/>
                  </a:lnTo>
                  <a:lnTo>
                    <a:pt x="341" y="282"/>
                  </a:lnTo>
                  <a:lnTo>
                    <a:pt x="337" y="282"/>
                  </a:lnTo>
                  <a:lnTo>
                    <a:pt x="332" y="282"/>
                  </a:lnTo>
                  <a:lnTo>
                    <a:pt x="327" y="279"/>
                  </a:lnTo>
                  <a:lnTo>
                    <a:pt x="325" y="277"/>
                  </a:lnTo>
                  <a:lnTo>
                    <a:pt x="322" y="275"/>
                  </a:lnTo>
                  <a:lnTo>
                    <a:pt x="325" y="272"/>
                  </a:lnTo>
                  <a:lnTo>
                    <a:pt x="322" y="272"/>
                  </a:lnTo>
                  <a:lnTo>
                    <a:pt x="322" y="272"/>
                  </a:lnTo>
                  <a:lnTo>
                    <a:pt x="320" y="270"/>
                  </a:lnTo>
                  <a:lnTo>
                    <a:pt x="320" y="268"/>
                  </a:lnTo>
                  <a:lnTo>
                    <a:pt x="320" y="265"/>
                  </a:lnTo>
                  <a:lnTo>
                    <a:pt x="318" y="265"/>
                  </a:lnTo>
                  <a:lnTo>
                    <a:pt x="315" y="265"/>
                  </a:lnTo>
                  <a:lnTo>
                    <a:pt x="313" y="265"/>
                  </a:lnTo>
                  <a:lnTo>
                    <a:pt x="311" y="265"/>
                  </a:lnTo>
                  <a:lnTo>
                    <a:pt x="311" y="263"/>
                  </a:lnTo>
                  <a:lnTo>
                    <a:pt x="306" y="263"/>
                  </a:lnTo>
                  <a:lnTo>
                    <a:pt x="304" y="261"/>
                  </a:lnTo>
                  <a:lnTo>
                    <a:pt x="304" y="261"/>
                  </a:lnTo>
                  <a:lnTo>
                    <a:pt x="301" y="258"/>
                  </a:lnTo>
                  <a:lnTo>
                    <a:pt x="301" y="258"/>
                  </a:lnTo>
                  <a:lnTo>
                    <a:pt x="299" y="261"/>
                  </a:lnTo>
                  <a:lnTo>
                    <a:pt x="296" y="261"/>
                  </a:lnTo>
                  <a:lnTo>
                    <a:pt x="294" y="261"/>
                  </a:lnTo>
                  <a:lnTo>
                    <a:pt x="294" y="261"/>
                  </a:lnTo>
                  <a:lnTo>
                    <a:pt x="292" y="256"/>
                  </a:lnTo>
                  <a:lnTo>
                    <a:pt x="292" y="253"/>
                  </a:lnTo>
                  <a:lnTo>
                    <a:pt x="289" y="253"/>
                  </a:lnTo>
                  <a:lnTo>
                    <a:pt x="287" y="256"/>
                  </a:lnTo>
                  <a:lnTo>
                    <a:pt x="287" y="256"/>
                  </a:lnTo>
                  <a:lnTo>
                    <a:pt x="287" y="256"/>
                  </a:lnTo>
                  <a:lnTo>
                    <a:pt x="285" y="258"/>
                  </a:lnTo>
                  <a:lnTo>
                    <a:pt x="285" y="261"/>
                  </a:lnTo>
                  <a:lnTo>
                    <a:pt x="282" y="263"/>
                  </a:lnTo>
                  <a:lnTo>
                    <a:pt x="282" y="265"/>
                  </a:lnTo>
                  <a:lnTo>
                    <a:pt x="280" y="265"/>
                  </a:lnTo>
                  <a:lnTo>
                    <a:pt x="280" y="265"/>
                  </a:lnTo>
                  <a:lnTo>
                    <a:pt x="278" y="265"/>
                  </a:lnTo>
                  <a:lnTo>
                    <a:pt x="278" y="265"/>
                  </a:lnTo>
                  <a:lnTo>
                    <a:pt x="275" y="265"/>
                  </a:lnTo>
                  <a:lnTo>
                    <a:pt x="273" y="265"/>
                  </a:lnTo>
                  <a:lnTo>
                    <a:pt x="271" y="265"/>
                  </a:lnTo>
                  <a:lnTo>
                    <a:pt x="268" y="265"/>
                  </a:lnTo>
                  <a:lnTo>
                    <a:pt x="266" y="263"/>
                  </a:lnTo>
                  <a:lnTo>
                    <a:pt x="263" y="263"/>
                  </a:lnTo>
                  <a:lnTo>
                    <a:pt x="261" y="263"/>
                  </a:lnTo>
                  <a:lnTo>
                    <a:pt x="259" y="263"/>
                  </a:lnTo>
                  <a:lnTo>
                    <a:pt x="254" y="263"/>
                  </a:lnTo>
                  <a:lnTo>
                    <a:pt x="252" y="263"/>
                  </a:lnTo>
                  <a:lnTo>
                    <a:pt x="249" y="263"/>
                  </a:lnTo>
                  <a:lnTo>
                    <a:pt x="247" y="263"/>
                  </a:lnTo>
                  <a:lnTo>
                    <a:pt x="247" y="261"/>
                  </a:lnTo>
                  <a:lnTo>
                    <a:pt x="247" y="256"/>
                  </a:lnTo>
                  <a:lnTo>
                    <a:pt x="245" y="256"/>
                  </a:lnTo>
                  <a:lnTo>
                    <a:pt x="245" y="253"/>
                  </a:lnTo>
                  <a:lnTo>
                    <a:pt x="242" y="251"/>
                  </a:lnTo>
                  <a:lnTo>
                    <a:pt x="242" y="251"/>
                  </a:lnTo>
                  <a:lnTo>
                    <a:pt x="240" y="251"/>
                  </a:lnTo>
                  <a:lnTo>
                    <a:pt x="240" y="251"/>
                  </a:lnTo>
                  <a:lnTo>
                    <a:pt x="238" y="251"/>
                  </a:lnTo>
                  <a:lnTo>
                    <a:pt x="235" y="251"/>
                  </a:lnTo>
                  <a:lnTo>
                    <a:pt x="233" y="251"/>
                  </a:lnTo>
                  <a:lnTo>
                    <a:pt x="233" y="251"/>
                  </a:lnTo>
                  <a:lnTo>
                    <a:pt x="231" y="251"/>
                  </a:lnTo>
                  <a:lnTo>
                    <a:pt x="228" y="249"/>
                  </a:lnTo>
                  <a:lnTo>
                    <a:pt x="226" y="249"/>
                  </a:lnTo>
                  <a:lnTo>
                    <a:pt x="226" y="246"/>
                  </a:lnTo>
                  <a:lnTo>
                    <a:pt x="223" y="244"/>
                  </a:lnTo>
                  <a:lnTo>
                    <a:pt x="221" y="244"/>
                  </a:lnTo>
                  <a:lnTo>
                    <a:pt x="219" y="244"/>
                  </a:lnTo>
                  <a:lnTo>
                    <a:pt x="219" y="246"/>
                  </a:lnTo>
                  <a:lnTo>
                    <a:pt x="216" y="246"/>
                  </a:lnTo>
                  <a:lnTo>
                    <a:pt x="216" y="246"/>
                  </a:lnTo>
                  <a:lnTo>
                    <a:pt x="214" y="246"/>
                  </a:lnTo>
                  <a:lnTo>
                    <a:pt x="212" y="246"/>
                  </a:lnTo>
                  <a:lnTo>
                    <a:pt x="209" y="246"/>
                  </a:lnTo>
                  <a:lnTo>
                    <a:pt x="207" y="246"/>
                  </a:lnTo>
                  <a:lnTo>
                    <a:pt x="205" y="244"/>
                  </a:lnTo>
                  <a:lnTo>
                    <a:pt x="202" y="244"/>
                  </a:lnTo>
                  <a:lnTo>
                    <a:pt x="200" y="244"/>
                  </a:lnTo>
                  <a:lnTo>
                    <a:pt x="200" y="244"/>
                  </a:lnTo>
                  <a:lnTo>
                    <a:pt x="198" y="246"/>
                  </a:lnTo>
                  <a:lnTo>
                    <a:pt x="198" y="249"/>
                  </a:lnTo>
                  <a:lnTo>
                    <a:pt x="195" y="256"/>
                  </a:lnTo>
                  <a:lnTo>
                    <a:pt x="195" y="256"/>
                  </a:lnTo>
                  <a:lnTo>
                    <a:pt x="193" y="256"/>
                  </a:lnTo>
                  <a:lnTo>
                    <a:pt x="193" y="256"/>
                  </a:lnTo>
                  <a:lnTo>
                    <a:pt x="190" y="258"/>
                  </a:lnTo>
                  <a:lnTo>
                    <a:pt x="190" y="261"/>
                  </a:lnTo>
                  <a:lnTo>
                    <a:pt x="188" y="263"/>
                  </a:lnTo>
                  <a:lnTo>
                    <a:pt x="188" y="263"/>
                  </a:lnTo>
                  <a:lnTo>
                    <a:pt x="188" y="261"/>
                  </a:lnTo>
                  <a:lnTo>
                    <a:pt x="188" y="261"/>
                  </a:lnTo>
                  <a:lnTo>
                    <a:pt x="188" y="261"/>
                  </a:lnTo>
                  <a:lnTo>
                    <a:pt x="186" y="261"/>
                  </a:lnTo>
                  <a:lnTo>
                    <a:pt x="186" y="261"/>
                  </a:lnTo>
                  <a:lnTo>
                    <a:pt x="183" y="263"/>
                  </a:lnTo>
                  <a:lnTo>
                    <a:pt x="186" y="263"/>
                  </a:lnTo>
                  <a:lnTo>
                    <a:pt x="186" y="263"/>
                  </a:lnTo>
                  <a:lnTo>
                    <a:pt x="186" y="263"/>
                  </a:lnTo>
                  <a:lnTo>
                    <a:pt x="188" y="263"/>
                  </a:lnTo>
                  <a:lnTo>
                    <a:pt x="188" y="263"/>
                  </a:lnTo>
                  <a:lnTo>
                    <a:pt x="190" y="263"/>
                  </a:lnTo>
                  <a:lnTo>
                    <a:pt x="193" y="263"/>
                  </a:lnTo>
                  <a:lnTo>
                    <a:pt x="195" y="263"/>
                  </a:lnTo>
                  <a:lnTo>
                    <a:pt x="198" y="263"/>
                  </a:lnTo>
                  <a:lnTo>
                    <a:pt x="202" y="265"/>
                  </a:lnTo>
                  <a:lnTo>
                    <a:pt x="207" y="268"/>
                  </a:lnTo>
                  <a:lnTo>
                    <a:pt x="207" y="270"/>
                  </a:lnTo>
                  <a:lnTo>
                    <a:pt x="207" y="270"/>
                  </a:lnTo>
                  <a:lnTo>
                    <a:pt x="205" y="272"/>
                  </a:lnTo>
                  <a:lnTo>
                    <a:pt x="205" y="272"/>
                  </a:lnTo>
                  <a:lnTo>
                    <a:pt x="207" y="275"/>
                  </a:lnTo>
                  <a:lnTo>
                    <a:pt x="207" y="275"/>
                  </a:lnTo>
                  <a:lnTo>
                    <a:pt x="209" y="275"/>
                  </a:lnTo>
                  <a:lnTo>
                    <a:pt x="219" y="277"/>
                  </a:lnTo>
                  <a:lnTo>
                    <a:pt x="221" y="277"/>
                  </a:lnTo>
                  <a:lnTo>
                    <a:pt x="226" y="277"/>
                  </a:lnTo>
                  <a:lnTo>
                    <a:pt x="228" y="279"/>
                  </a:lnTo>
                  <a:lnTo>
                    <a:pt x="228" y="279"/>
                  </a:lnTo>
                  <a:lnTo>
                    <a:pt x="231" y="282"/>
                  </a:lnTo>
                  <a:lnTo>
                    <a:pt x="233" y="282"/>
                  </a:lnTo>
                  <a:lnTo>
                    <a:pt x="238" y="284"/>
                  </a:lnTo>
                  <a:lnTo>
                    <a:pt x="240" y="284"/>
                  </a:lnTo>
                  <a:lnTo>
                    <a:pt x="242" y="284"/>
                  </a:lnTo>
                  <a:lnTo>
                    <a:pt x="245" y="282"/>
                  </a:lnTo>
                  <a:lnTo>
                    <a:pt x="245" y="282"/>
                  </a:lnTo>
                  <a:lnTo>
                    <a:pt x="249" y="279"/>
                  </a:lnTo>
                  <a:lnTo>
                    <a:pt x="249" y="279"/>
                  </a:lnTo>
                  <a:lnTo>
                    <a:pt x="252" y="282"/>
                  </a:lnTo>
                  <a:lnTo>
                    <a:pt x="256" y="282"/>
                  </a:lnTo>
                  <a:lnTo>
                    <a:pt x="259" y="282"/>
                  </a:lnTo>
                  <a:lnTo>
                    <a:pt x="268" y="284"/>
                  </a:lnTo>
                  <a:lnTo>
                    <a:pt x="273" y="284"/>
                  </a:lnTo>
                  <a:lnTo>
                    <a:pt x="282" y="291"/>
                  </a:lnTo>
                  <a:lnTo>
                    <a:pt x="287" y="291"/>
                  </a:lnTo>
                  <a:lnTo>
                    <a:pt x="289" y="294"/>
                  </a:lnTo>
                  <a:lnTo>
                    <a:pt x="296" y="294"/>
                  </a:lnTo>
                  <a:lnTo>
                    <a:pt x="299" y="294"/>
                  </a:lnTo>
                  <a:lnTo>
                    <a:pt x="311" y="294"/>
                  </a:lnTo>
                  <a:lnTo>
                    <a:pt x="315" y="296"/>
                  </a:lnTo>
                  <a:lnTo>
                    <a:pt x="318" y="296"/>
                  </a:lnTo>
                  <a:lnTo>
                    <a:pt x="320" y="296"/>
                  </a:lnTo>
                  <a:lnTo>
                    <a:pt x="322" y="296"/>
                  </a:lnTo>
                  <a:lnTo>
                    <a:pt x="325" y="296"/>
                  </a:lnTo>
                  <a:lnTo>
                    <a:pt x="327" y="294"/>
                  </a:lnTo>
                  <a:lnTo>
                    <a:pt x="329" y="294"/>
                  </a:lnTo>
                  <a:lnTo>
                    <a:pt x="332" y="294"/>
                  </a:lnTo>
                  <a:lnTo>
                    <a:pt x="339" y="298"/>
                  </a:lnTo>
                  <a:lnTo>
                    <a:pt x="344" y="301"/>
                  </a:lnTo>
                  <a:lnTo>
                    <a:pt x="348" y="301"/>
                  </a:lnTo>
                  <a:lnTo>
                    <a:pt x="351" y="301"/>
                  </a:lnTo>
                  <a:lnTo>
                    <a:pt x="351" y="301"/>
                  </a:lnTo>
                  <a:lnTo>
                    <a:pt x="351" y="303"/>
                  </a:lnTo>
                  <a:lnTo>
                    <a:pt x="353" y="303"/>
                  </a:lnTo>
                  <a:lnTo>
                    <a:pt x="355" y="303"/>
                  </a:lnTo>
                  <a:lnTo>
                    <a:pt x="355" y="303"/>
                  </a:lnTo>
                  <a:lnTo>
                    <a:pt x="355" y="303"/>
                  </a:lnTo>
                  <a:lnTo>
                    <a:pt x="353" y="301"/>
                  </a:lnTo>
                  <a:close/>
                  <a:moveTo>
                    <a:pt x="469" y="256"/>
                  </a:moveTo>
                  <a:lnTo>
                    <a:pt x="469" y="251"/>
                  </a:lnTo>
                  <a:lnTo>
                    <a:pt x="469" y="244"/>
                  </a:lnTo>
                  <a:lnTo>
                    <a:pt x="469" y="244"/>
                  </a:lnTo>
                  <a:lnTo>
                    <a:pt x="469" y="242"/>
                  </a:lnTo>
                  <a:lnTo>
                    <a:pt x="469" y="242"/>
                  </a:lnTo>
                  <a:lnTo>
                    <a:pt x="466" y="246"/>
                  </a:lnTo>
                  <a:lnTo>
                    <a:pt x="466" y="249"/>
                  </a:lnTo>
                  <a:lnTo>
                    <a:pt x="466" y="251"/>
                  </a:lnTo>
                  <a:lnTo>
                    <a:pt x="466" y="253"/>
                  </a:lnTo>
                  <a:lnTo>
                    <a:pt x="469" y="256"/>
                  </a:lnTo>
                  <a:close/>
                  <a:moveTo>
                    <a:pt x="733" y="242"/>
                  </a:moveTo>
                  <a:lnTo>
                    <a:pt x="733" y="239"/>
                  </a:lnTo>
                  <a:lnTo>
                    <a:pt x="733" y="239"/>
                  </a:lnTo>
                  <a:lnTo>
                    <a:pt x="733" y="237"/>
                  </a:lnTo>
                  <a:lnTo>
                    <a:pt x="733" y="237"/>
                  </a:lnTo>
                  <a:lnTo>
                    <a:pt x="733" y="235"/>
                  </a:lnTo>
                  <a:lnTo>
                    <a:pt x="733" y="235"/>
                  </a:lnTo>
                  <a:lnTo>
                    <a:pt x="730" y="235"/>
                  </a:lnTo>
                  <a:lnTo>
                    <a:pt x="730" y="232"/>
                  </a:lnTo>
                  <a:lnTo>
                    <a:pt x="728" y="235"/>
                  </a:lnTo>
                  <a:lnTo>
                    <a:pt x="728" y="235"/>
                  </a:lnTo>
                  <a:lnTo>
                    <a:pt x="728" y="237"/>
                  </a:lnTo>
                  <a:lnTo>
                    <a:pt x="725" y="239"/>
                  </a:lnTo>
                  <a:lnTo>
                    <a:pt x="723" y="239"/>
                  </a:lnTo>
                  <a:lnTo>
                    <a:pt x="723" y="239"/>
                  </a:lnTo>
                  <a:lnTo>
                    <a:pt x="723" y="239"/>
                  </a:lnTo>
                  <a:lnTo>
                    <a:pt x="725" y="242"/>
                  </a:lnTo>
                  <a:lnTo>
                    <a:pt x="725" y="244"/>
                  </a:lnTo>
                  <a:lnTo>
                    <a:pt x="725" y="246"/>
                  </a:lnTo>
                  <a:lnTo>
                    <a:pt x="723" y="246"/>
                  </a:lnTo>
                  <a:lnTo>
                    <a:pt x="721" y="246"/>
                  </a:lnTo>
                  <a:lnTo>
                    <a:pt x="721" y="246"/>
                  </a:lnTo>
                  <a:lnTo>
                    <a:pt x="723" y="246"/>
                  </a:lnTo>
                  <a:lnTo>
                    <a:pt x="723" y="249"/>
                  </a:lnTo>
                  <a:lnTo>
                    <a:pt x="723" y="249"/>
                  </a:lnTo>
                  <a:lnTo>
                    <a:pt x="725" y="251"/>
                  </a:lnTo>
                  <a:lnTo>
                    <a:pt x="728" y="253"/>
                  </a:lnTo>
                  <a:lnTo>
                    <a:pt x="730" y="253"/>
                  </a:lnTo>
                  <a:lnTo>
                    <a:pt x="730" y="253"/>
                  </a:lnTo>
                  <a:lnTo>
                    <a:pt x="730" y="253"/>
                  </a:lnTo>
                  <a:lnTo>
                    <a:pt x="733" y="251"/>
                  </a:lnTo>
                  <a:lnTo>
                    <a:pt x="733" y="249"/>
                  </a:lnTo>
                  <a:lnTo>
                    <a:pt x="733" y="249"/>
                  </a:lnTo>
                  <a:lnTo>
                    <a:pt x="733" y="246"/>
                  </a:lnTo>
                  <a:lnTo>
                    <a:pt x="733" y="246"/>
                  </a:lnTo>
                  <a:lnTo>
                    <a:pt x="733" y="244"/>
                  </a:lnTo>
                  <a:lnTo>
                    <a:pt x="733" y="244"/>
                  </a:lnTo>
                  <a:lnTo>
                    <a:pt x="733" y="242"/>
                  </a:lnTo>
                  <a:close/>
                  <a:moveTo>
                    <a:pt x="129" y="230"/>
                  </a:moveTo>
                  <a:lnTo>
                    <a:pt x="129" y="230"/>
                  </a:lnTo>
                  <a:lnTo>
                    <a:pt x="127" y="232"/>
                  </a:lnTo>
                  <a:lnTo>
                    <a:pt x="129" y="232"/>
                  </a:lnTo>
                  <a:lnTo>
                    <a:pt x="132" y="235"/>
                  </a:lnTo>
                  <a:lnTo>
                    <a:pt x="132" y="235"/>
                  </a:lnTo>
                  <a:lnTo>
                    <a:pt x="134" y="232"/>
                  </a:lnTo>
                  <a:lnTo>
                    <a:pt x="132" y="232"/>
                  </a:lnTo>
                  <a:lnTo>
                    <a:pt x="129" y="230"/>
                  </a:lnTo>
                  <a:close/>
                  <a:moveTo>
                    <a:pt x="494" y="227"/>
                  </a:moveTo>
                  <a:lnTo>
                    <a:pt x="494" y="230"/>
                  </a:lnTo>
                  <a:lnTo>
                    <a:pt x="494" y="232"/>
                  </a:lnTo>
                  <a:lnTo>
                    <a:pt x="497" y="235"/>
                  </a:lnTo>
                  <a:lnTo>
                    <a:pt x="497" y="235"/>
                  </a:lnTo>
                  <a:lnTo>
                    <a:pt x="499" y="230"/>
                  </a:lnTo>
                  <a:lnTo>
                    <a:pt x="497" y="227"/>
                  </a:lnTo>
                  <a:lnTo>
                    <a:pt x="497" y="227"/>
                  </a:lnTo>
                  <a:lnTo>
                    <a:pt x="497" y="225"/>
                  </a:lnTo>
                  <a:lnTo>
                    <a:pt x="494" y="225"/>
                  </a:lnTo>
                  <a:lnTo>
                    <a:pt x="494" y="227"/>
                  </a:lnTo>
                  <a:lnTo>
                    <a:pt x="494" y="227"/>
                  </a:lnTo>
                  <a:lnTo>
                    <a:pt x="494" y="227"/>
                  </a:lnTo>
                  <a:lnTo>
                    <a:pt x="494" y="227"/>
                  </a:lnTo>
                  <a:close/>
                  <a:moveTo>
                    <a:pt x="502" y="232"/>
                  </a:moveTo>
                  <a:lnTo>
                    <a:pt x="502" y="232"/>
                  </a:lnTo>
                  <a:lnTo>
                    <a:pt x="504" y="232"/>
                  </a:lnTo>
                  <a:lnTo>
                    <a:pt x="504" y="232"/>
                  </a:lnTo>
                  <a:lnTo>
                    <a:pt x="506" y="232"/>
                  </a:lnTo>
                  <a:lnTo>
                    <a:pt x="506" y="232"/>
                  </a:lnTo>
                  <a:lnTo>
                    <a:pt x="506" y="232"/>
                  </a:lnTo>
                  <a:lnTo>
                    <a:pt x="509" y="232"/>
                  </a:lnTo>
                  <a:lnTo>
                    <a:pt x="509" y="230"/>
                  </a:lnTo>
                  <a:lnTo>
                    <a:pt x="509" y="227"/>
                  </a:lnTo>
                  <a:lnTo>
                    <a:pt x="511" y="223"/>
                  </a:lnTo>
                  <a:lnTo>
                    <a:pt x="511" y="218"/>
                  </a:lnTo>
                  <a:lnTo>
                    <a:pt x="511" y="216"/>
                  </a:lnTo>
                  <a:lnTo>
                    <a:pt x="511" y="216"/>
                  </a:lnTo>
                  <a:lnTo>
                    <a:pt x="506" y="218"/>
                  </a:lnTo>
                  <a:lnTo>
                    <a:pt x="504" y="220"/>
                  </a:lnTo>
                  <a:lnTo>
                    <a:pt x="504" y="220"/>
                  </a:lnTo>
                  <a:lnTo>
                    <a:pt x="504" y="225"/>
                  </a:lnTo>
                  <a:lnTo>
                    <a:pt x="504" y="225"/>
                  </a:lnTo>
                  <a:lnTo>
                    <a:pt x="504" y="227"/>
                  </a:lnTo>
                  <a:lnTo>
                    <a:pt x="502" y="232"/>
                  </a:lnTo>
                  <a:close/>
                  <a:moveTo>
                    <a:pt x="516" y="223"/>
                  </a:moveTo>
                  <a:lnTo>
                    <a:pt x="516" y="220"/>
                  </a:lnTo>
                  <a:lnTo>
                    <a:pt x="518" y="218"/>
                  </a:lnTo>
                  <a:lnTo>
                    <a:pt x="518" y="218"/>
                  </a:lnTo>
                  <a:lnTo>
                    <a:pt x="518" y="218"/>
                  </a:lnTo>
                  <a:lnTo>
                    <a:pt x="518" y="218"/>
                  </a:lnTo>
                  <a:lnTo>
                    <a:pt x="518" y="218"/>
                  </a:lnTo>
                  <a:lnTo>
                    <a:pt x="520" y="220"/>
                  </a:lnTo>
                  <a:lnTo>
                    <a:pt x="520" y="220"/>
                  </a:lnTo>
                  <a:lnTo>
                    <a:pt x="520" y="216"/>
                  </a:lnTo>
                  <a:lnTo>
                    <a:pt x="518" y="213"/>
                  </a:lnTo>
                  <a:lnTo>
                    <a:pt x="518" y="211"/>
                  </a:lnTo>
                  <a:lnTo>
                    <a:pt x="518" y="211"/>
                  </a:lnTo>
                  <a:lnTo>
                    <a:pt x="516" y="213"/>
                  </a:lnTo>
                  <a:lnTo>
                    <a:pt x="513" y="216"/>
                  </a:lnTo>
                  <a:lnTo>
                    <a:pt x="513" y="220"/>
                  </a:lnTo>
                  <a:lnTo>
                    <a:pt x="513" y="223"/>
                  </a:lnTo>
                  <a:lnTo>
                    <a:pt x="511" y="225"/>
                  </a:lnTo>
                  <a:lnTo>
                    <a:pt x="511" y="225"/>
                  </a:lnTo>
                  <a:lnTo>
                    <a:pt x="511" y="227"/>
                  </a:lnTo>
                  <a:lnTo>
                    <a:pt x="511" y="230"/>
                  </a:lnTo>
                  <a:lnTo>
                    <a:pt x="511" y="230"/>
                  </a:lnTo>
                  <a:lnTo>
                    <a:pt x="509" y="232"/>
                  </a:lnTo>
                  <a:lnTo>
                    <a:pt x="509" y="232"/>
                  </a:lnTo>
                  <a:lnTo>
                    <a:pt x="509" y="232"/>
                  </a:lnTo>
                  <a:lnTo>
                    <a:pt x="509" y="235"/>
                  </a:lnTo>
                  <a:lnTo>
                    <a:pt x="509" y="237"/>
                  </a:lnTo>
                  <a:lnTo>
                    <a:pt x="509" y="239"/>
                  </a:lnTo>
                  <a:lnTo>
                    <a:pt x="509" y="239"/>
                  </a:lnTo>
                  <a:lnTo>
                    <a:pt x="511" y="237"/>
                  </a:lnTo>
                  <a:lnTo>
                    <a:pt x="511" y="239"/>
                  </a:lnTo>
                  <a:lnTo>
                    <a:pt x="513" y="237"/>
                  </a:lnTo>
                  <a:lnTo>
                    <a:pt x="513" y="235"/>
                  </a:lnTo>
                  <a:lnTo>
                    <a:pt x="513" y="235"/>
                  </a:lnTo>
                  <a:lnTo>
                    <a:pt x="513" y="235"/>
                  </a:lnTo>
                  <a:lnTo>
                    <a:pt x="516" y="232"/>
                  </a:lnTo>
                  <a:lnTo>
                    <a:pt x="516" y="232"/>
                  </a:lnTo>
                  <a:lnTo>
                    <a:pt x="516" y="232"/>
                  </a:lnTo>
                  <a:lnTo>
                    <a:pt x="518" y="232"/>
                  </a:lnTo>
                  <a:lnTo>
                    <a:pt x="518" y="232"/>
                  </a:lnTo>
                  <a:lnTo>
                    <a:pt x="520" y="230"/>
                  </a:lnTo>
                  <a:lnTo>
                    <a:pt x="518" y="230"/>
                  </a:lnTo>
                  <a:lnTo>
                    <a:pt x="516" y="227"/>
                  </a:lnTo>
                  <a:lnTo>
                    <a:pt x="516" y="227"/>
                  </a:lnTo>
                  <a:lnTo>
                    <a:pt x="516" y="227"/>
                  </a:lnTo>
                  <a:lnTo>
                    <a:pt x="516" y="227"/>
                  </a:lnTo>
                  <a:lnTo>
                    <a:pt x="516" y="223"/>
                  </a:lnTo>
                  <a:lnTo>
                    <a:pt x="516" y="223"/>
                  </a:lnTo>
                  <a:close/>
                  <a:moveTo>
                    <a:pt x="520" y="204"/>
                  </a:moveTo>
                  <a:lnTo>
                    <a:pt x="520" y="204"/>
                  </a:lnTo>
                  <a:lnTo>
                    <a:pt x="518" y="204"/>
                  </a:lnTo>
                  <a:lnTo>
                    <a:pt x="516" y="204"/>
                  </a:lnTo>
                  <a:lnTo>
                    <a:pt x="516" y="204"/>
                  </a:lnTo>
                  <a:lnTo>
                    <a:pt x="516" y="206"/>
                  </a:lnTo>
                  <a:lnTo>
                    <a:pt x="518" y="209"/>
                  </a:lnTo>
                  <a:lnTo>
                    <a:pt x="518" y="209"/>
                  </a:lnTo>
                  <a:lnTo>
                    <a:pt x="520" y="206"/>
                  </a:lnTo>
                  <a:lnTo>
                    <a:pt x="520" y="204"/>
                  </a:lnTo>
                  <a:close/>
                  <a:moveTo>
                    <a:pt x="615" y="192"/>
                  </a:moveTo>
                  <a:lnTo>
                    <a:pt x="612" y="194"/>
                  </a:lnTo>
                  <a:lnTo>
                    <a:pt x="610" y="194"/>
                  </a:lnTo>
                  <a:lnTo>
                    <a:pt x="608" y="197"/>
                  </a:lnTo>
                  <a:lnTo>
                    <a:pt x="608" y="197"/>
                  </a:lnTo>
                  <a:lnTo>
                    <a:pt x="608" y="197"/>
                  </a:lnTo>
                  <a:lnTo>
                    <a:pt x="610" y="199"/>
                  </a:lnTo>
                  <a:lnTo>
                    <a:pt x="610" y="197"/>
                  </a:lnTo>
                  <a:lnTo>
                    <a:pt x="612" y="197"/>
                  </a:lnTo>
                  <a:lnTo>
                    <a:pt x="612" y="197"/>
                  </a:lnTo>
                  <a:lnTo>
                    <a:pt x="612" y="197"/>
                  </a:lnTo>
                  <a:lnTo>
                    <a:pt x="612" y="197"/>
                  </a:lnTo>
                  <a:lnTo>
                    <a:pt x="612" y="197"/>
                  </a:lnTo>
                  <a:lnTo>
                    <a:pt x="615" y="197"/>
                  </a:lnTo>
                  <a:lnTo>
                    <a:pt x="615" y="197"/>
                  </a:lnTo>
                  <a:lnTo>
                    <a:pt x="615" y="194"/>
                  </a:lnTo>
                  <a:lnTo>
                    <a:pt x="615" y="194"/>
                  </a:lnTo>
                  <a:lnTo>
                    <a:pt x="615" y="194"/>
                  </a:lnTo>
                  <a:lnTo>
                    <a:pt x="617" y="192"/>
                  </a:lnTo>
                  <a:lnTo>
                    <a:pt x="615" y="192"/>
                  </a:lnTo>
                  <a:close/>
                  <a:moveTo>
                    <a:pt x="393" y="194"/>
                  </a:moveTo>
                  <a:lnTo>
                    <a:pt x="393" y="197"/>
                  </a:lnTo>
                  <a:lnTo>
                    <a:pt x="395" y="192"/>
                  </a:lnTo>
                  <a:lnTo>
                    <a:pt x="395" y="190"/>
                  </a:lnTo>
                  <a:lnTo>
                    <a:pt x="395" y="192"/>
                  </a:lnTo>
                  <a:lnTo>
                    <a:pt x="393" y="194"/>
                  </a:lnTo>
                  <a:close/>
                  <a:moveTo>
                    <a:pt x="393" y="197"/>
                  </a:moveTo>
                  <a:lnTo>
                    <a:pt x="393" y="194"/>
                  </a:lnTo>
                  <a:lnTo>
                    <a:pt x="393" y="192"/>
                  </a:lnTo>
                  <a:lnTo>
                    <a:pt x="393" y="192"/>
                  </a:lnTo>
                  <a:lnTo>
                    <a:pt x="393" y="190"/>
                  </a:lnTo>
                  <a:lnTo>
                    <a:pt x="393" y="187"/>
                  </a:lnTo>
                  <a:lnTo>
                    <a:pt x="391" y="187"/>
                  </a:lnTo>
                  <a:lnTo>
                    <a:pt x="388" y="190"/>
                  </a:lnTo>
                  <a:lnTo>
                    <a:pt x="388" y="192"/>
                  </a:lnTo>
                  <a:lnTo>
                    <a:pt x="388" y="194"/>
                  </a:lnTo>
                  <a:lnTo>
                    <a:pt x="388" y="197"/>
                  </a:lnTo>
                  <a:lnTo>
                    <a:pt x="388" y="199"/>
                  </a:lnTo>
                  <a:lnTo>
                    <a:pt x="388" y="204"/>
                  </a:lnTo>
                  <a:lnTo>
                    <a:pt x="388" y="204"/>
                  </a:lnTo>
                  <a:lnTo>
                    <a:pt x="393" y="201"/>
                  </a:lnTo>
                  <a:lnTo>
                    <a:pt x="393" y="199"/>
                  </a:lnTo>
                  <a:lnTo>
                    <a:pt x="393" y="199"/>
                  </a:lnTo>
                  <a:lnTo>
                    <a:pt x="393" y="197"/>
                  </a:lnTo>
                  <a:close/>
                  <a:moveTo>
                    <a:pt x="596" y="190"/>
                  </a:moveTo>
                  <a:lnTo>
                    <a:pt x="593" y="190"/>
                  </a:lnTo>
                  <a:lnTo>
                    <a:pt x="593" y="187"/>
                  </a:lnTo>
                  <a:lnTo>
                    <a:pt x="593" y="187"/>
                  </a:lnTo>
                  <a:lnTo>
                    <a:pt x="591" y="185"/>
                  </a:lnTo>
                  <a:lnTo>
                    <a:pt x="589" y="185"/>
                  </a:lnTo>
                  <a:lnTo>
                    <a:pt x="589" y="183"/>
                  </a:lnTo>
                  <a:lnTo>
                    <a:pt x="584" y="183"/>
                  </a:lnTo>
                  <a:lnTo>
                    <a:pt x="579" y="185"/>
                  </a:lnTo>
                  <a:lnTo>
                    <a:pt x="577" y="185"/>
                  </a:lnTo>
                  <a:lnTo>
                    <a:pt x="575" y="185"/>
                  </a:lnTo>
                  <a:lnTo>
                    <a:pt x="575" y="185"/>
                  </a:lnTo>
                  <a:lnTo>
                    <a:pt x="575" y="185"/>
                  </a:lnTo>
                  <a:lnTo>
                    <a:pt x="575" y="190"/>
                  </a:lnTo>
                  <a:lnTo>
                    <a:pt x="575" y="192"/>
                  </a:lnTo>
                  <a:lnTo>
                    <a:pt x="575" y="192"/>
                  </a:lnTo>
                  <a:lnTo>
                    <a:pt x="577" y="194"/>
                  </a:lnTo>
                  <a:lnTo>
                    <a:pt x="577" y="194"/>
                  </a:lnTo>
                  <a:lnTo>
                    <a:pt x="579" y="197"/>
                  </a:lnTo>
                  <a:lnTo>
                    <a:pt x="582" y="199"/>
                  </a:lnTo>
                  <a:lnTo>
                    <a:pt x="586" y="199"/>
                  </a:lnTo>
                  <a:lnTo>
                    <a:pt x="586" y="199"/>
                  </a:lnTo>
                  <a:lnTo>
                    <a:pt x="586" y="199"/>
                  </a:lnTo>
                  <a:lnTo>
                    <a:pt x="589" y="199"/>
                  </a:lnTo>
                  <a:lnTo>
                    <a:pt x="591" y="199"/>
                  </a:lnTo>
                  <a:lnTo>
                    <a:pt x="593" y="197"/>
                  </a:lnTo>
                  <a:lnTo>
                    <a:pt x="593" y="197"/>
                  </a:lnTo>
                  <a:lnTo>
                    <a:pt x="596" y="194"/>
                  </a:lnTo>
                  <a:lnTo>
                    <a:pt x="596" y="192"/>
                  </a:lnTo>
                  <a:lnTo>
                    <a:pt x="596" y="190"/>
                  </a:lnTo>
                  <a:lnTo>
                    <a:pt x="596" y="190"/>
                  </a:lnTo>
                  <a:close/>
                  <a:moveTo>
                    <a:pt x="662" y="199"/>
                  </a:moveTo>
                  <a:lnTo>
                    <a:pt x="664" y="194"/>
                  </a:lnTo>
                  <a:lnTo>
                    <a:pt x="662" y="194"/>
                  </a:lnTo>
                  <a:lnTo>
                    <a:pt x="662" y="192"/>
                  </a:lnTo>
                  <a:lnTo>
                    <a:pt x="659" y="190"/>
                  </a:lnTo>
                  <a:lnTo>
                    <a:pt x="659" y="190"/>
                  </a:lnTo>
                  <a:lnTo>
                    <a:pt x="659" y="190"/>
                  </a:lnTo>
                  <a:lnTo>
                    <a:pt x="659" y="187"/>
                  </a:lnTo>
                  <a:lnTo>
                    <a:pt x="657" y="185"/>
                  </a:lnTo>
                  <a:lnTo>
                    <a:pt x="655" y="183"/>
                  </a:lnTo>
                  <a:lnTo>
                    <a:pt x="652" y="183"/>
                  </a:lnTo>
                  <a:lnTo>
                    <a:pt x="650" y="183"/>
                  </a:lnTo>
                  <a:lnTo>
                    <a:pt x="648" y="183"/>
                  </a:lnTo>
                  <a:lnTo>
                    <a:pt x="643" y="180"/>
                  </a:lnTo>
                  <a:lnTo>
                    <a:pt x="641" y="178"/>
                  </a:lnTo>
                  <a:lnTo>
                    <a:pt x="638" y="178"/>
                  </a:lnTo>
                  <a:lnTo>
                    <a:pt x="638" y="178"/>
                  </a:lnTo>
                  <a:lnTo>
                    <a:pt x="638" y="178"/>
                  </a:lnTo>
                  <a:lnTo>
                    <a:pt x="636" y="178"/>
                  </a:lnTo>
                  <a:lnTo>
                    <a:pt x="634" y="180"/>
                  </a:lnTo>
                  <a:lnTo>
                    <a:pt x="631" y="180"/>
                  </a:lnTo>
                  <a:lnTo>
                    <a:pt x="631" y="180"/>
                  </a:lnTo>
                  <a:lnTo>
                    <a:pt x="631" y="180"/>
                  </a:lnTo>
                  <a:lnTo>
                    <a:pt x="631" y="178"/>
                  </a:lnTo>
                  <a:lnTo>
                    <a:pt x="629" y="178"/>
                  </a:lnTo>
                  <a:lnTo>
                    <a:pt x="626" y="178"/>
                  </a:lnTo>
                  <a:lnTo>
                    <a:pt x="624" y="180"/>
                  </a:lnTo>
                  <a:lnTo>
                    <a:pt x="622" y="178"/>
                  </a:lnTo>
                  <a:lnTo>
                    <a:pt x="615" y="180"/>
                  </a:lnTo>
                  <a:lnTo>
                    <a:pt x="612" y="180"/>
                  </a:lnTo>
                  <a:lnTo>
                    <a:pt x="608" y="187"/>
                  </a:lnTo>
                  <a:lnTo>
                    <a:pt x="608" y="187"/>
                  </a:lnTo>
                  <a:lnTo>
                    <a:pt x="610" y="190"/>
                  </a:lnTo>
                  <a:lnTo>
                    <a:pt x="610" y="190"/>
                  </a:lnTo>
                  <a:lnTo>
                    <a:pt x="608" y="192"/>
                  </a:lnTo>
                  <a:lnTo>
                    <a:pt x="608" y="192"/>
                  </a:lnTo>
                  <a:lnTo>
                    <a:pt x="610" y="192"/>
                  </a:lnTo>
                  <a:lnTo>
                    <a:pt x="610" y="190"/>
                  </a:lnTo>
                  <a:lnTo>
                    <a:pt x="610" y="190"/>
                  </a:lnTo>
                  <a:lnTo>
                    <a:pt x="612" y="187"/>
                  </a:lnTo>
                  <a:lnTo>
                    <a:pt x="612" y="185"/>
                  </a:lnTo>
                  <a:lnTo>
                    <a:pt x="612" y="185"/>
                  </a:lnTo>
                  <a:lnTo>
                    <a:pt x="615" y="185"/>
                  </a:lnTo>
                  <a:lnTo>
                    <a:pt x="615" y="187"/>
                  </a:lnTo>
                  <a:lnTo>
                    <a:pt x="615" y="187"/>
                  </a:lnTo>
                  <a:lnTo>
                    <a:pt x="617" y="192"/>
                  </a:lnTo>
                  <a:lnTo>
                    <a:pt x="619" y="192"/>
                  </a:lnTo>
                  <a:lnTo>
                    <a:pt x="619" y="192"/>
                  </a:lnTo>
                  <a:lnTo>
                    <a:pt x="622" y="192"/>
                  </a:lnTo>
                  <a:lnTo>
                    <a:pt x="622" y="190"/>
                  </a:lnTo>
                  <a:lnTo>
                    <a:pt x="624" y="187"/>
                  </a:lnTo>
                  <a:lnTo>
                    <a:pt x="624" y="187"/>
                  </a:lnTo>
                  <a:lnTo>
                    <a:pt x="626" y="187"/>
                  </a:lnTo>
                  <a:lnTo>
                    <a:pt x="626" y="187"/>
                  </a:lnTo>
                  <a:lnTo>
                    <a:pt x="629" y="187"/>
                  </a:lnTo>
                  <a:lnTo>
                    <a:pt x="629" y="187"/>
                  </a:lnTo>
                  <a:lnTo>
                    <a:pt x="629" y="190"/>
                  </a:lnTo>
                  <a:lnTo>
                    <a:pt x="629" y="190"/>
                  </a:lnTo>
                  <a:lnTo>
                    <a:pt x="631" y="190"/>
                  </a:lnTo>
                  <a:lnTo>
                    <a:pt x="634" y="190"/>
                  </a:lnTo>
                  <a:lnTo>
                    <a:pt x="636" y="190"/>
                  </a:lnTo>
                  <a:lnTo>
                    <a:pt x="638" y="192"/>
                  </a:lnTo>
                  <a:lnTo>
                    <a:pt x="638" y="192"/>
                  </a:lnTo>
                  <a:lnTo>
                    <a:pt x="638" y="190"/>
                  </a:lnTo>
                  <a:lnTo>
                    <a:pt x="638" y="190"/>
                  </a:lnTo>
                  <a:lnTo>
                    <a:pt x="638" y="190"/>
                  </a:lnTo>
                  <a:lnTo>
                    <a:pt x="641" y="190"/>
                  </a:lnTo>
                  <a:lnTo>
                    <a:pt x="645" y="190"/>
                  </a:lnTo>
                  <a:lnTo>
                    <a:pt x="645" y="190"/>
                  </a:lnTo>
                  <a:lnTo>
                    <a:pt x="648" y="192"/>
                  </a:lnTo>
                  <a:lnTo>
                    <a:pt x="648" y="192"/>
                  </a:lnTo>
                  <a:lnTo>
                    <a:pt x="652" y="194"/>
                  </a:lnTo>
                  <a:lnTo>
                    <a:pt x="655" y="194"/>
                  </a:lnTo>
                  <a:lnTo>
                    <a:pt x="657" y="199"/>
                  </a:lnTo>
                  <a:lnTo>
                    <a:pt x="662" y="199"/>
                  </a:lnTo>
                  <a:close/>
                  <a:moveTo>
                    <a:pt x="94" y="178"/>
                  </a:moveTo>
                  <a:lnTo>
                    <a:pt x="94" y="178"/>
                  </a:lnTo>
                  <a:lnTo>
                    <a:pt x="94" y="178"/>
                  </a:lnTo>
                  <a:lnTo>
                    <a:pt x="94" y="183"/>
                  </a:lnTo>
                  <a:lnTo>
                    <a:pt x="94" y="183"/>
                  </a:lnTo>
                  <a:lnTo>
                    <a:pt x="96" y="185"/>
                  </a:lnTo>
                  <a:lnTo>
                    <a:pt x="96" y="185"/>
                  </a:lnTo>
                  <a:lnTo>
                    <a:pt x="96" y="187"/>
                  </a:lnTo>
                  <a:lnTo>
                    <a:pt x="99" y="190"/>
                  </a:lnTo>
                  <a:lnTo>
                    <a:pt x="99" y="185"/>
                  </a:lnTo>
                  <a:lnTo>
                    <a:pt x="99" y="185"/>
                  </a:lnTo>
                  <a:lnTo>
                    <a:pt x="99" y="185"/>
                  </a:lnTo>
                  <a:lnTo>
                    <a:pt x="99" y="183"/>
                  </a:lnTo>
                  <a:lnTo>
                    <a:pt x="99" y="183"/>
                  </a:lnTo>
                  <a:lnTo>
                    <a:pt x="94" y="178"/>
                  </a:lnTo>
                  <a:close/>
                  <a:moveTo>
                    <a:pt x="231" y="180"/>
                  </a:moveTo>
                  <a:lnTo>
                    <a:pt x="231" y="183"/>
                  </a:lnTo>
                  <a:lnTo>
                    <a:pt x="231" y="183"/>
                  </a:lnTo>
                  <a:lnTo>
                    <a:pt x="233" y="185"/>
                  </a:lnTo>
                  <a:lnTo>
                    <a:pt x="231" y="187"/>
                  </a:lnTo>
                  <a:lnTo>
                    <a:pt x="233" y="187"/>
                  </a:lnTo>
                  <a:lnTo>
                    <a:pt x="235" y="185"/>
                  </a:lnTo>
                  <a:lnTo>
                    <a:pt x="235" y="185"/>
                  </a:lnTo>
                  <a:lnTo>
                    <a:pt x="235" y="185"/>
                  </a:lnTo>
                  <a:lnTo>
                    <a:pt x="238" y="185"/>
                  </a:lnTo>
                  <a:lnTo>
                    <a:pt x="238" y="185"/>
                  </a:lnTo>
                  <a:lnTo>
                    <a:pt x="238" y="187"/>
                  </a:lnTo>
                  <a:lnTo>
                    <a:pt x="240" y="187"/>
                  </a:lnTo>
                  <a:lnTo>
                    <a:pt x="240" y="187"/>
                  </a:lnTo>
                  <a:lnTo>
                    <a:pt x="242" y="185"/>
                  </a:lnTo>
                  <a:lnTo>
                    <a:pt x="242" y="185"/>
                  </a:lnTo>
                  <a:lnTo>
                    <a:pt x="242" y="183"/>
                  </a:lnTo>
                  <a:lnTo>
                    <a:pt x="245" y="178"/>
                  </a:lnTo>
                  <a:lnTo>
                    <a:pt x="242" y="175"/>
                  </a:lnTo>
                  <a:lnTo>
                    <a:pt x="240" y="173"/>
                  </a:lnTo>
                  <a:lnTo>
                    <a:pt x="238" y="173"/>
                  </a:lnTo>
                  <a:lnTo>
                    <a:pt x="235" y="173"/>
                  </a:lnTo>
                  <a:lnTo>
                    <a:pt x="233" y="173"/>
                  </a:lnTo>
                  <a:lnTo>
                    <a:pt x="233" y="175"/>
                  </a:lnTo>
                  <a:lnTo>
                    <a:pt x="231" y="178"/>
                  </a:lnTo>
                  <a:lnTo>
                    <a:pt x="231" y="180"/>
                  </a:lnTo>
                  <a:lnTo>
                    <a:pt x="231" y="180"/>
                  </a:lnTo>
                  <a:lnTo>
                    <a:pt x="231" y="180"/>
                  </a:lnTo>
                  <a:close/>
                  <a:moveTo>
                    <a:pt x="94" y="175"/>
                  </a:moveTo>
                  <a:lnTo>
                    <a:pt x="91" y="171"/>
                  </a:lnTo>
                  <a:lnTo>
                    <a:pt x="89" y="173"/>
                  </a:lnTo>
                  <a:lnTo>
                    <a:pt x="89" y="173"/>
                  </a:lnTo>
                  <a:lnTo>
                    <a:pt x="89" y="173"/>
                  </a:lnTo>
                  <a:lnTo>
                    <a:pt x="89" y="175"/>
                  </a:lnTo>
                  <a:lnTo>
                    <a:pt x="89" y="178"/>
                  </a:lnTo>
                  <a:lnTo>
                    <a:pt x="91" y="178"/>
                  </a:lnTo>
                  <a:lnTo>
                    <a:pt x="94" y="178"/>
                  </a:lnTo>
                  <a:lnTo>
                    <a:pt x="94" y="178"/>
                  </a:lnTo>
                  <a:lnTo>
                    <a:pt x="94" y="175"/>
                  </a:lnTo>
                  <a:close/>
                  <a:moveTo>
                    <a:pt x="87" y="166"/>
                  </a:moveTo>
                  <a:lnTo>
                    <a:pt x="87" y="164"/>
                  </a:lnTo>
                  <a:lnTo>
                    <a:pt x="84" y="161"/>
                  </a:lnTo>
                  <a:lnTo>
                    <a:pt x="84" y="161"/>
                  </a:lnTo>
                  <a:lnTo>
                    <a:pt x="82" y="161"/>
                  </a:lnTo>
                  <a:lnTo>
                    <a:pt x="82" y="161"/>
                  </a:lnTo>
                  <a:lnTo>
                    <a:pt x="82" y="164"/>
                  </a:lnTo>
                  <a:lnTo>
                    <a:pt x="82" y="164"/>
                  </a:lnTo>
                  <a:lnTo>
                    <a:pt x="84" y="166"/>
                  </a:lnTo>
                  <a:lnTo>
                    <a:pt x="84" y="166"/>
                  </a:lnTo>
                  <a:lnTo>
                    <a:pt x="87" y="168"/>
                  </a:lnTo>
                  <a:lnTo>
                    <a:pt x="87" y="168"/>
                  </a:lnTo>
                  <a:lnTo>
                    <a:pt x="87" y="166"/>
                  </a:lnTo>
                  <a:close/>
                  <a:moveTo>
                    <a:pt x="572" y="161"/>
                  </a:moveTo>
                  <a:lnTo>
                    <a:pt x="572" y="161"/>
                  </a:lnTo>
                  <a:lnTo>
                    <a:pt x="572" y="161"/>
                  </a:lnTo>
                  <a:lnTo>
                    <a:pt x="572" y="164"/>
                  </a:lnTo>
                  <a:lnTo>
                    <a:pt x="572" y="166"/>
                  </a:lnTo>
                  <a:lnTo>
                    <a:pt x="572" y="166"/>
                  </a:lnTo>
                  <a:lnTo>
                    <a:pt x="572" y="171"/>
                  </a:lnTo>
                  <a:lnTo>
                    <a:pt x="575" y="171"/>
                  </a:lnTo>
                  <a:lnTo>
                    <a:pt x="575" y="171"/>
                  </a:lnTo>
                  <a:lnTo>
                    <a:pt x="575" y="168"/>
                  </a:lnTo>
                  <a:lnTo>
                    <a:pt x="572" y="164"/>
                  </a:lnTo>
                  <a:lnTo>
                    <a:pt x="575" y="161"/>
                  </a:lnTo>
                  <a:lnTo>
                    <a:pt x="572" y="161"/>
                  </a:lnTo>
                  <a:close/>
                  <a:moveTo>
                    <a:pt x="570" y="159"/>
                  </a:moveTo>
                  <a:lnTo>
                    <a:pt x="572" y="159"/>
                  </a:lnTo>
                  <a:lnTo>
                    <a:pt x="579" y="159"/>
                  </a:lnTo>
                  <a:lnTo>
                    <a:pt x="579" y="157"/>
                  </a:lnTo>
                  <a:lnTo>
                    <a:pt x="575" y="157"/>
                  </a:lnTo>
                  <a:lnTo>
                    <a:pt x="570" y="157"/>
                  </a:lnTo>
                  <a:lnTo>
                    <a:pt x="565" y="157"/>
                  </a:lnTo>
                  <a:lnTo>
                    <a:pt x="563" y="157"/>
                  </a:lnTo>
                  <a:lnTo>
                    <a:pt x="563" y="157"/>
                  </a:lnTo>
                  <a:lnTo>
                    <a:pt x="563" y="159"/>
                  </a:lnTo>
                  <a:lnTo>
                    <a:pt x="563" y="159"/>
                  </a:lnTo>
                  <a:lnTo>
                    <a:pt x="565" y="159"/>
                  </a:lnTo>
                  <a:lnTo>
                    <a:pt x="570" y="159"/>
                  </a:lnTo>
                  <a:close/>
                  <a:moveTo>
                    <a:pt x="645" y="161"/>
                  </a:moveTo>
                  <a:lnTo>
                    <a:pt x="650" y="161"/>
                  </a:lnTo>
                  <a:lnTo>
                    <a:pt x="650" y="161"/>
                  </a:lnTo>
                  <a:lnTo>
                    <a:pt x="652" y="161"/>
                  </a:lnTo>
                  <a:lnTo>
                    <a:pt x="652" y="161"/>
                  </a:lnTo>
                  <a:lnTo>
                    <a:pt x="655" y="161"/>
                  </a:lnTo>
                  <a:lnTo>
                    <a:pt x="655" y="161"/>
                  </a:lnTo>
                  <a:lnTo>
                    <a:pt x="657" y="161"/>
                  </a:lnTo>
                  <a:lnTo>
                    <a:pt x="655" y="159"/>
                  </a:lnTo>
                  <a:lnTo>
                    <a:pt x="655" y="159"/>
                  </a:lnTo>
                  <a:lnTo>
                    <a:pt x="655" y="159"/>
                  </a:lnTo>
                  <a:lnTo>
                    <a:pt x="657" y="157"/>
                  </a:lnTo>
                  <a:lnTo>
                    <a:pt x="655" y="157"/>
                  </a:lnTo>
                  <a:lnTo>
                    <a:pt x="655" y="154"/>
                  </a:lnTo>
                  <a:lnTo>
                    <a:pt x="655" y="154"/>
                  </a:lnTo>
                  <a:lnTo>
                    <a:pt x="652" y="154"/>
                  </a:lnTo>
                  <a:lnTo>
                    <a:pt x="650" y="154"/>
                  </a:lnTo>
                  <a:lnTo>
                    <a:pt x="648" y="157"/>
                  </a:lnTo>
                  <a:lnTo>
                    <a:pt x="643" y="159"/>
                  </a:lnTo>
                  <a:lnTo>
                    <a:pt x="643" y="159"/>
                  </a:lnTo>
                  <a:lnTo>
                    <a:pt x="645" y="161"/>
                  </a:lnTo>
                  <a:close/>
                  <a:moveTo>
                    <a:pt x="560" y="157"/>
                  </a:moveTo>
                  <a:lnTo>
                    <a:pt x="558" y="157"/>
                  </a:lnTo>
                  <a:lnTo>
                    <a:pt x="558" y="154"/>
                  </a:lnTo>
                  <a:lnTo>
                    <a:pt x="558" y="154"/>
                  </a:lnTo>
                  <a:lnTo>
                    <a:pt x="558" y="154"/>
                  </a:lnTo>
                  <a:lnTo>
                    <a:pt x="558" y="157"/>
                  </a:lnTo>
                  <a:lnTo>
                    <a:pt x="556" y="157"/>
                  </a:lnTo>
                  <a:lnTo>
                    <a:pt x="556" y="154"/>
                  </a:lnTo>
                  <a:lnTo>
                    <a:pt x="549" y="154"/>
                  </a:lnTo>
                  <a:lnTo>
                    <a:pt x="546" y="154"/>
                  </a:lnTo>
                  <a:lnTo>
                    <a:pt x="544" y="154"/>
                  </a:lnTo>
                  <a:lnTo>
                    <a:pt x="544" y="154"/>
                  </a:lnTo>
                  <a:lnTo>
                    <a:pt x="544" y="159"/>
                  </a:lnTo>
                  <a:lnTo>
                    <a:pt x="544" y="161"/>
                  </a:lnTo>
                  <a:lnTo>
                    <a:pt x="546" y="161"/>
                  </a:lnTo>
                  <a:lnTo>
                    <a:pt x="549" y="161"/>
                  </a:lnTo>
                  <a:lnTo>
                    <a:pt x="553" y="159"/>
                  </a:lnTo>
                  <a:lnTo>
                    <a:pt x="556" y="159"/>
                  </a:lnTo>
                  <a:lnTo>
                    <a:pt x="558" y="159"/>
                  </a:lnTo>
                  <a:lnTo>
                    <a:pt x="560" y="159"/>
                  </a:lnTo>
                  <a:lnTo>
                    <a:pt x="560" y="157"/>
                  </a:lnTo>
                  <a:lnTo>
                    <a:pt x="560" y="157"/>
                  </a:lnTo>
                  <a:lnTo>
                    <a:pt x="560" y="157"/>
                  </a:lnTo>
                  <a:close/>
                  <a:moveTo>
                    <a:pt x="763" y="154"/>
                  </a:moveTo>
                  <a:lnTo>
                    <a:pt x="758" y="154"/>
                  </a:lnTo>
                  <a:lnTo>
                    <a:pt x="758" y="154"/>
                  </a:lnTo>
                  <a:lnTo>
                    <a:pt x="751" y="152"/>
                  </a:lnTo>
                  <a:lnTo>
                    <a:pt x="749" y="152"/>
                  </a:lnTo>
                  <a:lnTo>
                    <a:pt x="751" y="154"/>
                  </a:lnTo>
                  <a:lnTo>
                    <a:pt x="758" y="157"/>
                  </a:lnTo>
                  <a:lnTo>
                    <a:pt x="761" y="157"/>
                  </a:lnTo>
                  <a:lnTo>
                    <a:pt x="763" y="159"/>
                  </a:lnTo>
                  <a:lnTo>
                    <a:pt x="763" y="159"/>
                  </a:lnTo>
                  <a:lnTo>
                    <a:pt x="765" y="159"/>
                  </a:lnTo>
                  <a:lnTo>
                    <a:pt x="768" y="159"/>
                  </a:lnTo>
                  <a:lnTo>
                    <a:pt x="773" y="159"/>
                  </a:lnTo>
                  <a:lnTo>
                    <a:pt x="773" y="157"/>
                  </a:lnTo>
                  <a:lnTo>
                    <a:pt x="777" y="157"/>
                  </a:lnTo>
                  <a:lnTo>
                    <a:pt x="775" y="157"/>
                  </a:lnTo>
                  <a:lnTo>
                    <a:pt x="773" y="157"/>
                  </a:lnTo>
                  <a:lnTo>
                    <a:pt x="768" y="154"/>
                  </a:lnTo>
                  <a:lnTo>
                    <a:pt x="763" y="154"/>
                  </a:lnTo>
                  <a:close/>
                  <a:moveTo>
                    <a:pt x="188" y="164"/>
                  </a:moveTo>
                  <a:lnTo>
                    <a:pt x="190" y="164"/>
                  </a:lnTo>
                  <a:lnTo>
                    <a:pt x="193" y="164"/>
                  </a:lnTo>
                  <a:lnTo>
                    <a:pt x="195" y="164"/>
                  </a:lnTo>
                  <a:lnTo>
                    <a:pt x="198" y="164"/>
                  </a:lnTo>
                  <a:lnTo>
                    <a:pt x="198" y="166"/>
                  </a:lnTo>
                  <a:lnTo>
                    <a:pt x="198" y="168"/>
                  </a:lnTo>
                  <a:lnTo>
                    <a:pt x="200" y="171"/>
                  </a:lnTo>
                  <a:lnTo>
                    <a:pt x="200" y="171"/>
                  </a:lnTo>
                  <a:lnTo>
                    <a:pt x="200" y="171"/>
                  </a:lnTo>
                  <a:lnTo>
                    <a:pt x="200" y="175"/>
                  </a:lnTo>
                  <a:lnTo>
                    <a:pt x="200" y="178"/>
                  </a:lnTo>
                  <a:lnTo>
                    <a:pt x="202" y="178"/>
                  </a:lnTo>
                  <a:lnTo>
                    <a:pt x="205" y="180"/>
                  </a:lnTo>
                  <a:lnTo>
                    <a:pt x="207" y="180"/>
                  </a:lnTo>
                  <a:lnTo>
                    <a:pt x="207" y="180"/>
                  </a:lnTo>
                  <a:lnTo>
                    <a:pt x="209" y="183"/>
                  </a:lnTo>
                  <a:lnTo>
                    <a:pt x="209" y="183"/>
                  </a:lnTo>
                  <a:lnTo>
                    <a:pt x="212" y="183"/>
                  </a:lnTo>
                  <a:lnTo>
                    <a:pt x="212" y="183"/>
                  </a:lnTo>
                  <a:lnTo>
                    <a:pt x="214" y="183"/>
                  </a:lnTo>
                  <a:lnTo>
                    <a:pt x="214" y="183"/>
                  </a:lnTo>
                  <a:lnTo>
                    <a:pt x="214" y="183"/>
                  </a:lnTo>
                  <a:lnTo>
                    <a:pt x="214" y="180"/>
                  </a:lnTo>
                  <a:lnTo>
                    <a:pt x="214" y="180"/>
                  </a:lnTo>
                  <a:lnTo>
                    <a:pt x="214" y="175"/>
                  </a:lnTo>
                  <a:lnTo>
                    <a:pt x="214" y="175"/>
                  </a:lnTo>
                  <a:lnTo>
                    <a:pt x="216" y="173"/>
                  </a:lnTo>
                  <a:lnTo>
                    <a:pt x="216" y="173"/>
                  </a:lnTo>
                  <a:lnTo>
                    <a:pt x="209" y="171"/>
                  </a:lnTo>
                  <a:lnTo>
                    <a:pt x="207" y="166"/>
                  </a:lnTo>
                  <a:lnTo>
                    <a:pt x="205" y="159"/>
                  </a:lnTo>
                  <a:lnTo>
                    <a:pt x="205" y="157"/>
                  </a:lnTo>
                  <a:lnTo>
                    <a:pt x="205" y="157"/>
                  </a:lnTo>
                  <a:lnTo>
                    <a:pt x="202" y="154"/>
                  </a:lnTo>
                  <a:lnTo>
                    <a:pt x="202" y="152"/>
                  </a:lnTo>
                  <a:lnTo>
                    <a:pt x="202" y="152"/>
                  </a:lnTo>
                  <a:lnTo>
                    <a:pt x="200" y="149"/>
                  </a:lnTo>
                  <a:lnTo>
                    <a:pt x="200" y="149"/>
                  </a:lnTo>
                  <a:lnTo>
                    <a:pt x="198" y="152"/>
                  </a:lnTo>
                  <a:lnTo>
                    <a:pt x="198" y="154"/>
                  </a:lnTo>
                  <a:lnTo>
                    <a:pt x="198" y="154"/>
                  </a:lnTo>
                  <a:lnTo>
                    <a:pt x="195" y="154"/>
                  </a:lnTo>
                  <a:lnTo>
                    <a:pt x="195" y="152"/>
                  </a:lnTo>
                  <a:lnTo>
                    <a:pt x="195" y="152"/>
                  </a:lnTo>
                  <a:lnTo>
                    <a:pt x="193" y="152"/>
                  </a:lnTo>
                  <a:lnTo>
                    <a:pt x="190" y="152"/>
                  </a:lnTo>
                  <a:lnTo>
                    <a:pt x="190" y="154"/>
                  </a:lnTo>
                  <a:lnTo>
                    <a:pt x="190" y="154"/>
                  </a:lnTo>
                  <a:lnTo>
                    <a:pt x="190" y="157"/>
                  </a:lnTo>
                  <a:lnTo>
                    <a:pt x="190" y="157"/>
                  </a:lnTo>
                  <a:lnTo>
                    <a:pt x="190" y="159"/>
                  </a:lnTo>
                  <a:lnTo>
                    <a:pt x="188" y="159"/>
                  </a:lnTo>
                  <a:lnTo>
                    <a:pt x="186" y="161"/>
                  </a:lnTo>
                  <a:lnTo>
                    <a:pt x="186" y="161"/>
                  </a:lnTo>
                  <a:lnTo>
                    <a:pt x="188" y="164"/>
                  </a:lnTo>
                  <a:lnTo>
                    <a:pt x="188" y="164"/>
                  </a:lnTo>
                  <a:close/>
                  <a:moveTo>
                    <a:pt x="530" y="154"/>
                  </a:moveTo>
                  <a:lnTo>
                    <a:pt x="530" y="154"/>
                  </a:lnTo>
                  <a:lnTo>
                    <a:pt x="530" y="152"/>
                  </a:lnTo>
                  <a:lnTo>
                    <a:pt x="530" y="152"/>
                  </a:lnTo>
                  <a:lnTo>
                    <a:pt x="527" y="149"/>
                  </a:lnTo>
                  <a:lnTo>
                    <a:pt x="527" y="149"/>
                  </a:lnTo>
                  <a:lnTo>
                    <a:pt x="527" y="152"/>
                  </a:lnTo>
                  <a:lnTo>
                    <a:pt x="527" y="154"/>
                  </a:lnTo>
                  <a:lnTo>
                    <a:pt x="527" y="154"/>
                  </a:lnTo>
                  <a:lnTo>
                    <a:pt x="530" y="154"/>
                  </a:lnTo>
                  <a:close/>
                  <a:moveTo>
                    <a:pt x="603" y="154"/>
                  </a:moveTo>
                  <a:lnTo>
                    <a:pt x="608" y="154"/>
                  </a:lnTo>
                  <a:lnTo>
                    <a:pt x="610" y="154"/>
                  </a:lnTo>
                  <a:lnTo>
                    <a:pt x="612" y="154"/>
                  </a:lnTo>
                  <a:lnTo>
                    <a:pt x="612" y="154"/>
                  </a:lnTo>
                  <a:lnTo>
                    <a:pt x="615" y="154"/>
                  </a:lnTo>
                  <a:lnTo>
                    <a:pt x="615" y="152"/>
                  </a:lnTo>
                  <a:lnTo>
                    <a:pt x="612" y="152"/>
                  </a:lnTo>
                  <a:lnTo>
                    <a:pt x="610" y="149"/>
                  </a:lnTo>
                  <a:lnTo>
                    <a:pt x="608" y="147"/>
                  </a:lnTo>
                  <a:lnTo>
                    <a:pt x="605" y="147"/>
                  </a:lnTo>
                  <a:lnTo>
                    <a:pt x="603" y="147"/>
                  </a:lnTo>
                  <a:lnTo>
                    <a:pt x="601" y="149"/>
                  </a:lnTo>
                  <a:lnTo>
                    <a:pt x="601" y="152"/>
                  </a:lnTo>
                  <a:lnTo>
                    <a:pt x="601" y="154"/>
                  </a:lnTo>
                  <a:lnTo>
                    <a:pt x="601" y="154"/>
                  </a:lnTo>
                  <a:lnTo>
                    <a:pt x="603" y="154"/>
                  </a:lnTo>
                  <a:close/>
                  <a:moveTo>
                    <a:pt x="527" y="147"/>
                  </a:moveTo>
                  <a:lnTo>
                    <a:pt x="527" y="147"/>
                  </a:lnTo>
                  <a:lnTo>
                    <a:pt x="527" y="145"/>
                  </a:lnTo>
                  <a:lnTo>
                    <a:pt x="527" y="145"/>
                  </a:lnTo>
                  <a:lnTo>
                    <a:pt x="525" y="145"/>
                  </a:lnTo>
                  <a:lnTo>
                    <a:pt x="523" y="147"/>
                  </a:lnTo>
                  <a:lnTo>
                    <a:pt x="523" y="147"/>
                  </a:lnTo>
                  <a:lnTo>
                    <a:pt x="523" y="145"/>
                  </a:lnTo>
                  <a:lnTo>
                    <a:pt x="523" y="142"/>
                  </a:lnTo>
                  <a:lnTo>
                    <a:pt x="520" y="142"/>
                  </a:lnTo>
                  <a:lnTo>
                    <a:pt x="518" y="145"/>
                  </a:lnTo>
                  <a:lnTo>
                    <a:pt x="516" y="145"/>
                  </a:lnTo>
                  <a:lnTo>
                    <a:pt x="516" y="145"/>
                  </a:lnTo>
                  <a:lnTo>
                    <a:pt x="516" y="149"/>
                  </a:lnTo>
                  <a:lnTo>
                    <a:pt x="516" y="152"/>
                  </a:lnTo>
                  <a:lnTo>
                    <a:pt x="516" y="152"/>
                  </a:lnTo>
                  <a:lnTo>
                    <a:pt x="518" y="152"/>
                  </a:lnTo>
                  <a:lnTo>
                    <a:pt x="520" y="147"/>
                  </a:lnTo>
                  <a:lnTo>
                    <a:pt x="520" y="147"/>
                  </a:lnTo>
                  <a:lnTo>
                    <a:pt x="523" y="149"/>
                  </a:lnTo>
                  <a:lnTo>
                    <a:pt x="520" y="152"/>
                  </a:lnTo>
                  <a:lnTo>
                    <a:pt x="520" y="152"/>
                  </a:lnTo>
                  <a:lnTo>
                    <a:pt x="520" y="152"/>
                  </a:lnTo>
                  <a:lnTo>
                    <a:pt x="523" y="152"/>
                  </a:lnTo>
                  <a:lnTo>
                    <a:pt x="523" y="152"/>
                  </a:lnTo>
                  <a:lnTo>
                    <a:pt x="523" y="149"/>
                  </a:lnTo>
                  <a:lnTo>
                    <a:pt x="525" y="149"/>
                  </a:lnTo>
                  <a:lnTo>
                    <a:pt x="525" y="149"/>
                  </a:lnTo>
                  <a:lnTo>
                    <a:pt x="527" y="149"/>
                  </a:lnTo>
                  <a:lnTo>
                    <a:pt x="527" y="149"/>
                  </a:lnTo>
                  <a:lnTo>
                    <a:pt x="527" y="147"/>
                  </a:lnTo>
                  <a:close/>
                  <a:moveTo>
                    <a:pt x="271" y="140"/>
                  </a:moveTo>
                  <a:lnTo>
                    <a:pt x="268" y="140"/>
                  </a:lnTo>
                  <a:lnTo>
                    <a:pt x="266" y="140"/>
                  </a:lnTo>
                  <a:lnTo>
                    <a:pt x="266" y="145"/>
                  </a:lnTo>
                  <a:lnTo>
                    <a:pt x="266" y="145"/>
                  </a:lnTo>
                  <a:lnTo>
                    <a:pt x="268" y="145"/>
                  </a:lnTo>
                  <a:lnTo>
                    <a:pt x="271" y="145"/>
                  </a:lnTo>
                  <a:lnTo>
                    <a:pt x="273" y="142"/>
                  </a:lnTo>
                  <a:lnTo>
                    <a:pt x="273" y="142"/>
                  </a:lnTo>
                  <a:lnTo>
                    <a:pt x="273" y="140"/>
                  </a:lnTo>
                  <a:lnTo>
                    <a:pt x="271" y="140"/>
                  </a:lnTo>
                  <a:lnTo>
                    <a:pt x="271" y="140"/>
                  </a:lnTo>
                  <a:close/>
                  <a:moveTo>
                    <a:pt x="75" y="152"/>
                  </a:moveTo>
                  <a:lnTo>
                    <a:pt x="75" y="149"/>
                  </a:lnTo>
                  <a:lnTo>
                    <a:pt x="75" y="149"/>
                  </a:lnTo>
                  <a:lnTo>
                    <a:pt x="75" y="147"/>
                  </a:lnTo>
                  <a:lnTo>
                    <a:pt x="75" y="147"/>
                  </a:lnTo>
                  <a:lnTo>
                    <a:pt x="73" y="145"/>
                  </a:lnTo>
                  <a:lnTo>
                    <a:pt x="73" y="140"/>
                  </a:lnTo>
                  <a:lnTo>
                    <a:pt x="70" y="140"/>
                  </a:lnTo>
                  <a:lnTo>
                    <a:pt x="70" y="138"/>
                  </a:lnTo>
                  <a:lnTo>
                    <a:pt x="66" y="140"/>
                  </a:lnTo>
                  <a:lnTo>
                    <a:pt x="66" y="145"/>
                  </a:lnTo>
                  <a:lnTo>
                    <a:pt x="66" y="145"/>
                  </a:lnTo>
                  <a:lnTo>
                    <a:pt x="68" y="152"/>
                  </a:lnTo>
                  <a:lnTo>
                    <a:pt x="68" y="152"/>
                  </a:lnTo>
                  <a:lnTo>
                    <a:pt x="70" y="154"/>
                  </a:lnTo>
                  <a:lnTo>
                    <a:pt x="73" y="157"/>
                  </a:lnTo>
                  <a:lnTo>
                    <a:pt x="75" y="157"/>
                  </a:lnTo>
                  <a:lnTo>
                    <a:pt x="77" y="157"/>
                  </a:lnTo>
                  <a:lnTo>
                    <a:pt x="77" y="154"/>
                  </a:lnTo>
                  <a:lnTo>
                    <a:pt x="75" y="152"/>
                  </a:lnTo>
                  <a:close/>
                  <a:moveTo>
                    <a:pt x="662" y="142"/>
                  </a:moveTo>
                  <a:lnTo>
                    <a:pt x="662" y="142"/>
                  </a:lnTo>
                  <a:lnTo>
                    <a:pt x="664" y="145"/>
                  </a:lnTo>
                  <a:lnTo>
                    <a:pt x="664" y="147"/>
                  </a:lnTo>
                  <a:lnTo>
                    <a:pt x="667" y="147"/>
                  </a:lnTo>
                  <a:lnTo>
                    <a:pt x="667" y="147"/>
                  </a:lnTo>
                  <a:lnTo>
                    <a:pt x="669" y="145"/>
                  </a:lnTo>
                  <a:lnTo>
                    <a:pt x="669" y="140"/>
                  </a:lnTo>
                  <a:lnTo>
                    <a:pt x="669" y="138"/>
                  </a:lnTo>
                  <a:lnTo>
                    <a:pt x="667" y="138"/>
                  </a:lnTo>
                  <a:lnTo>
                    <a:pt x="667" y="138"/>
                  </a:lnTo>
                  <a:lnTo>
                    <a:pt x="662" y="140"/>
                  </a:lnTo>
                  <a:lnTo>
                    <a:pt x="662" y="140"/>
                  </a:lnTo>
                  <a:lnTo>
                    <a:pt x="662" y="140"/>
                  </a:lnTo>
                  <a:lnTo>
                    <a:pt x="662" y="142"/>
                  </a:lnTo>
                  <a:close/>
                  <a:moveTo>
                    <a:pt x="749" y="135"/>
                  </a:moveTo>
                  <a:lnTo>
                    <a:pt x="751" y="135"/>
                  </a:lnTo>
                  <a:lnTo>
                    <a:pt x="751" y="135"/>
                  </a:lnTo>
                  <a:lnTo>
                    <a:pt x="751" y="135"/>
                  </a:lnTo>
                  <a:lnTo>
                    <a:pt x="754" y="138"/>
                  </a:lnTo>
                  <a:lnTo>
                    <a:pt x="756" y="135"/>
                  </a:lnTo>
                  <a:lnTo>
                    <a:pt x="756" y="140"/>
                  </a:lnTo>
                  <a:lnTo>
                    <a:pt x="756" y="142"/>
                  </a:lnTo>
                  <a:lnTo>
                    <a:pt x="758" y="145"/>
                  </a:lnTo>
                  <a:lnTo>
                    <a:pt x="761" y="142"/>
                  </a:lnTo>
                  <a:lnTo>
                    <a:pt x="763" y="145"/>
                  </a:lnTo>
                  <a:lnTo>
                    <a:pt x="763" y="145"/>
                  </a:lnTo>
                  <a:lnTo>
                    <a:pt x="765" y="145"/>
                  </a:lnTo>
                  <a:lnTo>
                    <a:pt x="768" y="142"/>
                  </a:lnTo>
                  <a:lnTo>
                    <a:pt x="765" y="142"/>
                  </a:lnTo>
                  <a:lnTo>
                    <a:pt x="763" y="140"/>
                  </a:lnTo>
                  <a:lnTo>
                    <a:pt x="761" y="138"/>
                  </a:lnTo>
                  <a:lnTo>
                    <a:pt x="758" y="135"/>
                  </a:lnTo>
                  <a:lnTo>
                    <a:pt x="758" y="133"/>
                  </a:lnTo>
                  <a:lnTo>
                    <a:pt x="756" y="135"/>
                  </a:lnTo>
                  <a:lnTo>
                    <a:pt x="754" y="133"/>
                  </a:lnTo>
                  <a:lnTo>
                    <a:pt x="754" y="133"/>
                  </a:lnTo>
                  <a:lnTo>
                    <a:pt x="749" y="133"/>
                  </a:lnTo>
                  <a:lnTo>
                    <a:pt x="749" y="133"/>
                  </a:lnTo>
                  <a:lnTo>
                    <a:pt x="749" y="135"/>
                  </a:lnTo>
                  <a:close/>
                  <a:moveTo>
                    <a:pt x="596" y="133"/>
                  </a:moveTo>
                  <a:lnTo>
                    <a:pt x="596" y="135"/>
                  </a:lnTo>
                  <a:lnTo>
                    <a:pt x="596" y="135"/>
                  </a:lnTo>
                  <a:lnTo>
                    <a:pt x="598" y="135"/>
                  </a:lnTo>
                  <a:lnTo>
                    <a:pt x="598" y="135"/>
                  </a:lnTo>
                  <a:lnTo>
                    <a:pt x="598" y="135"/>
                  </a:lnTo>
                  <a:lnTo>
                    <a:pt x="598" y="133"/>
                  </a:lnTo>
                  <a:lnTo>
                    <a:pt x="596" y="133"/>
                  </a:lnTo>
                  <a:close/>
                  <a:moveTo>
                    <a:pt x="848" y="173"/>
                  </a:moveTo>
                  <a:lnTo>
                    <a:pt x="848" y="171"/>
                  </a:lnTo>
                  <a:lnTo>
                    <a:pt x="846" y="171"/>
                  </a:lnTo>
                  <a:lnTo>
                    <a:pt x="846" y="171"/>
                  </a:lnTo>
                  <a:lnTo>
                    <a:pt x="839" y="171"/>
                  </a:lnTo>
                  <a:lnTo>
                    <a:pt x="839" y="171"/>
                  </a:lnTo>
                  <a:lnTo>
                    <a:pt x="839" y="168"/>
                  </a:lnTo>
                  <a:lnTo>
                    <a:pt x="836" y="168"/>
                  </a:lnTo>
                  <a:lnTo>
                    <a:pt x="831" y="168"/>
                  </a:lnTo>
                  <a:lnTo>
                    <a:pt x="829" y="168"/>
                  </a:lnTo>
                  <a:lnTo>
                    <a:pt x="824" y="166"/>
                  </a:lnTo>
                  <a:lnTo>
                    <a:pt x="820" y="164"/>
                  </a:lnTo>
                  <a:lnTo>
                    <a:pt x="817" y="161"/>
                  </a:lnTo>
                  <a:lnTo>
                    <a:pt x="817" y="161"/>
                  </a:lnTo>
                  <a:lnTo>
                    <a:pt x="815" y="161"/>
                  </a:lnTo>
                  <a:lnTo>
                    <a:pt x="813" y="159"/>
                  </a:lnTo>
                  <a:lnTo>
                    <a:pt x="810" y="159"/>
                  </a:lnTo>
                  <a:lnTo>
                    <a:pt x="810" y="157"/>
                  </a:lnTo>
                  <a:lnTo>
                    <a:pt x="798" y="152"/>
                  </a:lnTo>
                  <a:lnTo>
                    <a:pt x="798" y="152"/>
                  </a:lnTo>
                  <a:lnTo>
                    <a:pt x="796" y="149"/>
                  </a:lnTo>
                  <a:lnTo>
                    <a:pt x="794" y="149"/>
                  </a:lnTo>
                  <a:lnTo>
                    <a:pt x="789" y="152"/>
                  </a:lnTo>
                  <a:lnTo>
                    <a:pt x="787" y="154"/>
                  </a:lnTo>
                  <a:lnTo>
                    <a:pt x="782" y="157"/>
                  </a:lnTo>
                  <a:lnTo>
                    <a:pt x="780" y="157"/>
                  </a:lnTo>
                  <a:lnTo>
                    <a:pt x="780" y="159"/>
                  </a:lnTo>
                  <a:lnTo>
                    <a:pt x="782" y="161"/>
                  </a:lnTo>
                  <a:lnTo>
                    <a:pt x="782" y="161"/>
                  </a:lnTo>
                  <a:lnTo>
                    <a:pt x="780" y="164"/>
                  </a:lnTo>
                  <a:lnTo>
                    <a:pt x="775" y="166"/>
                  </a:lnTo>
                  <a:lnTo>
                    <a:pt x="770" y="166"/>
                  </a:lnTo>
                  <a:lnTo>
                    <a:pt x="768" y="166"/>
                  </a:lnTo>
                  <a:lnTo>
                    <a:pt x="765" y="168"/>
                  </a:lnTo>
                  <a:lnTo>
                    <a:pt x="765" y="171"/>
                  </a:lnTo>
                  <a:lnTo>
                    <a:pt x="765" y="173"/>
                  </a:lnTo>
                  <a:lnTo>
                    <a:pt x="763" y="173"/>
                  </a:lnTo>
                  <a:lnTo>
                    <a:pt x="758" y="175"/>
                  </a:lnTo>
                  <a:lnTo>
                    <a:pt x="758" y="178"/>
                  </a:lnTo>
                  <a:lnTo>
                    <a:pt x="758" y="180"/>
                  </a:lnTo>
                  <a:lnTo>
                    <a:pt x="756" y="183"/>
                  </a:lnTo>
                  <a:lnTo>
                    <a:pt x="751" y="185"/>
                  </a:lnTo>
                  <a:lnTo>
                    <a:pt x="751" y="187"/>
                  </a:lnTo>
                  <a:lnTo>
                    <a:pt x="749" y="190"/>
                  </a:lnTo>
                  <a:lnTo>
                    <a:pt x="747" y="190"/>
                  </a:lnTo>
                  <a:lnTo>
                    <a:pt x="744" y="190"/>
                  </a:lnTo>
                  <a:lnTo>
                    <a:pt x="742" y="190"/>
                  </a:lnTo>
                  <a:lnTo>
                    <a:pt x="742" y="190"/>
                  </a:lnTo>
                  <a:lnTo>
                    <a:pt x="740" y="187"/>
                  </a:lnTo>
                  <a:lnTo>
                    <a:pt x="737" y="187"/>
                  </a:lnTo>
                  <a:lnTo>
                    <a:pt x="737" y="185"/>
                  </a:lnTo>
                  <a:lnTo>
                    <a:pt x="737" y="183"/>
                  </a:lnTo>
                  <a:lnTo>
                    <a:pt x="737" y="180"/>
                  </a:lnTo>
                  <a:lnTo>
                    <a:pt x="737" y="180"/>
                  </a:lnTo>
                  <a:lnTo>
                    <a:pt x="735" y="180"/>
                  </a:lnTo>
                  <a:lnTo>
                    <a:pt x="735" y="175"/>
                  </a:lnTo>
                  <a:lnTo>
                    <a:pt x="735" y="173"/>
                  </a:lnTo>
                  <a:lnTo>
                    <a:pt x="735" y="173"/>
                  </a:lnTo>
                  <a:lnTo>
                    <a:pt x="733" y="171"/>
                  </a:lnTo>
                  <a:lnTo>
                    <a:pt x="733" y="173"/>
                  </a:lnTo>
                  <a:lnTo>
                    <a:pt x="730" y="173"/>
                  </a:lnTo>
                  <a:lnTo>
                    <a:pt x="730" y="175"/>
                  </a:lnTo>
                  <a:lnTo>
                    <a:pt x="730" y="178"/>
                  </a:lnTo>
                  <a:lnTo>
                    <a:pt x="728" y="173"/>
                  </a:lnTo>
                  <a:lnTo>
                    <a:pt x="725" y="168"/>
                  </a:lnTo>
                  <a:lnTo>
                    <a:pt x="725" y="166"/>
                  </a:lnTo>
                  <a:lnTo>
                    <a:pt x="725" y="164"/>
                  </a:lnTo>
                  <a:lnTo>
                    <a:pt x="725" y="161"/>
                  </a:lnTo>
                  <a:lnTo>
                    <a:pt x="725" y="157"/>
                  </a:lnTo>
                  <a:lnTo>
                    <a:pt x="725" y="154"/>
                  </a:lnTo>
                  <a:lnTo>
                    <a:pt x="725" y="154"/>
                  </a:lnTo>
                  <a:lnTo>
                    <a:pt x="728" y="152"/>
                  </a:lnTo>
                  <a:lnTo>
                    <a:pt x="728" y="149"/>
                  </a:lnTo>
                  <a:lnTo>
                    <a:pt x="728" y="147"/>
                  </a:lnTo>
                  <a:lnTo>
                    <a:pt x="728" y="147"/>
                  </a:lnTo>
                  <a:lnTo>
                    <a:pt x="725" y="145"/>
                  </a:lnTo>
                  <a:lnTo>
                    <a:pt x="725" y="142"/>
                  </a:lnTo>
                  <a:lnTo>
                    <a:pt x="725" y="140"/>
                  </a:lnTo>
                  <a:lnTo>
                    <a:pt x="725" y="138"/>
                  </a:lnTo>
                  <a:lnTo>
                    <a:pt x="725" y="138"/>
                  </a:lnTo>
                  <a:lnTo>
                    <a:pt x="723" y="135"/>
                  </a:lnTo>
                  <a:lnTo>
                    <a:pt x="723" y="135"/>
                  </a:lnTo>
                  <a:lnTo>
                    <a:pt x="721" y="135"/>
                  </a:lnTo>
                  <a:lnTo>
                    <a:pt x="718" y="135"/>
                  </a:lnTo>
                  <a:lnTo>
                    <a:pt x="714" y="135"/>
                  </a:lnTo>
                  <a:lnTo>
                    <a:pt x="709" y="133"/>
                  </a:lnTo>
                  <a:lnTo>
                    <a:pt x="707" y="130"/>
                  </a:lnTo>
                  <a:lnTo>
                    <a:pt x="702" y="128"/>
                  </a:lnTo>
                  <a:lnTo>
                    <a:pt x="697" y="126"/>
                  </a:lnTo>
                  <a:lnTo>
                    <a:pt x="695" y="126"/>
                  </a:lnTo>
                  <a:lnTo>
                    <a:pt x="692" y="126"/>
                  </a:lnTo>
                  <a:lnTo>
                    <a:pt x="688" y="128"/>
                  </a:lnTo>
                  <a:lnTo>
                    <a:pt x="688" y="128"/>
                  </a:lnTo>
                  <a:lnTo>
                    <a:pt x="688" y="130"/>
                  </a:lnTo>
                  <a:lnTo>
                    <a:pt x="685" y="130"/>
                  </a:lnTo>
                  <a:lnTo>
                    <a:pt x="683" y="133"/>
                  </a:lnTo>
                  <a:lnTo>
                    <a:pt x="683" y="133"/>
                  </a:lnTo>
                  <a:lnTo>
                    <a:pt x="676" y="135"/>
                  </a:lnTo>
                  <a:lnTo>
                    <a:pt x="674" y="135"/>
                  </a:lnTo>
                  <a:lnTo>
                    <a:pt x="671" y="138"/>
                  </a:lnTo>
                  <a:lnTo>
                    <a:pt x="671" y="138"/>
                  </a:lnTo>
                  <a:lnTo>
                    <a:pt x="671" y="140"/>
                  </a:lnTo>
                  <a:lnTo>
                    <a:pt x="671" y="140"/>
                  </a:lnTo>
                  <a:lnTo>
                    <a:pt x="671" y="142"/>
                  </a:lnTo>
                  <a:lnTo>
                    <a:pt x="669" y="145"/>
                  </a:lnTo>
                  <a:lnTo>
                    <a:pt x="669" y="145"/>
                  </a:lnTo>
                  <a:lnTo>
                    <a:pt x="669" y="145"/>
                  </a:lnTo>
                  <a:lnTo>
                    <a:pt x="667" y="147"/>
                  </a:lnTo>
                  <a:lnTo>
                    <a:pt x="667" y="149"/>
                  </a:lnTo>
                  <a:lnTo>
                    <a:pt x="669" y="149"/>
                  </a:lnTo>
                  <a:lnTo>
                    <a:pt x="669" y="149"/>
                  </a:lnTo>
                  <a:lnTo>
                    <a:pt x="671" y="149"/>
                  </a:lnTo>
                  <a:lnTo>
                    <a:pt x="671" y="149"/>
                  </a:lnTo>
                  <a:lnTo>
                    <a:pt x="674" y="147"/>
                  </a:lnTo>
                  <a:lnTo>
                    <a:pt x="681" y="152"/>
                  </a:lnTo>
                  <a:lnTo>
                    <a:pt x="683" y="152"/>
                  </a:lnTo>
                  <a:lnTo>
                    <a:pt x="685" y="152"/>
                  </a:lnTo>
                  <a:lnTo>
                    <a:pt x="685" y="154"/>
                  </a:lnTo>
                  <a:lnTo>
                    <a:pt x="685" y="159"/>
                  </a:lnTo>
                  <a:lnTo>
                    <a:pt x="685" y="161"/>
                  </a:lnTo>
                  <a:lnTo>
                    <a:pt x="688" y="161"/>
                  </a:lnTo>
                  <a:lnTo>
                    <a:pt x="688" y="164"/>
                  </a:lnTo>
                  <a:lnTo>
                    <a:pt x="690" y="164"/>
                  </a:lnTo>
                  <a:lnTo>
                    <a:pt x="690" y="166"/>
                  </a:lnTo>
                  <a:lnTo>
                    <a:pt x="692" y="166"/>
                  </a:lnTo>
                  <a:lnTo>
                    <a:pt x="695" y="166"/>
                  </a:lnTo>
                  <a:lnTo>
                    <a:pt x="697" y="166"/>
                  </a:lnTo>
                  <a:lnTo>
                    <a:pt x="702" y="166"/>
                  </a:lnTo>
                  <a:lnTo>
                    <a:pt x="704" y="166"/>
                  </a:lnTo>
                  <a:lnTo>
                    <a:pt x="709" y="166"/>
                  </a:lnTo>
                  <a:lnTo>
                    <a:pt x="711" y="166"/>
                  </a:lnTo>
                  <a:lnTo>
                    <a:pt x="714" y="166"/>
                  </a:lnTo>
                  <a:lnTo>
                    <a:pt x="716" y="166"/>
                  </a:lnTo>
                  <a:lnTo>
                    <a:pt x="721" y="164"/>
                  </a:lnTo>
                  <a:lnTo>
                    <a:pt x="721" y="164"/>
                  </a:lnTo>
                  <a:lnTo>
                    <a:pt x="721" y="166"/>
                  </a:lnTo>
                  <a:lnTo>
                    <a:pt x="721" y="166"/>
                  </a:lnTo>
                  <a:lnTo>
                    <a:pt x="718" y="168"/>
                  </a:lnTo>
                  <a:lnTo>
                    <a:pt x="721" y="168"/>
                  </a:lnTo>
                  <a:lnTo>
                    <a:pt x="721" y="168"/>
                  </a:lnTo>
                  <a:lnTo>
                    <a:pt x="721" y="171"/>
                  </a:lnTo>
                  <a:lnTo>
                    <a:pt x="718" y="171"/>
                  </a:lnTo>
                  <a:lnTo>
                    <a:pt x="718" y="171"/>
                  </a:lnTo>
                  <a:lnTo>
                    <a:pt x="716" y="173"/>
                  </a:lnTo>
                  <a:lnTo>
                    <a:pt x="716" y="173"/>
                  </a:lnTo>
                  <a:lnTo>
                    <a:pt x="716" y="173"/>
                  </a:lnTo>
                  <a:lnTo>
                    <a:pt x="716" y="173"/>
                  </a:lnTo>
                  <a:lnTo>
                    <a:pt x="714" y="173"/>
                  </a:lnTo>
                  <a:lnTo>
                    <a:pt x="711" y="171"/>
                  </a:lnTo>
                  <a:lnTo>
                    <a:pt x="709" y="171"/>
                  </a:lnTo>
                  <a:lnTo>
                    <a:pt x="707" y="171"/>
                  </a:lnTo>
                  <a:lnTo>
                    <a:pt x="707" y="171"/>
                  </a:lnTo>
                  <a:lnTo>
                    <a:pt x="704" y="171"/>
                  </a:lnTo>
                  <a:lnTo>
                    <a:pt x="702" y="175"/>
                  </a:lnTo>
                  <a:lnTo>
                    <a:pt x="700" y="178"/>
                  </a:lnTo>
                  <a:lnTo>
                    <a:pt x="697" y="178"/>
                  </a:lnTo>
                  <a:lnTo>
                    <a:pt x="695" y="175"/>
                  </a:lnTo>
                  <a:lnTo>
                    <a:pt x="690" y="175"/>
                  </a:lnTo>
                  <a:lnTo>
                    <a:pt x="690" y="175"/>
                  </a:lnTo>
                  <a:lnTo>
                    <a:pt x="685" y="178"/>
                  </a:lnTo>
                  <a:lnTo>
                    <a:pt x="685" y="178"/>
                  </a:lnTo>
                  <a:lnTo>
                    <a:pt x="685" y="180"/>
                  </a:lnTo>
                  <a:lnTo>
                    <a:pt x="685" y="180"/>
                  </a:lnTo>
                  <a:lnTo>
                    <a:pt x="688" y="180"/>
                  </a:lnTo>
                  <a:lnTo>
                    <a:pt x="690" y="180"/>
                  </a:lnTo>
                  <a:lnTo>
                    <a:pt x="692" y="183"/>
                  </a:lnTo>
                  <a:lnTo>
                    <a:pt x="695" y="185"/>
                  </a:lnTo>
                  <a:lnTo>
                    <a:pt x="700" y="187"/>
                  </a:lnTo>
                  <a:lnTo>
                    <a:pt x="700" y="192"/>
                  </a:lnTo>
                  <a:lnTo>
                    <a:pt x="700" y="194"/>
                  </a:lnTo>
                  <a:lnTo>
                    <a:pt x="697" y="197"/>
                  </a:lnTo>
                  <a:lnTo>
                    <a:pt x="700" y="199"/>
                  </a:lnTo>
                  <a:lnTo>
                    <a:pt x="700" y="201"/>
                  </a:lnTo>
                  <a:lnTo>
                    <a:pt x="700" y="204"/>
                  </a:lnTo>
                  <a:lnTo>
                    <a:pt x="702" y="204"/>
                  </a:lnTo>
                  <a:lnTo>
                    <a:pt x="702" y="206"/>
                  </a:lnTo>
                  <a:lnTo>
                    <a:pt x="704" y="204"/>
                  </a:lnTo>
                  <a:lnTo>
                    <a:pt x="707" y="204"/>
                  </a:lnTo>
                  <a:lnTo>
                    <a:pt x="707" y="204"/>
                  </a:lnTo>
                  <a:lnTo>
                    <a:pt x="709" y="201"/>
                  </a:lnTo>
                  <a:lnTo>
                    <a:pt x="711" y="199"/>
                  </a:lnTo>
                  <a:lnTo>
                    <a:pt x="711" y="199"/>
                  </a:lnTo>
                  <a:lnTo>
                    <a:pt x="711" y="197"/>
                  </a:lnTo>
                  <a:lnTo>
                    <a:pt x="711" y="194"/>
                  </a:lnTo>
                  <a:lnTo>
                    <a:pt x="714" y="192"/>
                  </a:lnTo>
                  <a:lnTo>
                    <a:pt x="714" y="190"/>
                  </a:lnTo>
                  <a:lnTo>
                    <a:pt x="714" y="192"/>
                  </a:lnTo>
                  <a:lnTo>
                    <a:pt x="716" y="190"/>
                  </a:lnTo>
                  <a:lnTo>
                    <a:pt x="716" y="185"/>
                  </a:lnTo>
                  <a:lnTo>
                    <a:pt x="716" y="185"/>
                  </a:lnTo>
                  <a:lnTo>
                    <a:pt x="716" y="185"/>
                  </a:lnTo>
                  <a:lnTo>
                    <a:pt x="718" y="183"/>
                  </a:lnTo>
                  <a:lnTo>
                    <a:pt x="718" y="183"/>
                  </a:lnTo>
                  <a:lnTo>
                    <a:pt x="718" y="185"/>
                  </a:lnTo>
                  <a:lnTo>
                    <a:pt x="716" y="187"/>
                  </a:lnTo>
                  <a:lnTo>
                    <a:pt x="716" y="190"/>
                  </a:lnTo>
                  <a:lnTo>
                    <a:pt x="716" y="192"/>
                  </a:lnTo>
                  <a:lnTo>
                    <a:pt x="716" y="194"/>
                  </a:lnTo>
                  <a:lnTo>
                    <a:pt x="718" y="197"/>
                  </a:lnTo>
                  <a:lnTo>
                    <a:pt x="718" y="197"/>
                  </a:lnTo>
                  <a:lnTo>
                    <a:pt x="718" y="197"/>
                  </a:lnTo>
                  <a:lnTo>
                    <a:pt x="721" y="199"/>
                  </a:lnTo>
                  <a:lnTo>
                    <a:pt x="721" y="199"/>
                  </a:lnTo>
                  <a:lnTo>
                    <a:pt x="723" y="199"/>
                  </a:lnTo>
                  <a:lnTo>
                    <a:pt x="723" y="199"/>
                  </a:lnTo>
                  <a:lnTo>
                    <a:pt x="723" y="199"/>
                  </a:lnTo>
                  <a:lnTo>
                    <a:pt x="725" y="199"/>
                  </a:lnTo>
                  <a:lnTo>
                    <a:pt x="725" y="201"/>
                  </a:lnTo>
                  <a:lnTo>
                    <a:pt x="725" y="201"/>
                  </a:lnTo>
                  <a:lnTo>
                    <a:pt x="728" y="201"/>
                  </a:lnTo>
                  <a:lnTo>
                    <a:pt x="730" y="201"/>
                  </a:lnTo>
                  <a:lnTo>
                    <a:pt x="730" y="204"/>
                  </a:lnTo>
                  <a:lnTo>
                    <a:pt x="733" y="204"/>
                  </a:lnTo>
                  <a:lnTo>
                    <a:pt x="735" y="201"/>
                  </a:lnTo>
                  <a:lnTo>
                    <a:pt x="735" y="201"/>
                  </a:lnTo>
                  <a:lnTo>
                    <a:pt x="737" y="201"/>
                  </a:lnTo>
                  <a:lnTo>
                    <a:pt x="735" y="201"/>
                  </a:lnTo>
                  <a:lnTo>
                    <a:pt x="735" y="204"/>
                  </a:lnTo>
                  <a:lnTo>
                    <a:pt x="733" y="204"/>
                  </a:lnTo>
                  <a:lnTo>
                    <a:pt x="735" y="206"/>
                  </a:lnTo>
                  <a:lnTo>
                    <a:pt x="742" y="213"/>
                  </a:lnTo>
                  <a:lnTo>
                    <a:pt x="744" y="213"/>
                  </a:lnTo>
                  <a:lnTo>
                    <a:pt x="747" y="213"/>
                  </a:lnTo>
                  <a:lnTo>
                    <a:pt x="747" y="213"/>
                  </a:lnTo>
                  <a:lnTo>
                    <a:pt x="751" y="213"/>
                  </a:lnTo>
                  <a:lnTo>
                    <a:pt x="758" y="213"/>
                  </a:lnTo>
                  <a:lnTo>
                    <a:pt x="758" y="216"/>
                  </a:lnTo>
                  <a:lnTo>
                    <a:pt x="761" y="218"/>
                  </a:lnTo>
                  <a:lnTo>
                    <a:pt x="765" y="218"/>
                  </a:lnTo>
                  <a:lnTo>
                    <a:pt x="768" y="220"/>
                  </a:lnTo>
                  <a:lnTo>
                    <a:pt x="773" y="223"/>
                  </a:lnTo>
                  <a:lnTo>
                    <a:pt x="775" y="223"/>
                  </a:lnTo>
                  <a:lnTo>
                    <a:pt x="775" y="223"/>
                  </a:lnTo>
                  <a:lnTo>
                    <a:pt x="777" y="223"/>
                  </a:lnTo>
                  <a:lnTo>
                    <a:pt x="777" y="223"/>
                  </a:lnTo>
                  <a:lnTo>
                    <a:pt x="777" y="223"/>
                  </a:lnTo>
                  <a:lnTo>
                    <a:pt x="780" y="225"/>
                  </a:lnTo>
                  <a:lnTo>
                    <a:pt x="780" y="223"/>
                  </a:lnTo>
                  <a:lnTo>
                    <a:pt x="782" y="223"/>
                  </a:lnTo>
                  <a:lnTo>
                    <a:pt x="782" y="225"/>
                  </a:lnTo>
                  <a:lnTo>
                    <a:pt x="789" y="230"/>
                  </a:lnTo>
                  <a:lnTo>
                    <a:pt x="789" y="230"/>
                  </a:lnTo>
                  <a:lnTo>
                    <a:pt x="791" y="232"/>
                  </a:lnTo>
                  <a:lnTo>
                    <a:pt x="791" y="232"/>
                  </a:lnTo>
                  <a:lnTo>
                    <a:pt x="791" y="232"/>
                  </a:lnTo>
                  <a:lnTo>
                    <a:pt x="794" y="232"/>
                  </a:lnTo>
                  <a:lnTo>
                    <a:pt x="794" y="235"/>
                  </a:lnTo>
                  <a:lnTo>
                    <a:pt x="796" y="237"/>
                  </a:lnTo>
                  <a:lnTo>
                    <a:pt x="794" y="237"/>
                  </a:lnTo>
                  <a:lnTo>
                    <a:pt x="794" y="239"/>
                  </a:lnTo>
                  <a:lnTo>
                    <a:pt x="796" y="239"/>
                  </a:lnTo>
                  <a:lnTo>
                    <a:pt x="796" y="239"/>
                  </a:lnTo>
                  <a:lnTo>
                    <a:pt x="796" y="239"/>
                  </a:lnTo>
                  <a:lnTo>
                    <a:pt x="798" y="239"/>
                  </a:lnTo>
                  <a:lnTo>
                    <a:pt x="801" y="239"/>
                  </a:lnTo>
                  <a:lnTo>
                    <a:pt x="798" y="239"/>
                  </a:lnTo>
                  <a:lnTo>
                    <a:pt x="796" y="242"/>
                  </a:lnTo>
                  <a:lnTo>
                    <a:pt x="798" y="242"/>
                  </a:lnTo>
                  <a:lnTo>
                    <a:pt x="801" y="242"/>
                  </a:lnTo>
                  <a:lnTo>
                    <a:pt x="798" y="244"/>
                  </a:lnTo>
                  <a:lnTo>
                    <a:pt x="798" y="244"/>
                  </a:lnTo>
                  <a:lnTo>
                    <a:pt x="801" y="249"/>
                  </a:lnTo>
                  <a:lnTo>
                    <a:pt x="801" y="253"/>
                  </a:lnTo>
                  <a:lnTo>
                    <a:pt x="803" y="256"/>
                  </a:lnTo>
                  <a:lnTo>
                    <a:pt x="803" y="258"/>
                  </a:lnTo>
                  <a:lnTo>
                    <a:pt x="806" y="258"/>
                  </a:lnTo>
                  <a:lnTo>
                    <a:pt x="806" y="261"/>
                  </a:lnTo>
                  <a:lnTo>
                    <a:pt x="808" y="263"/>
                  </a:lnTo>
                  <a:lnTo>
                    <a:pt x="808" y="263"/>
                  </a:lnTo>
                  <a:lnTo>
                    <a:pt x="806" y="265"/>
                  </a:lnTo>
                  <a:lnTo>
                    <a:pt x="803" y="265"/>
                  </a:lnTo>
                  <a:lnTo>
                    <a:pt x="803" y="265"/>
                  </a:lnTo>
                  <a:lnTo>
                    <a:pt x="806" y="268"/>
                  </a:lnTo>
                  <a:lnTo>
                    <a:pt x="808" y="270"/>
                  </a:lnTo>
                  <a:lnTo>
                    <a:pt x="810" y="270"/>
                  </a:lnTo>
                  <a:lnTo>
                    <a:pt x="813" y="270"/>
                  </a:lnTo>
                  <a:lnTo>
                    <a:pt x="813" y="270"/>
                  </a:lnTo>
                  <a:lnTo>
                    <a:pt x="810" y="272"/>
                  </a:lnTo>
                  <a:lnTo>
                    <a:pt x="810" y="272"/>
                  </a:lnTo>
                  <a:lnTo>
                    <a:pt x="808" y="270"/>
                  </a:lnTo>
                  <a:lnTo>
                    <a:pt x="808" y="270"/>
                  </a:lnTo>
                  <a:lnTo>
                    <a:pt x="806" y="270"/>
                  </a:lnTo>
                  <a:lnTo>
                    <a:pt x="806" y="272"/>
                  </a:lnTo>
                  <a:lnTo>
                    <a:pt x="806" y="272"/>
                  </a:lnTo>
                  <a:lnTo>
                    <a:pt x="808" y="275"/>
                  </a:lnTo>
                  <a:lnTo>
                    <a:pt x="808" y="275"/>
                  </a:lnTo>
                  <a:lnTo>
                    <a:pt x="808" y="277"/>
                  </a:lnTo>
                  <a:lnTo>
                    <a:pt x="810" y="277"/>
                  </a:lnTo>
                  <a:lnTo>
                    <a:pt x="810" y="277"/>
                  </a:lnTo>
                  <a:lnTo>
                    <a:pt x="810" y="279"/>
                  </a:lnTo>
                  <a:lnTo>
                    <a:pt x="810" y="279"/>
                  </a:lnTo>
                  <a:lnTo>
                    <a:pt x="810" y="282"/>
                  </a:lnTo>
                  <a:lnTo>
                    <a:pt x="810" y="284"/>
                  </a:lnTo>
                  <a:lnTo>
                    <a:pt x="808" y="287"/>
                  </a:lnTo>
                  <a:lnTo>
                    <a:pt x="808" y="289"/>
                  </a:lnTo>
                  <a:lnTo>
                    <a:pt x="806" y="289"/>
                  </a:lnTo>
                  <a:lnTo>
                    <a:pt x="806" y="291"/>
                  </a:lnTo>
                  <a:lnTo>
                    <a:pt x="806" y="291"/>
                  </a:lnTo>
                  <a:lnTo>
                    <a:pt x="806" y="294"/>
                  </a:lnTo>
                  <a:lnTo>
                    <a:pt x="808" y="294"/>
                  </a:lnTo>
                  <a:lnTo>
                    <a:pt x="810" y="291"/>
                  </a:lnTo>
                  <a:lnTo>
                    <a:pt x="813" y="289"/>
                  </a:lnTo>
                  <a:lnTo>
                    <a:pt x="813" y="287"/>
                  </a:lnTo>
                  <a:lnTo>
                    <a:pt x="813" y="289"/>
                  </a:lnTo>
                  <a:lnTo>
                    <a:pt x="813" y="289"/>
                  </a:lnTo>
                  <a:lnTo>
                    <a:pt x="815" y="291"/>
                  </a:lnTo>
                  <a:lnTo>
                    <a:pt x="815" y="291"/>
                  </a:lnTo>
                  <a:lnTo>
                    <a:pt x="817" y="291"/>
                  </a:lnTo>
                  <a:lnTo>
                    <a:pt x="820" y="291"/>
                  </a:lnTo>
                  <a:lnTo>
                    <a:pt x="824" y="289"/>
                  </a:lnTo>
                  <a:lnTo>
                    <a:pt x="827" y="289"/>
                  </a:lnTo>
                  <a:lnTo>
                    <a:pt x="827" y="289"/>
                  </a:lnTo>
                  <a:lnTo>
                    <a:pt x="829" y="287"/>
                  </a:lnTo>
                  <a:lnTo>
                    <a:pt x="827" y="289"/>
                  </a:lnTo>
                  <a:lnTo>
                    <a:pt x="827" y="291"/>
                  </a:lnTo>
                  <a:lnTo>
                    <a:pt x="827" y="291"/>
                  </a:lnTo>
                  <a:lnTo>
                    <a:pt x="827" y="291"/>
                  </a:lnTo>
                  <a:lnTo>
                    <a:pt x="829" y="294"/>
                  </a:lnTo>
                  <a:lnTo>
                    <a:pt x="836" y="301"/>
                  </a:lnTo>
                  <a:lnTo>
                    <a:pt x="836" y="303"/>
                  </a:lnTo>
                  <a:lnTo>
                    <a:pt x="839" y="305"/>
                  </a:lnTo>
                  <a:lnTo>
                    <a:pt x="841" y="308"/>
                  </a:lnTo>
                  <a:lnTo>
                    <a:pt x="843" y="310"/>
                  </a:lnTo>
                  <a:lnTo>
                    <a:pt x="843" y="310"/>
                  </a:lnTo>
                  <a:lnTo>
                    <a:pt x="843" y="310"/>
                  </a:lnTo>
                  <a:lnTo>
                    <a:pt x="843" y="308"/>
                  </a:lnTo>
                  <a:lnTo>
                    <a:pt x="843" y="303"/>
                  </a:lnTo>
                  <a:lnTo>
                    <a:pt x="846" y="298"/>
                  </a:lnTo>
                  <a:lnTo>
                    <a:pt x="846" y="294"/>
                  </a:lnTo>
                  <a:lnTo>
                    <a:pt x="846" y="289"/>
                  </a:lnTo>
                  <a:lnTo>
                    <a:pt x="846" y="284"/>
                  </a:lnTo>
                  <a:lnTo>
                    <a:pt x="846" y="282"/>
                  </a:lnTo>
                  <a:lnTo>
                    <a:pt x="846" y="277"/>
                  </a:lnTo>
                  <a:lnTo>
                    <a:pt x="846" y="272"/>
                  </a:lnTo>
                  <a:lnTo>
                    <a:pt x="848" y="268"/>
                  </a:lnTo>
                  <a:lnTo>
                    <a:pt x="848" y="265"/>
                  </a:lnTo>
                  <a:lnTo>
                    <a:pt x="846" y="263"/>
                  </a:lnTo>
                  <a:lnTo>
                    <a:pt x="846" y="261"/>
                  </a:lnTo>
                  <a:lnTo>
                    <a:pt x="846" y="258"/>
                  </a:lnTo>
                  <a:lnTo>
                    <a:pt x="848" y="256"/>
                  </a:lnTo>
                  <a:lnTo>
                    <a:pt x="848" y="253"/>
                  </a:lnTo>
                  <a:lnTo>
                    <a:pt x="848" y="251"/>
                  </a:lnTo>
                  <a:lnTo>
                    <a:pt x="848" y="246"/>
                  </a:lnTo>
                  <a:lnTo>
                    <a:pt x="848" y="242"/>
                  </a:lnTo>
                  <a:lnTo>
                    <a:pt x="848" y="237"/>
                  </a:lnTo>
                  <a:lnTo>
                    <a:pt x="848" y="235"/>
                  </a:lnTo>
                  <a:lnTo>
                    <a:pt x="850" y="230"/>
                  </a:lnTo>
                  <a:lnTo>
                    <a:pt x="850" y="225"/>
                  </a:lnTo>
                  <a:lnTo>
                    <a:pt x="850" y="220"/>
                  </a:lnTo>
                  <a:lnTo>
                    <a:pt x="850" y="216"/>
                  </a:lnTo>
                  <a:lnTo>
                    <a:pt x="850" y="213"/>
                  </a:lnTo>
                  <a:lnTo>
                    <a:pt x="850" y="209"/>
                  </a:lnTo>
                  <a:lnTo>
                    <a:pt x="850" y="204"/>
                  </a:lnTo>
                  <a:lnTo>
                    <a:pt x="850" y="199"/>
                  </a:lnTo>
                  <a:lnTo>
                    <a:pt x="850" y="194"/>
                  </a:lnTo>
                  <a:lnTo>
                    <a:pt x="850" y="192"/>
                  </a:lnTo>
                  <a:lnTo>
                    <a:pt x="850" y="187"/>
                  </a:lnTo>
                  <a:lnTo>
                    <a:pt x="850" y="183"/>
                  </a:lnTo>
                  <a:lnTo>
                    <a:pt x="853" y="178"/>
                  </a:lnTo>
                  <a:lnTo>
                    <a:pt x="853" y="173"/>
                  </a:lnTo>
                  <a:lnTo>
                    <a:pt x="848" y="173"/>
                  </a:lnTo>
                  <a:close/>
                  <a:moveTo>
                    <a:pt x="603" y="133"/>
                  </a:moveTo>
                  <a:lnTo>
                    <a:pt x="601" y="135"/>
                  </a:lnTo>
                  <a:lnTo>
                    <a:pt x="601" y="135"/>
                  </a:lnTo>
                  <a:lnTo>
                    <a:pt x="603" y="135"/>
                  </a:lnTo>
                  <a:lnTo>
                    <a:pt x="605" y="135"/>
                  </a:lnTo>
                  <a:lnTo>
                    <a:pt x="605" y="135"/>
                  </a:lnTo>
                  <a:lnTo>
                    <a:pt x="605" y="135"/>
                  </a:lnTo>
                  <a:lnTo>
                    <a:pt x="608" y="138"/>
                  </a:lnTo>
                  <a:lnTo>
                    <a:pt x="608" y="138"/>
                  </a:lnTo>
                  <a:lnTo>
                    <a:pt x="610" y="135"/>
                  </a:lnTo>
                  <a:lnTo>
                    <a:pt x="610" y="135"/>
                  </a:lnTo>
                  <a:lnTo>
                    <a:pt x="608" y="133"/>
                  </a:lnTo>
                  <a:lnTo>
                    <a:pt x="608" y="133"/>
                  </a:lnTo>
                  <a:lnTo>
                    <a:pt x="605" y="133"/>
                  </a:lnTo>
                  <a:lnTo>
                    <a:pt x="605" y="130"/>
                  </a:lnTo>
                  <a:lnTo>
                    <a:pt x="605" y="128"/>
                  </a:lnTo>
                  <a:lnTo>
                    <a:pt x="603" y="126"/>
                  </a:lnTo>
                  <a:lnTo>
                    <a:pt x="603" y="126"/>
                  </a:lnTo>
                  <a:lnTo>
                    <a:pt x="603" y="126"/>
                  </a:lnTo>
                  <a:lnTo>
                    <a:pt x="601" y="128"/>
                  </a:lnTo>
                  <a:lnTo>
                    <a:pt x="601" y="126"/>
                  </a:lnTo>
                  <a:lnTo>
                    <a:pt x="598" y="126"/>
                  </a:lnTo>
                  <a:lnTo>
                    <a:pt x="598" y="128"/>
                  </a:lnTo>
                  <a:lnTo>
                    <a:pt x="598" y="128"/>
                  </a:lnTo>
                  <a:lnTo>
                    <a:pt x="598" y="128"/>
                  </a:lnTo>
                  <a:lnTo>
                    <a:pt x="601" y="130"/>
                  </a:lnTo>
                  <a:lnTo>
                    <a:pt x="603" y="133"/>
                  </a:lnTo>
                  <a:close/>
                  <a:moveTo>
                    <a:pt x="596" y="130"/>
                  </a:moveTo>
                  <a:lnTo>
                    <a:pt x="598" y="128"/>
                  </a:lnTo>
                  <a:lnTo>
                    <a:pt x="598" y="128"/>
                  </a:lnTo>
                  <a:lnTo>
                    <a:pt x="598" y="126"/>
                  </a:lnTo>
                  <a:lnTo>
                    <a:pt x="598" y="126"/>
                  </a:lnTo>
                  <a:lnTo>
                    <a:pt x="596" y="123"/>
                  </a:lnTo>
                  <a:lnTo>
                    <a:pt x="596" y="126"/>
                  </a:lnTo>
                  <a:lnTo>
                    <a:pt x="596" y="128"/>
                  </a:lnTo>
                  <a:lnTo>
                    <a:pt x="596" y="130"/>
                  </a:lnTo>
                  <a:lnTo>
                    <a:pt x="596" y="130"/>
                  </a:lnTo>
                  <a:close/>
                  <a:moveTo>
                    <a:pt x="157" y="123"/>
                  </a:moveTo>
                  <a:lnTo>
                    <a:pt x="155" y="126"/>
                  </a:lnTo>
                  <a:lnTo>
                    <a:pt x="155" y="126"/>
                  </a:lnTo>
                  <a:lnTo>
                    <a:pt x="157" y="126"/>
                  </a:lnTo>
                  <a:lnTo>
                    <a:pt x="160" y="126"/>
                  </a:lnTo>
                  <a:lnTo>
                    <a:pt x="162" y="126"/>
                  </a:lnTo>
                  <a:lnTo>
                    <a:pt x="160" y="126"/>
                  </a:lnTo>
                  <a:lnTo>
                    <a:pt x="157" y="123"/>
                  </a:lnTo>
                  <a:lnTo>
                    <a:pt x="157" y="123"/>
                  </a:lnTo>
                  <a:close/>
                  <a:moveTo>
                    <a:pt x="667" y="126"/>
                  </a:moveTo>
                  <a:lnTo>
                    <a:pt x="664" y="126"/>
                  </a:lnTo>
                  <a:lnTo>
                    <a:pt x="664" y="126"/>
                  </a:lnTo>
                  <a:lnTo>
                    <a:pt x="664" y="126"/>
                  </a:lnTo>
                  <a:lnTo>
                    <a:pt x="662" y="123"/>
                  </a:lnTo>
                  <a:lnTo>
                    <a:pt x="662" y="121"/>
                  </a:lnTo>
                  <a:lnTo>
                    <a:pt x="659" y="121"/>
                  </a:lnTo>
                  <a:lnTo>
                    <a:pt x="662" y="121"/>
                  </a:lnTo>
                  <a:lnTo>
                    <a:pt x="664" y="123"/>
                  </a:lnTo>
                  <a:lnTo>
                    <a:pt x="667" y="123"/>
                  </a:lnTo>
                  <a:lnTo>
                    <a:pt x="667" y="126"/>
                  </a:lnTo>
                  <a:lnTo>
                    <a:pt x="667" y="126"/>
                  </a:lnTo>
                  <a:lnTo>
                    <a:pt x="669" y="126"/>
                  </a:lnTo>
                  <a:lnTo>
                    <a:pt x="671" y="126"/>
                  </a:lnTo>
                  <a:lnTo>
                    <a:pt x="671" y="126"/>
                  </a:lnTo>
                  <a:lnTo>
                    <a:pt x="671" y="126"/>
                  </a:lnTo>
                  <a:lnTo>
                    <a:pt x="674" y="126"/>
                  </a:lnTo>
                  <a:lnTo>
                    <a:pt x="674" y="123"/>
                  </a:lnTo>
                  <a:lnTo>
                    <a:pt x="674" y="123"/>
                  </a:lnTo>
                  <a:lnTo>
                    <a:pt x="674" y="121"/>
                  </a:lnTo>
                  <a:lnTo>
                    <a:pt x="669" y="119"/>
                  </a:lnTo>
                  <a:lnTo>
                    <a:pt x="667" y="119"/>
                  </a:lnTo>
                  <a:lnTo>
                    <a:pt x="664" y="119"/>
                  </a:lnTo>
                  <a:lnTo>
                    <a:pt x="662" y="119"/>
                  </a:lnTo>
                  <a:lnTo>
                    <a:pt x="659" y="119"/>
                  </a:lnTo>
                  <a:lnTo>
                    <a:pt x="659" y="121"/>
                  </a:lnTo>
                  <a:lnTo>
                    <a:pt x="657" y="121"/>
                  </a:lnTo>
                  <a:lnTo>
                    <a:pt x="657" y="121"/>
                  </a:lnTo>
                  <a:lnTo>
                    <a:pt x="655" y="121"/>
                  </a:lnTo>
                  <a:lnTo>
                    <a:pt x="655" y="121"/>
                  </a:lnTo>
                  <a:lnTo>
                    <a:pt x="655" y="121"/>
                  </a:lnTo>
                  <a:lnTo>
                    <a:pt x="652" y="123"/>
                  </a:lnTo>
                  <a:lnTo>
                    <a:pt x="655" y="123"/>
                  </a:lnTo>
                  <a:lnTo>
                    <a:pt x="657" y="123"/>
                  </a:lnTo>
                  <a:lnTo>
                    <a:pt x="659" y="126"/>
                  </a:lnTo>
                  <a:lnTo>
                    <a:pt x="659" y="126"/>
                  </a:lnTo>
                  <a:lnTo>
                    <a:pt x="659" y="126"/>
                  </a:lnTo>
                  <a:lnTo>
                    <a:pt x="662" y="126"/>
                  </a:lnTo>
                  <a:lnTo>
                    <a:pt x="667" y="126"/>
                  </a:lnTo>
                  <a:close/>
                  <a:moveTo>
                    <a:pt x="61" y="119"/>
                  </a:moveTo>
                  <a:lnTo>
                    <a:pt x="61" y="119"/>
                  </a:lnTo>
                  <a:lnTo>
                    <a:pt x="61" y="119"/>
                  </a:lnTo>
                  <a:lnTo>
                    <a:pt x="61" y="123"/>
                  </a:lnTo>
                  <a:lnTo>
                    <a:pt x="61" y="126"/>
                  </a:lnTo>
                  <a:lnTo>
                    <a:pt x="61" y="126"/>
                  </a:lnTo>
                  <a:lnTo>
                    <a:pt x="61" y="128"/>
                  </a:lnTo>
                  <a:lnTo>
                    <a:pt x="58" y="130"/>
                  </a:lnTo>
                  <a:lnTo>
                    <a:pt x="61" y="130"/>
                  </a:lnTo>
                  <a:lnTo>
                    <a:pt x="63" y="130"/>
                  </a:lnTo>
                  <a:lnTo>
                    <a:pt x="63" y="126"/>
                  </a:lnTo>
                  <a:lnTo>
                    <a:pt x="63" y="123"/>
                  </a:lnTo>
                  <a:lnTo>
                    <a:pt x="63" y="123"/>
                  </a:lnTo>
                  <a:lnTo>
                    <a:pt x="61" y="119"/>
                  </a:lnTo>
                  <a:close/>
                  <a:moveTo>
                    <a:pt x="136" y="100"/>
                  </a:moveTo>
                  <a:lnTo>
                    <a:pt x="136" y="100"/>
                  </a:lnTo>
                  <a:lnTo>
                    <a:pt x="136" y="100"/>
                  </a:lnTo>
                  <a:lnTo>
                    <a:pt x="139" y="102"/>
                  </a:lnTo>
                  <a:lnTo>
                    <a:pt x="141" y="102"/>
                  </a:lnTo>
                  <a:lnTo>
                    <a:pt x="143" y="102"/>
                  </a:lnTo>
                  <a:lnTo>
                    <a:pt x="146" y="102"/>
                  </a:lnTo>
                  <a:lnTo>
                    <a:pt x="148" y="104"/>
                  </a:lnTo>
                  <a:lnTo>
                    <a:pt x="148" y="102"/>
                  </a:lnTo>
                  <a:lnTo>
                    <a:pt x="146" y="100"/>
                  </a:lnTo>
                  <a:lnTo>
                    <a:pt x="146" y="100"/>
                  </a:lnTo>
                  <a:lnTo>
                    <a:pt x="143" y="97"/>
                  </a:lnTo>
                  <a:lnTo>
                    <a:pt x="141" y="97"/>
                  </a:lnTo>
                  <a:lnTo>
                    <a:pt x="141" y="97"/>
                  </a:lnTo>
                  <a:lnTo>
                    <a:pt x="139" y="95"/>
                  </a:lnTo>
                  <a:lnTo>
                    <a:pt x="139" y="95"/>
                  </a:lnTo>
                  <a:lnTo>
                    <a:pt x="136" y="97"/>
                  </a:lnTo>
                  <a:lnTo>
                    <a:pt x="136" y="100"/>
                  </a:lnTo>
                  <a:close/>
                  <a:moveTo>
                    <a:pt x="134" y="90"/>
                  </a:moveTo>
                  <a:lnTo>
                    <a:pt x="134" y="90"/>
                  </a:lnTo>
                  <a:lnTo>
                    <a:pt x="134" y="90"/>
                  </a:lnTo>
                  <a:lnTo>
                    <a:pt x="132" y="90"/>
                  </a:lnTo>
                  <a:lnTo>
                    <a:pt x="132" y="93"/>
                  </a:lnTo>
                  <a:lnTo>
                    <a:pt x="134" y="95"/>
                  </a:lnTo>
                  <a:lnTo>
                    <a:pt x="134" y="95"/>
                  </a:lnTo>
                  <a:lnTo>
                    <a:pt x="134" y="97"/>
                  </a:lnTo>
                  <a:lnTo>
                    <a:pt x="136" y="97"/>
                  </a:lnTo>
                  <a:lnTo>
                    <a:pt x="136" y="97"/>
                  </a:lnTo>
                  <a:lnTo>
                    <a:pt x="136" y="97"/>
                  </a:lnTo>
                  <a:lnTo>
                    <a:pt x="136" y="95"/>
                  </a:lnTo>
                  <a:lnTo>
                    <a:pt x="136" y="93"/>
                  </a:lnTo>
                  <a:lnTo>
                    <a:pt x="136" y="93"/>
                  </a:lnTo>
                  <a:lnTo>
                    <a:pt x="134" y="90"/>
                  </a:lnTo>
                  <a:close/>
                  <a:moveTo>
                    <a:pt x="49" y="95"/>
                  </a:moveTo>
                  <a:lnTo>
                    <a:pt x="49" y="93"/>
                  </a:lnTo>
                  <a:lnTo>
                    <a:pt x="44" y="88"/>
                  </a:lnTo>
                  <a:lnTo>
                    <a:pt x="42" y="86"/>
                  </a:lnTo>
                  <a:lnTo>
                    <a:pt x="42" y="86"/>
                  </a:lnTo>
                  <a:lnTo>
                    <a:pt x="42" y="88"/>
                  </a:lnTo>
                  <a:lnTo>
                    <a:pt x="40" y="88"/>
                  </a:lnTo>
                  <a:lnTo>
                    <a:pt x="37" y="88"/>
                  </a:lnTo>
                  <a:lnTo>
                    <a:pt x="40" y="93"/>
                  </a:lnTo>
                  <a:lnTo>
                    <a:pt x="42" y="97"/>
                  </a:lnTo>
                  <a:lnTo>
                    <a:pt x="42" y="100"/>
                  </a:lnTo>
                  <a:lnTo>
                    <a:pt x="44" y="100"/>
                  </a:lnTo>
                  <a:lnTo>
                    <a:pt x="47" y="102"/>
                  </a:lnTo>
                  <a:lnTo>
                    <a:pt x="49" y="104"/>
                  </a:lnTo>
                  <a:lnTo>
                    <a:pt x="49" y="107"/>
                  </a:lnTo>
                  <a:lnTo>
                    <a:pt x="51" y="107"/>
                  </a:lnTo>
                  <a:lnTo>
                    <a:pt x="51" y="104"/>
                  </a:lnTo>
                  <a:lnTo>
                    <a:pt x="51" y="100"/>
                  </a:lnTo>
                  <a:lnTo>
                    <a:pt x="51" y="97"/>
                  </a:lnTo>
                  <a:lnTo>
                    <a:pt x="51" y="97"/>
                  </a:lnTo>
                  <a:lnTo>
                    <a:pt x="49" y="95"/>
                  </a:lnTo>
                  <a:close/>
                  <a:moveTo>
                    <a:pt x="129" y="88"/>
                  </a:moveTo>
                  <a:lnTo>
                    <a:pt x="132" y="88"/>
                  </a:lnTo>
                  <a:lnTo>
                    <a:pt x="134" y="88"/>
                  </a:lnTo>
                  <a:lnTo>
                    <a:pt x="134" y="88"/>
                  </a:lnTo>
                  <a:lnTo>
                    <a:pt x="136" y="90"/>
                  </a:lnTo>
                  <a:lnTo>
                    <a:pt x="136" y="90"/>
                  </a:lnTo>
                  <a:lnTo>
                    <a:pt x="136" y="88"/>
                  </a:lnTo>
                  <a:lnTo>
                    <a:pt x="136" y="88"/>
                  </a:lnTo>
                  <a:lnTo>
                    <a:pt x="129" y="86"/>
                  </a:lnTo>
                  <a:lnTo>
                    <a:pt x="129" y="86"/>
                  </a:lnTo>
                  <a:lnTo>
                    <a:pt x="129" y="86"/>
                  </a:lnTo>
                  <a:lnTo>
                    <a:pt x="129" y="86"/>
                  </a:lnTo>
                  <a:lnTo>
                    <a:pt x="129" y="88"/>
                  </a:lnTo>
                  <a:close/>
                  <a:moveTo>
                    <a:pt x="443" y="175"/>
                  </a:moveTo>
                  <a:lnTo>
                    <a:pt x="440" y="175"/>
                  </a:lnTo>
                  <a:lnTo>
                    <a:pt x="440" y="175"/>
                  </a:lnTo>
                  <a:lnTo>
                    <a:pt x="440" y="175"/>
                  </a:lnTo>
                  <a:lnTo>
                    <a:pt x="440" y="178"/>
                  </a:lnTo>
                  <a:lnTo>
                    <a:pt x="440" y="178"/>
                  </a:lnTo>
                  <a:lnTo>
                    <a:pt x="440" y="180"/>
                  </a:lnTo>
                  <a:lnTo>
                    <a:pt x="440" y="183"/>
                  </a:lnTo>
                  <a:lnTo>
                    <a:pt x="440" y="185"/>
                  </a:lnTo>
                  <a:lnTo>
                    <a:pt x="440" y="187"/>
                  </a:lnTo>
                  <a:lnTo>
                    <a:pt x="440" y="190"/>
                  </a:lnTo>
                  <a:lnTo>
                    <a:pt x="440" y="192"/>
                  </a:lnTo>
                  <a:lnTo>
                    <a:pt x="443" y="194"/>
                  </a:lnTo>
                  <a:lnTo>
                    <a:pt x="447" y="192"/>
                  </a:lnTo>
                  <a:lnTo>
                    <a:pt x="450" y="192"/>
                  </a:lnTo>
                  <a:lnTo>
                    <a:pt x="450" y="192"/>
                  </a:lnTo>
                  <a:lnTo>
                    <a:pt x="452" y="192"/>
                  </a:lnTo>
                  <a:lnTo>
                    <a:pt x="452" y="194"/>
                  </a:lnTo>
                  <a:lnTo>
                    <a:pt x="452" y="194"/>
                  </a:lnTo>
                  <a:lnTo>
                    <a:pt x="452" y="197"/>
                  </a:lnTo>
                  <a:lnTo>
                    <a:pt x="452" y="197"/>
                  </a:lnTo>
                  <a:lnTo>
                    <a:pt x="452" y="199"/>
                  </a:lnTo>
                  <a:lnTo>
                    <a:pt x="454" y="204"/>
                  </a:lnTo>
                  <a:lnTo>
                    <a:pt x="454" y="204"/>
                  </a:lnTo>
                  <a:lnTo>
                    <a:pt x="454" y="213"/>
                  </a:lnTo>
                  <a:lnTo>
                    <a:pt x="452" y="213"/>
                  </a:lnTo>
                  <a:lnTo>
                    <a:pt x="452" y="216"/>
                  </a:lnTo>
                  <a:lnTo>
                    <a:pt x="452" y="218"/>
                  </a:lnTo>
                  <a:lnTo>
                    <a:pt x="452" y="223"/>
                  </a:lnTo>
                  <a:lnTo>
                    <a:pt x="450" y="225"/>
                  </a:lnTo>
                  <a:lnTo>
                    <a:pt x="450" y="227"/>
                  </a:lnTo>
                  <a:lnTo>
                    <a:pt x="447" y="230"/>
                  </a:lnTo>
                  <a:lnTo>
                    <a:pt x="447" y="232"/>
                  </a:lnTo>
                  <a:lnTo>
                    <a:pt x="450" y="235"/>
                  </a:lnTo>
                  <a:lnTo>
                    <a:pt x="452" y="237"/>
                  </a:lnTo>
                  <a:lnTo>
                    <a:pt x="454" y="239"/>
                  </a:lnTo>
                  <a:lnTo>
                    <a:pt x="454" y="239"/>
                  </a:lnTo>
                  <a:lnTo>
                    <a:pt x="457" y="239"/>
                  </a:lnTo>
                  <a:lnTo>
                    <a:pt x="457" y="237"/>
                  </a:lnTo>
                  <a:lnTo>
                    <a:pt x="459" y="237"/>
                  </a:lnTo>
                  <a:lnTo>
                    <a:pt x="461" y="237"/>
                  </a:lnTo>
                  <a:lnTo>
                    <a:pt x="464" y="237"/>
                  </a:lnTo>
                  <a:lnTo>
                    <a:pt x="464" y="237"/>
                  </a:lnTo>
                  <a:lnTo>
                    <a:pt x="466" y="237"/>
                  </a:lnTo>
                  <a:lnTo>
                    <a:pt x="469" y="237"/>
                  </a:lnTo>
                  <a:lnTo>
                    <a:pt x="466" y="235"/>
                  </a:lnTo>
                  <a:lnTo>
                    <a:pt x="466" y="232"/>
                  </a:lnTo>
                  <a:lnTo>
                    <a:pt x="466" y="227"/>
                  </a:lnTo>
                  <a:lnTo>
                    <a:pt x="466" y="225"/>
                  </a:lnTo>
                  <a:lnTo>
                    <a:pt x="466" y="223"/>
                  </a:lnTo>
                  <a:lnTo>
                    <a:pt x="469" y="218"/>
                  </a:lnTo>
                  <a:lnTo>
                    <a:pt x="469" y="216"/>
                  </a:lnTo>
                  <a:lnTo>
                    <a:pt x="469" y="211"/>
                  </a:lnTo>
                  <a:lnTo>
                    <a:pt x="469" y="206"/>
                  </a:lnTo>
                  <a:lnTo>
                    <a:pt x="469" y="199"/>
                  </a:lnTo>
                  <a:lnTo>
                    <a:pt x="469" y="197"/>
                  </a:lnTo>
                  <a:lnTo>
                    <a:pt x="469" y="197"/>
                  </a:lnTo>
                  <a:lnTo>
                    <a:pt x="469" y="190"/>
                  </a:lnTo>
                  <a:lnTo>
                    <a:pt x="469" y="187"/>
                  </a:lnTo>
                  <a:lnTo>
                    <a:pt x="466" y="185"/>
                  </a:lnTo>
                  <a:lnTo>
                    <a:pt x="466" y="183"/>
                  </a:lnTo>
                  <a:lnTo>
                    <a:pt x="466" y="180"/>
                  </a:lnTo>
                  <a:lnTo>
                    <a:pt x="469" y="180"/>
                  </a:lnTo>
                  <a:lnTo>
                    <a:pt x="471" y="175"/>
                  </a:lnTo>
                  <a:lnTo>
                    <a:pt x="473" y="175"/>
                  </a:lnTo>
                  <a:lnTo>
                    <a:pt x="476" y="175"/>
                  </a:lnTo>
                  <a:lnTo>
                    <a:pt x="478" y="175"/>
                  </a:lnTo>
                  <a:lnTo>
                    <a:pt x="480" y="175"/>
                  </a:lnTo>
                  <a:lnTo>
                    <a:pt x="483" y="178"/>
                  </a:lnTo>
                  <a:lnTo>
                    <a:pt x="483" y="180"/>
                  </a:lnTo>
                  <a:lnTo>
                    <a:pt x="483" y="183"/>
                  </a:lnTo>
                  <a:lnTo>
                    <a:pt x="480" y="185"/>
                  </a:lnTo>
                  <a:lnTo>
                    <a:pt x="480" y="187"/>
                  </a:lnTo>
                  <a:lnTo>
                    <a:pt x="478" y="190"/>
                  </a:lnTo>
                  <a:lnTo>
                    <a:pt x="478" y="192"/>
                  </a:lnTo>
                  <a:lnTo>
                    <a:pt x="478" y="192"/>
                  </a:lnTo>
                  <a:lnTo>
                    <a:pt x="478" y="194"/>
                  </a:lnTo>
                  <a:lnTo>
                    <a:pt x="485" y="201"/>
                  </a:lnTo>
                  <a:lnTo>
                    <a:pt x="487" y="204"/>
                  </a:lnTo>
                  <a:lnTo>
                    <a:pt x="490" y="204"/>
                  </a:lnTo>
                  <a:lnTo>
                    <a:pt x="492" y="206"/>
                  </a:lnTo>
                  <a:lnTo>
                    <a:pt x="490" y="206"/>
                  </a:lnTo>
                  <a:lnTo>
                    <a:pt x="490" y="209"/>
                  </a:lnTo>
                  <a:lnTo>
                    <a:pt x="490" y="209"/>
                  </a:lnTo>
                  <a:lnTo>
                    <a:pt x="490" y="209"/>
                  </a:lnTo>
                  <a:lnTo>
                    <a:pt x="487" y="216"/>
                  </a:lnTo>
                  <a:lnTo>
                    <a:pt x="487" y="218"/>
                  </a:lnTo>
                  <a:lnTo>
                    <a:pt x="490" y="220"/>
                  </a:lnTo>
                  <a:lnTo>
                    <a:pt x="490" y="220"/>
                  </a:lnTo>
                  <a:lnTo>
                    <a:pt x="492" y="220"/>
                  </a:lnTo>
                  <a:lnTo>
                    <a:pt x="497" y="220"/>
                  </a:lnTo>
                  <a:lnTo>
                    <a:pt x="499" y="220"/>
                  </a:lnTo>
                  <a:lnTo>
                    <a:pt x="499" y="220"/>
                  </a:lnTo>
                  <a:lnTo>
                    <a:pt x="499" y="218"/>
                  </a:lnTo>
                  <a:lnTo>
                    <a:pt x="499" y="216"/>
                  </a:lnTo>
                  <a:lnTo>
                    <a:pt x="499" y="216"/>
                  </a:lnTo>
                  <a:lnTo>
                    <a:pt x="502" y="213"/>
                  </a:lnTo>
                  <a:lnTo>
                    <a:pt x="506" y="213"/>
                  </a:lnTo>
                  <a:lnTo>
                    <a:pt x="509" y="211"/>
                  </a:lnTo>
                  <a:lnTo>
                    <a:pt x="511" y="213"/>
                  </a:lnTo>
                  <a:lnTo>
                    <a:pt x="511" y="211"/>
                  </a:lnTo>
                  <a:lnTo>
                    <a:pt x="511" y="211"/>
                  </a:lnTo>
                  <a:lnTo>
                    <a:pt x="511" y="211"/>
                  </a:lnTo>
                  <a:lnTo>
                    <a:pt x="513" y="211"/>
                  </a:lnTo>
                  <a:lnTo>
                    <a:pt x="513" y="211"/>
                  </a:lnTo>
                  <a:lnTo>
                    <a:pt x="516" y="211"/>
                  </a:lnTo>
                  <a:lnTo>
                    <a:pt x="516" y="209"/>
                  </a:lnTo>
                  <a:lnTo>
                    <a:pt x="516" y="206"/>
                  </a:lnTo>
                  <a:lnTo>
                    <a:pt x="513" y="206"/>
                  </a:lnTo>
                  <a:lnTo>
                    <a:pt x="513" y="204"/>
                  </a:lnTo>
                  <a:lnTo>
                    <a:pt x="513" y="204"/>
                  </a:lnTo>
                  <a:lnTo>
                    <a:pt x="513" y="204"/>
                  </a:lnTo>
                  <a:lnTo>
                    <a:pt x="511" y="206"/>
                  </a:lnTo>
                  <a:lnTo>
                    <a:pt x="511" y="204"/>
                  </a:lnTo>
                  <a:lnTo>
                    <a:pt x="511" y="204"/>
                  </a:lnTo>
                  <a:lnTo>
                    <a:pt x="509" y="204"/>
                  </a:lnTo>
                  <a:lnTo>
                    <a:pt x="509" y="201"/>
                  </a:lnTo>
                  <a:lnTo>
                    <a:pt x="509" y="201"/>
                  </a:lnTo>
                  <a:lnTo>
                    <a:pt x="509" y="199"/>
                  </a:lnTo>
                  <a:lnTo>
                    <a:pt x="506" y="197"/>
                  </a:lnTo>
                  <a:lnTo>
                    <a:pt x="506" y="197"/>
                  </a:lnTo>
                  <a:lnTo>
                    <a:pt x="504" y="197"/>
                  </a:lnTo>
                  <a:lnTo>
                    <a:pt x="504" y="197"/>
                  </a:lnTo>
                  <a:lnTo>
                    <a:pt x="504" y="194"/>
                  </a:lnTo>
                  <a:lnTo>
                    <a:pt x="504" y="194"/>
                  </a:lnTo>
                  <a:lnTo>
                    <a:pt x="504" y="194"/>
                  </a:lnTo>
                  <a:lnTo>
                    <a:pt x="504" y="190"/>
                  </a:lnTo>
                  <a:lnTo>
                    <a:pt x="504" y="187"/>
                  </a:lnTo>
                  <a:lnTo>
                    <a:pt x="506" y="187"/>
                  </a:lnTo>
                  <a:lnTo>
                    <a:pt x="506" y="185"/>
                  </a:lnTo>
                  <a:lnTo>
                    <a:pt x="504" y="183"/>
                  </a:lnTo>
                  <a:lnTo>
                    <a:pt x="504" y="183"/>
                  </a:lnTo>
                  <a:lnTo>
                    <a:pt x="504" y="180"/>
                  </a:lnTo>
                  <a:lnTo>
                    <a:pt x="504" y="180"/>
                  </a:lnTo>
                  <a:lnTo>
                    <a:pt x="502" y="178"/>
                  </a:lnTo>
                  <a:lnTo>
                    <a:pt x="499" y="175"/>
                  </a:lnTo>
                  <a:lnTo>
                    <a:pt x="499" y="173"/>
                  </a:lnTo>
                  <a:lnTo>
                    <a:pt x="497" y="168"/>
                  </a:lnTo>
                  <a:lnTo>
                    <a:pt x="494" y="166"/>
                  </a:lnTo>
                  <a:lnTo>
                    <a:pt x="494" y="166"/>
                  </a:lnTo>
                  <a:lnTo>
                    <a:pt x="492" y="164"/>
                  </a:lnTo>
                  <a:lnTo>
                    <a:pt x="492" y="164"/>
                  </a:lnTo>
                  <a:lnTo>
                    <a:pt x="490" y="161"/>
                  </a:lnTo>
                  <a:lnTo>
                    <a:pt x="487" y="161"/>
                  </a:lnTo>
                  <a:lnTo>
                    <a:pt x="487" y="159"/>
                  </a:lnTo>
                  <a:lnTo>
                    <a:pt x="487" y="159"/>
                  </a:lnTo>
                  <a:lnTo>
                    <a:pt x="487" y="157"/>
                  </a:lnTo>
                  <a:lnTo>
                    <a:pt x="490" y="159"/>
                  </a:lnTo>
                  <a:lnTo>
                    <a:pt x="492" y="159"/>
                  </a:lnTo>
                  <a:lnTo>
                    <a:pt x="492" y="159"/>
                  </a:lnTo>
                  <a:lnTo>
                    <a:pt x="494" y="159"/>
                  </a:lnTo>
                  <a:lnTo>
                    <a:pt x="494" y="157"/>
                  </a:lnTo>
                  <a:lnTo>
                    <a:pt x="497" y="154"/>
                  </a:lnTo>
                  <a:lnTo>
                    <a:pt x="502" y="152"/>
                  </a:lnTo>
                  <a:lnTo>
                    <a:pt x="504" y="152"/>
                  </a:lnTo>
                  <a:lnTo>
                    <a:pt x="506" y="149"/>
                  </a:lnTo>
                  <a:lnTo>
                    <a:pt x="509" y="147"/>
                  </a:lnTo>
                  <a:lnTo>
                    <a:pt x="511" y="145"/>
                  </a:lnTo>
                  <a:lnTo>
                    <a:pt x="513" y="142"/>
                  </a:lnTo>
                  <a:lnTo>
                    <a:pt x="516" y="140"/>
                  </a:lnTo>
                  <a:lnTo>
                    <a:pt x="516" y="138"/>
                  </a:lnTo>
                  <a:lnTo>
                    <a:pt x="516" y="138"/>
                  </a:lnTo>
                  <a:lnTo>
                    <a:pt x="520" y="138"/>
                  </a:lnTo>
                  <a:lnTo>
                    <a:pt x="520" y="138"/>
                  </a:lnTo>
                  <a:lnTo>
                    <a:pt x="523" y="140"/>
                  </a:lnTo>
                  <a:lnTo>
                    <a:pt x="525" y="140"/>
                  </a:lnTo>
                  <a:lnTo>
                    <a:pt x="525" y="140"/>
                  </a:lnTo>
                  <a:lnTo>
                    <a:pt x="525" y="140"/>
                  </a:lnTo>
                  <a:lnTo>
                    <a:pt x="527" y="135"/>
                  </a:lnTo>
                  <a:lnTo>
                    <a:pt x="527" y="133"/>
                  </a:lnTo>
                  <a:lnTo>
                    <a:pt x="525" y="133"/>
                  </a:lnTo>
                  <a:lnTo>
                    <a:pt x="523" y="130"/>
                  </a:lnTo>
                  <a:lnTo>
                    <a:pt x="523" y="130"/>
                  </a:lnTo>
                  <a:lnTo>
                    <a:pt x="518" y="130"/>
                  </a:lnTo>
                  <a:lnTo>
                    <a:pt x="516" y="133"/>
                  </a:lnTo>
                  <a:lnTo>
                    <a:pt x="516" y="133"/>
                  </a:lnTo>
                  <a:lnTo>
                    <a:pt x="516" y="133"/>
                  </a:lnTo>
                  <a:lnTo>
                    <a:pt x="516" y="133"/>
                  </a:lnTo>
                  <a:lnTo>
                    <a:pt x="516" y="135"/>
                  </a:lnTo>
                  <a:lnTo>
                    <a:pt x="513" y="135"/>
                  </a:lnTo>
                  <a:lnTo>
                    <a:pt x="511" y="135"/>
                  </a:lnTo>
                  <a:lnTo>
                    <a:pt x="506" y="135"/>
                  </a:lnTo>
                  <a:lnTo>
                    <a:pt x="504" y="135"/>
                  </a:lnTo>
                  <a:lnTo>
                    <a:pt x="502" y="138"/>
                  </a:lnTo>
                  <a:lnTo>
                    <a:pt x="502" y="138"/>
                  </a:lnTo>
                  <a:lnTo>
                    <a:pt x="499" y="138"/>
                  </a:lnTo>
                  <a:lnTo>
                    <a:pt x="497" y="138"/>
                  </a:lnTo>
                  <a:lnTo>
                    <a:pt x="494" y="138"/>
                  </a:lnTo>
                  <a:lnTo>
                    <a:pt x="494" y="138"/>
                  </a:lnTo>
                  <a:lnTo>
                    <a:pt x="492" y="138"/>
                  </a:lnTo>
                  <a:lnTo>
                    <a:pt x="492" y="135"/>
                  </a:lnTo>
                  <a:lnTo>
                    <a:pt x="492" y="138"/>
                  </a:lnTo>
                  <a:lnTo>
                    <a:pt x="490" y="138"/>
                  </a:lnTo>
                  <a:lnTo>
                    <a:pt x="487" y="142"/>
                  </a:lnTo>
                  <a:lnTo>
                    <a:pt x="485" y="145"/>
                  </a:lnTo>
                  <a:lnTo>
                    <a:pt x="485" y="147"/>
                  </a:lnTo>
                  <a:lnTo>
                    <a:pt x="483" y="149"/>
                  </a:lnTo>
                  <a:lnTo>
                    <a:pt x="480" y="147"/>
                  </a:lnTo>
                  <a:lnTo>
                    <a:pt x="478" y="147"/>
                  </a:lnTo>
                  <a:lnTo>
                    <a:pt x="476" y="147"/>
                  </a:lnTo>
                  <a:lnTo>
                    <a:pt x="476" y="147"/>
                  </a:lnTo>
                  <a:lnTo>
                    <a:pt x="473" y="145"/>
                  </a:lnTo>
                  <a:lnTo>
                    <a:pt x="473" y="140"/>
                  </a:lnTo>
                  <a:lnTo>
                    <a:pt x="471" y="140"/>
                  </a:lnTo>
                  <a:lnTo>
                    <a:pt x="469" y="138"/>
                  </a:lnTo>
                  <a:lnTo>
                    <a:pt x="466" y="138"/>
                  </a:lnTo>
                  <a:lnTo>
                    <a:pt x="464" y="133"/>
                  </a:lnTo>
                  <a:lnTo>
                    <a:pt x="464" y="130"/>
                  </a:lnTo>
                  <a:lnTo>
                    <a:pt x="464" y="128"/>
                  </a:lnTo>
                  <a:lnTo>
                    <a:pt x="464" y="126"/>
                  </a:lnTo>
                  <a:lnTo>
                    <a:pt x="464" y="123"/>
                  </a:lnTo>
                  <a:lnTo>
                    <a:pt x="464" y="121"/>
                  </a:lnTo>
                  <a:lnTo>
                    <a:pt x="464" y="119"/>
                  </a:lnTo>
                  <a:lnTo>
                    <a:pt x="466" y="116"/>
                  </a:lnTo>
                  <a:lnTo>
                    <a:pt x="466" y="114"/>
                  </a:lnTo>
                  <a:lnTo>
                    <a:pt x="469" y="109"/>
                  </a:lnTo>
                  <a:lnTo>
                    <a:pt x="469" y="109"/>
                  </a:lnTo>
                  <a:lnTo>
                    <a:pt x="471" y="107"/>
                  </a:lnTo>
                  <a:lnTo>
                    <a:pt x="473" y="107"/>
                  </a:lnTo>
                  <a:lnTo>
                    <a:pt x="476" y="107"/>
                  </a:lnTo>
                  <a:lnTo>
                    <a:pt x="480" y="109"/>
                  </a:lnTo>
                  <a:lnTo>
                    <a:pt x="483" y="109"/>
                  </a:lnTo>
                  <a:lnTo>
                    <a:pt x="490" y="109"/>
                  </a:lnTo>
                  <a:lnTo>
                    <a:pt x="492" y="109"/>
                  </a:lnTo>
                  <a:lnTo>
                    <a:pt x="492" y="109"/>
                  </a:lnTo>
                  <a:lnTo>
                    <a:pt x="494" y="109"/>
                  </a:lnTo>
                  <a:lnTo>
                    <a:pt x="497" y="109"/>
                  </a:lnTo>
                  <a:lnTo>
                    <a:pt x="502" y="109"/>
                  </a:lnTo>
                  <a:lnTo>
                    <a:pt x="506" y="109"/>
                  </a:lnTo>
                  <a:lnTo>
                    <a:pt x="518" y="109"/>
                  </a:lnTo>
                  <a:lnTo>
                    <a:pt x="518" y="109"/>
                  </a:lnTo>
                  <a:lnTo>
                    <a:pt x="520" y="109"/>
                  </a:lnTo>
                  <a:lnTo>
                    <a:pt x="523" y="109"/>
                  </a:lnTo>
                  <a:lnTo>
                    <a:pt x="523" y="112"/>
                  </a:lnTo>
                  <a:lnTo>
                    <a:pt x="525" y="112"/>
                  </a:lnTo>
                  <a:lnTo>
                    <a:pt x="527" y="112"/>
                  </a:lnTo>
                  <a:lnTo>
                    <a:pt x="530" y="112"/>
                  </a:lnTo>
                  <a:lnTo>
                    <a:pt x="532" y="112"/>
                  </a:lnTo>
                  <a:lnTo>
                    <a:pt x="539" y="112"/>
                  </a:lnTo>
                  <a:lnTo>
                    <a:pt x="542" y="112"/>
                  </a:lnTo>
                  <a:lnTo>
                    <a:pt x="542" y="109"/>
                  </a:lnTo>
                  <a:lnTo>
                    <a:pt x="544" y="109"/>
                  </a:lnTo>
                  <a:lnTo>
                    <a:pt x="546" y="109"/>
                  </a:lnTo>
                  <a:lnTo>
                    <a:pt x="546" y="107"/>
                  </a:lnTo>
                  <a:lnTo>
                    <a:pt x="549" y="104"/>
                  </a:lnTo>
                  <a:lnTo>
                    <a:pt x="549" y="102"/>
                  </a:lnTo>
                  <a:lnTo>
                    <a:pt x="551" y="102"/>
                  </a:lnTo>
                  <a:lnTo>
                    <a:pt x="553" y="97"/>
                  </a:lnTo>
                  <a:lnTo>
                    <a:pt x="556" y="95"/>
                  </a:lnTo>
                  <a:lnTo>
                    <a:pt x="556" y="93"/>
                  </a:lnTo>
                  <a:lnTo>
                    <a:pt x="558" y="90"/>
                  </a:lnTo>
                  <a:lnTo>
                    <a:pt x="558" y="88"/>
                  </a:lnTo>
                  <a:lnTo>
                    <a:pt x="560" y="88"/>
                  </a:lnTo>
                  <a:lnTo>
                    <a:pt x="560" y="88"/>
                  </a:lnTo>
                  <a:lnTo>
                    <a:pt x="558" y="83"/>
                  </a:lnTo>
                  <a:lnTo>
                    <a:pt x="558" y="83"/>
                  </a:lnTo>
                  <a:lnTo>
                    <a:pt x="556" y="83"/>
                  </a:lnTo>
                  <a:lnTo>
                    <a:pt x="553" y="83"/>
                  </a:lnTo>
                  <a:lnTo>
                    <a:pt x="553" y="86"/>
                  </a:lnTo>
                  <a:lnTo>
                    <a:pt x="551" y="88"/>
                  </a:lnTo>
                  <a:lnTo>
                    <a:pt x="551" y="88"/>
                  </a:lnTo>
                  <a:lnTo>
                    <a:pt x="549" y="88"/>
                  </a:lnTo>
                  <a:lnTo>
                    <a:pt x="549" y="90"/>
                  </a:lnTo>
                  <a:lnTo>
                    <a:pt x="549" y="90"/>
                  </a:lnTo>
                  <a:lnTo>
                    <a:pt x="546" y="93"/>
                  </a:lnTo>
                  <a:lnTo>
                    <a:pt x="544" y="93"/>
                  </a:lnTo>
                  <a:lnTo>
                    <a:pt x="542" y="97"/>
                  </a:lnTo>
                  <a:lnTo>
                    <a:pt x="537" y="100"/>
                  </a:lnTo>
                  <a:lnTo>
                    <a:pt x="535" y="102"/>
                  </a:lnTo>
                  <a:lnTo>
                    <a:pt x="523" y="100"/>
                  </a:lnTo>
                  <a:lnTo>
                    <a:pt x="520" y="100"/>
                  </a:lnTo>
                  <a:lnTo>
                    <a:pt x="518" y="100"/>
                  </a:lnTo>
                  <a:lnTo>
                    <a:pt x="518" y="100"/>
                  </a:lnTo>
                  <a:lnTo>
                    <a:pt x="516" y="100"/>
                  </a:lnTo>
                  <a:lnTo>
                    <a:pt x="516" y="100"/>
                  </a:lnTo>
                  <a:lnTo>
                    <a:pt x="516" y="100"/>
                  </a:lnTo>
                  <a:lnTo>
                    <a:pt x="513" y="100"/>
                  </a:lnTo>
                  <a:lnTo>
                    <a:pt x="511" y="97"/>
                  </a:lnTo>
                  <a:lnTo>
                    <a:pt x="509" y="97"/>
                  </a:lnTo>
                  <a:lnTo>
                    <a:pt x="502" y="97"/>
                  </a:lnTo>
                  <a:lnTo>
                    <a:pt x="497" y="95"/>
                  </a:lnTo>
                  <a:lnTo>
                    <a:pt x="492" y="95"/>
                  </a:lnTo>
                  <a:lnTo>
                    <a:pt x="492" y="95"/>
                  </a:lnTo>
                  <a:lnTo>
                    <a:pt x="490" y="95"/>
                  </a:lnTo>
                  <a:lnTo>
                    <a:pt x="490" y="95"/>
                  </a:lnTo>
                  <a:lnTo>
                    <a:pt x="490" y="93"/>
                  </a:lnTo>
                  <a:lnTo>
                    <a:pt x="490" y="93"/>
                  </a:lnTo>
                  <a:lnTo>
                    <a:pt x="487" y="93"/>
                  </a:lnTo>
                  <a:lnTo>
                    <a:pt x="487" y="93"/>
                  </a:lnTo>
                  <a:lnTo>
                    <a:pt x="485" y="93"/>
                  </a:lnTo>
                  <a:lnTo>
                    <a:pt x="483" y="90"/>
                  </a:lnTo>
                  <a:lnTo>
                    <a:pt x="483" y="90"/>
                  </a:lnTo>
                  <a:lnTo>
                    <a:pt x="480" y="90"/>
                  </a:lnTo>
                  <a:lnTo>
                    <a:pt x="480" y="93"/>
                  </a:lnTo>
                  <a:lnTo>
                    <a:pt x="478" y="93"/>
                  </a:lnTo>
                  <a:lnTo>
                    <a:pt x="478" y="95"/>
                  </a:lnTo>
                  <a:lnTo>
                    <a:pt x="478" y="97"/>
                  </a:lnTo>
                  <a:lnTo>
                    <a:pt x="476" y="97"/>
                  </a:lnTo>
                  <a:lnTo>
                    <a:pt x="476" y="100"/>
                  </a:lnTo>
                  <a:lnTo>
                    <a:pt x="476" y="100"/>
                  </a:lnTo>
                  <a:lnTo>
                    <a:pt x="473" y="100"/>
                  </a:lnTo>
                  <a:lnTo>
                    <a:pt x="473" y="102"/>
                  </a:lnTo>
                  <a:lnTo>
                    <a:pt x="471" y="100"/>
                  </a:lnTo>
                  <a:lnTo>
                    <a:pt x="469" y="100"/>
                  </a:lnTo>
                  <a:lnTo>
                    <a:pt x="469" y="97"/>
                  </a:lnTo>
                  <a:lnTo>
                    <a:pt x="469" y="97"/>
                  </a:lnTo>
                  <a:lnTo>
                    <a:pt x="469" y="97"/>
                  </a:lnTo>
                  <a:lnTo>
                    <a:pt x="466" y="100"/>
                  </a:lnTo>
                  <a:lnTo>
                    <a:pt x="466" y="102"/>
                  </a:lnTo>
                  <a:lnTo>
                    <a:pt x="464" y="102"/>
                  </a:lnTo>
                  <a:lnTo>
                    <a:pt x="464" y="104"/>
                  </a:lnTo>
                  <a:lnTo>
                    <a:pt x="464" y="107"/>
                  </a:lnTo>
                  <a:lnTo>
                    <a:pt x="464" y="107"/>
                  </a:lnTo>
                  <a:lnTo>
                    <a:pt x="461" y="109"/>
                  </a:lnTo>
                  <a:lnTo>
                    <a:pt x="459" y="114"/>
                  </a:lnTo>
                  <a:lnTo>
                    <a:pt x="459" y="114"/>
                  </a:lnTo>
                  <a:lnTo>
                    <a:pt x="461" y="119"/>
                  </a:lnTo>
                  <a:lnTo>
                    <a:pt x="459" y="119"/>
                  </a:lnTo>
                  <a:lnTo>
                    <a:pt x="459" y="121"/>
                  </a:lnTo>
                  <a:lnTo>
                    <a:pt x="459" y="119"/>
                  </a:lnTo>
                  <a:lnTo>
                    <a:pt x="457" y="121"/>
                  </a:lnTo>
                  <a:lnTo>
                    <a:pt x="459" y="128"/>
                  </a:lnTo>
                  <a:lnTo>
                    <a:pt x="459" y="133"/>
                  </a:lnTo>
                  <a:lnTo>
                    <a:pt x="459" y="135"/>
                  </a:lnTo>
                  <a:lnTo>
                    <a:pt x="459" y="138"/>
                  </a:lnTo>
                  <a:lnTo>
                    <a:pt x="459" y="135"/>
                  </a:lnTo>
                  <a:lnTo>
                    <a:pt x="457" y="133"/>
                  </a:lnTo>
                  <a:lnTo>
                    <a:pt x="457" y="135"/>
                  </a:lnTo>
                  <a:lnTo>
                    <a:pt x="454" y="138"/>
                  </a:lnTo>
                  <a:lnTo>
                    <a:pt x="450" y="145"/>
                  </a:lnTo>
                  <a:lnTo>
                    <a:pt x="450" y="149"/>
                  </a:lnTo>
                  <a:lnTo>
                    <a:pt x="450" y="149"/>
                  </a:lnTo>
                  <a:lnTo>
                    <a:pt x="450" y="152"/>
                  </a:lnTo>
                  <a:lnTo>
                    <a:pt x="450" y="154"/>
                  </a:lnTo>
                  <a:lnTo>
                    <a:pt x="450" y="157"/>
                  </a:lnTo>
                  <a:lnTo>
                    <a:pt x="450" y="159"/>
                  </a:lnTo>
                  <a:lnTo>
                    <a:pt x="447" y="161"/>
                  </a:lnTo>
                  <a:lnTo>
                    <a:pt x="447" y="164"/>
                  </a:lnTo>
                  <a:lnTo>
                    <a:pt x="447" y="166"/>
                  </a:lnTo>
                  <a:lnTo>
                    <a:pt x="445" y="168"/>
                  </a:lnTo>
                  <a:lnTo>
                    <a:pt x="445" y="171"/>
                  </a:lnTo>
                  <a:lnTo>
                    <a:pt x="443" y="173"/>
                  </a:lnTo>
                  <a:lnTo>
                    <a:pt x="443" y="175"/>
                  </a:lnTo>
                  <a:close/>
                  <a:moveTo>
                    <a:pt x="120" y="83"/>
                  </a:moveTo>
                  <a:lnTo>
                    <a:pt x="120" y="83"/>
                  </a:lnTo>
                  <a:lnTo>
                    <a:pt x="122" y="81"/>
                  </a:lnTo>
                  <a:lnTo>
                    <a:pt x="122" y="78"/>
                  </a:lnTo>
                  <a:lnTo>
                    <a:pt x="124" y="78"/>
                  </a:lnTo>
                  <a:lnTo>
                    <a:pt x="124" y="76"/>
                  </a:lnTo>
                  <a:lnTo>
                    <a:pt x="122" y="74"/>
                  </a:lnTo>
                  <a:lnTo>
                    <a:pt x="122" y="74"/>
                  </a:lnTo>
                  <a:lnTo>
                    <a:pt x="120" y="76"/>
                  </a:lnTo>
                  <a:lnTo>
                    <a:pt x="117" y="76"/>
                  </a:lnTo>
                  <a:lnTo>
                    <a:pt x="117" y="76"/>
                  </a:lnTo>
                  <a:lnTo>
                    <a:pt x="117" y="78"/>
                  </a:lnTo>
                  <a:lnTo>
                    <a:pt x="117" y="81"/>
                  </a:lnTo>
                  <a:lnTo>
                    <a:pt x="120" y="83"/>
                  </a:lnTo>
                  <a:close/>
                  <a:moveTo>
                    <a:pt x="601" y="95"/>
                  </a:moveTo>
                  <a:lnTo>
                    <a:pt x="603" y="100"/>
                  </a:lnTo>
                  <a:lnTo>
                    <a:pt x="605" y="100"/>
                  </a:lnTo>
                  <a:lnTo>
                    <a:pt x="605" y="102"/>
                  </a:lnTo>
                  <a:lnTo>
                    <a:pt x="603" y="102"/>
                  </a:lnTo>
                  <a:lnTo>
                    <a:pt x="603" y="104"/>
                  </a:lnTo>
                  <a:lnTo>
                    <a:pt x="603" y="107"/>
                  </a:lnTo>
                  <a:lnTo>
                    <a:pt x="603" y="109"/>
                  </a:lnTo>
                  <a:lnTo>
                    <a:pt x="605" y="112"/>
                  </a:lnTo>
                  <a:lnTo>
                    <a:pt x="605" y="112"/>
                  </a:lnTo>
                  <a:lnTo>
                    <a:pt x="605" y="112"/>
                  </a:lnTo>
                  <a:lnTo>
                    <a:pt x="605" y="116"/>
                  </a:lnTo>
                  <a:lnTo>
                    <a:pt x="605" y="119"/>
                  </a:lnTo>
                  <a:lnTo>
                    <a:pt x="605" y="121"/>
                  </a:lnTo>
                  <a:lnTo>
                    <a:pt x="605" y="121"/>
                  </a:lnTo>
                  <a:lnTo>
                    <a:pt x="605" y="123"/>
                  </a:lnTo>
                  <a:lnTo>
                    <a:pt x="608" y="126"/>
                  </a:lnTo>
                  <a:lnTo>
                    <a:pt x="610" y="126"/>
                  </a:lnTo>
                  <a:lnTo>
                    <a:pt x="610" y="128"/>
                  </a:lnTo>
                  <a:lnTo>
                    <a:pt x="612" y="133"/>
                  </a:lnTo>
                  <a:lnTo>
                    <a:pt x="612" y="133"/>
                  </a:lnTo>
                  <a:lnTo>
                    <a:pt x="617" y="135"/>
                  </a:lnTo>
                  <a:lnTo>
                    <a:pt x="617" y="138"/>
                  </a:lnTo>
                  <a:lnTo>
                    <a:pt x="619" y="138"/>
                  </a:lnTo>
                  <a:lnTo>
                    <a:pt x="617" y="135"/>
                  </a:lnTo>
                  <a:lnTo>
                    <a:pt x="617" y="135"/>
                  </a:lnTo>
                  <a:lnTo>
                    <a:pt x="612" y="128"/>
                  </a:lnTo>
                  <a:lnTo>
                    <a:pt x="612" y="123"/>
                  </a:lnTo>
                  <a:lnTo>
                    <a:pt x="610" y="119"/>
                  </a:lnTo>
                  <a:lnTo>
                    <a:pt x="610" y="116"/>
                  </a:lnTo>
                  <a:lnTo>
                    <a:pt x="610" y="114"/>
                  </a:lnTo>
                  <a:lnTo>
                    <a:pt x="610" y="112"/>
                  </a:lnTo>
                  <a:lnTo>
                    <a:pt x="610" y="112"/>
                  </a:lnTo>
                  <a:lnTo>
                    <a:pt x="610" y="109"/>
                  </a:lnTo>
                  <a:lnTo>
                    <a:pt x="612" y="109"/>
                  </a:lnTo>
                  <a:lnTo>
                    <a:pt x="615" y="109"/>
                  </a:lnTo>
                  <a:lnTo>
                    <a:pt x="615" y="109"/>
                  </a:lnTo>
                  <a:lnTo>
                    <a:pt x="617" y="109"/>
                  </a:lnTo>
                  <a:lnTo>
                    <a:pt x="619" y="112"/>
                  </a:lnTo>
                  <a:lnTo>
                    <a:pt x="622" y="112"/>
                  </a:lnTo>
                  <a:lnTo>
                    <a:pt x="629" y="114"/>
                  </a:lnTo>
                  <a:lnTo>
                    <a:pt x="629" y="114"/>
                  </a:lnTo>
                  <a:lnTo>
                    <a:pt x="626" y="112"/>
                  </a:lnTo>
                  <a:lnTo>
                    <a:pt x="626" y="112"/>
                  </a:lnTo>
                  <a:lnTo>
                    <a:pt x="624" y="112"/>
                  </a:lnTo>
                  <a:lnTo>
                    <a:pt x="624" y="109"/>
                  </a:lnTo>
                  <a:lnTo>
                    <a:pt x="624" y="107"/>
                  </a:lnTo>
                  <a:lnTo>
                    <a:pt x="624" y="107"/>
                  </a:lnTo>
                  <a:lnTo>
                    <a:pt x="619" y="104"/>
                  </a:lnTo>
                  <a:lnTo>
                    <a:pt x="617" y="102"/>
                  </a:lnTo>
                  <a:lnTo>
                    <a:pt x="617" y="102"/>
                  </a:lnTo>
                  <a:lnTo>
                    <a:pt x="617" y="100"/>
                  </a:lnTo>
                  <a:lnTo>
                    <a:pt x="617" y="100"/>
                  </a:lnTo>
                  <a:lnTo>
                    <a:pt x="622" y="97"/>
                  </a:lnTo>
                  <a:lnTo>
                    <a:pt x="624" y="95"/>
                  </a:lnTo>
                  <a:lnTo>
                    <a:pt x="624" y="95"/>
                  </a:lnTo>
                  <a:lnTo>
                    <a:pt x="624" y="90"/>
                  </a:lnTo>
                  <a:lnTo>
                    <a:pt x="624" y="88"/>
                  </a:lnTo>
                  <a:lnTo>
                    <a:pt x="624" y="86"/>
                  </a:lnTo>
                  <a:lnTo>
                    <a:pt x="624" y="86"/>
                  </a:lnTo>
                  <a:lnTo>
                    <a:pt x="622" y="86"/>
                  </a:lnTo>
                  <a:lnTo>
                    <a:pt x="619" y="86"/>
                  </a:lnTo>
                  <a:lnTo>
                    <a:pt x="615" y="90"/>
                  </a:lnTo>
                  <a:lnTo>
                    <a:pt x="615" y="90"/>
                  </a:lnTo>
                  <a:lnTo>
                    <a:pt x="615" y="93"/>
                  </a:lnTo>
                  <a:lnTo>
                    <a:pt x="615" y="95"/>
                  </a:lnTo>
                  <a:lnTo>
                    <a:pt x="615" y="95"/>
                  </a:lnTo>
                  <a:lnTo>
                    <a:pt x="612" y="95"/>
                  </a:lnTo>
                  <a:lnTo>
                    <a:pt x="610" y="97"/>
                  </a:lnTo>
                  <a:lnTo>
                    <a:pt x="610" y="100"/>
                  </a:lnTo>
                  <a:lnTo>
                    <a:pt x="610" y="100"/>
                  </a:lnTo>
                  <a:lnTo>
                    <a:pt x="610" y="102"/>
                  </a:lnTo>
                  <a:lnTo>
                    <a:pt x="608" y="102"/>
                  </a:lnTo>
                  <a:lnTo>
                    <a:pt x="608" y="100"/>
                  </a:lnTo>
                  <a:lnTo>
                    <a:pt x="605" y="100"/>
                  </a:lnTo>
                  <a:lnTo>
                    <a:pt x="605" y="100"/>
                  </a:lnTo>
                  <a:lnTo>
                    <a:pt x="605" y="97"/>
                  </a:lnTo>
                  <a:lnTo>
                    <a:pt x="605" y="97"/>
                  </a:lnTo>
                  <a:lnTo>
                    <a:pt x="610" y="95"/>
                  </a:lnTo>
                  <a:lnTo>
                    <a:pt x="612" y="93"/>
                  </a:lnTo>
                  <a:lnTo>
                    <a:pt x="612" y="90"/>
                  </a:lnTo>
                  <a:lnTo>
                    <a:pt x="612" y="88"/>
                  </a:lnTo>
                  <a:lnTo>
                    <a:pt x="612" y="86"/>
                  </a:lnTo>
                  <a:lnTo>
                    <a:pt x="612" y="83"/>
                  </a:lnTo>
                  <a:lnTo>
                    <a:pt x="610" y="81"/>
                  </a:lnTo>
                  <a:lnTo>
                    <a:pt x="610" y="81"/>
                  </a:lnTo>
                  <a:lnTo>
                    <a:pt x="610" y="78"/>
                  </a:lnTo>
                  <a:lnTo>
                    <a:pt x="610" y="78"/>
                  </a:lnTo>
                  <a:lnTo>
                    <a:pt x="612" y="74"/>
                  </a:lnTo>
                  <a:lnTo>
                    <a:pt x="612" y="74"/>
                  </a:lnTo>
                  <a:lnTo>
                    <a:pt x="612" y="71"/>
                  </a:lnTo>
                  <a:lnTo>
                    <a:pt x="610" y="74"/>
                  </a:lnTo>
                  <a:lnTo>
                    <a:pt x="610" y="74"/>
                  </a:lnTo>
                  <a:lnTo>
                    <a:pt x="605" y="76"/>
                  </a:lnTo>
                  <a:lnTo>
                    <a:pt x="605" y="81"/>
                  </a:lnTo>
                  <a:lnTo>
                    <a:pt x="603" y="83"/>
                  </a:lnTo>
                  <a:lnTo>
                    <a:pt x="603" y="83"/>
                  </a:lnTo>
                  <a:lnTo>
                    <a:pt x="603" y="86"/>
                  </a:lnTo>
                  <a:lnTo>
                    <a:pt x="603" y="88"/>
                  </a:lnTo>
                  <a:lnTo>
                    <a:pt x="601" y="93"/>
                  </a:lnTo>
                  <a:lnTo>
                    <a:pt x="601" y="95"/>
                  </a:lnTo>
                  <a:close/>
                  <a:moveTo>
                    <a:pt x="617" y="76"/>
                  </a:moveTo>
                  <a:lnTo>
                    <a:pt x="619" y="76"/>
                  </a:lnTo>
                  <a:lnTo>
                    <a:pt x="622" y="74"/>
                  </a:lnTo>
                  <a:lnTo>
                    <a:pt x="622" y="71"/>
                  </a:lnTo>
                  <a:lnTo>
                    <a:pt x="624" y="67"/>
                  </a:lnTo>
                  <a:lnTo>
                    <a:pt x="622" y="64"/>
                  </a:lnTo>
                  <a:lnTo>
                    <a:pt x="622" y="64"/>
                  </a:lnTo>
                  <a:lnTo>
                    <a:pt x="619" y="64"/>
                  </a:lnTo>
                  <a:lnTo>
                    <a:pt x="617" y="67"/>
                  </a:lnTo>
                  <a:lnTo>
                    <a:pt x="615" y="71"/>
                  </a:lnTo>
                  <a:lnTo>
                    <a:pt x="617" y="74"/>
                  </a:lnTo>
                  <a:lnTo>
                    <a:pt x="617" y="76"/>
                  </a:lnTo>
                  <a:close/>
                  <a:moveTo>
                    <a:pt x="25" y="67"/>
                  </a:moveTo>
                  <a:lnTo>
                    <a:pt x="23" y="67"/>
                  </a:lnTo>
                  <a:lnTo>
                    <a:pt x="18" y="62"/>
                  </a:lnTo>
                  <a:lnTo>
                    <a:pt x="18" y="62"/>
                  </a:lnTo>
                  <a:lnTo>
                    <a:pt x="18" y="62"/>
                  </a:lnTo>
                  <a:lnTo>
                    <a:pt x="16" y="60"/>
                  </a:lnTo>
                  <a:lnTo>
                    <a:pt x="14" y="57"/>
                  </a:lnTo>
                  <a:lnTo>
                    <a:pt x="11" y="57"/>
                  </a:lnTo>
                  <a:lnTo>
                    <a:pt x="11" y="60"/>
                  </a:lnTo>
                  <a:lnTo>
                    <a:pt x="11" y="60"/>
                  </a:lnTo>
                  <a:lnTo>
                    <a:pt x="11" y="60"/>
                  </a:lnTo>
                  <a:lnTo>
                    <a:pt x="11" y="62"/>
                  </a:lnTo>
                  <a:lnTo>
                    <a:pt x="14" y="62"/>
                  </a:lnTo>
                  <a:lnTo>
                    <a:pt x="16" y="64"/>
                  </a:lnTo>
                  <a:lnTo>
                    <a:pt x="16" y="64"/>
                  </a:lnTo>
                  <a:lnTo>
                    <a:pt x="21" y="67"/>
                  </a:lnTo>
                  <a:lnTo>
                    <a:pt x="23" y="69"/>
                  </a:lnTo>
                  <a:lnTo>
                    <a:pt x="23" y="69"/>
                  </a:lnTo>
                  <a:lnTo>
                    <a:pt x="25" y="69"/>
                  </a:lnTo>
                  <a:lnTo>
                    <a:pt x="25" y="67"/>
                  </a:lnTo>
                  <a:lnTo>
                    <a:pt x="25" y="67"/>
                  </a:lnTo>
                  <a:close/>
                  <a:moveTo>
                    <a:pt x="417" y="48"/>
                  </a:moveTo>
                  <a:lnTo>
                    <a:pt x="417" y="48"/>
                  </a:lnTo>
                  <a:lnTo>
                    <a:pt x="417" y="50"/>
                  </a:lnTo>
                  <a:lnTo>
                    <a:pt x="419" y="50"/>
                  </a:lnTo>
                  <a:lnTo>
                    <a:pt x="419" y="48"/>
                  </a:lnTo>
                  <a:lnTo>
                    <a:pt x="417" y="45"/>
                  </a:lnTo>
                  <a:lnTo>
                    <a:pt x="417" y="45"/>
                  </a:lnTo>
                  <a:lnTo>
                    <a:pt x="417" y="48"/>
                  </a:lnTo>
                  <a:close/>
                  <a:moveTo>
                    <a:pt x="421" y="34"/>
                  </a:moveTo>
                  <a:lnTo>
                    <a:pt x="421" y="34"/>
                  </a:lnTo>
                  <a:lnTo>
                    <a:pt x="421" y="31"/>
                  </a:lnTo>
                  <a:lnTo>
                    <a:pt x="419" y="31"/>
                  </a:lnTo>
                  <a:lnTo>
                    <a:pt x="417" y="31"/>
                  </a:lnTo>
                  <a:lnTo>
                    <a:pt x="417" y="31"/>
                  </a:lnTo>
                  <a:lnTo>
                    <a:pt x="419" y="34"/>
                  </a:lnTo>
                  <a:lnTo>
                    <a:pt x="421" y="34"/>
                  </a:lnTo>
                  <a:close/>
                  <a:moveTo>
                    <a:pt x="256" y="112"/>
                  </a:moveTo>
                  <a:lnTo>
                    <a:pt x="259" y="114"/>
                  </a:lnTo>
                  <a:lnTo>
                    <a:pt x="261" y="116"/>
                  </a:lnTo>
                  <a:lnTo>
                    <a:pt x="261" y="116"/>
                  </a:lnTo>
                  <a:lnTo>
                    <a:pt x="263" y="116"/>
                  </a:lnTo>
                  <a:lnTo>
                    <a:pt x="263" y="119"/>
                  </a:lnTo>
                  <a:lnTo>
                    <a:pt x="263" y="119"/>
                  </a:lnTo>
                  <a:lnTo>
                    <a:pt x="261" y="119"/>
                  </a:lnTo>
                  <a:lnTo>
                    <a:pt x="261" y="121"/>
                  </a:lnTo>
                  <a:lnTo>
                    <a:pt x="261" y="123"/>
                  </a:lnTo>
                  <a:lnTo>
                    <a:pt x="261" y="123"/>
                  </a:lnTo>
                  <a:lnTo>
                    <a:pt x="261" y="128"/>
                  </a:lnTo>
                  <a:lnTo>
                    <a:pt x="261" y="128"/>
                  </a:lnTo>
                  <a:lnTo>
                    <a:pt x="261" y="128"/>
                  </a:lnTo>
                  <a:lnTo>
                    <a:pt x="263" y="130"/>
                  </a:lnTo>
                  <a:lnTo>
                    <a:pt x="266" y="133"/>
                  </a:lnTo>
                  <a:lnTo>
                    <a:pt x="266" y="133"/>
                  </a:lnTo>
                  <a:lnTo>
                    <a:pt x="263" y="133"/>
                  </a:lnTo>
                  <a:lnTo>
                    <a:pt x="263" y="135"/>
                  </a:lnTo>
                  <a:lnTo>
                    <a:pt x="263" y="135"/>
                  </a:lnTo>
                  <a:lnTo>
                    <a:pt x="263" y="138"/>
                  </a:lnTo>
                  <a:lnTo>
                    <a:pt x="263" y="138"/>
                  </a:lnTo>
                  <a:lnTo>
                    <a:pt x="266" y="138"/>
                  </a:lnTo>
                  <a:lnTo>
                    <a:pt x="271" y="138"/>
                  </a:lnTo>
                  <a:lnTo>
                    <a:pt x="273" y="140"/>
                  </a:lnTo>
                  <a:lnTo>
                    <a:pt x="275" y="142"/>
                  </a:lnTo>
                  <a:lnTo>
                    <a:pt x="275" y="145"/>
                  </a:lnTo>
                  <a:lnTo>
                    <a:pt x="278" y="145"/>
                  </a:lnTo>
                  <a:lnTo>
                    <a:pt x="278" y="149"/>
                  </a:lnTo>
                  <a:lnTo>
                    <a:pt x="278" y="152"/>
                  </a:lnTo>
                  <a:lnTo>
                    <a:pt x="278" y="154"/>
                  </a:lnTo>
                  <a:lnTo>
                    <a:pt x="275" y="157"/>
                  </a:lnTo>
                  <a:lnTo>
                    <a:pt x="275" y="159"/>
                  </a:lnTo>
                  <a:lnTo>
                    <a:pt x="278" y="159"/>
                  </a:lnTo>
                  <a:lnTo>
                    <a:pt x="278" y="161"/>
                  </a:lnTo>
                  <a:lnTo>
                    <a:pt x="278" y="166"/>
                  </a:lnTo>
                  <a:lnTo>
                    <a:pt x="280" y="175"/>
                  </a:lnTo>
                  <a:lnTo>
                    <a:pt x="280" y="180"/>
                  </a:lnTo>
                  <a:lnTo>
                    <a:pt x="280" y="183"/>
                  </a:lnTo>
                  <a:lnTo>
                    <a:pt x="282" y="183"/>
                  </a:lnTo>
                  <a:lnTo>
                    <a:pt x="282" y="180"/>
                  </a:lnTo>
                  <a:lnTo>
                    <a:pt x="282" y="180"/>
                  </a:lnTo>
                  <a:lnTo>
                    <a:pt x="287" y="180"/>
                  </a:lnTo>
                  <a:lnTo>
                    <a:pt x="289" y="183"/>
                  </a:lnTo>
                  <a:lnTo>
                    <a:pt x="289" y="183"/>
                  </a:lnTo>
                  <a:lnTo>
                    <a:pt x="289" y="183"/>
                  </a:lnTo>
                  <a:lnTo>
                    <a:pt x="292" y="180"/>
                  </a:lnTo>
                  <a:lnTo>
                    <a:pt x="292" y="180"/>
                  </a:lnTo>
                  <a:lnTo>
                    <a:pt x="292" y="180"/>
                  </a:lnTo>
                  <a:lnTo>
                    <a:pt x="292" y="183"/>
                  </a:lnTo>
                  <a:lnTo>
                    <a:pt x="292" y="183"/>
                  </a:lnTo>
                  <a:lnTo>
                    <a:pt x="294" y="183"/>
                  </a:lnTo>
                  <a:lnTo>
                    <a:pt x="296" y="183"/>
                  </a:lnTo>
                  <a:lnTo>
                    <a:pt x="299" y="180"/>
                  </a:lnTo>
                  <a:lnTo>
                    <a:pt x="301" y="180"/>
                  </a:lnTo>
                  <a:lnTo>
                    <a:pt x="304" y="183"/>
                  </a:lnTo>
                  <a:lnTo>
                    <a:pt x="306" y="183"/>
                  </a:lnTo>
                  <a:lnTo>
                    <a:pt x="306" y="180"/>
                  </a:lnTo>
                  <a:lnTo>
                    <a:pt x="308" y="180"/>
                  </a:lnTo>
                  <a:lnTo>
                    <a:pt x="308" y="180"/>
                  </a:lnTo>
                  <a:lnTo>
                    <a:pt x="311" y="183"/>
                  </a:lnTo>
                  <a:lnTo>
                    <a:pt x="311" y="183"/>
                  </a:lnTo>
                  <a:lnTo>
                    <a:pt x="311" y="190"/>
                  </a:lnTo>
                  <a:lnTo>
                    <a:pt x="311" y="192"/>
                  </a:lnTo>
                  <a:lnTo>
                    <a:pt x="308" y="194"/>
                  </a:lnTo>
                  <a:lnTo>
                    <a:pt x="311" y="194"/>
                  </a:lnTo>
                  <a:lnTo>
                    <a:pt x="311" y="194"/>
                  </a:lnTo>
                  <a:lnTo>
                    <a:pt x="313" y="194"/>
                  </a:lnTo>
                  <a:lnTo>
                    <a:pt x="315" y="190"/>
                  </a:lnTo>
                  <a:lnTo>
                    <a:pt x="318" y="190"/>
                  </a:lnTo>
                  <a:lnTo>
                    <a:pt x="320" y="190"/>
                  </a:lnTo>
                  <a:lnTo>
                    <a:pt x="325" y="190"/>
                  </a:lnTo>
                  <a:lnTo>
                    <a:pt x="327" y="190"/>
                  </a:lnTo>
                  <a:lnTo>
                    <a:pt x="332" y="185"/>
                  </a:lnTo>
                  <a:lnTo>
                    <a:pt x="332" y="180"/>
                  </a:lnTo>
                  <a:lnTo>
                    <a:pt x="339" y="187"/>
                  </a:lnTo>
                  <a:lnTo>
                    <a:pt x="339" y="187"/>
                  </a:lnTo>
                  <a:lnTo>
                    <a:pt x="339" y="187"/>
                  </a:lnTo>
                  <a:lnTo>
                    <a:pt x="341" y="185"/>
                  </a:lnTo>
                  <a:lnTo>
                    <a:pt x="341" y="185"/>
                  </a:lnTo>
                  <a:lnTo>
                    <a:pt x="344" y="187"/>
                  </a:lnTo>
                  <a:lnTo>
                    <a:pt x="344" y="187"/>
                  </a:lnTo>
                  <a:lnTo>
                    <a:pt x="344" y="190"/>
                  </a:lnTo>
                  <a:lnTo>
                    <a:pt x="344" y="192"/>
                  </a:lnTo>
                  <a:lnTo>
                    <a:pt x="344" y="192"/>
                  </a:lnTo>
                  <a:lnTo>
                    <a:pt x="346" y="192"/>
                  </a:lnTo>
                  <a:lnTo>
                    <a:pt x="348" y="190"/>
                  </a:lnTo>
                  <a:lnTo>
                    <a:pt x="351" y="187"/>
                  </a:lnTo>
                  <a:lnTo>
                    <a:pt x="353" y="187"/>
                  </a:lnTo>
                  <a:lnTo>
                    <a:pt x="353" y="190"/>
                  </a:lnTo>
                  <a:lnTo>
                    <a:pt x="353" y="190"/>
                  </a:lnTo>
                  <a:lnTo>
                    <a:pt x="355" y="190"/>
                  </a:lnTo>
                  <a:lnTo>
                    <a:pt x="355" y="190"/>
                  </a:lnTo>
                  <a:lnTo>
                    <a:pt x="355" y="187"/>
                  </a:lnTo>
                  <a:lnTo>
                    <a:pt x="355" y="190"/>
                  </a:lnTo>
                  <a:lnTo>
                    <a:pt x="355" y="190"/>
                  </a:lnTo>
                  <a:lnTo>
                    <a:pt x="355" y="192"/>
                  </a:lnTo>
                  <a:lnTo>
                    <a:pt x="358" y="192"/>
                  </a:lnTo>
                  <a:lnTo>
                    <a:pt x="358" y="192"/>
                  </a:lnTo>
                  <a:lnTo>
                    <a:pt x="360" y="190"/>
                  </a:lnTo>
                  <a:lnTo>
                    <a:pt x="360" y="192"/>
                  </a:lnTo>
                  <a:lnTo>
                    <a:pt x="360" y="197"/>
                  </a:lnTo>
                  <a:lnTo>
                    <a:pt x="360" y="206"/>
                  </a:lnTo>
                  <a:lnTo>
                    <a:pt x="362" y="206"/>
                  </a:lnTo>
                  <a:lnTo>
                    <a:pt x="362" y="206"/>
                  </a:lnTo>
                  <a:lnTo>
                    <a:pt x="372" y="201"/>
                  </a:lnTo>
                  <a:lnTo>
                    <a:pt x="386" y="194"/>
                  </a:lnTo>
                  <a:lnTo>
                    <a:pt x="386" y="192"/>
                  </a:lnTo>
                  <a:lnTo>
                    <a:pt x="388" y="192"/>
                  </a:lnTo>
                  <a:lnTo>
                    <a:pt x="388" y="190"/>
                  </a:lnTo>
                  <a:lnTo>
                    <a:pt x="391" y="187"/>
                  </a:lnTo>
                  <a:lnTo>
                    <a:pt x="391" y="185"/>
                  </a:lnTo>
                  <a:lnTo>
                    <a:pt x="391" y="185"/>
                  </a:lnTo>
                  <a:lnTo>
                    <a:pt x="393" y="185"/>
                  </a:lnTo>
                  <a:lnTo>
                    <a:pt x="391" y="183"/>
                  </a:lnTo>
                  <a:lnTo>
                    <a:pt x="391" y="183"/>
                  </a:lnTo>
                  <a:lnTo>
                    <a:pt x="391" y="180"/>
                  </a:lnTo>
                  <a:lnTo>
                    <a:pt x="391" y="183"/>
                  </a:lnTo>
                  <a:lnTo>
                    <a:pt x="393" y="180"/>
                  </a:lnTo>
                  <a:lnTo>
                    <a:pt x="393" y="180"/>
                  </a:lnTo>
                  <a:lnTo>
                    <a:pt x="393" y="178"/>
                  </a:lnTo>
                  <a:lnTo>
                    <a:pt x="395" y="175"/>
                  </a:lnTo>
                  <a:lnTo>
                    <a:pt x="395" y="173"/>
                  </a:lnTo>
                  <a:lnTo>
                    <a:pt x="393" y="173"/>
                  </a:lnTo>
                  <a:lnTo>
                    <a:pt x="393" y="173"/>
                  </a:lnTo>
                  <a:lnTo>
                    <a:pt x="395" y="173"/>
                  </a:lnTo>
                  <a:lnTo>
                    <a:pt x="395" y="173"/>
                  </a:lnTo>
                  <a:lnTo>
                    <a:pt x="395" y="173"/>
                  </a:lnTo>
                  <a:lnTo>
                    <a:pt x="398" y="171"/>
                  </a:lnTo>
                  <a:lnTo>
                    <a:pt x="398" y="171"/>
                  </a:lnTo>
                  <a:lnTo>
                    <a:pt x="398" y="168"/>
                  </a:lnTo>
                  <a:lnTo>
                    <a:pt x="398" y="166"/>
                  </a:lnTo>
                  <a:lnTo>
                    <a:pt x="395" y="166"/>
                  </a:lnTo>
                  <a:lnTo>
                    <a:pt x="395" y="164"/>
                  </a:lnTo>
                  <a:lnTo>
                    <a:pt x="393" y="164"/>
                  </a:lnTo>
                  <a:lnTo>
                    <a:pt x="395" y="161"/>
                  </a:lnTo>
                  <a:lnTo>
                    <a:pt x="395" y="159"/>
                  </a:lnTo>
                  <a:lnTo>
                    <a:pt x="395" y="159"/>
                  </a:lnTo>
                  <a:lnTo>
                    <a:pt x="395" y="157"/>
                  </a:lnTo>
                  <a:lnTo>
                    <a:pt x="395" y="157"/>
                  </a:lnTo>
                  <a:lnTo>
                    <a:pt x="393" y="157"/>
                  </a:lnTo>
                  <a:lnTo>
                    <a:pt x="393" y="157"/>
                  </a:lnTo>
                  <a:lnTo>
                    <a:pt x="395" y="154"/>
                  </a:lnTo>
                  <a:lnTo>
                    <a:pt x="398" y="154"/>
                  </a:lnTo>
                  <a:lnTo>
                    <a:pt x="398" y="152"/>
                  </a:lnTo>
                  <a:lnTo>
                    <a:pt x="398" y="152"/>
                  </a:lnTo>
                  <a:lnTo>
                    <a:pt x="398" y="149"/>
                  </a:lnTo>
                  <a:lnTo>
                    <a:pt x="400" y="149"/>
                  </a:lnTo>
                  <a:lnTo>
                    <a:pt x="403" y="147"/>
                  </a:lnTo>
                  <a:lnTo>
                    <a:pt x="403" y="147"/>
                  </a:lnTo>
                  <a:lnTo>
                    <a:pt x="403" y="145"/>
                  </a:lnTo>
                  <a:lnTo>
                    <a:pt x="403" y="145"/>
                  </a:lnTo>
                  <a:lnTo>
                    <a:pt x="403" y="142"/>
                  </a:lnTo>
                  <a:lnTo>
                    <a:pt x="403" y="142"/>
                  </a:lnTo>
                  <a:lnTo>
                    <a:pt x="403" y="140"/>
                  </a:lnTo>
                  <a:lnTo>
                    <a:pt x="403" y="142"/>
                  </a:lnTo>
                  <a:lnTo>
                    <a:pt x="403" y="145"/>
                  </a:lnTo>
                  <a:lnTo>
                    <a:pt x="405" y="145"/>
                  </a:lnTo>
                  <a:lnTo>
                    <a:pt x="405" y="145"/>
                  </a:lnTo>
                  <a:lnTo>
                    <a:pt x="407" y="145"/>
                  </a:lnTo>
                  <a:lnTo>
                    <a:pt x="407" y="142"/>
                  </a:lnTo>
                  <a:lnTo>
                    <a:pt x="410" y="140"/>
                  </a:lnTo>
                  <a:lnTo>
                    <a:pt x="412" y="138"/>
                  </a:lnTo>
                  <a:lnTo>
                    <a:pt x="414" y="138"/>
                  </a:lnTo>
                  <a:lnTo>
                    <a:pt x="417" y="135"/>
                  </a:lnTo>
                  <a:lnTo>
                    <a:pt x="417" y="135"/>
                  </a:lnTo>
                  <a:lnTo>
                    <a:pt x="417" y="135"/>
                  </a:lnTo>
                  <a:lnTo>
                    <a:pt x="417" y="133"/>
                  </a:lnTo>
                  <a:lnTo>
                    <a:pt x="417" y="130"/>
                  </a:lnTo>
                  <a:lnTo>
                    <a:pt x="417" y="126"/>
                  </a:lnTo>
                  <a:lnTo>
                    <a:pt x="417" y="123"/>
                  </a:lnTo>
                  <a:lnTo>
                    <a:pt x="417" y="114"/>
                  </a:lnTo>
                  <a:lnTo>
                    <a:pt x="417" y="112"/>
                  </a:lnTo>
                  <a:lnTo>
                    <a:pt x="421" y="104"/>
                  </a:lnTo>
                  <a:lnTo>
                    <a:pt x="421" y="102"/>
                  </a:lnTo>
                  <a:lnTo>
                    <a:pt x="424" y="102"/>
                  </a:lnTo>
                  <a:lnTo>
                    <a:pt x="424" y="102"/>
                  </a:lnTo>
                  <a:lnTo>
                    <a:pt x="426" y="100"/>
                  </a:lnTo>
                  <a:lnTo>
                    <a:pt x="426" y="97"/>
                  </a:lnTo>
                  <a:lnTo>
                    <a:pt x="424" y="97"/>
                  </a:lnTo>
                  <a:lnTo>
                    <a:pt x="424" y="95"/>
                  </a:lnTo>
                  <a:lnTo>
                    <a:pt x="426" y="97"/>
                  </a:lnTo>
                  <a:lnTo>
                    <a:pt x="428" y="100"/>
                  </a:lnTo>
                  <a:lnTo>
                    <a:pt x="428" y="100"/>
                  </a:lnTo>
                  <a:lnTo>
                    <a:pt x="431" y="100"/>
                  </a:lnTo>
                  <a:lnTo>
                    <a:pt x="436" y="102"/>
                  </a:lnTo>
                  <a:lnTo>
                    <a:pt x="440" y="102"/>
                  </a:lnTo>
                  <a:lnTo>
                    <a:pt x="443" y="100"/>
                  </a:lnTo>
                  <a:lnTo>
                    <a:pt x="445" y="97"/>
                  </a:lnTo>
                  <a:lnTo>
                    <a:pt x="443" y="97"/>
                  </a:lnTo>
                  <a:lnTo>
                    <a:pt x="440" y="95"/>
                  </a:lnTo>
                  <a:lnTo>
                    <a:pt x="438" y="90"/>
                  </a:lnTo>
                  <a:lnTo>
                    <a:pt x="433" y="88"/>
                  </a:lnTo>
                  <a:lnTo>
                    <a:pt x="428" y="83"/>
                  </a:lnTo>
                  <a:lnTo>
                    <a:pt x="426" y="83"/>
                  </a:lnTo>
                  <a:lnTo>
                    <a:pt x="424" y="78"/>
                  </a:lnTo>
                  <a:lnTo>
                    <a:pt x="424" y="76"/>
                  </a:lnTo>
                  <a:lnTo>
                    <a:pt x="421" y="76"/>
                  </a:lnTo>
                  <a:lnTo>
                    <a:pt x="421" y="76"/>
                  </a:lnTo>
                  <a:lnTo>
                    <a:pt x="424" y="76"/>
                  </a:lnTo>
                  <a:lnTo>
                    <a:pt x="424" y="74"/>
                  </a:lnTo>
                  <a:lnTo>
                    <a:pt x="424" y="74"/>
                  </a:lnTo>
                  <a:lnTo>
                    <a:pt x="426" y="71"/>
                  </a:lnTo>
                  <a:lnTo>
                    <a:pt x="426" y="71"/>
                  </a:lnTo>
                  <a:lnTo>
                    <a:pt x="426" y="69"/>
                  </a:lnTo>
                  <a:lnTo>
                    <a:pt x="426" y="69"/>
                  </a:lnTo>
                  <a:lnTo>
                    <a:pt x="424" y="64"/>
                  </a:lnTo>
                  <a:lnTo>
                    <a:pt x="421" y="62"/>
                  </a:lnTo>
                  <a:lnTo>
                    <a:pt x="421" y="62"/>
                  </a:lnTo>
                  <a:lnTo>
                    <a:pt x="419" y="60"/>
                  </a:lnTo>
                  <a:lnTo>
                    <a:pt x="419" y="60"/>
                  </a:lnTo>
                  <a:lnTo>
                    <a:pt x="419" y="60"/>
                  </a:lnTo>
                  <a:lnTo>
                    <a:pt x="419" y="60"/>
                  </a:lnTo>
                  <a:lnTo>
                    <a:pt x="419" y="57"/>
                  </a:lnTo>
                  <a:lnTo>
                    <a:pt x="419" y="57"/>
                  </a:lnTo>
                  <a:lnTo>
                    <a:pt x="417" y="57"/>
                  </a:lnTo>
                  <a:lnTo>
                    <a:pt x="419" y="57"/>
                  </a:lnTo>
                  <a:lnTo>
                    <a:pt x="417" y="55"/>
                  </a:lnTo>
                  <a:lnTo>
                    <a:pt x="417" y="55"/>
                  </a:lnTo>
                  <a:lnTo>
                    <a:pt x="417" y="52"/>
                  </a:lnTo>
                  <a:lnTo>
                    <a:pt x="414" y="52"/>
                  </a:lnTo>
                  <a:lnTo>
                    <a:pt x="414" y="52"/>
                  </a:lnTo>
                  <a:lnTo>
                    <a:pt x="412" y="52"/>
                  </a:lnTo>
                  <a:lnTo>
                    <a:pt x="412" y="50"/>
                  </a:lnTo>
                  <a:lnTo>
                    <a:pt x="412" y="48"/>
                  </a:lnTo>
                  <a:lnTo>
                    <a:pt x="412" y="45"/>
                  </a:lnTo>
                  <a:lnTo>
                    <a:pt x="410" y="43"/>
                  </a:lnTo>
                  <a:lnTo>
                    <a:pt x="407" y="43"/>
                  </a:lnTo>
                  <a:lnTo>
                    <a:pt x="407" y="43"/>
                  </a:lnTo>
                  <a:lnTo>
                    <a:pt x="410" y="43"/>
                  </a:lnTo>
                  <a:lnTo>
                    <a:pt x="412" y="43"/>
                  </a:lnTo>
                  <a:lnTo>
                    <a:pt x="414" y="43"/>
                  </a:lnTo>
                  <a:lnTo>
                    <a:pt x="414" y="41"/>
                  </a:lnTo>
                  <a:lnTo>
                    <a:pt x="414" y="41"/>
                  </a:lnTo>
                  <a:lnTo>
                    <a:pt x="417" y="41"/>
                  </a:lnTo>
                  <a:lnTo>
                    <a:pt x="417" y="43"/>
                  </a:lnTo>
                  <a:lnTo>
                    <a:pt x="419" y="41"/>
                  </a:lnTo>
                  <a:lnTo>
                    <a:pt x="419" y="41"/>
                  </a:lnTo>
                  <a:lnTo>
                    <a:pt x="419" y="41"/>
                  </a:lnTo>
                  <a:lnTo>
                    <a:pt x="419" y="38"/>
                  </a:lnTo>
                  <a:lnTo>
                    <a:pt x="419" y="38"/>
                  </a:lnTo>
                  <a:lnTo>
                    <a:pt x="417" y="36"/>
                  </a:lnTo>
                  <a:lnTo>
                    <a:pt x="417" y="36"/>
                  </a:lnTo>
                  <a:lnTo>
                    <a:pt x="417" y="34"/>
                  </a:lnTo>
                  <a:lnTo>
                    <a:pt x="414" y="34"/>
                  </a:lnTo>
                  <a:lnTo>
                    <a:pt x="414" y="31"/>
                  </a:lnTo>
                  <a:lnTo>
                    <a:pt x="417" y="31"/>
                  </a:lnTo>
                  <a:lnTo>
                    <a:pt x="417" y="31"/>
                  </a:lnTo>
                  <a:lnTo>
                    <a:pt x="414" y="31"/>
                  </a:lnTo>
                  <a:lnTo>
                    <a:pt x="414" y="31"/>
                  </a:lnTo>
                  <a:lnTo>
                    <a:pt x="410" y="29"/>
                  </a:lnTo>
                  <a:lnTo>
                    <a:pt x="407" y="26"/>
                  </a:lnTo>
                  <a:lnTo>
                    <a:pt x="403" y="26"/>
                  </a:lnTo>
                  <a:lnTo>
                    <a:pt x="400" y="26"/>
                  </a:lnTo>
                  <a:lnTo>
                    <a:pt x="398" y="26"/>
                  </a:lnTo>
                  <a:lnTo>
                    <a:pt x="398" y="26"/>
                  </a:lnTo>
                  <a:lnTo>
                    <a:pt x="398" y="26"/>
                  </a:lnTo>
                  <a:lnTo>
                    <a:pt x="395" y="26"/>
                  </a:lnTo>
                  <a:lnTo>
                    <a:pt x="393" y="29"/>
                  </a:lnTo>
                  <a:lnTo>
                    <a:pt x="393" y="26"/>
                  </a:lnTo>
                  <a:lnTo>
                    <a:pt x="393" y="26"/>
                  </a:lnTo>
                  <a:lnTo>
                    <a:pt x="391" y="26"/>
                  </a:lnTo>
                  <a:lnTo>
                    <a:pt x="388" y="26"/>
                  </a:lnTo>
                  <a:lnTo>
                    <a:pt x="386" y="29"/>
                  </a:lnTo>
                  <a:lnTo>
                    <a:pt x="384" y="26"/>
                  </a:lnTo>
                  <a:lnTo>
                    <a:pt x="384" y="26"/>
                  </a:lnTo>
                  <a:lnTo>
                    <a:pt x="384" y="26"/>
                  </a:lnTo>
                  <a:lnTo>
                    <a:pt x="381" y="29"/>
                  </a:lnTo>
                  <a:lnTo>
                    <a:pt x="381" y="31"/>
                  </a:lnTo>
                  <a:lnTo>
                    <a:pt x="379" y="34"/>
                  </a:lnTo>
                  <a:lnTo>
                    <a:pt x="379" y="36"/>
                  </a:lnTo>
                  <a:lnTo>
                    <a:pt x="379" y="36"/>
                  </a:lnTo>
                  <a:lnTo>
                    <a:pt x="379" y="41"/>
                  </a:lnTo>
                  <a:lnTo>
                    <a:pt x="379" y="43"/>
                  </a:lnTo>
                  <a:lnTo>
                    <a:pt x="379" y="45"/>
                  </a:lnTo>
                  <a:lnTo>
                    <a:pt x="379" y="45"/>
                  </a:lnTo>
                  <a:lnTo>
                    <a:pt x="379" y="48"/>
                  </a:lnTo>
                  <a:lnTo>
                    <a:pt x="379" y="48"/>
                  </a:lnTo>
                  <a:lnTo>
                    <a:pt x="379" y="50"/>
                  </a:lnTo>
                  <a:lnTo>
                    <a:pt x="379" y="52"/>
                  </a:lnTo>
                  <a:lnTo>
                    <a:pt x="379" y="52"/>
                  </a:lnTo>
                  <a:lnTo>
                    <a:pt x="377" y="55"/>
                  </a:lnTo>
                  <a:lnTo>
                    <a:pt x="377" y="55"/>
                  </a:lnTo>
                  <a:lnTo>
                    <a:pt x="374" y="55"/>
                  </a:lnTo>
                  <a:lnTo>
                    <a:pt x="374" y="55"/>
                  </a:lnTo>
                  <a:lnTo>
                    <a:pt x="372" y="55"/>
                  </a:lnTo>
                  <a:lnTo>
                    <a:pt x="372" y="57"/>
                  </a:lnTo>
                  <a:lnTo>
                    <a:pt x="370" y="60"/>
                  </a:lnTo>
                  <a:lnTo>
                    <a:pt x="370" y="60"/>
                  </a:lnTo>
                  <a:lnTo>
                    <a:pt x="372" y="60"/>
                  </a:lnTo>
                  <a:lnTo>
                    <a:pt x="370" y="62"/>
                  </a:lnTo>
                  <a:lnTo>
                    <a:pt x="370" y="62"/>
                  </a:lnTo>
                  <a:lnTo>
                    <a:pt x="370" y="64"/>
                  </a:lnTo>
                  <a:lnTo>
                    <a:pt x="372" y="64"/>
                  </a:lnTo>
                  <a:lnTo>
                    <a:pt x="372" y="64"/>
                  </a:lnTo>
                  <a:lnTo>
                    <a:pt x="372" y="67"/>
                  </a:lnTo>
                  <a:lnTo>
                    <a:pt x="372" y="67"/>
                  </a:lnTo>
                  <a:lnTo>
                    <a:pt x="372" y="67"/>
                  </a:lnTo>
                  <a:lnTo>
                    <a:pt x="370" y="69"/>
                  </a:lnTo>
                  <a:lnTo>
                    <a:pt x="367" y="71"/>
                  </a:lnTo>
                  <a:lnTo>
                    <a:pt x="365" y="71"/>
                  </a:lnTo>
                  <a:lnTo>
                    <a:pt x="365" y="71"/>
                  </a:lnTo>
                  <a:lnTo>
                    <a:pt x="365" y="74"/>
                  </a:lnTo>
                  <a:lnTo>
                    <a:pt x="365" y="76"/>
                  </a:lnTo>
                  <a:lnTo>
                    <a:pt x="365" y="76"/>
                  </a:lnTo>
                  <a:lnTo>
                    <a:pt x="367" y="76"/>
                  </a:lnTo>
                  <a:lnTo>
                    <a:pt x="365" y="78"/>
                  </a:lnTo>
                  <a:lnTo>
                    <a:pt x="365" y="78"/>
                  </a:lnTo>
                  <a:lnTo>
                    <a:pt x="365" y="78"/>
                  </a:lnTo>
                  <a:lnTo>
                    <a:pt x="365" y="81"/>
                  </a:lnTo>
                  <a:lnTo>
                    <a:pt x="365" y="81"/>
                  </a:lnTo>
                  <a:lnTo>
                    <a:pt x="362" y="83"/>
                  </a:lnTo>
                  <a:lnTo>
                    <a:pt x="362" y="86"/>
                  </a:lnTo>
                  <a:lnTo>
                    <a:pt x="362" y="88"/>
                  </a:lnTo>
                  <a:lnTo>
                    <a:pt x="360" y="88"/>
                  </a:lnTo>
                  <a:lnTo>
                    <a:pt x="360" y="88"/>
                  </a:lnTo>
                  <a:lnTo>
                    <a:pt x="358" y="88"/>
                  </a:lnTo>
                  <a:lnTo>
                    <a:pt x="355" y="88"/>
                  </a:lnTo>
                  <a:lnTo>
                    <a:pt x="353" y="88"/>
                  </a:lnTo>
                  <a:lnTo>
                    <a:pt x="351" y="88"/>
                  </a:lnTo>
                  <a:lnTo>
                    <a:pt x="348" y="88"/>
                  </a:lnTo>
                  <a:lnTo>
                    <a:pt x="348" y="90"/>
                  </a:lnTo>
                  <a:lnTo>
                    <a:pt x="346" y="90"/>
                  </a:lnTo>
                  <a:lnTo>
                    <a:pt x="346" y="93"/>
                  </a:lnTo>
                  <a:lnTo>
                    <a:pt x="344" y="93"/>
                  </a:lnTo>
                  <a:lnTo>
                    <a:pt x="341" y="90"/>
                  </a:lnTo>
                  <a:lnTo>
                    <a:pt x="341" y="90"/>
                  </a:lnTo>
                  <a:lnTo>
                    <a:pt x="339" y="90"/>
                  </a:lnTo>
                  <a:lnTo>
                    <a:pt x="334" y="88"/>
                  </a:lnTo>
                  <a:lnTo>
                    <a:pt x="334" y="88"/>
                  </a:lnTo>
                  <a:lnTo>
                    <a:pt x="332" y="88"/>
                  </a:lnTo>
                  <a:lnTo>
                    <a:pt x="332" y="88"/>
                  </a:lnTo>
                  <a:lnTo>
                    <a:pt x="332" y="88"/>
                  </a:lnTo>
                  <a:lnTo>
                    <a:pt x="332" y="86"/>
                  </a:lnTo>
                  <a:lnTo>
                    <a:pt x="332" y="86"/>
                  </a:lnTo>
                  <a:lnTo>
                    <a:pt x="322" y="86"/>
                  </a:lnTo>
                  <a:lnTo>
                    <a:pt x="320" y="88"/>
                  </a:lnTo>
                  <a:lnTo>
                    <a:pt x="318" y="88"/>
                  </a:lnTo>
                  <a:lnTo>
                    <a:pt x="318" y="88"/>
                  </a:lnTo>
                  <a:lnTo>
                    <a:pt x="318" y="90"/>
                  </a:lnTo>
                  <a:lnTo>
                    <a:pt x="315" y="93"/>
                  </a:lnTo>
                  <a:lnTo>
                    <a:pt x="315" y="95"/>
                  </a:lnTo>
                  <a:lnTo>
                    <a:pt x="313" y="95"/>
                  </a:lnTo>
                  <a:lnTo>
                    <a:pt x="311" y="97"/>
                  </a:lnTo>
                  <a:lnTo>
                    <a:pt x="311" y="97"/>
                  </a:lnTo>
                  <a:lnTo>
                    <a:pt x="308" y="97"/>
                  </a:lnTo>
                  <a:lnTo>
                    <a:pt x="306" y="97"/>
                  </a:lnTo>
                  <a:lnTo>
                    <a:pt x="306" y="97"/>
                  </a:lnTo>
                  <a:lnTo>
                    <a:pt x="304" y="97"/>
                  </a:lnTo>
                  <a:lnTo>
                    <a:pt x="301" y="97"/>
                  </a:lnTo>
                  <a:lnTo>
                    <a:pt x="296" y="97"/>
                  </a:lnTo>
                  <a:lnTo>
                    <a:pt x="296" y="97"/>
                  </a:lnTo>
                  <a:lnTo>
                    <a:pt x="294" y="97"/>
                  </a:lnTo>
                  <a:lnTo>
                    <a:pt x="289" y="100"/>
                  </a:lnTo>
                  <a:lnTo>
                    <a:pt x="287" y="100"/>
                  </a:lnTo>
                  <a:lnTo>
                    <a:pt x="285" y="100"/>
                  </a:lnTo>
                  <a:lnTo>
                    <a:pt x="285" y="100"/>
                  </a:lnTo>
                  <a:lnTo>
                    <a:pt x="282" y="97"/>
                  </a:lnTo>
                  <a:lnTo>
                    <a:pt x="280" y="93"/>
                  </a:lnTo>
                  <a:lnTo>
                    <a:pt x="278" y="93"/>
                  </a:lnTo>
                  <a:lnTo>
                    <a:pt x="278" y="93"/>
                  </a:lnTo>
                  <a:lnTo>
                    <a:pt x="275" y="90"/>
                  </a:lnTo>
                  <a:lnTo>
                    <a:pt x="275" y="90"/>
                  </a:lnTo>
                  <a:lnTo>
                    <a:pt x="273" y="88"/>
                  </a:lnTo>
                  <a:lnTo>
                    <a:pt x="273" y="86"/>
                  </a:lnTo>
                  <a:lnTo>
                    <a:pt x="271" y="86"/>
                  </a:lnTo>
                  <a:lnTo>
                    <a:pt x="271" y="81"/>
                  </a:lnTo>
                  <a:lnTo>
                    <a:pt x="268" y="81"/>
                  </a:lnTo>
                  <a:lnTo>
                    <a:pt x="268" y="81"/>
                  </a:lnTo>
                  <a:lnTo>
                    <a:pt x="268" y="78"/>
                  </a:lnTo>
                  <a:lnTo>
                    <a:pt x="271" y="76"/>
                  </a:lnTo>
                  <a:lnTo>
                    <a:pt x="266" y="78"/>
                  </a:lnTo>
                  <a:lnTo>
                    <a:pt x="263" y="81"/>
                  </a:lnTo>
                  <a:lnTo>
                    <a:pt x="263" y="83"/>
                  </a:lnTo>
                  <a:lnTo>
                    <a:pt x="261" y="86"/>
                  </a:lnTo>
                  <a:lnTo>
                    <a:pt x="259" y="88"/>
                  </a:lnTo>
                  <a:lnTo>
                    <a:pt x="259" y="88"/>
                  </a:lnTo>
                  <a:lnTo>
                    <a:pt x="259" y="93"/>
                  </a:lnTo>
                  <a:lnTo>
                    <a:pt x="259" y="93"/>
                  </a:lnTo>
                  <a:lnTo>
                    <a:pt x="261" y="93"/>
                  </a:lnTo>
                  <a:lnTo>
                    <a:pt x="261" y="93"/>
                  </a:lnTo>
                  <a:lnTo>
                    <a:pt x="259" y="93"/>
                  </a:lnTo>
                  <a:lnTo>
                    <a:pt x="259" y="93"/>
                  </a:lnTo>
                  <a:lnTo>
                    <a:pt x="256" y="95"/>
                  </a:lnTo>
                  <a:lnTo>
                    <a:pt x="256" y="100"/>
                  </a:lnTo>
                  <a:lnTo>
                    <a:pt x="256" y="102"/>
                  </a:lnTo>
                  <a:lnTo>
                    <a:pt x="256" y="107"/>
                  </a:lnTo>
                  <a:lnTo>
                    <a:pt x="256" y="112"/>
                  </a:lnTo>
                  <a:close/>
                  <a:moveTo>
                    <a:pt x="183" y="239"/>
                  </a:moveTo>
                  <a:lnTo>
                    <a:pt x="186" y="237"/>
                  </a:lnTo>
                  <a:lnTo>
                    <a:pt x="188" y="237"/>
                  </a:lnTo>
                  <a:lnTo>
                    <a:pt x="190" y="239"/>
                  </a:lnTo>
                  <a:lnTo>
                    <a:pt x="190" y="239"/>
                  </a:lnTo>
                  <a:lnTo>
                    <a:pt x="193" y="239"/>
                  </a:lnTo>
                  <a:lnTo>
                    <a:pt x="193" y="242"/>
                  </a:lnTo>
                  <a:lnTo>
                    <a:pt x="193" y="242"/>
                  </a:lnTo>
                  <a:lnTo>
                    <a:pt x="195" y="242"/>
                  </a:lnTo>
                  <a:lnTo>
                    <a:pt x="195" y="239"/>
                  </a:lnTo>
                  <a:lnTo>
                    <a:pt x="195" y="239"/>
                  </a:lnTo>
                  <a:lnTo>
                    <a:pt x="198" y="225"/>
                  </a:lnTo>
                  <a:lnTo>
                    <a:pt x="198" y="220"/>
                  </a:lnTo>
                  <a:lnTo>
                    <a:pt x="198" y="218"/>
                  </a:lnTo>
                  <a:lnTo>
                    <a:pt x="198" y="216"/>
                  </a:lnTo>
                  <a:lnTo>
                    <a:pt x="198" y="206"/>
                  </a:lnTo>
                  <a:lnTo>
                    <a:pt x="198" y="206"/>
                  </a:lnTo>
                  <a:lnTo>
                    <a:pt x="200" y="201"/>
                  </a:lnTo>
                  <a:lnTo>
                    <a:pt x="200" y="199"/>
                  </a:lnTo>
                  <a:lnTo>
                    <a:pt x="200" y="199"/>
                  </a:lnTo>
                  <a:lnTo>
                    <a:pt x="198" y="197"/>
                  </a:lnTo>
                  <a:lnTo>
                    <a:pt x="198" y="194"/>
                  </a:lnTo>
                  <a:lnTo>
                    <a:pt x="200" y="192"/>
                  </a:lnTo>
                  <a:lnTo>
                    <a:pt x="200" y="190"/>
                  </a:lnTo>
                  <a:lnTo>
                    <a:pt x="202" y="187"/>
                  </a:lnTo>
                  <a:lnTo>
                    <a:pt x="202" y="187"/>
                  </a:lnTo>
                  <a:lnTo>
                    <a:pt x="202" y="185"/>
                  </a:lnTo>
                  <a:lnTo>
                    <a:pt x="202" y="185"/>
                  </a:lnTo>
                  <a:lnTo>
                    <a:pt x="200" y="180"/>
                  </a:lnTo>
                  <a:lnTo>
                    <a:pt x="195" y="171"/>
                  </a:lnTo>
                  <a:lnTo>
                    <a:pt x="193" y="171"/>
                  </a:lnTo>
                  <a:lnTo>
                    <a:pt x="190" y="168"/>
                  </a:lnTo>
                  <a:lnTo>
                    <a:pt x="188" y="168"/>
                  </a:lnTo>
                  <a:lnTo>
                    <a:pt x="183" y="168"/>
                  </a:lnTo>
                  <a:lnTo>
                    <a:pt x="183" y="168"/>
                  </a:lnTo>
                  <a:lnTo>
                    <a:pt x="181" y="168"/>
                  </a:lnTo>
                  <a:lnTo>
                    <a:pt x="181" y="171"/>
                  </a:lnTo>
                  <a:lnTo>
                    <a:pt x="179" y="173"/>
                  </a:lnTo>
                  <a:lnTo>
                    <a:pt x="179" y="173"/>
                  </a:lnTo>
                  <a:lnTo>
                    <a:pt x="176" y="173"/>
                  </a:lnTo>
                  <a:lnTo>
                    <a:pt x="176" y="173"/>
                  </a:lnTo>
                  <a:lnTo>
                    <a:pt x="176" y="171"/>
                  </a:lnTo>
                  <a:lnTo>
                    <a:pt x="176" y="168"/>
                  </a:lnTo>
                  <a:lnTo>
                    <a:pt x="179" y="166"/>
                  </a:lnTo>
                  <a:lnTo>
                    <a:pt x="181" y="166"/>
                  </a:lnTo>
                  <a:lnTo>
                    <a:pt x="181" y="164"/>
                  </a:lnTo>
                  <a:lnTo>
                    <a:pt x="181" y="164"/>
                  </a:lnTo>
                  <a:lnTo>
                    <a:pt x="179" y="161"/>
                  </a:lnTo>
                  <a:lnTo>
                    <a:pt x="179" y="161"/>
                  </a:lnTo>
                  <a:lnTo>
                    <a:pt x="176" y="159"/>
                  </a:lnTo>
                  <a:lnTo>
                    <a:pt x="174" y="157"/>
                  </a:lnTo>
                  <a:lnTo>
                    <a:pt x="174" y="154"/>
                  </a:lnTo>
                  <a:lnTo>
                    <a:pt x="174" y="152"/>
                  </a:lnTo>
                  <a:lnTo>
                    <a:pt x="174" y="147"/>
                  </a:lnTo>
                  <a:lnTo>
                    <a:pt x="174" y="145"/>
                  </a:lnTo>
                  <a:lnTo>
                    <a:pt x="172" y="142"/>
                  </a:lnTo>
                  <a:lnTo>
                    <a:pt x="172" y="140"/>
                  </a:lnTo>
                  <a:lnTo>
                    <a:pt x="169" y="140"/>
                  </a:lnTo>
                  <a:lnTo>
                    <a:pt x="169" y="140"/>
                  </a:lnTo>
                  <a:lnTo>
                    <a:pt x="167" y="140"/>
                  </a:lnTo>
                  <a:lnTo>
                    <a:pt x="165" y="140"/>
                  </a:lnTo>
                  <a:lnTo>
                    <a:pt x="160" y="138"/>
                  </a:lnTo>
                  <a:lnTo>
                    <a:pt x="157" y="135"/>
                  </a:lnTo>
                  <a:lnTo>
                    <a:pt x="157" y="135"/>
                  </a:lnTo>
                  <a:lnTo>
                    <a:pt x="155" y="130"/>
                  </a:lnTo>
                  <a:lnTo>
                    <a:pt x="155" y="130"/>
                  </a:lnTo>
                  <a:lnTo>
                    <a:pt x="157" y="128"/>
                  </a:lnTo>
                  <a:lnTo>
                    <a:pt x="155" y="128"/>
                  </a:lnTo>
                  <a:lnTo>
                    <a:pt x="155" y="126"/>
                  </a:lnTo>
                  <a:lnTo>
                    <a:pt x="155" y="123"/>
                  </a:lnTo>
                  <a:lnTo>
                    <a:pt x="155" y="123"/>
                  </a:lnTo>
                  <a:lnTo>
                    <a:pt x="155" y="123"/>
                  </a:lnTo>
                  <a:lnTo>
                    <a:pt x="157" y="121"/>
                  </a:lnTo>
                  <a:lnTo>
                    <a:pt x="160" y="119"/>
                  </a:lnTo>
                  <a:lnTo>
                    <a:pt x="162" y="119"/>
                  </a:lnTo>
                  <a:lnTo>
                    <a:pt x="160" y="114"/>
                  </a:lnTo>
                  <a:lnTo>
                    <a:pt x="160" y="112"/>
                  </a:lnTo>
                  <a:lnTo>
                    <a:pt x="157" y="112"/>
                  </a:lnTo>
                  <a:lnTo>
                    <a:pt x="155" y="109"/>
                  </a:lnTo>
                  <a:lnTo>
                    <a:pt x="155" y="109"/>
                  </a:lnTo>
                  <a:lnTo>
                    <a:pt x="153" y="107"/>
                  </a:lnTo>
                  <a:lnTo>
                    <a:pt x="153" y="109"/>
                  </a:lnTo>
                  <a:lnTo>
                    <a:pt x="148" y="109"/>
                  </a:lnTo>
                  <a:lnTo>
                    <a:pt x="148" y="112"/>
                  </a:lnTo>
                  <a:lnTo>
                    <a:pt x="146" y="114"/>
                  </a:lnTo>
                  <a:lnTo>
                    <a:pt x="143" y="114"/>
                  </a:lnTo>
                  <a:lnTo>
                    <a:pt x="139" y="114"/>
                  </a:lnTo>
                  <a:lnTo>
                    <a:pt x="143" y="112"/>
                  </a:lnTo>
                  <a:lnTo>
                    <a:pt x="148" y="109"/>
                  </a:lnTo>
                  <a:lnTo>
                    <a:pt x="148" y="109"/>
                  </a:lnTo>
                  <a:lnTo>
                    <a:pt x="148" y="107"/>
                  </a:lnTo>
                  <a:lnTo>
                    <a:pt x="146" y="104"/>
                  </a:lnTo>
                  <a:lnTo>
                    <a:pt x="143" y="104"/>
                  </a:lnTo>
                  <a:lnTo>
                    <a:pt x="139" y="102"/>
                  </a:lnTo>
                  <a:lnTo>
                    <a:pt x="136" y="102"/>
                  </a:lnTo>
                  <a:lnTo>
                    <a:pt x="136" y="102"/>
                  </a:lnTo>
                  <a:lnTo>
                    <a:pt x="132" y="97"/>
                  </a:lnTo>
                  <a:lnTo>
                    <a:pt x="132" y="97"/>
                  </a:lnTo>
                  <a:lnTo>
                    <a:pt x="132" y="95"/>
                  </a:lnTo>
                  <a:lnTo>
                    <a:pt x="132" y="93"/>
                  </a:lnTo>
                  <a:lnTo>
                    <a:pt x="129" y="90"/>
                  </a:lnTo>
                  <a:lnTo>
                    <a:pt x="129" y="88"/>
                  </a:lnTo>
                  <a:lnTo>
                    <a:pt x="124" y="86"/>
                  </a:lnTo>
                  <a:lnTo>
                    <a:pt x="122" y="83"/>
                  </a:lnTo>
                  <a:lnTo>
                    <a:pt x="120" y="83"/>
                  </a:lnTo>
                  <a:lnTo>
                    <a:pt x="117" y="83"/>
                  </a:lnTo>
                  <a:lnTo>
                    <a:pt x="117" y="81"/>
                  </a:lnTo>
                  <a:lnTo>
                    <a:pt x="115" y="78"/>
                  </a:lnTo>
                  <a:lnTo>
                    <a:pt x="115" y="76"/>
                  </a:lnTo>
                  <a:lnTo>
                    <a:pt x="113" y="74"/>
                  </a:lnTo>
                  <a:lnTo>
                    <a:pt x="110" y="71"/>
                  </a:lnTo>
                  <a:lnTo>
                    <a:pt x="108" y="71"/>
                  </a:lnTo>
                  <a:lnTo>
                    <a:pt x="108" y="71"/>
                  </a:lnTo>
                  <a:lnTo>
                    <a:pt x="106" y="71"/>
                  </a:lnTo>
                  <a:lnTo>
                    <a:pt x="106" y="71"/>
                  </a:lnTo>
                  <a:lnTo>
                    <a:pt x="106" y="74"/>
                  </a:lnTo>
                  <a:lnTo>
                    <a:pt x="108" y="76"/>
                  </a:lnTo>
                  <a:lnTo>
                    <a:pt x="108" y="78"/>
                  </a:lnTo>
                  <a:lnTo>
                    <a:pt x="106" y="76"/>
                  </a:lnTo>
                  <a:lnTo>
                    <a:pt x="103" y="74"/>
                  </a:lnTo>
                  <a:lnTo>
                    <a:pt x="101" y="74"/>
                  </a:lnTo>
                  <a:lnTo>
                    <a:pt x="101" y="71"/>
                  </a:lnTo>
                  <a:lnTo>
                    <a:pt x="99" y="71"/>
                  </a:lnTo>
                  <a:lnTo>
                    <a:pt x="99" y="69"/>
                  </a:lnTo>
                  <a:lnTo>
                    <a:pt x="96" y="67"/>
                  </a:lnTo>
                  <a:lnTo>
                    <a:pt x="96" y="67"/>
                  </a:lnTo>
                  <a:lnTo>
                    <a:pt x="94" y="62"/>
                  </a:lnTo>
                  <a:lnTo>
                    <a:pt x="91" y="60"/>
                  </a:lnTo>
                  <a:lnTo>
                    <a:pt x="89" y="57"/>
                  </a:lnTo>
                  <a:lnTo>
                    <a:pt x="89" y="55"/>
                  </a:lnTo>
                  <a:lnTo>
                    <a:pt x="84" y="52"/>
                  </a:lnTo>
                  <a:lnTo>
                    <a:pt x="82" y="48"/>
                  </a:lnTo>
                  <a:lnTo>
                    <a:pt x="75" y="43"/>
                  </a:lnTo>
                  <a:lnTo>
                    <a:pt x="68" y="41"/>
                  </a:lnTo>
                  <a:lnTo>
                    <a:pt x="68" y="38"/>
                  </a:lnTo>
                  <a:lnTo>
                    <a:pt x="66" y="38"/>
                  </a:lnTo>
                  <a:lnTo>
                    <a:pt x="66" y="36"/>
                  </a:lnTo>
                  <a:lnTo>
                    <a:pt x="66" y="36"/>
                  </a:lnTo>
                  <a:lnTo>
                    <a:pt x="63" y="34"/>
                  </a:lnTo>
                  <a:lnTo>
                    <a:pt x="58" y="31"/>
                  </a:lnTo>
                  <a:lnTo>
                    <a:pt x="56" y="31"/>
                  </a:lnTo>
                  <a:lnTo>
                    <a:pt x="56" y="26"/>
                  </a:lnTo>
                  <a:lnTo>
                    <a:pt x="56" y="26"/>
                  </a:lnTo>
                  <a:lnTo>
                    <a:pt x="51" y="22"/>
                  </a:lnTo>
                  <a:lnTo>
                    <a:pt x="51" y="19"/>
                  </a:lnTo>
                  <a:lnTo>
                    <a:pt x="51" y="17"/>
                  </a:lnTo>
                  <a:lnTo>
                    <a:pt x="49" y="15"/>
                  </a:lnTo>
                  <a:lnTo>
                    <a:pt x="47" y="12"/>
                  </a:lnTo>
                  <a:lnTo>
                    <a:pt x="44" y="10"/>
                  </a:lnTo>
                  <a:lnTo>
                    <a:pt x="42" y="10"/>
                  </a:lnTo>
                  <a:lnTo>
                    <a:pt x="42" y="8"/>
                  </a:lnTo>
                  <a:lnTo>
                    <a:pt x="42" y="8"/>
                  </a:lnTo>
                  <a:lnTo>
                    <a:pt x="37" y="10"/>
                  </a:lnTo>
                  <a:lnTo>
                    <a:pt x="35" y="8"/>
                  </a:lnTo>
                  <a:lnTo>
                    <a:pt x="33" y="8"/>
                  </a:lnTo>
                  <a:lnTo>
                    <a:pt x="30" y="8"/>
                  </a:lnTo>
                  <a:lnTo>
                    <a:pt x="25" y="8"/>
                  </a:lnTo>
                  <a:lnTo>
                    <a:pt x="23" y="8"/>
                  </a:lnTo>
                  <a:lnTo>
                    <a:pt x="18" y="8"/>
                  </a:lnTo>
                  <a:lnTo>
                    <a:pt x="16" y="8"/>
                  </a:lnTo>
                  <a:lnTo>
                    <a:pt x="14" y="5"/>
                  </a:lnTo>
                  <a:lnTo>
                    <a:pt x="11" y="3"/>
                  </a:lnTo>
                  <a:lnTo>
                    <a:pt x="9" y="0"/>
                  </a:lnTo>
                  <a:lnTo>
                    <a:pt x="7" y="0"/>
                  </a:lnTo>
                  <a:lnTo>
                    <a:pt x="4" y="0"/>
                  </a:lnTo>
                  <a:lnTo>
                    <a:pt x="2" y="0"/>
                  </a:lnTo>
                  <a:lnTo>
                    <a:pt x="0" y="0"/>
                  </a:lnTo>
                  <a:lnTo>
                    <a:pt x="0" y="0"/>
                  </a:lnTo>
                  <a:lnTo>
                    <a:pt x="0" y="3"/>
                  </a:lnTo>
                  <a:lnTo>
                    <a:pt x="0" y="3"/>
                  </a:lnTo>
                  <a:lnTo>
                    <a:pt x="0" y="5"/>
                  </a:lnTo>
                  <a:lnTo>
                    <a:pt x="0" y="5"/>
                  </a:lnTo>
                  <a:lnTo>
                    <a:pt x="0" y="8"/>
                  </a:lnTo>
                  <a:lnTo>
                    <a:pt x="2" y="15"/>
                  </a:lnTo>
                  <a:lnTo>
                    <a:pt x="4" y="17"/>
                  </a:lnTo>
                  <a:lnTo>
                    <a:pt x="4" y="19"/>
                  </a:lnTo>
                  <a:lnTo>
                    <a:pt x="7" y="19"/>
                  </a:lnTo>
                  <a:lnTo>
                    <a:pt x="14" y="29"/>
                  </a:lnTo>
                  <a:lnTo>
                    <a:pt x="18" y="34"/>
                  </a:lnTo>
                  <a:lnTo>
                    <a:pt x="21" y="34"/>
                  </a:lnTo>
                  <a:lnTo>
                    <a:pt x="23" y="38"/>
                  </a:lnTo>
                  <a:lnTo>
                    <a:pt x="25" y="38"/>
                  </a:lnTo>
                  <a:lnTo>
                    <a:pt x="30" y="41"/>
                  </a:lnTo>
                  <a:lnTo>
                    <a:pt x="33" y="41"/>
                  </a:lnTo>
                  <a:lnTo>
                    <a:pt x="33" y="43"/>
                  </a:lnTo>
                  <a:lnTo>
                    <a:pt x="37" y="50"/>
                  </a:lnTo>
                  <a:lnTo>
                    <a:pt x="40" y="52"/>
                  </a:lnTo>
                  <a:lnTo>
                    <a:pt x="40" y="55"/>
                  </a:lnTo>
                  <a:lnTo>
                    <a:pt x="42" y="55"/>
                  </a:lnTo>
                  <a:lnTo>
                    <a:pt x="44" y="60"/>
                  </a:lnTo>
                  <a:lnTo>
                    <a:pt x="47" y="60"/>
                  </a:lnTo>
                  <a:lnTo>
                    <a:pt x="47" y="62"/>
                  </a:lnTo>
                  <a:lnTo>
                    <a:pt x="47" y="67"/>
                  </a:lnTo>
                  <a:lnTo>
                    <a:pt x="47" y="69"/>
                  </a:lnTo>
                  <a:lnTo>
                    <a:pt x="49" y="71"/>
                  </a:lnTo>
                  <a:lnTo>
                    <a:pt x="51" y="71"/>
                  </a:lnTo>
                  <a:lnTo>
                    <a:pt x="54" y="71"/>
                  </a:lnTo>
                  <a:lnTo>
                    <a:pt x="56" y="71"/>
                  </a:lnTo>
                  <a:lnTo>
                    <a:pt x="63" y="78"/>
                  </a:lnTo>
                  <a:lnTo>
                    <a:pt x="66" y="78"/>
                  </a:lnTo>
                  <a:lnTo>
                    <a:pt x="66" y="83"/>
                  </a:lnTo>
                  <a:lnTo>
                    <a:pt x="68" y="88"/>
                  </a:lnTo>
                  <a:lnTo>
                    <a:pt x="70" y="97"/>
                  </a:lnTo>
                  <a:lnTo>
                    <a:pt x="73" y="104"/>
                  </a:lnTo>
                  <a:lnTo>
                    <a:pt x="75" y="109"/>
                  </a:lnTo>
                  <a:lnTo>
                    <a:pt x="75" y="112"/>
                  </a:lnTo>
                  <a:lnTo>
                    <a:pt x="77" y="114"/>
                  </a:lnTo>
                  <a:lnTo>
                    <a:pt x="80" y="114"/>
                  </a:lnTo>
                  <a:lnTo>
                    <a:pt x="84" y="116"/>
                  </a:lnTo>
                  <a:lnTo>
                    <a:pt x="84" y="119"/>
                  </a:lnTo>
                  <a:lnTo>
                    <a:pt x="87" y="119"/>
                  </a:lnTo>
                  <a:lnTo>
                    <a:pt x="89" y="126"/>
                  </a:lnTo>
                  <a:lnTo>
                    <a:pt x="89" y="128"/>
                  </a:lnTo>
                  <a:lnTo>
                    <a:pt x="91" y="128"/>
                  </a:lnTo>
                  <a:lnTo>
                    <a:pt x="94" y="130"/>
                  </a:lnTo>
                  <a:lnTo>
                    <a:pt x="96" y="135"/>
                  </a:lnTo>
                  <a:lnTo>
                    <a:pt x="96" y="135"/>
                  </a:lnTo>
                  <a:lnTo>
                    <a:pt x="99" y="142"/>
                  </a:lnTo>
                  <a:lnTo>
                    <a:pt x="101" y="147"/>
                  </a:lnTo>
                  <a:lnTo>
                    <a:pt x="106" y="159"/>
                  </a:lnTo>
                  <a:lnTo>
                    <a:pt x="106" y="164"/>
                  </a:lnTo>
                  <a:lnTo>
                    <a:pt x="108" y="166"/>
                  </a:lnTo>
                  <a:lnTo>
                    <a:pt x="108" y="168"/>
                  </a:lnTo>
                  <a:lnTo>
                    <a:pt x="110" y="173"/>
                  </a:lnTo>
                  <a:lnTo>
                    <a:pt x="113" y="175"/>
                  </a:lnTo>
                  <a:lnTo>
                    <a:pt x="115" y="175"/>
                  </a:lnTo>
                  <a:lnTo>
                    <a:pt x="115" y="178"/>
                  </a:lnTo>
                  <a:lnTo>
                    <a:pt x="117" y="180"/>
                  </a:lnTo>
                  <a:lnTo>
                    <a:pt x="120" y="185"/>
                  </a:lnTo>
                  <a:lnTo>
                    <a:pt x="120" y="187"/>
                  </a:lnTo>
                  <a:lnTo>
                    <a:pt x="124" y="190"/>
                  </a:lnTo>
                  <a:lnTo>
                    <a:pt x="129" y="194"/>
                  </a:lnTo>
                  <a:lnTo>
                    <a:pt x="132" y="197"/>
                  </a:lnTo>
                  <a:lnTo>
                    <a:pt x="134" y="201"/>
                  </a:lnTo>
                  <a:lnTo>
                    <a:pt x="136" y="206"/>
                  </a:lnTo>
                  <a:lnTo>
                    <a:pt x="143" y="213"/>
                  </a:lnTo>
                  <a:lnTo>
                    <a:pt x="148" y="216"/>
                  </a:lnTo>
                  <a:lnTo>
                    <a:pt x="148" y="218"/>
                  </a:lnTo>
                  <a:lnTo>
                    <a:pt x="150" y="220"/>
                  </a:lnTo>
                  <a:lnTo>
                    <a:pt x="153" y="220"/>
                  </a:lnTo>
                  <a:lnTo>
                    <a:pt x="160" y="225"/>
                  </a:lnTo>
                  <a:lnTo>
                    <a:pt x="160" y="225"/>
                  </a:lnTo>
                  <a:lnTo>
                    <a:pt x="165" y="232"/>
                  </a:lnTo>
                  <a:lnTo>
                    <a:pt x="165" y="235"/>
                  </a:lnTo>
                  <a:lnTo>
                    <a:pt x="167" y="235"/>
                  </a:lnTo>
                  <a:lnTo>
                    <a:pt x="169" y="239"/>
                  </a:lnTo>
                  <a:lnTo>
                    <a:pt x="172" y="242"/>
                  </a:lnTo>
                  <a:lnTo>
                    <a:pt x="174" y="244"/>
                  </a:lnTo>
                  <a:lnTo>
                    <a:pt x="174" y="244"/>
                  </a:lnTo>
                  <a:lnTo>
                    <a:pt x="174" y="244"/>
                  </a:lnTo>
                  <a:lnTo>
                    <a:pt x="174" y="242"/>
                  </a:lnTo>
                  <a:lnTo>
                    <a:pt x="174" y="237"/>
                  </a:lnTo>
                  <a:lnTo>
                    <a:pt x="174" y="237"/>
                  </a:lnTo>
                  <a:lnTo>
                    <a:pt x="174" y="235"/>
                  </a:lnTo>
                  <a:lnTo>
                    <a:pt x="179" y="239"/>
                  </a:lnTo>
                  <a:lnTo>
                    <a:pt x="181" y="239"/>
                  </a:lnTo>
                  <a:lnTo>
                    <a:pt x="183" y="239"/>
                  </a:lnTo>
                  <a:lnTo>
                    <a:pt x="183"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6" name="Freeform 322"/>
            <p:cNvSpPr>
              <a:spLocks noEditPoints="1"/>
            </p:cNvSpPr>
            <p:nvPr userDrawn="1"/>
          </p:nvSpPr>
          <p:spPr bwMode="auto">
            <a:xfrm>
              <a:off x="5421" y="2689"/>
              <a:ext cx="853" cy="348"/>
            </a:xfrm>
            <a:custGeom>
              <a:avLst/>
              <a:gdLst>
                <a:gd name="T0" fmla="*/ 436 w 853"/>
                <a:gd name="T1" fmla="*/ 320 h 348"/>
                <a:gd name="T2" fmla="*/ 520 w 853"/>
                <a:gd name="T3" fmla="*/ 329 h 348"/>
                <a:gd name="T4" fmla="*/ 518 w 853"/>
                <a:gd name="T5" fmla="*/ 296 h 348"/>
                <a:gd name="T6" fmla="*/ 523 w 853"/>
                <a:gd name="T7" fmla="*/ 301 h 348"/>
                <a:gd name="T8" fmla="*/ 549 w 853"/>
                <a:gd name="T9" fmla="*/ 291 h 348"/>
                <a:gd name="T10" fmla="*/ 483 w 853"/>
                <a:gd name="T11" fmla="*/ 301 h 348"/>
                <a:gd name="T12" fmla="*/ 504 w 853"/>
                <a:gd name="T13" fmla="*/ 303 h 348"/>
                <a:gd name="T14" fmla="*/ 417 w 853"/>
                <a:gd name="T15" fmla="*/ 303 h 348"/>
                <a:gd name="T16" fmla="*/ 372 w 853"/>
                <a:gd name="T17" fmla="*/ 291 h 348"/>
                <a:gd name="T18" fmla="*/ 575 w 853"/>
                <a:gd name="T19" fmla="*/ 287 h 348"/>
                <a:gd name="T20" fmla="*/ 667 w 853"/>
                <a:gd name="T21" fmla="*/ 289 h 348"/>
                <a:gd name="T22" fmla="*/ 374 w 853"/>
                <a:gd name="T23" fmla="*/ 265 h 348"/>
                <a:gd name="T24" fmla="*/ 325 w 853"/>
                <a:gd name="T25" fmla="*/ 277 h 348"/>
                <a:gd name="T26" fmla="*/ 245 w 853"/>
                <a:gd name="T27" fmla="*/ 256 h 348"/>
                <a:gd name="T28" fmla="*/ 193 w 853"/>
                <a:gd name="T29" fmla="*/ 263 h 348"/>
                <a:gd name="T30" fmla="*/ 351 w 853"/>
                <a:gd name="T31" fmla="*/ 303 h 348"/>
                <a:gd name="T32" fmla="*/ 733 w 853"/>
                <a:gd name="T33" fmla="*/ 246 h 348"/>
                <a:gd name="T34" fmla="*/ 516 w 853"/>
                <a:gd name="T35" fmla="*/ 220 h 348"/>
                <a:gd name="T36" fmla="*/ 516 w 853"/>
                <a:gd name="T37" fmla="*/ 204 h 348"/>
                <a:gd name="T38" fmla="*/ 393 w 853"/>
                <a:gd name="T39" fmla="*/ 197 h 348"/>
                <a:gd name="T40" fmla="*/ 636 w 853"/>
                <a:gd name="T41" fmla="*/ 178 h 348"/>
                <a:gd name="T42" fmla="*/ 645 w 853"/>
                <a:gd name="T43" fmla="*/ 190 h 348"/>
                <a:gd name="T44" fmla="*/ 94 w 853"/>
                <a:gd name="T45" fmla="*/ 175 h 348"/>
                <a:gd name="T46" fmla="*/ 645 w 853"/>
                <a:gd name="T47" fmla="*/ 161 h 348"/>
                <a:gd name="T48" fmla="*/ 758 w 853"/>
                <a:gd name="T49" fmla="*/ 157 h 348"/>
                <a:gd name="T50" fmla="*/ 200 w 853"/>
                <a:gd name="T51" fmla="*/ 149 h 348"/>
                <a:gd name="T52" fmla="*/ 527 w 853"/>
                <a:gd name="T53" fmla="*/ 145 h 348"/>
                <a:gd name="T54" fmla="*/ 66 w 853"/>
                <a:gd name="T55" fmla="*/ 145 h 348"/>
                <a:gd name="T56" fmla="*/ 596 w 853"/>
                <a:gd name="T57" fmla="*/ 133 h 348"/>
                <a:gd name="T58" fmla="*/ 751 w 853"/>
                <a:gd name="T59" fmla="*/ 187 h 348"/>
                <a:gd name="T60" fmla="*/ 688 w 853"/>
                <a:gd name="T61" fmla="*/ 128 h 348"/>
                <a:gd name="T62" fmla="*/ 718 w 853"/>
                <a:gd name="T63" fmla="*/ 171 h 348"/>
                <a:gd name="T64" fmla="*/ 718 w 853"/>
                <a:gd name="T65" fmla="*/ 183 h 348"/>
                <a:gd name="T66" fmla="*/ 791 w 853"/>
                <a:gd name="T67" fmla="*/ 232 h 348"/>
                <a:gd name="T68" fmla="*/ 810 w 853"/>
                <a:gd name="T69" fmla="*/ 284 h 348"/>
                <a:gd name="T70" fmla="*/ 848 w 853"/>
                <a:gd name="T71" fmla="*/ 246 h 348"/>
                <a:gd name="T72" fmla="*/ 598 w 853"/>
                <a:gd name="T73" fmla="*/ 126 h 348"/>
                <a:gd name="T74" fmla="*/ 659 w 853"/>
                <a:gd name="T75" fmla="*/ 126 h 348"/>
                <a:gd name="T76" fmla="*/ 49 w 853"/>
                <a:gd name="T77" fmla="*/ 95 h 348"/>
                <a:gd name="T78" fmla="*/ 452 w 853"/>
                <a:gd name="T79" fmla="*/ 192 h 348"/>
                <a:gd name="T80" fmla="*/ 478 w 853"/>
                <a:gd name="T81" fmla="*/ 175 h 348"/>
                <a:gd name="T82" fmla="*/ 509 w 853"/>
                <a:gd name="T83" fmla="*/ 201 h 348"/>
                <a:gd name="T84" fmla="*/ 525 w 853"/>
                <a:gd name="T85" fmla="*/ 140 h 348"/>
                <a:gd name="T86" fmla="*/ 469 w 853"/>
                <a:gd name="T87" fmla="*/ 109 h 348"/>
                <a:gd name="T88" fmla="*/ 542 w 853"/>
                <a:gd name="T89" fmla="*/ 97 h 348"/>
                <a:gd name="T90" fmla="*/ 461 w 853"/>
                <a:gd name="T91" fmla="*/ 119 h 348"/>
                <a:gd name="T92" fmla="*/ 605 w 853"/>
                <a:gd name="T93" fmla="*/ 112 h 348"/>
                <a:gd name="T94" fmla="*/ 624 w 853"/>
                <a:gd name="T95" fmla="*/ 86 h 348"/>
                <a:gd name="T96" fmla="*/ 617 w 853"/>
                <a:gd name="T97" fmla="*/ 67 h 348"/>
                <a:gd name="T98" fmla="*/ 261 w 853"/>
                <a:gd name="T99" fmla="*/ 123 h 348"/>
                <a:gd name="T100" fmla="*/ 308 w 853"/>
                <a:gd name="T101" fmla="*/ 180 h 348"/>
                <a:gd name="T102" fmla="*/ 388 w 853"/>
                <a:gd name="T103" fmla="*/ 190 h 348"/>
                <a:gd name="T104" fmla="*/ 407 w 853"/>
                <a:gd name="T105" fmla="*/ 145 h 348"/>
                <a:gd name="T106" fmla="*/ 419 w 853"/>
                <a:gd name="T107" fmla="*/ 60 h 348"/>
                <a:gd name="T108" fmla="*/ 393 w 853"/>
                <a:gd name="T109" fmla="*/ 26 h 348"/>
                <a:gd name="T110" fmla="*/ 365 w 853"/>
                <a:gd name="T111" fmla="*/ 81 h 348"/>
                <a:gd name="T112" fmla="*/ 278 w 853"/>
                <a:gd name="T113" fmla="*/ 93 h 348"/>
                <a:gd name="T114" fmla="*/ 198 w 853"/>
                <a:gd name="T115" fmla="*/ 194 h 348"/>
                <a:gd name="T116" fmla="*/ 155 w 853"/>
                <a:gd name="T117" fmla="*/ 123 h 348"/>
                <a:gd name="T118" fmla="*/ 101 w 853"/>
                <a:gd name="T119" fmla="*/ 71 h 348"/>
                <a:gd name="T120" fmla="*/ 0 w 853"/>
                <a:gd name="T121" fmla="*/ 5 h 348"/>
                <a:gd name="T122" fmla="*/ 108 w 853"/>
                <a:gd name="T123" fmla="*/ 16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348">
                  <a:moveTo>
                    <a:pt x="516" y="341"/>
                  </a:moveTo>
                  <a:lnTo>
                    <a:pt x="516" y="341"/>
                  </a:lnTo>
                  <a:lnTo>
                    <a:pt x="516" y="341"/>
                  </a:lnTo>
                  <a:lnTo>
                    <a:pt x="516" y="341"/>
                  </a:lnTo>
                  <a:lnTo>
                    <a:pt x="513" y="341"/>
                  </a:lnTo>
                  <a:lnTo>
                    <a:pt x="511" y="343"/>
                  </a:lnTo>
                  <a:lnTo>
                    <a:pt x="509" y="346"/>
                  </a:lnTo>
                  <a:lnTo>
                    <a:pt x="504" y="346"/>
                  </a:lnTo>
                  <a:lnTo>
                    <a:pt x="504" y="348"/>
                  </a:lnTo>
                  <a:lnTo>
                    <a:pt x="504" y="348"/>
                  </a:lnTo>
                  <a:lnTo>
                    <a:pt x="504" y="348"/>
                  </a:lnTo>
                  <a:lnTo>
                    <a:pt x="506" y="348"/>
                  </a:lnTo>
                  <a:lnTo>
                    <a:pt x="509" y="348"/>
                  </a:lnTo>
                  <a:lnTo>
                    <a:pt x="511" y="348"/>
                  </a:lnTo>
                  <a:lnTo>
                    <a:pt x="513" y="346"/>
                  </a:lnTo>
                  <a:lnTo>
                    <a:pt x="516" y="343"/>
                  </a:lnTo>
                  <a:lnTo>
                    <a:pt x="516" y="343"/>
                  </a:lnTo>
                  <a:lnTo>
                    <a:pt x="516" y="341"/>
                  </a:lnTo>
                  <a:moveTo>
                    <a:pt x="487" y="339"/>
                  </a:moveTo>
                  <a:lnTo>
                    <a:pt x="485" y="341"/>
                  </a:lnTo>
                  <a:lnTo>
                    <a:pt x="485" y="341"/>
                  </a:lnTo>
                  <a:lnTo>
                    <a:pt x="485" y="341"/>
                  </a:lnTo>
                  <a:lnTo>
                    <a:pt x="487" y="343"/>
                  </a:lnTo>
                  <a:lnTo>
                    <a:pt x="487" y="343"/>
                  </a:lnTo>
                  <a:lnTo>
                    <a:pt x="490" y="341"/>
                  </a:lnTo>
                  <a:lnTo>
                    <a:pt x="490" y="339"/>
                  </a:lnTo>
                  <a:lnTo>
                    <a:pt x="490" y="339"/>
                  </a:lnTo>
                  <a:lnTo>
                    <a:pt x="487" y="339"/>
                  </a:lnTo>
                  <a:moveTo>
                    <a:pt x="466" y="327"/>
                  </a:moveTo>
                  <a:lnTo>
                    <a:pt x="466" y="327"/>
                  </a:lnTo>
                  <a:lnTo>
                    <a:pt x="464" y="324"/>
                  </a:lnTo>
                  <a:lnTo>
                    <a:pt x="464" y="322"/>
                  </a:lnTo>
                  <a:lnTo>
                    <a:pt x="461" y="322"/>
                  </a:lnTo>
                  <a:lnTo>
                    <a:pt x="461" y="322"/>
                  </a:lnTo>
                  <a:lnTo>
                    <a:pt x="459" y="322"/>
                  </a:lnTo>
                  <a:lnTo>
                    <a:pt x="459" y="322"/>
                  </a:lnTo>
                  <a:lnTo>
                    <a:pt x="459" y="320"/>
                  </a:lnTo>
                  <a:lnTo>
                    <a:pt x="459" y="320"/>
                  </a:lnTo>
                  <a:lnTo>
                    <a:pt x="457" y="317"/>
                  </a:lnTo>
                  <a:lnTo>
                    <a:pt x="454" y="317"/>
                  </a:lnTo>
                  <a:lnTo>
                    <a:pt x="454" y="315"/>
                  </a:lnTo>
                  <a:lnTo>
                    <a:pt x="454" y="315"/>
                  </a:lnTo>
                  <a:lnTo>
                    <a:pt x="452" y="317"/>
                  </a:lnTo>
                  <a:lnTo>
                    <a:pt x="450" y="317"/>
                  </a:lnTo>
                  <a:lnTo>
                    <a:pt x="447" y="317"/>
                  </a:lnTo>
                  <a:lnTo>
                    <a:pt x="445" y="317"/>
                  </a:lnTo>
                  <a:lnTo>
                    <a:pt x="443" y="317"/>
                  </a:lnTo>
                  <a:lnTo>
                    <a:pt x="440" y="317"/>
                  </a:lnTo>
                  <a:lnTo>
                    <a:pt x="436" y="317"/>
                  </a:lnTo>
                  <a:lnTo>
                    <a:pt x="436" y="320"/>
                  </a:lnTo>
                  <a:lnTo>
                    <a:pt x="436" y="320"/>
                  </a:lnTo>
                  <a:lnTo>
                    <a:pt x="436" y="322"/>
                  </a:lnTo>
                  <a:lnTo>
                    <a:pt x="436" y="322"/>
                  </a:lnTo>
                  <a:lnTo>
                    <a:pt x="436" y="322"/>
                  </a:lnTo>
                  <a:lnTo>
                    <a:pt x="438" y="324"/>
                  </a:lnTo>
                  <a:lnTo>
                    <a:pt x="443" y="324"/>
                  </a:lnTo>
                  <a:lnTo>
                    <a:pt x="443" y="324"/>
                  </a:lnTo>
                  <a:lnTo>
                    <a:pt x="445" y="324"/>
                  </a:lnTo>
                  <a:lnTo>
                    <a:pt x="447" y="324"/>
                  </a:lnTo>
                  <a:lnTo>
                    <a:pt x="450" y="329"/>
                  </a:lnTo>
                  <a:lnTo>
                    <a:pt x="452" y="329"/>
                  </a:lnTo>
                  <a:lnTo>
                    <a:pt x="454" y="331"/>
                  </a:lnTo>
                  <a:lnTo>
                    <a:pt x="454" y="331"/>
                  </a:lnTo>
                  <a:lnTo>
                    <a:pt x="457" y="334"/>
                  </a:lnTo>
                  <a:lnTo>
                    <a:pt x="457" y="334"/>
                  </a:lnTo>
                  <a:lnTo>
                    <a:pt x="461" y="336"/>
                  </a:lnTo>
                  <a:lnTo>
                    <a:pt x="461" y="336"/>
                  </a:lnTo>
                  <a:lnTo>
                    <a:pt x="464" y="334"/>
                  </a:lnTo>
                  <a:lnTo>
                    <a:pt x="466" y="334"/>
                  </a:lnTo>
                  <a:lnTo>
                    <a:pt x="466" y="334"/>
                  </a:lnTo>
                  <a:lnTo>
                    <a:pt x="469" y="331"/>
                  </a:lnTo>
                  <a:lnTo>
                    <a:pt x="469" y="331"/>
                  </a:lnTo>
                  <a:lnTo>
                    <a:pt x="469" y="329"/>
                  </a:lnTo>
                  <a:lnTo>
                    <a:pt x="466" y="327"/>
                  </a:lnTo>
                  <a:moveTo>
                    <a:pt x="549" y="308"/>
                  </a:moveTo>
                  <a:lnTo>
                    <a:pt x="546" y="310"/>
                  </a:lnTo>
                  <a:lnTo>
                    <a:pt x="546" y="310"/>
                  </a:lnTo>
                  <a:lnTo>
                    <a:pt x="546" y="310"/>
                  </a:lnTo>
                  <a:lnTo>
                    <a:pt x="546" y="308"/>
                  </a:lnTo>
                  <a:lnTo>
                    <a:pt x="546" y="308"/>
                  </a:lnTo>
                  <a:lnTo>
                    <a:pt x="542" y="310"/>
                  </a:lnTo>
                  <a:lnTo>
                    <a:pt x="542" y="310"/>
                  </a:lnTo>
                  <a:lnTo>
                    <a:pt x="539" y="313"/>
                  </a:lnTo>
                  <a:lnTo>
                    <a:pt x="537" y="313"/>
                  </a:lnTo>
                  <a:lnTo>
                    <a:pt x="537" y="315"/>
                  </a:lnTo>
                  <a:lnTo>
                    <a:pt x="537" y="315"/>
                  </a:lnTo>
                  <a:lnTo>
                    <a:pt x="535" y="317"/>
                  </a:lnTo>
                  <a:lnTo>
                    <a:pt x="535" y="317"/>
                  </a:lnTo>
                  <a:lnTo>
                    <a:pt x="535" y="317"/>
                  </a:lnTo>
                  <a:lnTo>
                    <a:pt x="532" y="317"/>
                  </a:lnTo>
                  <a:lnTo>
                    <a:pt x="530" y="317"/>
                  </a:lnTo>
                  <a:lnTo>
                    <a:pt x="530" y="317"/>
                  </a:lnTo>
                  <a:lnTo>
                    <a:pt x="530" y="317"/>
                  </a:lnTo>
                  <a:lnTo>
                    <a:pt x="530" y="315"/>
                  </a:lnTo>
                  <a:lnTo>
                    <a:pt x="527" y="317"/>
                  </a:lnTo>
                  <a:lnTo>
                    <a:pt x="525" y="317"/>
                  </a:lnTo>
                  <a:lnTo>
                    <a:pt x="523" y="322"/>
                  </a:lnTo>
                  <a:lnTo>
                    <a:pt x="523" y="324"/>
                  </a:lnTo>
                  <a:lnTo>
                    <a:pt x="520" y="327"/>
                  </a:lnTo>
                  <a:lnTo>
                    <a:pt x="520" y="329"/>
                  </a:lnTo>
                  <a:lnTo>
                    <a:pt x="520" y="329"/>
                  </a:lnTo>
                  <a:lnTo>
                    <a:pt x="523" y="331"/>
                  </a:lnTo>
                  <a:lnTo>
                    <a:pt x="523" y="331"/>
                  </a:lnTo>
                  <a:lnTo>
                    <a:pt x="520" y="334"/>
                  </a:lnTo>
                  <a:lnTo>
                    <a:pt x="520" y="334"/>
                  </a:lnTo>
                  <a:lnTo>
                    <a:pt x="520" y="336"/>
                  </a:lnTo>
                  <a:lnTo>
                    <a:pt x="520" y="336"/>
                  </a:lnTo>
                  <a:lnTo>
                    <a:pt x="523" y="336"/>
                  </a:lnTo>
                  <a:lnTo>
                    <a:pt x="525" y="336"/>
                  </a:lnTo>
                  <a:lnTo>
                    <a:pt x="527" y="336"/>
                  </a:lnTo>
                  <a:lnTo>
                    <a:pt x="530" y="334"/>
                  </a:lnTo>
                  <a:lnTo>
                    <a:pt x="535" y="334"/>
                  </a:lnTo>
                  <a:lnTo>
                    <a:pt x="535" y="334"/>
                  </a:lnTo>
                  <a:lnTo>
                    <a:pt x="537" y="331"/>
                  </a:lnTo>
                  <a:lnTo>
                    <a:pt x="539" y="329"/>
                  </a:lnTo>
                  <a:lnTo>
                    <a:pt x="542" y="329"/>
                  </a:lnTo>
                  <a:lnTo>
                    <a:pt x="544" y="324"/>
                  </a:lnTo>
                  <a:lnTo>
                    <a:pt x="546" y="322"/>
                  </a:lnTo>
                  <a:lnTo>
                    <a:pt x="546" y="320"/>
                  </a:lnTo>
                  <a:lnTo>
                    <a:pt x="549" y="320"/>
                  </a:lnTo>
                  <a:lnTo>
                    <a:pt x="549" y="317"/>
                  </a:lnTo>
                  <a:lnTo>
                    <a:pt x="546" y="315"/>
                  </a:lnTo>
                  <a:lnTo>
                    <a:pt x="546" y="315"/>
                  </a:lnTo>
                  <a:lnTo>
                    <a:pt x="546" y="315"/>
                  </a:lnTo>
                  <a:lnTo>
                    <a:pt x="546" y="313"/>
                  </a:lnTo>
                  <a:lnTo>
                    <a:pt x="546" y="313"/>
                  </a:lnTo>
                  <a:lnTo>
                    <a:pt x="549" y="313"/>
                  </a:lnTo>
                  <a:lnTo>
                    <a:pt x="551" y="310"/>
                  </a:lnTo>
                  <a:lnTo>
                    <a:pt x="551" y="310"/>
                  </a:lnTo>
                  <a:lnTo>
                    <a:pt x="551" y="310"/>
                  </a:lnTo>
                  <a:lnTo>
                    <a:pt x="549" y="308"/>
                  </a:lnTo>
                  <a:moveTo>
                    <a:pt x="447" y="301"/>
                  </a:moveTo>
                  <a:lnTo>
                    <a:pt x="447" y="298"/>
                  </a:lnTo>
                  <a:lnTo>
                    <a:pt x="447" y="298"/>
                  </a:lnTo>
                  <a:lnTo>
                    <a:pt x="447" y="298"/>
                  </a:lnTo>
                  <a:lnTo>
                    <a:pt x="447" y="298"/>
                  </a:lnTo>
                  <a:lnTo>
                    <a:pt x="447" y="298"/>
                  </a:lnTo>
                  <a:lnTo>
                    <a:pt x="447" y="298"/>
                  </a:lnTo>
                  <a:lnTo>
                    <a:pt x="445" y="296"/>
                  </a:lnTo>
                  <a:lnTo>
                    <a:pt x="445" y="298"/>
                  </a:lnTo>
                  <a:lnTo>
                    <a:pt x="445" y="298"/>
                  </a:lnTo>
                  <a:lnTo>
                    <a:pt x="445" y="301"/>
                  </a:lnTo>
                  <a:lnTo>
                    <a:pt x="445" y="301"/>
                  </a:lnTo>
                  <a:lnTo>
                    <a:pt x="445" y="303"/>
                  </a:lnTo>
                  <a:lnTo>
                    <a:pt x="445" y="303"/>
                  </a:lnTo>
                  <a:lnTo>
                    <a:pt x="445" y="303"/>
                  </a:lnTo>
                  <a:lnTo>
                    <a:pt x="445" y="301"/>
                  </a:lnTo>
                  <a:lnTo>
                    <a:pt x="447" y="301"/>
                  </a:lnTo>
                  <a:lnTo>
                    <a:pt x="447" y="301"/>
                  </a:lnTo>
                  <a:moveTo>
                    <a:pt x="518" y="296"/>
                  </a:moveTo>
                  <a:lnTo>
                    <a:pt x="518" y="294"/>
                  </a:lnTo>
                  <a:lnTo>
                    <a:pt x="516" y="294"/>
                  </a:lnTo>
                  <a:lnTo>
                    <a:pt x="513" y="294"/>
                  </a:lnTo>
                  <a:lnTo>
                    <a:pt x="513" y="294"/>
                  </a:lnTo>
                  <a:lnTo>
                    <a:pt x="513" y="294"/>
                  </a:lnTo>
                  <a:lnTo>
                    <a:pt x="511" y="296"/>
                  </a:lnTo>
                  <a:lnTo>
                    <a:pt x="518" y="296"/>
                  </a:lnTo>
                  <a:lnTo>
                    <a:pt x="518" y="296"/>
                  </a:lnTo>
                  <a:moveTo>
                    <a:pt x="395" y="296"/>
                  </a:moveTo>
                  <a:lnTo>
                    <a:pt x="395" y="294"/>
                  </a:lnTo>
                  <a:lnTo>
                    <a:pt x="395" y="294"/>
                  </a:lnTo>
                  <a:lnTo>
                    <a:pt x="393" y="294"/>
                  </a:lnTo>
                  <a:lnTo>
                    <a:pt x="391" y="291"/>
                  </a:lnTo>
                  <a:lnTo>
                    <a:pt x="388" y="294"/>
                  </a:lnTo>
                  <a:lnTo>
                    <a:pt x="386" y="294"/>
                  </a:lnTo>
                  <a:lnTo>
                    <a:pt x="384" y="296"/>
                  </a:lnTo>
                  <a:lnTo>
                    <a:pt x="384" y="301"/>
                  </a:lnTo>
                  <a:lnTo>
                    <a:pt x="384" y="303"/>
                  </a:lnTo>
                  <a:lnTo>
                    <a:pt x="381" y="303"/>
                  </a:lnTo>
                  <a:lnTo>
                    <a:pt x="379" y="303"/>
                  </a:lnTo>
                  <a:lnTo>
                    <a:pt x="379" y="303"/>
                  </a:lnTo>
                  <a:lnTo>
                    <a:pt x="379" y="303"/>
                  </a:lnTo>
                  <a:lnTo>
                    <a:pt x="379" y="305"/>
                  </a:lnTo>
                  <a:lnTo>
                    <a:pt x="381" y="305"/>
                  </a:lnTo>
                  <a:lnTo>
                    <a:pt x="386" y="308"/>
                  </a:lnTo>
                  <a:lnTo>
                    <a:pt x="386" y="308"/>
                  </a:lnTo>
                  <a:lnTo>
                    <a:pt x="388" y="308"/>
                  </a:lnTo>
                  <a:lnTo>
                    <a:pt x="393" y="305"/>
                  </a:lnTo>
                  <a:lnTo>
                    <a:pt x="391" y="305"/>
                  </a:lnTo>
                  <a:lnTo>
                    <a:pt x="391" y="305"/>
                  </a:lnTo>
                  <a:lnTo>
                    <a:pt x="393" y="301"/>
                  </a:lnTo>
                  <a:lnTo>
                    <a:pt x="395" y="296"/>
                  </a:lnTo>
                  <a:moveTo>
                    <a:pt x="530" y="296"/>
                  </a:moveTo>
                  <a:lnTo>
                    <a:pt x="532" y="298"/>
                  </a:lnTo>
                  <a:lnTo>
                    <a:pt x="532" y="298"/>
                  </a:lnTo>
                  <a:lnTo>
                    <a:pt x="535" y="298"/>
                  </a:lnTo>
                  <a:lnTo>
                    <a:pt x="535" y="296"/>
                  </a:lnTo>
                  <a:lnTo>
                    <a:pt x="535" y="294"/>
                  </a:lnTo>
                  <a:lnTo>
                    <a:pt x="537" y="294"/>
                  </a:lnTo>
                  <a:lnTo>
                    <a:pt x="537" y="291"/>
                  </a:lnTo>
                  <a:lnTo>
                    <a:pt x="535" y="291"/>
                  </a:lnTo>
                  <a:lnTo>
                    <a:pt x="535" y="291"/>
                  </a:lnTo>
                  <a:lnTo>
                    <a:pt x="532" y="296"/>
                  </a:lnTo>
                  <a:lnTo>
                    <a:pt x="532" y="296"/>
                  </a:lnTo>
                  <a:lnTo>
                    <a:pt x="532" y="294"/>
                  </a:lnTo>
                  <a:lnTo>
                    <a:pt x="530" y="294"/>
                  </a:lnTo>
                  <a:lnTo>
                    <a:pt x="530" y="296"/>
                  </a:lnTo>
                  <a:lnTo>
                    <a:pt x="530" y="296"/>
                  </a:lnTo>
                  <a:lnTo>
                    <a:pt x="530" y="296"/>
                  </a:lnTo>
                  <a:moveTo>
                    <a:pt x="523" y="301"/>
                  </a:moveTo>
                  <a:lnTo>
                    <a:pt x="523" y="298"/>
                  </a:lnTo>
                  <a:lnTo>
                    <a:pt x="523" y="298"/>
                  </a:lnTo>
                  <a:lnTo>
                    <a:pt x="523" y="298"/>
                  </a:lnTo>
                  <a:lnTo>
                    <a:pt x="523" y="298"/>
                  </a:lnTo>
                  <a:lnTo>
                    <a:pt x="523" y="296"/>
                  </a:lnTo>
                  <a:lnTo>
                    <a:pt x="525" y="296"/>
                  </a:lnTo>
                  <a:lnTo>
                    <a:pt x="527" y="294"/>
                  </a:lnTo>
                  <a:lnTo>
                    <a:pt x="530" y="294"/>
                  </a:lnTo>
                  <a:lnTo>
                    <a:pt x="527" y="294"/>
                  </a:lnTo>
                  <a:lnTo>
                    <a:pt x="527" y="291"/>
                  </a:lnTo>
                  <a:lnTo>
                    <a:pt x="527" y="291"/>
                  </a:lnTo>
                  <a:lnTo>
                    <a:pt x="523" y="294"/>
                  </a:lnTo>
                  <a:lnTo>
                    <a:pt x="523" y="294"/>
                  </a:lnTo>
                  <a:lnTo>
                    <a:pt x="523" y="294"/>
                  </a:lnTo>
                  <a:lnTo>
                    <a:pt x="520" y="294"/>
                  </a:lnTo>
                  <a:lnTo>
                    <a:pt x="518" y="294"/>
                  </a:lnTo>
                  <a:lnTo>
                    <a:pt x="518" y="294"/>
                  </a:lnTo>
                  <a:lnTo>
                    <a:pt x="520" y="294"/>
                  </a:lnTo>
                  <a:lnTo>
                    <a:pt x="520" y="294"/>
                  </a:lnTo>
                  <a:lnTo>
                    <a:pt x="520" y="296"/>
                  </a:lnTo>
                  <a:lnTo>
                    <a:pt x="518" y="296"/>
                  </a:lnTo>
                  <a:lnTo>
                    <a:pt x="516" y="298"/>
                  </a:lnTo>
                  <a:lnTo>
                    <a:pt x="516" y="298"/>
                  </a:lnTo>
                  <a:lnTo>
                    <a:pt x="518" y="298"/>
                  </a:lnTo>
                  <a:lnTo>
                    <a:pt x="518" y="301"/>
                  </a:lnTo>
                  <a:lnTo>
                    <a:pt x="520" y="301"/>
                  </a:lnTo>
                  <a:lnTo>
                    <a:pt x="520" y="298"/>
                  </a:lnTo>
                  <a:lnTo>
                    <a:pt x="523" y="301"/>
                  </a:lnTo>
                  <a:moveTo>
                    <a:pt x="803" y="291"/>
                  </a:moveTo>
                  <a:lnTo>
                    <a:pt x="803" y="291"/>
                  </a:lnTo>
                  <a:lnTo>
                    <a:pt x="801" y="294"/>
                  </a:lnTo>
                  <a:lnTo>
                    <a:pt x="801" y="294"/>
                  </a:lnTo>
                  <a:lnTo>
                    <a:pt x="801" y="294"/>
                  </a:lnTo>
                  <a:lnTo>
                    <a:pt x="801" y="296"/>
                  </a:lnTo>
                  <a:lnTo>
                    <a:pt x="806" y="296"/>
                  </a:lnTo>
                  <a:lnTo>
                    <a:pt x="806" y="296"/>
                  </a:lnTo>
                  <a:lnTo>
                    <a:pt x="806" y="294"/>
                  </a:lnTo>
                  <a:lnTo>
                    <a:pt x="806" y="291"/>
                  </a:lnTo>
                  <a:lnTo>
                    <a:pt x="803" y="291"/>
                  </a:lnTo>
                  <a:moveTo>
                    <a:pt x="410" y="296"/>
                  </a:moveTo>
                  <a:lnTo>
                    <a:pt x="412" y="296"/>
                  </a:lnTo>
                  <a:lnTo>
                    <a:pt x="414" y="291"/>
                  </a:lnTo>
                  <a:lnTo>
                    <a:pt x="412" y="291"/>
                  </a:lnTo>
                  <a:lnTo>
                    <a:pt x="412" y="291"/>
                  </a:lnTo>
                  <a:lnTo>
                    <a:pt x="410" y="291"/>
                  </a:lnTo>
                  <a:lnTo>
                    <a:pt x="410" y="294"/>
                  </a:lnTo>
                  <a:lnTo>
                    <a:pt x="410" y="294"/>
                  </a:lnTo>
                  <a:lnTo>
                    <a:pt x="410" y="296"/>
                  </a:lnTo>
                  <a:lnTo>
                    <a:pt x="410" y="296"/>
                  </a:lnTo>
                  <a:moveTo>
                    <a:pt x="549" y="291"/>
                  </a:moveTo>
                  <a:lnTo>
                    <a:pt x="544" y="291"/>
                  </a:lnTo>
                  <a:lnTo>
                    <a:pt x="544" y="291"/>
                  </a:lnTo>
                  <a:lnTo>
                    <a:pt x="542" y="291"/>
                  </a:lnTo>
                  <a:lnTo>
                    <a:pt x="542" y="291"/>
                  </a:lnTo>
                  <a:lnTo>
                    <a:pt x="539" y="291"/>
                  </a:lnTo>
                  <a:lnTo>
                    <a:pt x="539" y="291"/>
                  </a:lnTo>
                  <a:lnTo>
                    <a:pt x="537" y="294"/>
                  </a:lnTo>
                  <a:lnTo>
                    <a:pt x="539" y="294"/>
                  </a:lnTo>
                  <a:lnTo>
                    <a:pt x="537" y="296"/>
                  </a:lnTo>
                  <a:lnTo>
                    <a:pt x="537" y="296"/>
                  </a:lnTo>
                  <a:lnTo>
                    <a:pt x="539" y="296"/>
                  </a:lnTo>
                  <a:lnTo>
                    <a:pt x="551" y="296"/>
                  </a:lnTo>
                  <a:lnTo>
                    <a:pt x="551" y="294"/>
                  </a:lnTo>
                  <a:lnTo>
                    <a:pt x="551" y="291"/>
                  </a:lnTo>
                  <a:lnTo>
                    <a:pt x="551" y="291"/>
                  </a:lnTo>
                  <a:lnTo>
                    <a:pt x="549" y="291"/>
                  </a:lnTo>
                  <a:moveTo>
                    <a:pt x="506" y="301"/>
                  </a:moveTo>
                  <a:lnTo>
                    <a:pt x="509" y="301"/>
                  </a:lnTo>
                  <a:lnTo>
                    <a:pt x="509" y="298"/>
                  </a:lnTo>
                  <a:lnTo>
                    <a:pt x="509" y="298"/>
                  </a:lnTo>
                  <a:lnTo>
                    <a:pt x="511" y="296"/>
                  </a:lnTo>
                  <a:lnTo>
                    <a:pt x="511" y="296"/>
                  </a:lnTo>
                  <a:lnTo>
                    <a:pt x="511" y="296"/>
                  </a:lnTo>
                  <a:lnTo>
                    <a:pt x="511" y="294"/>
                  </a:lnTo>
                  <a:lnTo>
                    <a:pt x="511" y="291"/>
                  </a:lnTo>
                  <a:lnTo>
                    <a:pt x="511" y="289"/>
                  </a:lnTo>
                  <a:lnTo>
                    <a:pt x="509" y="289"/>
                  </a:lnTo>
                  <a:lnTo>
                    <a:pt x="509" y="291"/>
                  </a:lnTo>
                  <a:lnTo>
                    <a:pt x="509" y="291"/>
                  </a:lnTo>
                  <a:lnTo>
                    <a:pt x="511" y="291"/>
                  </a:lnTo>
                  <a:lnTo>
                    <a:pt x="509" y="294"/>
                  </a:lnTo>
                  <a:lnTo>
                    <a:pt x="506" y="296"/>
                  </a:lnTo>
                  <a:lnTo>
                    <a:pt x="504" y="296"/>
                  </a:lnTo>
                  <a:lnTo>
                    <a:pt x="504" y="296"/>
                  </a:lnTo>
                  <a:lnTo>
                    <a:pt x="502" y="298"/>
                  </a:lnTo>
                  <a:lnTo>
                    <a:pt x="502" y="298"/>
                  </a:lnTo>
                  <a:lnTo>
                    <a:pt x="502" y="301"/>
                  </a:lnTo>
                  <a:lnTo>
                    <a:pt x="502" y="301"/>
                  </a:lnTo>
                  <a:lnTo>
                    <a:pt x="499" y="301"/>
                  </a:lnTo>
                  <a:lnTo>
                    <a:pt x="497" y="301"/>
                  </a:lnTo>
                  <a:lnTo>
                    <a:pt x="494" y="298"/>
                  </a:lnTo>
                  <a:lnTo>
                    <a:pt x="494" y="298"/>
                  </a:lnTo>
                  <a:lnTo>
                    <a:pt x="492" y="298"/>
                  </a:lnTo>
                  <a:lnTo>
                    <a:pt x="492" y="298"/>
                  </a:lnTo>
                  <a:lnTo>
                    <a:pt x="490" y="298"/>
                  </a:lnTo>
                  <a:lnTo>
                    <a:pt x="487" y="298"/>
                  </a:lnTo>
                  <a:lnTo>
                    <a:pt x="487" y="298"/>
                  </a:lnTo>
                  <a:lnTo>
                    <a:pt x="485" y="298"/>
                  </a:lnTo>
                  <a:lnTo>
                    <a:pt x="485" y="301"/>
                  </a:lnTo>
                  <a:lnTo>
                    <a:pt x="483" y="301"/>
                  </a:lnTo>
                  <a:lnTo>
                    <a:pt x="483" y="301"/>
                  </a:lnTo>
                  <a:lnTo>
                    <a:pt x="480" y="298"/>
                  </a:lnTo>
                  <a:lnTo>
                    <a:pt x="480" y="298"/>
                  </a:lnTo>
                  <a:lnTo>
                    <a:pt x="476" y="296"/>
                  </a:lnTo>
                  <a:lnTo>
                    <a:pt x="476" y="296"/>
                  </a:lnTo>
                  <a:lnTo>
                    <a:pt x="473" y="294"/>
                  </a:lnTo>
                  <a:lnTo>
                    <a:pt x="471" y="294"/>
                  </a:lnTo>
                  <a:lnTo>
                    <a:pt x="469" y="294"/>
                  </a:lnTo>
                  <a:lnTo>
                    <a:pt x="469" y="294"/>
                  </a:lnTo>
                  <a:lnTo>
                    <a:pt x="466" y="294"/>
                  </a:lnTo>
                  <a:lnTo>
                    <a:pt x="466" y="294"/>
                  </a:lnTo>
                  <a:lnTo>
                    <a:pt x="464" y="294"/>
                  </a:lnTo>
                  <a:lnTo>
                    <a:pt x="464" y="294"/>
                  </a:lnTo>
                  <a:lnTo>
                    <a:pt x="461" y="294"/>
                  </a:lnTo>
                  <a:lnTo>
                    <a:pt x="459" y="296"/>
                  </a:lnTo>
                  <a:lnTo>
                    <a:pt x="454" y="296"/>
                  </a:lnTo>
                  <a:lnTo>
                    <a:pt x="454" y="296"/>
                  </a:lnTo>
                  <a:lnTo>
                    <a:pt x="454" y="296"/>
                  </a:lnTo>
                  <a:lnTo>
                    <a:pt x="454" y="298"/>
                  </a:lnTo>
                  <a:lnTo>
                    <a:pt x="452" y="298"/>
                  </a:lnTo>
                  <a:lnTo>
                    <a:pt x="452" y="301"/>
                  </a:lnTo>
                  <a:lnTo>
                    <a:pt x="452" y="301"/>
                  </a:lnTo>
                  <a:lnTo>
                    <a:pt x="452" y="303"/>
                  </a:lnTo>
                  <a:lnTo>
                    <a:pt x="452" y="303"/>
                  </a:lnTo>
                  <a:lnTo>
                    <a:pt x="454" y="305"/>
                  </a:lnTo>
                  <a:lnTo>
                    <a:pt x="454" y="305"/>
                  </a:lnTo>
                  <a:lnTo>
                    <a:pt x="457" y="305"/>
                  </a:lnTo>
                  <a:lnTo>
                    <a:pt x="457" y="303"/>
                  </a:lnTo>
                  <a:lnTo>
                    <a:pt x="461" y="305"/>
                  </a:lnTo>
                  <a:lnTo>
                    <a:pt x="466" y="305"/>
                  </a:lnTo>
                  <a:lnTo>
                    <a:pt x="471" y="305"/>
                  </a:lnTo>
                  <a:lnTo>
                    <a:pt x="473" y="308"/>
                  </a:lnTo>
                  <a:lnTo>
                    <a:pt x="476" y="308"/>
                  </a:lnTo>
                  <a:lnTo>
                    <a:pt x="476" y="308"/>
                  </a:lnTo>
                  <a:lnTo>
                    <a:pt x="476" y="308"/>
                  </a:lnTo>
                  <a:lnTo>
                    <a:pt x="478" y="305"/>
                  </a:lnTo>
                  <a:lnTo>
                    <a:pt x="480" y="308"/>
                  </a:lnTo>
                  <a:lnTo>
                    <a:pt x="483" y="305"/>
                  </a:lnTo>
                  <a:lnTo>
                    <a:pt x="483" y="305"/>
                  </a:lnTo>
                  <a:lnTo>
                    <a:pt x="485" y="305"/>
                  </a:lnTo>
                  <a:lnTo>
                    <a:pt x="485" y="305"/>
                  </a:lnTo>
                  <a:lnTo>
                    <a:pt x="485" y="305"/>
                  </a:lnTo>
                  <a:lnTo>
                    <a:pt x="487" y="305"/>
                  </a:lnTo>
                  <a:lnTo>
                    <a:pt x="490" y="305"/>
                  </a:lnTo>
                  <a:lnTo>
                    <a:pt x="494" y="303"/>
                  </a:lnTo>
                  <a:lnTo>
                    <a:pt x="497" y="303"/>
                  </a:lnTo>
                  <a:lnTo>
                    <a:pt x="499" y="303"/>
                  </a:lnTo>
                  <a:lnTo>
                    <a:pt x="502" y="303"/>
                  </a:lnTo>
                  <a:lnTo>
                    <a:pt x="502" y="303"/>
                  </a:lnTo>
                  <a:lnTo>
                    <a:pt x="504" y="303"/>
                  </a:lnTo>
                  <a:lnTo>
                    <a:pt x="504" y="301"/>
                  </a:lnTo>
                  <a:lnTo>
                    <a:pt x="506" y="301"/>
                  </a:lnTo>
                  <a:moveTo>
                    <a:pt x="433" y="303"/>
                  </a:moveTo>
                  <a:lnTo>
                    <a:pt x="433" y="303"/>
                  </a:lnTo>
                  <a:lnTo>
                    <a:pt x="433" y="303"/>
                  </a:lnTo>
                  <a:lnTo>
                    <a:pt x="436" y="303"/>
                  </a:lnTo>
                  <a:lnTo>
                    <a:pt x="436" y="303"/>
                  </a:lnTo>
                  <a:lnTo>
                    <a:pt x="436" y="303"/>
                  </a:lnTo>
                  <a:lnTo>
                    <a:pt x="438" y="303"/>
                  </a:lnTo>
                  <a:lnTo>
                    <a:pt x="438" y="303"/>
                  </a:lnTo>
                  <a:lnTo>
                    <a:pt x="438" y="303"/>
                  </a:lnTo>
                  <a:lnTo>
                    <a:pt x="440" y="301"/>
                  </a:lnTo>
                  <a:lnTo>
                    <a:pt x="440" y="301"/>
                  </a:lnTo>
                  <a:lnTo>
                    <a:pt x="438" y="301"/>
                  </a:lnTo>
                  <a:lnTo>
                    <a:pt x="438" y="298"/>
                  </a:lnTo>
                  <a:lnTo>
                    <a:pt x="438" y="298"/>
                  </a:lnTo>
                  <a:lnTo>
                    <a:pt x="438" y="294"/>
                  </a:lnTo>
                  <a:lnTo>
                    <a:pt x="436" y="294"/>
                  </a:lnTo>
                  <a:lnTo>
                    <a:pt x="436" y="294"/>
                  </a:lnTo>
                  <a:lnTo>
                    <a:pt x="433" y="294"/>
                  </a:lnTo>
                  <a:lnTo>
                    <a:pt x="433" y="294"/>
                  </a:lnTo>
                  <a:lnTo>
                    <a:pt x="433" y="296"/>
                  </a:lnTo>
                  <a:lnTo>
                    <a:pt x="431" y="296"/>
                  </a:lnTo>
                  <a:lnTo>
                    <a:pt x="431" y="294"/>
                  </a:lnTo>
                  <a:lnTo>
                    <a:pt x="431" y="294"/>
                  </a:lnTo>
                  <a:lnTo>
                    <a:pt x="428" y="294"/>
                  </a:lnTo>
                  <a:lnTo>
                    <a:pt x="428" y="294"/>
                  </a:lnTo>
                  <a:lnTo>
                    <a:pt x="426" y="294"/>
                  </a:lnTo>
                  <a:lnTo>
                    <a:pt x="426" y="296"/>
                  </a:lnTo>
                  <a:lnTo>
                    <a:pt x="424" y="296"/>
                  </a:lnTo>
                  <a:lnTo>
                    <a:pt x="424" y="294"/>
                  </a:lnTo>
                  <a:lnTo>
                    <a:pt x="424" y="294"/>
                  </a:lnTo>
                  <a:lnTo>
                    <a:pt x="421" y="291"/>
                  </a:lnTo>
                  <a:lnTo>
                    <a:pt x="421" y="291"/>
                  </a:lnTo>
                  <a:lnTo>
                    <a:pt x="419" y="289"/>
                  </a:lnTo>
                  <a:lnTo>
                    <a:pt x="417" y="289"/>
                  </a:lnTo>
                  <a:lnTo>
                    <a:pt x="414" y="291"/>
                  </a:lnTo>
                  <a:lnTo>
                    <a:pt x="414" y="291"/>
                  </a:lnTo>
                  <a:lnTo>
                    <a:pt x="414" y="294"/>
                  </a:lnTo>
                  <a:lnTo>
                    <a:pt x="417" y="296"/>
                  </a:lnTo>
                  <a:lnTo>
                    <a:pt x="419" y="298"/>
                  </a:lnTo>
                  <a:lnTo>
                    <a:pt x="419" y="298"/>
                  </a:lnTo>
                  <a:lnTo>
                    <a:pt x="419" y="298"/>
                  </a:lnTo>
                  <a:lnTo>
                    <a:pt x="421" y="298"/>
                  </a:lnTo>
                  <a:lnTo>
                    <a:pt x="421" y="298"/>
                  </a:lnTo>
                  <a:lnTo>
                    <a:pt x="424" y="301"/>
                  </a:lnTo>
                  <a:lnTo>
                    <a:pt x="421" y="301"/>
                  </a:lnTo>
                  <a:lnTo>
                    <a:pt x="421" y="301"/>
                  </a:lnTo>
                  <a:lnTo>
                    <a:pt x="419" y="303"/>
                  </a:lnTo>
                  <a:lnTo>
                    <a:pt x="417" y="303"/>
                  </a:lnTo>
                  <a:lnTo>
                    <a:pt x="414" y="303"/>
                  </a:lnTo>
                  <a:lnTo>
                    <a:pt x="414" y="301"/>
                  </a:lnTo>
                  <a:lnTo>
                    <a:pt x="412" y="298"/>
                  </a:lnTo>
                  <a:lnTo>
                    <a:pt x="412" y="298"/>
                  </a:lnTo>
                  <a:lnTo>
                    <a:pt x="412" y="298"/>
                  </a:lnTo>
                  <a:lnTo>
                    <a:pt x="412" y="296"/>
                  </a:lnTo>
                  <a:lnTo>
                    <a:pt x="410" y="296"/>
                  </a:lnTo>
                  <a:lnTo>
                    <a:pt x="407" y="296"/>
                  </a:lnTo>
                  <a:lnTo>
                    <a:pt x="405" y="296"/>
                  </a:lnTo>
                  <a:lnTo>
                    <a:pt x="403" y="296"/>
                  </a:lnTo>
                  <a:lnTo>
                    <a:pt x="403" y="296"/>
                  </a:lnTo>
                  <a:lnTo>
                    <a:pt x="400" y="298"/>
                  </a:lnTo>
                  <a:lnTo>
                    <a:pt x="398" y="298"/>
                  </a:lnTo>
                  <a:lnTo>
                    <a:pt x="398" y="298"/>
                  </a:lnTo>
                  <a:lnTo>
                    <a:pt x="395" y="301"/>
                  </a:lnTo>
                  <a:lnTo>
                    <a:pt x="395" y="301"/>
                  </a:lnTo>
                  <a:lnTo>
                    <a:pt x="395" y="305"/>
                  </a:lnTo>
                  <a:lnTo>
                    <a:pt x="395" y="305"/>
                  </a:lnTo>
                  <a:lnTo>
                    <a:pt x="395" y="308"/>
                  </a:lnTo>
                  <a:lnTo>
                    <a:pt x="395" y="308"/>
                  </a:lnTo>
                  <a:lnTo>
                    <a:pt x="398" y="310"/>
                  </a:lnTo>
                  <a:lnTo>
                    <a:pt x="398" y="310"/>
                  </a:lnTo>
                  <a:lnTo>
                    <a:pt x="400" y="310"/>
                  </a:lnTo>
                  <a:lnTo>
                    <a:pt x="403" y="310"/>
                  </a:lnTo>
                  <a:lnTo>
                    <a:pt x="403" y="310"/>
                  </a:lnTo>
                  <a:lnTo>
                    <a:pt x="405" y="310"/>
                  </a:lnTo>
                  <a:lnTo>
                    <a:pt x="405" y="310"/>
                  </a:lnTo>
                  <a:lnTo>
                    <a:pt x="407" y="310"/>
                  </a:lnTo>
                  <a:lnTo>
                    <a:pt x="410" y="308"/>
                  </a:lnTo>
                  <a:lnTo>
                    <a:pt x="414" y="308"/>
                  </a:lnTo>
                  <a:lnTo>
                    <a:pt x="414" y="308"/>
                  </a:lnTo>
                  <a:lnTo>
                    <a:pt x="417" y="308"/>
                  </a:lnTo>
                  <a:lnTo>
                    <a:pt x="419" y="305"/>
                  </a:lnTo>
                  <a:lnTo>
                    <a:pt x="421" y="305"/>
                  </a:lnTo>
                  <a:lnTo>
                    <a:pt x="421" y="305"/>
                  </a:lnTo>
                  <a:lnTo>
                    <a:pt x="424" y="305"/>
                  </a:lnTo>
                  <a:lnTo>
                    <a:pt x="426" y="301"/>
                  </a:lnTo>
                  <a:lnTo>
                    <a:pt x="426" y="303"/>
                  </a:lnTo>
                  <a:lnTo>
                    <a:pt x="426" y="305"/>
                  </a:lnTo>
                  <a:lnTo>
                    <a:pt x="426" y="305"/>
                  </a:lnTo>
                  <a:lnTo>
                    <a:pt x="426" y="305"/>
                  </a:lnTo>
                  <a:lnTo>
                    <a:pt x="431" y="305"/>
                  </a:lnTo>
                  <a:lnTo>
                    <a:pt x="431" y="305"/>
                  </a:lnTo>
                  <a:lnTo>
                    <a:pt x="433" y="305"/>
                  </a:lnTo>
                  <a:lnTo>
                    <a:pt x="433" y="305"/>
                  </a:lnTo>
                  <a:lnTo>
                    <a:pt x="433" y="305"/>
                  </a:lnTo>
                  <a:lnTo>
                    <a:pt x="433" y="305"/>
                  </a:lnTo>
                  <a:lnTo>
                    <a:pt x="433" y="303"/>
                  </a:lnTo>
                  <a:moveTo>
                    <a:pt x="374" y="291"/>
                  </a:moveTo>
                  <a:lnTo>
                    <a:pt x="372" y="291"/>
                  </a:lnTo>
                  <a:lnTo>
                    <a:pt x="370" y="289"/>
                  </a:lnTo>
                  <a:lnTo>
                    <a:pt x="367" y="289"/>
                  </a:lnTo>
                  <a:lnTo>
                    <a:pt x="367" y="289"/>
                  </a:lnTo>
                  <a:lnTo>
                    <a:pt x="365" y="291"/>
                  </a:lnTo>
                  <a:lnTo>
                    <a:pt x="362" y="291"/>
                  </a:lnTo>
                  <a:lnTo>
                    <a:pt x="360" y="291"/>
                  </a:lnTo>
                  <a:lnTo>
                    <a:pt x="358" y="291"/>
                  </a:lnTo>
                  <a:lnTo>
                    <a:pt x="355" y="289"/>
                  </a:lnTo>
                  <a:lnTo>
                    <a:pt x="353" y="291"/>
                  </a:lnTo>
                  <a:lnTo>
                    <a:pt x="353" y="291"/>
                  </a:lnTo>
                  <a:lnTo>
                    <a:pt x="353" y="291"/>
                  </a:lnTo>
                  <a:lnTo>
                    <a:pt x="355" y="294"/>
                  </a:lnTo>
                  <a:lnTo>
                    <a:pt x="355" y="296"/>
                  </a:lnTo>
                  <a:lnTo>
                    <a:pt x="355" y="296"/>
                  </a:lnTo>
                  <a:lnTo>
                    <a:pt x="358" y="296"/>
                  </a:lnTo>
                  <a:lnTo>
                    <a:pt x="360" y="296"/>
                  </a:lnTo>
                  <a:lnTo>
                    <a:pt x="362" y="298"/>
                  </a:lnTo>
                  <a:lnTo>
                    <a:pt x="365" y="301"/>
                  </a:lnTo>
                  <a:lnTo>
                    <a:pt x="365" y="301"/>
                  </a:lnTo>
                  <a:lnTo>
                    <a:pt x="365" y="303"/>
                  </a:lnTo>
                  <a:lnTo>
                    <a:pt x="365" y="303"/>
                  </a:lnTo>
                  <a:lnTo>
                    <a:pt x="365" y="305"/>
                  </a:lnTo>
                  <a:lnTo>
                    <a:pt x="365" y="305"/>
                  </a:lnTo>
                  <a:lnTo>
                    <a:pt x="367" y="305"/>
                  </a:lnTo>
                  <a:lnTo>
                    <a:pt x="367" y="305"/>
                  </a:lnTo>
                  <a:lnTo>
                    <a:pt x="367" y="305"/>
                  </a:lnTo>
                  <a:lnTo>
                    <a:pt x="367" y="303"/>
                  </a:lnTo>
                  <a:lnTo>
                    <a:pt x="370" y="301"/>
                  </a:lnTo>
                  <a:lnTo>
                    <a:pt x="370" y="301"/>
                  </a:lnTo>
                  <a:lnTo>
                    <a:pt x="374" y="298"/>
                  </a:lnTo>
                  <a:lnTo>
                    <a:pt x="377" y="296"/>
                  </a:lnTo>
                  <a:lnTo>
                    <a:pt x="377" y="296"/>
                  </a:lnTo>
                  <a:lnTo>
                    <a:pt x="377" y="296"/>
                  </a:lnTo>
                  <a:lnTo>
                    <a:pt x="374" y="291"/>
                  </a:lnTo>
                  <a:moveTo>
                    <a:pt x="582" y="279"/>
                  </a:moveTo>
                  <a:lnTo>
                    <a:pt x="579" y="279"/>
                  </a:lnTo>
                  <a:lnTo>
                    <a:pt x="577" y="279"/>
                  </a:lnTo>
                  <a:lnTo>
                    <a:pt x="575" y="282"/>
                  </a:lnTo>
                  <a:lnTo>
                    <a:pt x="572" y="282"/>
                  </a:lnTo>
                  <a:lnTo>
                    <a:pt x="570" y="282"/>
                  </a:lnTo>
                  <a:lnTo>
                    <a:pt x="568" y="279"/>
                  </a:lnTo>
                  <a:lnTo>
                    <a:pt x="565" y="284"/>
                  </a:lnTo>
                  <a:lnTo>
                    <a:pt x="565" y="284"/>
                  </a:lnTo>
                  <a:lnTo>
                    <a:pt x="565" y="287"/>
                  </a:lnTo>
                  <a:lnTo>
                    <a:pt x="565" y="287"/>
                  </a:lnTo>
                  <a:lnTo>
                    <a:pt x="568" y="287"/>
                  </a:lnTo>
                  <a:lnTo>
                    <a:pt x="570" y="284"/>
                  </a:lnTo>
                  <a:lnTo>
                    <a:pt x="570" y="284"/>
                  </a:lnTo>
                  <a:lnTo>
                    <a:pt x="572" y="287"/>
                  </a:lnTo>
                  <a:lnTo>
                    <a:pt x="575" y="287"/>
                  </a:lnTo>
                  <a:lnTo>
                    <a:pt x="577" y="287"/>
                  </a:lnTo>
                  <a:lnTo>
                    <a:pt x="577" y="284"/>
                  </a:lnTo>
                  <a:lnTo>
                    <a:pt x="579" y="284"/>
                  </a:lnTo>
                  <a:lnTo>
                    <a:pt x="582" y="282"/>
                  </a:lnTo>
                  <a:lnTo>
                    <a:pt x="584" y="282"/>
                  </a:lnTo>
                  <a:lnTo>
                    <a:pt x="584" y="282"/>
                  </a:lnTo>
                  <a:lnTo>
                    <a:pt x="584" y="279"/>
                  </a:lnTo>
                  <a:lnTo>
                    <a:pt x="582" y="279"/>
                  </a:lnTo>
                  <a:moveTo>
                    <a:pt x="806" y="289"/>
                  </a:moveTo>
                  <a:lnTo>
                    <a:pt x="808" y="284"/>
                  </a:lnTo>
                  <a:lnTo>
                    <a:pt x="808" y="282"/>
                  </a:lnTo>
                  <a:lnTo>
                    <a:pt x="808" y="279"/>
                  </a:lnTo>
                  <a:lnTo>
                    <a:pt x="808" y="277"/>
                  </a:lnTo>
                  <a:lnTo>
                    <a:pt x="806" y="275"/>
                  </a:lnTo>
                  <a:lnTo>
                    <a:pt x="806" y="275"/>
                  </a:lnTo>
                  <a:lnTo>
                    <a:pt x="801" y="275"/>
                  </a:lnTo>
                  <a:lnTo>
                    <a:pt x="796" y="275"/>
                  </a:lnTo>
                  <a:lnTo>
                    <a:pt x="794" y="277"/>
                  </a:lnTo>
                  <a:lnTo>
                    <a:pt x="791" y="279"/>
                  </a:lnTo>
                  <a:lnTo>
                    <a:pt x="791" y="279"/>
                  </a:lnTo>
                  <a:lnTo>
                    <a:pt x="787" y="287"/>
                  </a:lnTo>
                  <a:lnTo>
                    <a:pt x="784" y="294"/>
                  </a:lnTo>
                  <a:lnTo>
                    <a:pt x="782" y="296"/>
                  </a:lnTo>
                  <a:lnTo>
                    <a:pt x="784" y="296"/>
                  </a:lnTo>
                  <a:lnTo>
                    <a:pt x="787" y="296"/>
                  </a:lnTo>
                  <a:lnTo>
                    <a:pt x="789" y="296"/>
                  </a:lnTo>
                  <a:lnTo>
                    <a:pt x="796" y="296"/>
                  </a:lnTo>
                  <a:lnTo>
                    <a:pt x="801" y="294"/>
                  </a:lnTo>
                  <a:lnTo>
                    <a:pt x="801" y="291"/>
                  </a:lnTo>
                  <a:lnTo>
                    <a:pt x="806" y="289"/>
                  </a:lnTo>
                  <a:moveTo>
                    <a:pt x="674" y="270"/>
                  </a:moveTo>
                  <a:lnTo>
                    <a:pt x="674" y="270"/>
                  </a:lnTo>
                  <a:lnTo>
                    <a:pt x="671" y="270"/>
                  </a:lnTo>
                  <a:lnTo>
                    <a:pt x="671" y="270"/>
                  </a:lnTo>
                  <a:lnTo>
                    <a:pt x="671" y="270"/>
                  </a:lnTo>
                  <a:lnTo>
                    <a:pt x="671" y="272"/>
                  </a:lnTo>
                  <a:lnTo>
                    <a:pt x="669" y="272"/>
                  </a:lnTo>
                  <a:lnTo>
                    <a:pt x="669" y="275"/>
                  </a:lnTo>
                  <a:lnTo>
                    <a:pt x="669" y="275"/>
                  </a:lnTo>
                  <a:lnTo>
                    <a:pt x="667" y="275"/>
                  </a:lnTo>
                  <a:lnTo>
                    <a:pt x="667" y="277"/>
                  </a:lnTo>
                  <a:lnTo>
                    <a:pt x="664" y="279"/>
                  </a:lnTo>
                  <a:lnTo>
                    <a:pt x="664" y="282"/>
                  </a:lnTo>
                  <a:lnTo>
                    <a:pt x="664" y="282"/>
                  </a:lnTo>
                  <a:lnTo>
                    <a:pt x="664" y="284"/>
                  </a:lnTo>
                  <a:lnTo>
                    <a:pt x="662" y="284"/>
                  </a:lnTo>
                  <a:lnTo>
                    <a:pt x="662" y="287"/>
                  </a:lnTo>
                  <a:lnTo>
                    <a:pt x="662" y="287"/>
                  </a:lnTo>
                  <a:lnTo>
                    <a:pt x="664" y="287"/>
                  </a:lnTo>
                  <a:lnTo>
                    <a:pt x="667" y="289"/>
                  </a:lnTo>
                  <a:lnTo>
                    <a:pt x="667" y="287"/>
                  </a:lnTo>
                  <a:lnTo>
                    <a:pt x="667" y="287"/>
                  </a:lnTo>
                  <a:lnTo>
                    <a:pt x="667" y="287"/>
                  </a:lnTo>
                  <a:lnTo>
                    <a:pt x="667" y="284"/>
                  </a:lnTo>
                  <a:lnTo>
                    <a:pt x="669" y="282"/>
                  </a:lnTo>
                  <a:lnTo>
                    <a:pt x="671" y="282"/>
                  </a:lnTo>
                  <a:lnTo>
                    <a:pt x="671" y="282"/>
                  </a:lnTo>
                  <a:lnTo>
                    <a:pt x="674" y="279"/>
                  </a:lnTo>
                  <a:lnTo>
                    <a:pt x="674" y="275"/>
                  </a:lnTo>
                  <a:lnTo>
                    <a:pt x="674" y="272"/>
                  </a:lnTo>
                  <a:lnTo>
                    <a:pt x="676" y="270"/>
                  </a:lnTo>
                  <a:lnTo>
                    <a:pt x="674" y="270"/>
                  </a:lnTo>
                  <a:moveTo>
                    <a:pt x="676" y="270"/>
                  </a:moveTo>
                  <a:lnTo>
                    <a:pt x="676" y="270"/>
                  </a:lnTo>
                  <a:lnTo>
                    <a:pt x="676" y="270"/>
                  </a:lnTo>
                  <a:lnTo>
                    <a:pt x="678" y="270"/>
                  </a:lnTo>
                  <a:lnTo>
                    <a:pt x="678" y="272"/>
                  </a:lnTo>
                  <a:lnTo>
                    <a:pt x="681" y="272"/>
                  </a:lnTo>
                  <a:lnTo>
                    <a:pt x="681" y="270"/>
                  </a:lnTo>
                  <a:lnTo>
                    <a:pt x="678" y="268"/>
                  </a:lnTo>
                  <a:lnTo>
                    <a:pt x="676" y="270"/>
                  </a:lnTo>
                  <a:moveTo>
                    <a:pt x="329" y="270"/>
                  </a:moveTo>
                  <a:lnTo>
                    <a:pt x="329" y="272"/>
                  </a:lnTo>
                  <a:lnTo>
                    <a:pt x="329" y="270"/>
                  </a:lnTo>
                  <a:lnTo>
                    <a:pt x="332" y="270"/>
                  </a:lnTo>
                  <a:lnTo>
                    <a:pt x="332" y="270"/>
                  </a:lnTo>
                  <a:lnTo>
                    <a:pt x="337" y="270"/>
                  </a:lnTo>
                  <a:lnTo>
                    <a:pt x="339" y="270"/>
                  </a:lnTo>
                  <a:lnTo>
                    <a:pt x="341" y="270"/>
                  </a:lnTo>
                  <a:lnTo>
                    <a:pt x="344" y="270"/>
                  </a:lnTo>
                  <a:lnTo>
                    <a:pt x="344" y="268"/>
                  </a:lnTo>
                  <a:lnTo>
                    <a:pt x="344" y="268"/>
                  </a:lnTo>
                  <a:lnTo>
                    <a:pt x="348" y="265"/>
                  </a:lnTo>
                  <a:lnTo>
                    <a:pt x="348" y="265"/>
                  </a:lnTo>
                  <a:lnTo>
                    <a:pt x="346" y="263"/>
                  </a:lnTo>
                  <a:lnTo>
                    <a:pt x="329" y="263"/>
                  </a:lnTo>
                  <a:lnTo>
                    <a:pt x="325" y="265"/>
                  </a:lnTo>
                  <a:lnTo>
                    <a:pt x="325" y="268"/>
                  </a:lnTo>
                  <a:lnTo>
                    <a:pt x="322" y="268"/>
                  </a:lnTo>
                  <a:lnTo>
                    <a:pt x="322" y="270"/>
                  </a:lnTo>
                  <a:lnTo>
                    <a:pt x="329" y="270"/>
                  </a:lnTo>
                  <a:moveTo>
                    <a:pt x="372" y="263"/>
                  </a:moveTo>
                  <a:lnTo>
                    <a:pt x="372" y="263"/>
                  </a:lnTo>
                  <a:lnTo>
                    <a:pt x="370" y="263"/>
                  </a:lnTo>
                  <a:lnTo>
                    <a:pt x="370" y="265"/>
                  </a:lnTo>
                  <a:lnTo>
                    <a:pt x="370" y="265"/>
                  </a:lnTo>
                  <a:lnTo>
                    <a:pt x="370" y="265"/>
                  </a:lnTo>
                  <a:lnTo>
                    <a:pt x="372" y="265"/>
                  </a:lnTo>
                  <a:lnTo>
                    <a:pt x="374" y="265"/>
                  </a:lnTo>
                  <a:lnTo>
                    <a:pt x="374" y="265"/>
                  </a:lnTo>
                  <a:lnTo>
                    <a:pt x="374" y="265"/>
                  </a:lnTo>
                  <a:lnTo>
                    <a:pt x="374" y="263"/>
                  </a:lnTo>
                  <a:lnTo>
                    <a:pt x="372" y="263"/>
                  </a:lnTo>
                  <a:moveTo>
                    <a:pt x="186" y="258"/>
                  </a:moveTo>
                  <a:lnTo>
                    <a:pt x="186" y="256"/>
                  </a:lnTo>
                  <a:lnTo>
                    <a:pt x="183" y="256"/>
                  </a:lnTo>
                  <a:lnTo>
                    <a:pt x="183" y="256"/>
                  </a:lnTo>
                  <a:lnTo>
                    <a:pt x="183" y="258"/>
                  </a:lnTo>
                  <a:lnTo>
                    <a:pt x="183" y="258"/>
                  </a:lnTo>
                  <a:lnTo>
                    <a:pt x="183" y="261"/>
                  </a:lnTo>
                  <a:lnTo>
                    <a:pt x="186" y="258"/>
                  </a:lnTo>
                  <a:lnTo>
                    <a:pt x="186" y="258"/>
                  </a:lnTo>
                  <a:moveTo>
                    <a:pt x="725" y="251"/>
                  </a:moveTo>
                  <a:lnTo>
                    <a:pt x="723" y="251"/>
                  </a:lnTo>
                  <a:lnTo>
                    <a:pt x="721" y="249"/>
                  </a:lnTo>
                  <a:lnTo>
                    <a:pt x="721" y="249"/>
                  </a:lnTo>
                  <a:lnTo>
                    <a:pt x="721" y="251"/>
                  </a:lnTo>
                  <a:lnTo>
                    <a:pt x="721" y="253"/>
                  </a:lnTo>
                  <a:lnTo>
                    <a:pt x="721" y="256"/>
                  </a:lnTo>
                  <a:lnTo>
                    <a:pt x="721" y="256"/>
                  </a:lnTo>
                  <a:lnTo>
                    <a:pt x="721" y="256"/>
                  </a:lnTo>
                  <a:lnTo>
                    <a:pt x="721" y="256"/>
                  </a:lnTo>
                  <a:lnTo>
                    <a:pt x="718" y="261"/>
                  </a:lnTo>
                  <a:lnTo>
                    <a:pt x="718" y="263"/>
                  </a:lnTo>
                  <a:lnTo>
                    <a:pt x="721" y="265"/>
                  </a:lnTo>
                  <a:lnTo>
                    <a:pt x="723" y="263"/>
                  </a:lnTo>
                  <a:lnTo>
                    <a:pt x="725" y="263"/>
                  </a:lnTo>
                  <a:lnTo>
                    <a:pt x="725" y="261"/>
                  </a:lnTo>
                  <a:lnTo>
                    <a:pt x="728" y="258"/>
                  </a:lnTo>
                  <a:lnTo>
                    <a:pt x="728" y="256"/>
                  </a:lnTo>
                  <a:lnTo>
                    <a:pt x="728" y="256"/>
                  </a:lnTo>
                  <a:lnTo>
                    <a:pt x="725" y="253"/>
                  </a:lnTo>
                  <a:lnTo>
                    <a:pt x="725" y="251"/>
                  </a:lnTo>
                  <a:moveTo>
                    <a:pt x="353" y="301"/>
                  </a:moveTo>
                  <a:lnTo>
                    <a:pt x="353" y="298"/>
                  </a:lnTo>
                  <a:lnTo>
                    <a:pt x="353" y="296"/>
                  </a:lnTo>
                  <a:lnTo>
                    <a:pt x="353" y="294"/>
                  </a:lnTo>
                  <a:lnTo>
                    <a:pt x="353" y="294"/>
                  </a:lnTo>
                  <a:lnTo>
                    <a:pt x="353" y="287"/>
                  </a:lnTo>
                  <a:lnTo>
                    <a:pt x="353" y="287"/>
                  </a:lnTo>
                  <a:lnTo>
                    <a:pt x="353" y="284"/>
                  </a:lnTo>
                  <a:lnTo>
                    <a:pt x="353" y="282"/>
                  </a:lnTo>
                  <a:lnTo>
                    <a:pt x="348" y="279"/>
                  </a:lnTo>
                  <a:lnTo>
                    <a:pt x="346" y="279"/>
                  </a:lnTo>
                  <a:lnTo>
                    <a:pt x="344" y="282"/>
                  </a:lnTo>
                  <a:lnTo>
                    <a:pt x="341" y="282"/>
                  </a:lnTo>
                  <a:lnTo>
                    <a:pt x="337" y="282"/>
                  </a:lnTo>
                  <a:lnTo>
                    <a:pt x="332" y="282"/>
                  </a:lnTo>
                  <a:lnTo>
                    <a:pt x="327" y="279"/>
                  </a:lnTo>
                  <a:lnTo>
                    <a:pt x="325" y="277"/>
                  </a:lnTo>
                  <a:lnTo>
                    <a:pt x="322" y="275"/>
                  </a:lnTo>
                  <a:lnTo>
                    <a:pt x="325" y="272"/>
                  </a:lnTo>
                  <a:lnTo>
                    <a:pt x="322" y="272"/>
                  </a:lnTo>
                  <a:lnTo>
                    <a:pt x="322" y="272"/>
                  </a:lnTo>
                  <a:lnTo>
                    <a:pt x="320" y="270"/>
                  </a:lnTo>
                  <a:lnTo>
                    <a:pt x="320" y="268"/>
                  </a:lnTo>
                  <a:lnTo>
                    <a:pt x="320" y="265"/>
                  </a:lnTo>
                  <a:lnTo>
                    <a:pt x="318" y="265"/>
                  </a:lnTo>
                  <a:lnTo>
                    <a:pt x="315" y="265"/>
                  </a:lnTo>
                  <a:lnTo>
                    <a:pt x="313" y="265"/>
                  </a:lnTo>
                  <a:lnTo>
                    <a:pt x="311" y="265"/>
                  </a:lnTo>
                  <a:lnTo>
                    <a:pt x="311" y="263"/>
                  </a:lnTo>
                  <a:lnTo>
                    <a:pt x="306" y="263"/>
                  </a:lnTo>
                  <a:lnTo>
                    <a:pt x="304" y="261"/>
                  </a:lnTo>
                  <a:lnTo>
                    <a:pt x="304" y="261"/>
                  </a:lnTo>
                  <a:lnTo>
                    <a:pt x="301" y="258"/>
                  </a:lnTo>
                  <a:lnTo>
                    <a:pt x="301" y="258"/>
                  </a:lnTo>
                  <a:lnTo>
                    <a:pt x="299" y="261"/>
                  </a:lnTo>
                  <a:lnTo>
                    <a:pt x="296" y="261"/>
                  </a:lnTo>
                  <a:lnTo>
                    <a:pt x="294" y="261"/>
                  </a:lnTo>
                  <a:lnTo>
                    <a:pt x="294" y="261"/>
                  </a:lnTo>
                  <a:lnTo>
                    <a:pt x="292" y="256"/>
                  </a:lnTo>
                  <a:lnTo>
                    <a:pt x="292" y="253"/>
                  </a:lnTo>
                  <a:lnTo>
                    <a:pt x="289" y="253"/>
                  </a:lnTo>
                  <a:lnTo>
                    <a:pt x="287" y="256"/>
                  </a:lnTo>
                  <a:lnTo>
                    <a:pt x="287" y="256"/>
                  </a:lnTo>
                  <a:lnTo>
                    <a:pt x="287" y="256"/>
                  </a:lnTo>
                  <a:lnTo>
                    <a:pt x="285" y="258"/>
                  </a:lnTo>
                  <a:lnTo>
                    <a:pt x="285" y="261"/>
                  </a:lnTo>
                  <a:lnTo>
                    <a:pt x="282" y="263"/>
                  </a:lnTo>
                  <a:lnTo>
                    <a:pt x="282" y="265"/>
                  </a:lnTo>
                  <a:lnTo>
                    <a:pt x="280" y="265"/>
                  </a:lnTo>
                  <a:lnTo>
                    <a:pt x="280" y="265"/>
                  </a:lnTo>
                  <a:lnTo>
                    <a:pt x="278" y="265"/>
                  </a:lnTo>
                  <a:lnTo>
                    <a:pt x="278" y="265"/>
                  </a:lnTo>
                  <a:lnTo>
                    <a:pt x="275" y="265"/>
                  </a:lnTo>
                  <a:lnTo>
                    <a:pt x="273" y="265"/>
                  </a:lnTo>
                  <a:lnTo>
                    <a:pt x="271" y="265"/>
                  </a:lnTo>
                  <a:lnTo>
                    <a:pt x="268" y="265"/>
                  </a:lnTo>
                  <a:lnTo>
                    <a:pt x="266" y="263"/>
                  </a:lnTo>
                  <a:lnTo>
                    <a:pt x="263" y="263"/>
                  </a:lnTo>
                  <a:lnTo>
                    <a:pt x="261" y="263"/>
                  </a:lnTo>
                  <a:lnTo>
                    <a:pt x="259" y="263"/>
                  </a:lnTo>
                  <a:lnTo>
                    <a:pt x="254" y="263"/>
                  </a:lnTo>
                  <a:lnTo>
                    <a:pt x="252" y="263"/>
                  </a:lnTo>
                  <a:lnTo>
                    <a:pt x="249" y="263"/>
                  </a:lnTo>
                  <a:lnTo>
                    <a:pt x="247" y="263"/>
                  </a:lnTo>
                  <a:lnTo>
                    <a:pt x="247" y="261"/>
                  </a:lnTo>
                  <a:lnTo>
                    <a:pt x="247" y="256"/>
                  </a:lnTo>
                  <a:lnTo>
                    <a:pt x="245" y="256"/>
                  </a:lnTo>
                  <a:lnTo>
                    <a:pt x="245" y="253"/>
                  </a:lnTo>
                  <a:lnTo>
                    <a:pt x="242" y="251"/>
                  </a:lnTo>
                  <a:lnTo>
                    <a:pt x="242" y="251"/>
                  </a:lnTo>
                  <a:lnTo>
                    <a:pt x="240" y="251"/>
                  </a:lnTo>
                  <a:lnTo>
                    <a:pt x="240" y="251"/>
                  </a:lnTo>
                  <a:lnTo>
                    <a:pt x="238" y="251"/>
                  </a:lnTo>
                  <a:lnTo>
                    <a:pt x="235" y="251"/>
                  </a:lnTo>
                  <a:lnTo>
                    <a:pt x="233" y="251"/>
                  </a:lnTo>
                  <a:lnTo>
                    <a:pt x="233" y="251"/>
                  </a:lnTo>
                  <a:lnTo>
                    <a:pt x="231" y="251"/>
                  </a:lnTo>
                  <a:lnTo>
                    <a:pt x="228" y="249"/>
                  </a:lnTo>
                  <a:lnTo>
                    <a:pt x="226" y="249"/>
                  </a:lnTo>
                  <a:lnTo>
                    <a:pt x="226" y="246"/>
                  </a:lnTo>
                  <a:lnTo>
                    <a:pt x="223" y="244"/>
                  </a:lnTo>
                  <a:lnTo>
                    <a:pt x="221" y="244"/>
                  </a:lnTo>
                  <a:lnTo>
                    <a:pt x="219" y="244"/>
                  </a:lnTo>
                  <a:lnTo>
                    <a:pt x="219" y="246"/>
                  </a:lnTo>
                  <a:lnTo>
                    <a:pt x="216" y="246"/>
                  </a:lnTo>
                  <a:lnTo>
                    <a:pt x="216" y="246"/>
                  </a:lnTo>
                  <a:lnTo>
                    <a:pt x="214" y="246"/>
                  </a:lnTo>
                  <a:lnTo>
                    <a:pt x="212" y="246"/>
                  </a:lnTo>
                  <a:lnTo>
                    <a:pt x="209" y="246"/>
                  </a:lnTo>
                  <a:lnTo>
                    <a:pt x="207" y="246"/>
                  </a:lnTo>
                  <a:lnTo>
                    <a:pt x="205" y="244"/>
                  </a:lnTo>
                  <a:lnTo>
                    <a:pt x="202" y="244"/>
                  </a:lnTo>
                  <a:lnTo>
                    <a:pt x="200" y="244"/>
                  </a:lnTo>
                  <a:lnTo>
                    <a:pt x="200" y="244"/>
                  </a:lnTo>
                  <a:lnTo>
                    <a:pt x="198" y="246"/>
                  </a:lnTo>
                  <a:lnTo>
                    <a:pt x="198" y="249"/>
                  </a:lnTo>
                  <a:lnTo>
                    <a:pt x="195" y="256"/>
                  </a:lnTo>
                  <a:lnTo>
                    <a:pt x="195" y="256"/>
                  </a:lnTo>
                  <a:lnTo>
                    <a:pt x="193" y="256"/>
                  </a:lnTo>
                  <a:lnTo>
                    <a:pt x="193" y="256"/>
                  </a:lnTo>
                  <a:lnTo>
                    <a:pt x="190" y="258"/>
                  </a:lnTo>
                  <a:lnTo>
                    <a:pt x="190" y="261"/>
                  </a:lnTo>
                  <a:lnTo>
                    <a:pt x="188" y="263"/>
                  </a:lnTo>
                  <a:lnTo>
                    <a:pt x="188" y="263"/>
                  </a:lnTo>
                  <a:lnTo>
                    <a:pt x="188" y="261"/>
                  </a:lnTo>
                  <a:lnTo>
                    <a:pt x="188" y="261"/>
                  </a:lnTo>
                  <a:lnTo>
                    <a:pt x="188" y="261"/>
                  </a:lnTo>
                  <a:lnTo>
                    <a:pt x="186" y="261"/>
                  </a:lnTo>
                  <a:lnTo>
                    <a:pt x="186" y="261"/>
                  </a:lnTo>
                  <a:lnTo>
                    <a:pt x="183" y="263"/>
                  </a:lnTo>
                  <a:lnTo>
                    <a:pt x="186" y="263"/>
                  </a:lnTo>
                  <a:lnTo>
                    <a:pt x="186" y="263"/>
                  </a:lnTo>
                  <a:lnTo>
                    <a:pt x="186" y="263"/>
                  </a:lnTo>
                  <a:lnTo>
                    <a:pt x="188" y="263"/>
                  </a:lnTo>
                  <a:lnTo>
                    <a:pt x="188" y="263"/>
                  </a:lnTo>
                  <a:lnTo>
                    <a:pt x="190" y="263"/>
                  </a:lnTo>
                  <a:lnTo>
                    <a:pt x="193" y="263"/>
                  </a:lnTo>
                  <a:lnTo>
                    <a:pt x="195" y="263"/>
                  </a:lnTo>
                  <a:lnTo>
                    <a:pt x="198" y="263"/>
                  </a:lnTo>
                  <a:lnTo>
                    <a:pt x="202" y="265"/>
                  </a:lnTo>
                  <a:lnTo>
                    <a:pt x="207" y="268"/>
                  </a:lnTo>
                  <a:lnTo>
                    <a:pt x="207" y="270"/>
                  </a:lnTo>
                  <a:lnTo>
                    <a:pt x="207" y="270"/>
                  </a:lnTo>
                  <a:lnTo>
                    <a:pt x="205" y="272"/>
                  </a:lnTo>
                  <a:lnTo>
                    <a:pt x="205" y="272"/>
                  </a:lnTo>
                  <a:lnTo>
                    <a:pt x="207" y="275"/>
                  </a:lnTo>
                  <a:lnTo>
                    <a:pt x="207" y="275"/>
                  </a:lnTo>
                  <a:lnTo>
                    <a:pt x="209" y="275"/>
                  </a:lnTo>
                  <a:lnTo>
                    <a:pt x="219" y="277"/>
                  </a:lnTo>
                  <a:lnTo>
                    <a:pt x="221" y="277"/>
                  </a:lnTo>
                  <a:lnTo>
                    <a:pt x="226" y="277"/>
                  </a:lnTo>
                  <a:lnTo>
                    <a:pt x="228" y="279"/>
                  </a:lnTo>
                  <a:lnTo>
                    <a:pt x="228" y="279"/>
                  </a:lnTo>
                  <a:lnTo>
                    <a:pt x="231" y="282"/>
                  </a:lnTo>
                  <a:lnTo>
                    <a:pt x="233" y="282"/>
                  </a:lnTo>
                  <a:lnTo>
                    <a:pt x="238" y="284"/>
                  </a:lnTo>
                  <a:lnTo>
                    <a:pt x="240" y="284"/>
                  </a:lnTo>
                  <a:lnTo>
                    <a:pt x="242" y="284"/>
                  </a:lnTo>
                  <a:lnTo>
                    <a:pt x="245" y="282"/>
                  </a:lnTo>
                  <a:lnTo>
                    <a:pt x="245" y="282"/>
                  </a:lnTo>
                  <a:lnTo>
                    <a:pt x="249" y="279"/>
                  </a:lnTo>
                  <a:lnTo>
                    <a:pt x="249" y="279"/>
                  </a:lnTo>
                  <a:lnTo>
                    <a:pt x="252" y="282"/>
                  </a:lnTo>
                  <a:lnTo>
                    <a:pt x="256" y="282"/>
                  </a:lnTo>
                  <a:lnTo>
                    <a:pt x="259" y="282"/>
                  </a:lnTo>
                  <a:lnTo>
                    <a:pt x="268" y="284"/>
                  </a:lnTo>
                  <a:lnTo>
                    <a:pt x="273" y="284"/>
                  </a:lnTo>
                  <a:lnTo>
                    <a:pt x="282" y="291"/>
                  </a:lnTo>
                  <a:lnTo>
                    <a:pt x="287" y="291"/>
                  </a:lnTo>
                  <a:lnTo>
                    <a:pt x="289" y="294"/>
                  </a:lnTo>
                  <a:lnTo>
                    <a:pt x="296" y="294"/>
                  </a:lnTo>
                  <a:lnTo>
                    <a:pt x="299" y="294"/>
                  </a:lnTo>
                  <a:lnTo>
                    <a:pt x="311" y="294"/>
                  </a:lnTo>
                  <a:lnTo>
                    <a:pt x="315" y="296"/>
                  </a:lnTo>
                  <a:lnTo>
                    <a:pt x="318" y="296"/>
                  </a:lnTo>
                  <a:lnTo>
                    <a:pt x="320" y="296"/>
                  </a:lnTo>
                  <a:lnTo>
                    <a:pt x="322" y="296"/>
                  </a:lnTo>
                  <a:lnTo>
                    <a:pt x="325" y="296"/>
                  </a:lnTo>
                  <a:lnTo>
                    <a:pt x="327" y="294"/>
                  </a:lnTo>
                  <a:lnTo>
                    <a:pt x="329" y="294"/>
                  </a:lnTo>
                  <a:lnTo>
                    <a:pt x="332" y="294"/>
                  </a:lnTo>
                  <a:lnTo>
                    <a:pt x="339" y="298"/>
                  </a:lnTo>
                  <a:lnTo>
                    <a:pt x="344" y="301"/>
                  </a:lnTo>
                  <a:lnTo>
                    <a:pt x="348" y="301"/>
                  </a:lnTo>
                  <a:lnTo>
                    <a:pt x="351" y="301"/>
                  </a:lnTo>
                  <a:lnTo>
                    <a:pt x="351" y="301"/>
                  </a:lnTo>
                  <a:lnTo>
                    <a:pt x="351" y="303"/>
                  </a:lnTo>
                  <a:lnTo>
                    <a:pt x="353" y="303"/>
                  </a:lnTo>
                  <a:lnTo>
                    <a:pt x="355" y="303"/>
                  </a:lnTo>
                  <a:lnTo>
                    <a:pt x="355" y="303"/>
                  </a:lnTo>
                  <a:lnTo>
                    <a:pt x="355" y="303"/>
                  </a:lnTo>
                  <a:lnTo>
                    <a:pt x="353" y="301"/>
                  </a:lnTo>
                  <a:moveTo>
                    <a:pt x="469" y="256"/>
                  </a:moveTo>
                  <a:lnTo>
                    <a:pt x="469" y="251"/>
                  </a:lnTo>
                  <a:lnTo>
                    <a:pt x="469" y="244"/>
                  </a:lnTo>
                  <a:lnTo>
                    <a:pt x="469" y="244"/>
                  </a:lnTo>
                  <a:lnTo>
                    <a:pt x="469" y="242"/>
                  </a:lnTo>
                  <a:lnTo>
                    <a:pt x="469" y="242"/>
                  </a:lnTo>
                  <a:lnTo>
                    <a:pt x="466" y="246"/>
                  </a:lnTo>
                  <a:lnTo>
                    <a:pt x="466" y="249"/>
                  </a:lnTo>
                  <a:lnTo>
                    <a:pt x="466" y="251"/>
                  </a:lnTo>
                  <a:lnTo>
                    <a:pt x="466" y="253"/>
                  </a:lnTo>
                  <a:lnTo>
                    <a:pt x="469" y="256"/>
                  </a:lnTo>
                  <a:moveTo>
                    <a:pt x="733" y="242"/>
                  </a:moveTo>
                  <a:lnTo>
                    <a:pt x="733" y="239"/>
                  </a:lnTo>
                  <a:lnTo>
                    <a:pt x="733" y="239"/>
                  </a:lnTo>
                  <a:lnTo>
                    <a:pt x="733" y="237"/>
                  </a:lnTo>
                  <a:lnTo>
                    <a:pt x="733" y="237"/>
                  </a:lnTo>
                  <a:lnTo>
                    <a:pt x="733" y="235"/>
                  </a:lnTo>
                  <a:lnTo>
                    <a:pt x="733" y="235"/>
                  </a:lnTo>
                  <a:lnTo>
                    <a:pt x="730" y="235"/>
                  </a:lnTo>
                  <a:lnTo>
                    <a:pt x="730" y="232"/>
                  </a:lnTo>
                  <a:lnTo>
                    <a:pt x="728" y="235"/>
                  </a:lnTo>
                  <a:lnTo>
                    <a:pt x="728" y="235"/>
                  </a:lnTo>
                  <a:lnTo>
                    <a:pt x="728" y="237"/>
                  </a:lnTo>
                  <a:lnTo>
                    <a:pt x="725" y="239"/>
                  </a:lnTo>
                  <a:lnTo>
                    <a:pt x="723" y="239"/>
                  </a:lnTo>
                  <a:lnTo>
                    <a:pt x="723" y="239"/>
                  </a:lnTo>
                  <a:lnTo>
                    <a:pt x="723" y="239"/>
                  </a:lnTo>
                  <a:lnTo>
                    <a:pt x="725" y="242"/>
                  </a:lnTo>
                  <a:lnTo>
                    <a:pt x="725" y="244"/>
                  </a:lnTo>
                  <a:lnTo>
                    <a:pt x="725" y="246"/>
                  </a:lnTo>
                  <a:lnTo>
                    <a:pt x="723" y="246"/>
                  </a:lnTo>
                  <a:lnTo>
                    <a:pt x="721" y="246"/>
                  </a:lnTo>
                  <a:lnTo>
                    <a:pt x="721" y="246"/>
                  </a:lnTo>
                  <a:lnTo>
                    <a:pt x="723" y="246"/>
                  </a:lnTo>
                  <a:lnTo>
                    <a:pt x="723" y="249"/>
                  </a:lnTo>
                  <a:lnTo>
                    <a:pt x="723" y="249"/>
                  </a:lnTo>
                  <a:lnTo>
                    <a:pt x="725" y="251"/>
                  </a:lnTo>
                  <a:lnTo>
                    <a:pt x="728" y="253"/>
                  </a:lnTo>
                  <a:lnTo>
                    <a:pt x="730" y="253"/>
                  </a:lnTo>
                  <a:lnTo>
                    <a:pt x="730" y="253"/>
                  </a:lnTo>
                  <a:lnTo>
                    <a:pt x="730" y="253"/>
                  </a:lnTo>
                  <a:lnTo>
                    <a:pt x="733" y="251"/>
                  </a:lnTo>
                  <a:lnTo>
                    <a:pt x="733" y="249"/>
                  </a:lnTo>
                  <a:lnTo>
                    <a:pt x="733" y="249"/>
                  </a:lnTo>
                  <a:lnTo>
                    <a:pt x="733" y="246"/>
                  </a:lnTo>
                  <a:lnTo>
                    <a:pt x="733" y="246"/>
                  </a:lnTo>
                  <a:lnTo>
                    <a:pt x="733" y="244"/>
                  </a:lnTo>
                  <a:lnTo>
                    <a:pt x="733" y="244"/>
                  </a:lnTo>
                  <a:lnTo>
                    <a:pt x="733" y="242"/>
                  </a:lnTo>
                  <a:moveTo>
                    <a:pt x="129" y="230"/>
                  </a:moveTo>
                  <a:lnTo>
                    <a:pt x="129" y="230"/>
                  </a:lnTo>
                  <a:lnTo>
                    <a:pt x="127" y="232"/>
                  </a:lnTo>
                  <a:lnTo>
                    <a:pt x="129" y="232"/>
                  </a:lnTo>
                  <a:lnTo>
                    <a:pt x="132" y="235"/>
                  </a:lnTo>
                  <a:lnTo>
                    <a:pt x="132" y="235"/>
                  </a:lnTo>
                  <a:lnTo>
                    <a:pt x="134" y="232"/>
                  </a:lnTo>
                  <a:lnTo>
                    <a:pt x="132" y="232"/>
                  </a:lnTo>
                  <a:lnTo>
                    <a:pt x="129" y="230"/>
                  </a:lnTo>
                  <a:moveTo>
                    <a:pt x="494" y="227"/>
                  </a:moveTo>
                  <a:lnTo>
                    <a:pt x="494" y="230"/>
                  </a:lnTo>
                  <a:lnTo>
                    <a:pt x="494" y="232"/>
                  </a:lnTo>
                  <a:lnTo>
                    <a:pt x="497" y="235"/>
                  </a:lnTo>
                  <a:lnTo>
                    <a:pt x="497" y="235"/>
                  </a:lnTo>
                  <a:lnTo>
                    <a:pt x="499" y="230"/>
                  </a:lnTo>
                  <a:lnTo>
                    <a:pt x="497" y="227"/>
                  </a:lnTo>
                  <a:lnTo>
                    <a:pt x="497" y="227"/>
                  </a:lnTo>
                  <a:lnTo>
                    <a:pt x="497" y="225"/>
                  </a:lnTo>
                  <a:lnTo>
                    <a:pt x="494" y="225"/>
                  </a:lnTo>
                  <a:lnTo>
                    <a:pt x="494" y="227"/>
                  </a:lnTo>
                  <a:lnTo>
                    <a:pt x="494" y="227"/>
                  </a:lnTo>
                  <a:lnTo>
                    <a:pt x="494" y="227"/>
                  </a:lnTo>
                  <a:lnTo>
                    <a:pt x="494" y="227"/>
                  </a:lnTo>
                  <a:moveTo>
                    <a:pt x="502" y="232"/>
                  </a:moveTo>
                  <a:lnTo>
                    <a:pt x="502" y="232"/>
                  </a:lnTo>
                  <a:lnTo>
                    <a:pt x="504" y="232"/>
                  </a:lnTo>
                  <a:lnTo>
                    <a:pt x="504" y="232"/>
                  </a:lnTo>
                  <a:lnTo>
                    <a:pt x="506" y="232"/>
                  </a:lnTo>
                  <a:lnTo>
                    <a:pt x="506" y="232"/>
                  </a:lnTo>
                  <a:lnTo>
                    <a:pt x="506" y="232"/>
                  </a:lnTo>
                  <a:lnTo>
                    <a:pt x="509" y="232"/>
                  </a:lnTo>
                  <a:lnTo>
                    <a:pt x="509" y="230"/>
                  </a:lnTo>
                  <a:lnTo>
                    <a:pt x="509" y="227"/>
                  </a:lnTo>
                  <a:lnTo>
                    <a:pt x="511" y="223"/>
                  </a:lnTo>
                  <a:lnTo>
                    <a:pt x="511" y="218"/>
                  </a:lnTo>
                  <a:lnTo>
                    <a:pt x="511" y="216"/>
                  </a:lnTo>
                  <a:lnTo>
                    <a:pt x="511" y="216"/>
                  </a:lnTo>
                  <a:lnTo>
                    <a:pt x="506" y="218"/>
                  </a:lnTo>
                  <a:lnTo>
                    <a:pt x="504" y="220"/>
                  </a:lnTo>
                  <a:lnTo>
                    <a:pt x="504" y="220"/>
                  </a:lnTo>
                  <a:lnTo>
                    <a:pt x="504" y="225"/>
                  </a:lnTo>
                  <a:lnTo>
                    <a:pt x="504" y="225"/>
                  </a:lnTo>
                  <a:lnTo>
                    <a:pt x="504" y="227"/>
                  </a:lnTo>
                  <a:lnTo>
                    <a:pt x="502" y="232"/>
                  </a:lnTo>
                  <a:moveTo>
                    <a:pt x="516" y="223"/>
                  </a:moveTo>
                  <a:lnTo>
                    <a:pt x="516" y="220"/>
                  </a:lnTo>
                  <a:lnTo>
                    <a:pt x="518" y="218"/>
                  </a:lnTo>
                  <a:lnTo>
                    <a:pt x="518" y="218"/>
                  </a:lnTo>
                  <a:lnTo>
                    <a:pt x="518" y="218"/>
                  </a:lnTo>
                  <a:lnTo>
                    <a:pt x="518" y="218"/>
                  </a:lnTo>
                  <a:lnTo>
                    <a:pt x="518" y="218"/>
                  </a:lnTo>
                  <a:lnTo>
                    <a:pt x="520" y="220"/>
                  </a:lnTo>
                  <a:lnTo>
                    <a:pt x="520" y="220"/>
                  </a:lnTo>
                  <a:lnTo>
                    <a:pt x="520" y="216"/>
                  </a:lnTo>
                  <a:lnTo>
                    <a:pt x="518" y="213"/>
                  </a:lnTo>
                  <a:lnTo>
                    <a:pt x="518" y="211"/>
                  </a:lnTo>
                  <a:lnTo>
                    <a:pt x="518" y="211"/>
                  </a:lnTo>
                  <a:lnTo>
                    <a:pt x="516" y="213"/>
                  </a:lnTo>
                  <a:lnTo>
                    <a:pt x="513" y="216"/>
                  </a:lnTo>
                  <a:lnTo>
                    <a:pt x="513" y="220"/>
                  </a:lnTo>
                  <a:lnTo>
                    <a:pt x="513" y="223"/>
                  </a:lnTo>
                  <a:lnTo>
                    <a:pt x="511" y="225"/>
                  </a:lnTo>
                  <a:lnTo>
                    <a:pt x="511" y="225"/>
                  </a:lnTo>
                  <a:lnTo>
                    <a:pt x="511" y="227"/>
                  </a:lnTo>
                  <a:lnTo>
                    <a:pt x="511" y="230"/>
                  </a:lnTo>
                  <a:lnTo>
                    <a:pt x="511" y="230"/>
                  </a:lnTo>
                  <a:lnTo>
                    <a:pt x="509" y="232"/>
                  </a:lnTo>
                  <a:lnTo>
                    <a:pt x="509" y="232"/>
                  </a:lnTo>
                  <a:lnTo>
                    <a:pt x="509" y="232"/>
                  </a:lnTo>
                  <a:lnTo>
                    <a:pt x="509" y="235"/>
                  </a:lnTo>
                  <a:lnTo>
                    <a:pt x="509" y="237"/>
                  </a:lnTo>
                  <a:lnTo>
                    <a:pt x="509" y="239"/>
                  </a:lnTo>
                  <a:lnTo>
                    <a:pt x="509" y="239"/>
                  </a:lnTo>
                  <a:lnTo>
                    <a:pt x="511" y="237"/>
                  </a:lnTo>
                  <a:lnTo>
                    <a:pt x="511" y="239"/>
                  </a:lnTo>
                  <a:lnTo>
                    <a:pt x="513" y="237"/>
                  </a:lnTo>
                  <a:lnTo>
                    <a:pt x="513" y="235"/>
                  </a:lnTo>
                  <a:lnTo>
                    <a:pt x="513" y="235"/>
                  </a:lnTo>
                  <a:lnTo>
                    <a:pt x="513" y="235"/>
                  </a:lnTo>
                  <a:lnTo>
                    <a:pt x="516" y="232"/>
                  </a:lnTo>
                  <a:lnTo>
                    <a:pt x="516" y="232"/>
                  </a:lnTo>
                  <a:lnTo>
                    <a:pt x="516" y="232"/>
                  </a:lnTo>
                  <a:lnTo>
                    <a:pt x="518" y="232"/>
                  </a:lnTo>
                  <a:lnTo>
                    <a:pt x="518" y="232"/>
                  </a:lnTo>
                  <a:lnTo>
                    <a:pt x="520" y="230"/>
                  </a:lnTo>
                  <a:lnTo>
                    <a:pt x="518" y="230"/>
                  </a:lnTo>
                  <a:lnTo>
                    <a:pt x="516" y="227"/>
                  </a:lnTo>
                  <a:lnTo>
                    <a:pt x="516" y="227"/>
                  </a:lnTo>
                  <a:lnTo>
                    <a:pt x="516" y="227"/>
                  </a:lnTo>
                  <a:lnTo>
                    <a:pt x="516" y="227"/>
                  </a:lnTo>
                  <a:lnTo>
                    <a:pt x="516" y="223"/>
                  </a:lnTo>
                  <a:lnTo>
                    <a:pt x="516" y="223"/>
                  </a:lnTo>
                  <a:moveTo>
                    <a:pt x="520" y="204"/>
                  </a:moveTo>
                  <a:lnTo>
                    <a:pt x="520" y="204"/>
                  </a:lnTo>
                  <a:lnTo>
                    <a:pt x="518" y="204"/>
                  </a:lnTo>
                  <a:lnTo>
                    <a:pt x="516" y="204"/>
                  </a:lnTo>
                  <a:lnTo>
                    <a:pt x="516" y="204"/>
                  </a:lnTo>
                  <a:lnTo>
                    <a:pt x="516" y="206"/>
                  </a:lnTo>
                  <a:lnTo>
                    <a:pt x="518" y="209"/>
                  </a:lnTo>
                  <a:lnTo>
                    <a:pt x="518" y="209"/>
                  </a:lnTo>
                  <a:lnTo>
                    <a:pt x="520" y="206"/>
                  </a:lnTo>
                  <a:lnTo>
                    <a:pt x="520" y="204"/>
                  </a:lnTo>
                  <a:moveTo>
                    <a:pt x="615" y="192"/>
                  </a:moveTo>
                  <a:lnTo>
                    <a:pt x="612" y="194"/>
                  </a:lnTo>
                  <a:lnTo>
                    <a:pt x="610" y="194"/>
                  </a:lnTo>
                  <a:lnTo>
                    <a:pt x="608" y="197"/>
                  </a:lnTo>
                  <a:lnTo>
                    <a:pt x="608" y="197"/>
                  </a:lnTo>
                  <a:lnTo>
                    <a:pt x="608" y="197"/>
                  </a:lnTo>
                  <a:lnTo>
                    <a:pt x="610" y="199"/>
                  </a:lnTo>
                  <a:lnTo>
                    <a:pt x="610" y="197"/>
                  </a:lnTo>
                  <a:lnTo>
                    <a:pt x="612" y="197"/>
                  </a:lnTo>
                  <a:lnTo>
                    <a:pt x="612" y="197"/>
                  </a:lnTo>
                  <a:lnTo>
                    <a:pt x="612" y="197"/>
                  </a:lnTo>
                  <a:lnTo>
                    <a:pt x="612" y="197"/>
                  </a:lnTo>
                  <a:lnTo>
                    <a:pt x="612" y="197"/>
                  </a:lnTo>
                  <a:lnTo>
                    <a:pt x="615" y="197"/>
                  </a:lnTo>
                  <a:lnTo>
                    <a:pt x="615" y="197"/>
                  </a:lnTo>
                  <a:lnTo>
                    <a:pt x="615" y="194"/>
                  </a:lnTo>
                  <a:lnTo>
                    <a:pt x="615" y="194"/>
                  </a:lnTo>
                  <a:lnTo>
                    <a:pt x="615" y="194"/>
                  </a:lnTo>
                  <a:lnTo>
                    <a:pt x="617" y="192"/>
                  </a:lnTo>
                  <a:lnTo>
                    <a:pt x="615" y="192"/>
                  </a:lnTo>
                  <a:moveTo>
                    <a:pt x="393" y="194"/>
                  </a:moveTo>
                  <a:lnTo>
                    <a:pt x="393" y="197"/>
                  </a:lnTo>
                  <a:lnTo>
                    <a:pt x="395" y="192"/>
                  </a:lnTo>
                  <a:lnTo>
                    <a:pt x="395" y="190"/>
                  </a:lnTo>
                  <a:lnTo>
                    <a:pt x="395" y="192"/>
                  </a:lnTo>
                  <a:lnTo>
                    <a:pt x="393" y="194"/>
                  </a:lnTo>
                  <a:moveTo>
                    <a:pt x="393" y="197"/>
                  </a:moveTo>
                  <a:lnTo>
                    <a:pt x="393" y="194"/>
                  </a:lnTo>
                  <a:lnTo>
                    <a:pt x="393" y="192"/>
                  </a:lnTo>
                  <a:lnTo>
                    <a:pt x="393" y="192"/>
                  </a:lnTo>
                  <a:lnTo>
                    <a:pt x="393" y="190"/>
                  </a:lnTo>
                  <a:lnTo>
                    <a:pt x="393" y="187"/>
                  </a:lnTo>
                  <a:lnTo>
                    <a:pt x="391" y="187"/>
                  </a:lnTo>
                  <a:lnTo>
                    <a:pt x="388" y="190"/>
                  </a:lnTo>
                  <a:lnTo>
                    <a:pt x="388" y="192"/>
                  </a:lnTo>
                  <a:lnTo>
                    <a:pt x="388" y="194"/>
                  </a:lnTo>
                  <a:lnTo>
                    <a:pt x="388" y="197"/>
                  </a:lnTo>
                  <a:lnTo>
                    <a:pt x="388" y="199"/>
                  </a:lnTo>
                  <a:lnTo>
                    <a:pt x="388" y="204"/>
                  </a:lnTo>
                  <a:lnTo>
                    <a:pt x="388" y="204"/>
                  </a:lnTo>
                  <a:lnTo>
                    <a:pt x="393" y="201"/>
                  </a:lnTo>
                  <a:lnTo>
                    <a:pt x="393" y="199"/>
                  </a:lnTo>
                  <a:lnTo>
                    <a:pt x="393" y="199"/>
                  </a:lnTo>
                  <a:lnTo>
                    <a:pt x="393" y="197"/>
                  </a:lnTo>
                  <a:moveTo>
                    <a:pt x="596" y="190"/>
                  </a:moveTo>
                  <a:lnTo>
                    <a:pt x="593" y="190"/>
                  </a:lnTo>
                  <a:lnTo>
                    <a:pt x="593" y="187"/>
                  </a:lnTo>
                  <a:lnTo>
                    <a:pt x="593" y="187"/>
                  </a:lnTo>
                  <a:lnTo>
                    <a:pt x="591" y="185"/>
                  </a:lnTo>
                  <a:lnTo>
                    <a:pt x="589" y="185"/>
                  </a:lnTo>
                  <a:lnTo>
                    <a:pt x="589" y="183"/>
                  </a:lnTo>
                  <a:lnTo>
                    <a:pt x="584" y="183"/>
                  </a:lnTo>
                  <a:lnTo>
                    <a:pt x="579" y="185"/>
                  </a:lnTo>
                  <a:lnTo>
                    <a:pt x="577" y="185"/>
                  </a:lnTo>
                  <a:lnTo>
                    <a:pt x="575" y="185"/>
                  </a:lnTo>
                  <a:lnTo>
                    <a:pt x="575" y="185"/>
                  </a:lnTo>
                  <a:lnTo>
                    <a:pt x="575" y="185"/>
                  </a:lnTo>
                  <a:lnTo>
                    <a:pt x="575" y="190"/>
                  </a:lnTo>
                  <a:lnTo>
                    <a:pt x="575" y="192"/>
                  </a:lnTo>
                  <a:lnTo>
                    <a:pt x="575" y="192"/>
                  </a:lnTo>
                  <a:lnTo>
                    <a:pt x="577" y="194"/>
                  </a:lnTo>
                  <a:lnTo>
                    <a:pt x="577" y="194"/>
                  </a:lnTo>
                  <a:lnTo>
                    <a:pt x="579" y="197"/>
                  </a:lnTo>
                  <a:lnTo>
                    <a:pt x="582" y="199"/>
                  </a:lnTo>
                  <a:lnTo>
                    <a:pt x="586" y="199"/>
                  </a:lnTo>
                  <a:lnTo>
                    <a:pt x="586" y="199"/>
                  </a:lnTo>
                  <a:lnTo>
                    <a:pt x="586" y="199"/>
                  </a:lnTo>
                  <a:lnTo>
                    <a:pt x="589" y="199"/>
                  </a:lnTo>
                  <a:lnTo>
                    <a:pt x="591" y="199"/>
                  </a:lnTo>
                  <a:lnTo>
                    <a:pt x="593" y="197"/>
                  </a:lnTo>
                  <a:lnTo>
                    <a:pt x="593" y="197"/>
                  </a:lnTo>
                  <a:lnTo>
                    <a:pt x="596" y="194"/>
                  </a:lnTo>
                  <a:lnTo>
                    <a:pt x="596" y="192"/>
                  </a:lnTo>
                  <a:lnTo>
                    <a:pt x="596" y="190"/>
                  </a:lnTo>
                  <a:lnTo>
                    <a:pt x="596" y="190"/>
                  </a:lnTo>
                  <a:moveTo>
                    <a:pt x="662" y="199"/>
                  </a:moveTo>
                  <a:lnTo>
                    <a:pt x="664" y="194"/>
                  </a:lnTo>
                  <a:lnTo>
                    <a:pt x="662" y="194"/>
                  </a:lnTo>
                  <a:lnTo>
                    <a:pt x="662" y="192"/>
                  </a:lnTo>
                  <a:lnTo>
                    <a:pt x="659" y="190"/>
                  </a:lnTo>
                  <a:lnTo>
                    <a:pt x="659" y="190"/>
                  </a:lnTo>
                  <a:lnTo>
                    <a:pt x="659" y="190"/>
                  </a:lnTo>
                  <a:lnTo>
                    <a:pt x="659" y="187"/>
                  </a:lnTo>
                  <a:lnTo>
                    <a:pt x="657" y="185"/>
                  </a:lnTo>
                  <a:lnTo>
                    <a:pt x="655" y="183"/>
                  </a:lnTo>
                  <a:lnTo>
                    <a:pt x="652" y="183"/>
                  </a:lnTo>
                  <a:lnTo>
                    <a:pt x="650" y="183"/>
                  </a:lnTo>
                  <a:lnTo>
                    <a:pt x="648" y="183"/>
                  </a:lnTo>
                  <a:lnTo>
                    <a:pt x="643" y="180"/>
                  </a:lnTo>
                  <a:lnTo>
                    <a:pt x="641" y="178"/>
                  </a:lnTo>
                  <a:lnTo>
                    <a:pt x="638" y="178"/>
                  </a:lnTo>
                  <a:lnTo>
                    <a:pt x="638" y="178"/>
                  </a:lnTo>
                  <a:lnTo>
                    <a:pt x="638" y="178"/>
                  </a:lnTo>
                  <a:lnTo>
                    <a:pt x="636" y="178"/>
                  </a:lnTo>
                  <a:lnTo>
                    <a:pt x="634" y="180"/>
                  </a:lnTo>
                  <a:lnTo>
                    <a:pt x="631" y="180"/>
                  </a:lnTo>
                  <a:lnTo>
                    <a:pt x="631" y="180"/>
                  </a:lnTo>
                  <a:lnTo>
                    <a:pt x="631" y="180"/>
                  </a:lnTo>
                  <a:lnTo>
                    <a:pt x="631" y="178"/>
                  </a:lnTo>
                  <a:lnTo>
                    <a:pt x="629" y="178"/>
                  </a:lnTo>
                  <a:lnTo>
                    <a:pt x="626" y="178"/>
                  </a:lnTo>
                  <a:lnTo>
                    <a:pt x="624" y="180"/>
                  </a:lnTo>
                  <a:lnTo>
                    <a:pt x="622" y="178"/>
                  </a:lnTo>
                  <a:lnTo>
                    <a:pt x="615" y="180"/>
                  </a:lnTo>
                  <a:lnTo>
                    <a:pt x="612" y="180"/>
                  </a:lnTo>
                  <a:lnTo>
                    <a:pt x="608" y="187"/>
                  </a:lnTo>
                  <a:lnTo>
                    <a:pt x="608" y="187"/>
                  </a:lnTo>
                  <a:lnTo>
                    <a:pt x="610" y="190"/>
                  </a:lnTo>
                  <a:lnTo>
                    <a:pt x="610" y="190"/>
                  </a:lnTo>
                  <a:lnTo>
                    <a:pt x="608" y="192"/>
                  </a:lnTo>
                  <a:lnTo>
                    <a:pt x="608" y="192"/>
                  </a:lnTo>
                  <a:lnTo>
                    <a:pt x="610" y="192"/>
                  </a:lnTo>
                  <a:lnTo>
                    <a:pt x="610" y="190"/>
                  </a:lnTo>
                  <a:lnTo>
                    <a:pt x="610" y="190"/>
                  </a:lnTo>
                  <a:lnTo>
                    <a:pt x="612" y="187"/>
                  </a:lnTo>
                  <a:lnTo>
                    <a:pt x="612" y="185"/>
                  </a:lnTo>
                  <a:lnTo>
                    <a:pt x="612" y="185"/>
                  </a:lnTo>
                  <a:lnTo>
                    <a:pt x="615" y="185"/>
                  </a:lnTo>
                  <a:lnTo>
                    <a:pt x="615" y="187"/>
                  </a:lnTo>
                  <a:lnTo>
                    <a:pt x="615" y="187"/>
                  </a:lnTo>
                  <a:lnTo>
                    <a:pt x="617" y="192"/>
                  </a:lnTo>
                  <a:lnTo>
                    <a:pt x="619" y="192"/>
                  </a:lnTo>
                  <a:lnTo>
                    <a:pt x="619" y="192"/>
                  </a:lnTo>
                  <a:lnTo>
                    <a:pt x="622" y="192"/>
                  </a:lnTo>
                  <a:lnTo>
                    <a:pt x="622" y="190"/>
                  </a:lnTo>
                  <a:lnTo>
                    <a:pt x="624" y="187"/>
                  </a:lnTo>
                  <a:lnTo>
                    <a:pt x="624" y="187"/>
                  </a:lnTo>
                  <a:lnTo>
                    <a:pt x="626" y="187"/>
                  </a:lnTo>
                  <a:lnTo>
                    <a:pt x="626" y="187"/>
                  </a:lnTo>
                  <a:lnTo>
                    <a:pt x="629" y="187"/>
                  </a:lnTo>
                  <a:lnTo>
                    <a:pt x="629" y="187"/>
                  </a:lnTo>
                  <a:lnTo>
                    <a:pt x="629" y="190"/>
                  </a:lnTo>
                  <a:lnTo>
                    <a:pt x="629" y="190"/>
                  </a:lnTo>
                  <a:lnTo>
                    <a:pt x="631" y="190"/>
                  </a:lnTo>
                  <a:lnTo>
                    <a:pt x="634" y="190"/>
                  </a:lnTo>
                  <a:lnTo>
                    <a:pt x="636" y="190"/>
                  </a:lnTo>
                  <a:lnTo>
                    <a:pt x="638" y="192"/>
                  </a:lnTo>
                  <a:lnTo>
                    <a:pt x="638" y="192"/>
                  </a:lnTo>
                  <a:lnTo>
                    <a:pt x="638" y="190"/>
                  </a:lnTo>
                  <a:lnTo>
                    <a:pt x="638" y="190"/>
                  </a:lnTo>
                  <a:lnTo>
                    <a:pt x="638" y="190"/>
                  </a:lnTo>
                  <a:lnTo>
                    <a:pt x="641" y="190"/>
                  </a:lnTo>
                  <a:lnTo>
                    <a:pt x="645" y="190"/>
                  </a:lnTo>
                  <a:lnTo>
                    <a:pt x="645" y="190"/>
                  </a:lnTo>
                  <a:lnTo>
                    <a:pt x="648" y="192"/>
                  </a:lnTo>
                  <a:lnTo>
                    <a:pt x="648" y="192"/>
                  </a:lnTo>
                  <a:lnTo>
                    <a:pt x="652" y="194"/>
                  </a:lnTo>
                  <a:lnTo>
                    <a:pt x="655" y="194"/>
                  </a:lnTo>
                  <a:lnTo>
                    <a:pt x="657" y="199"/>
                  </a:lnTo>
                  <a:lnTo>
                    <a:pt x="662" y="199"/>
                  </a:lnTo>
                  <a:moveTo>
                    <a:pt x="94" y="178"/>
                  </a:moveTo>
                  <a:lnTo>
                    <a:pt x="94" y="178"/>
                  </a:lnTo>
                  <a:lnTo>
                    <a:pt x="94" y="178"/>
                  </a:lnTo>
                  <a:lnTo>
                    <a:pt x="94" y="183"/>
                  </a:lnTo>
                  <a:lnTo>
                    <a:pt x="94" y="183"/>
                  </a:lnTo>
                  <a:lnTo>
                    <a:pt x="96" y="185"/>
                  </a:lnTo>
                  <a:lnTo>
                    <a:pt x="96" y="185"/>
                  </a:lnTo>
                  <a:lnTo>
                    <a:pt x="96" y="187"/>
                  </a:lnTo>
                  <a:lnTo>
                    <a:pt x="99" y="190"/>
                  </a:lnTo>
                  <a:lnTo>
                    <a:pt x="99" y="185"/>
                  </a:lnTo>
                  <a:lnTo>
                    <a:pt x="99" y="185"/>
                  </a:lnTo>
                  <a:lnTo>
                    <a:pt x="99" y="185"/>
                  </a:lnTo>
                  <a:lnTo>
                    <a:pt x="99" y="183"/>
                  </a:lnTo>
                  <a:lnTo>
                    <a:pt x="99" y="183"/>
                  </a:lnTo>
                  <a:lnTo>
                    <a:pt x="94" y="178"/>
                  </a:lnTo>
                  <a:moveTo>
                    <a:pt x="231" y="180"/>
                  </a:moveTo>
                  <a:lnTo>
                    <a:pt x="231" y="183"/>
                  </a:lnTo>
                  <a:lnTo>
                    <a:pt x="231" y="183"/>
                  </a:lnTo>
                  <a:lnTo>
                    <a:pt x="233" y="185"/>
                  </a:lnTo>
                  <a:lnTo>
                    <a:pt x="231" y="187"/>
                  </a:lnTo>
                  <a:lnTo>
                    <a:pt x="233" y="187"/>
                  </a:lnTo>
                  <a:lnTo>
                    <a:pt x="235" y="185"/>
                  </a:lnTo>
                  <a:lnTo>
                    <a:pt x="235" y="185"/>
                  </a:lnTo>
                  <a:lnTo>
                    <a:pt x="235" y="185"/>
                  </a:lnTo>
                  <a:lnTo>
                    <a:pt x="238" y="185"/>
                  </a:lnTo>
                  <a:lnTo>
                    <a:pt x="238" y="185"/>
                  </a:lnTo>
                  <a:lnTo>
                    <a:pt x="238" y="187"/>
                  </a:lnTo>
                  <a:lnTo>
                    <a:pt x="240" y="187"/>
                  </a:lnTo>
                  <a:lnTo>
                    <a:pt x="240" y="187"/>
                  </a:lnTo>
                  <a:lnTo>
                    <a:pt x="242" y="185"/>
                  </a:lnTo>
                  <a:lnTo>
                    <a:pt x="242" y="185"/>
                  </a:lnTo>
                  <a:lnTo>
                    <a:pt x="242" y="183"/>
                  </a:lnTo>
                  <a:lnTo>
                    <a:pt x="245" y="178"/>
                  </a:lnTo>
                  <a:lnTo>
                    <a:pt x="242" y="175"/>
                  </a:lnTo>
                  <a:lnTo>
                    <a:pt x="240" y="173"/>
                  </a:lnTo>
                  <a:lnTo>
                    <a:pt x="238" y="173"/>
                  </a:lnTo>
                  <a:lnTo>
                    <a:pt x="235" y="173"/>
                  </a:lnTo>
                  <a:lnTo>
                    <a:pt x="233" y="173"/>
                  </a:lnTo>
                  <a:lnTo>
                    <a:pt x="233" y="175"/>
                  </a:lnTo>
                  <a:lnTo>
                    <a:pt x="231" y="178"/>
                  </a:lnTo>
                  <a:lnTo>
                    <a:pt x="231" y="180"/>
                  </a:lnTo>
                  <a:lnTo>
                    <a:pt x="231" y="180"/>
                  </a:lnTo>
                  <a:lnTo>
                    <a:pt x="231" y="180"/>
                  </a:lnTo>
                  <a:moveTo>
                    <a:pt x="94" y="175"/>
                  </a:moveTo>
                  <a:lnTo>
                    <a:pt x="91" y="171"/>
                  </a:lnTo>
                  <a:lnTo>
                    <a:pt x="89" y="173"/>
                  </a:lnTo>
                  <a:lnTo>
                    <a:pt x="89" y="173"/>
                  </a:lnTo>
                  <a:lnTo>
                    <a:pt x="89" y="173"/>
                  </a:lnTo>
                  <a:lnTo>
                    <a:pt x="89" y="175"/>
                  </a:lnTo>
                  <a:lnTo>
                    <a:pt x="89" y="178"/>
                  </a:lnTo>
                  <a:lnTo>
                    <a:pt x="91" y="178"/>
                  </a:lnTo>
                  <a:lnTo>
                    <a:pt x="94" y="178"/>
                  </a:lnTo>
                  <a:lnTo>
                    <a:pt x="94" y="178"/>
                  </a:lnTo>
                  <a:lnTo>
                    <a:pt x="94" y="175"/>
                  </a:lnTo>
                  <a:moveTo>
                    <a:pt x="87" y="166"/>
                  </a:moveTo>
                  <a:lnTo>
                    <a:pt x="87" y="164"/>
                  </a:lnTo>
                  <a:lnTo>
                    <a:pt x="84" y="161"/>
                  </a:lnTo>
                  <a:lnTo>
                    <a:pt x="84" y="161"/>
                  </a:lnTo>
                  <a:lnTo>
                    <a:pt x="82" y="161"/>
                  </a:lnTo>
                  <a:lnTo>
                    <a:pt x="82" y="161"/>
                  </a:lnTo>
                  <a:lnTo>
                    <a:pt x="82" y="164"/>
                  </a:lnTo>
                  <a:lnTo>
                    <a:pt x="82" y="164"/>
                  </a:lnTo>
                  <a:lnTo>
                    <a:pt x="84" y="166"/>
                  </a:lnTo>
                  <a:lnTo>
                    <a:pt x="84" y="166"/>
                  </a:lnTo>
                  <a:lnTo>
                    <a:pt x="87" y="168"/>
                  </a:lnTo>
                  <a:lnTo>
                    <a:pt x="87" y="168"/>
                  </a:lnTo>
                  <a:lnTo>
                    <a:pt x="87" y="166"/>
                  </a:lnTo>
                  <a:moveTo>
                    <a:pt x="572" y="161"/>
                  </a:moveTo>
                  <a:lnTo>
                    <a:pt x="572" y="161"/>
                  </a:lnTo>
                  <a:lnTo>
                    <a:pt x="572" y="161"/>
                  </a:lnTo>
                  <a:lnTo>
                    <a:pt x="572" y="164"/>
                  </a:lnTo>
                  <a:lnTo>
                    <a:pt x="572" y="166"/>
                  </a:lnTo>
                  <a:lnTo>
                    <a:pt x="572" y="166"/>
                  </a:lnTo>
                  <a:lnTo>
                    <a:pt x="572" y="171"/>
                  </a:lnTo>
                  <a:lnTo>
                    <a:pt x="575" y="171"/>
                  </a:lnTo>
                  <a:lnTo>
                    <a:pt x="575" y="171"/>
                  </a:lnTo>
                  <a:lnTo>
                    <a:pt x="575" y="168"/>
                  </a:lnTo>
                  <a:lnTo>
                    <a:pt x="572" y="164"/>
                  </a:lnTo>
                  <a:lnTo>
                    <a:pt x="575" y="161"/>
                  </a:lnTo>
                  <a:lnTo>
                    <a:pt x="572" y="161"/>
                  </a:lnTo>
                  <a:moveTo>
                    <a:pt x="570" y="159"/>
                  </a:moveTo>
                  <a:lnTo>
                    <a:pt x="572" y="159"/>
                  </a:lnTo>
                  <a:lnTo>
                    <a:pt x="579" y="159"/>
                  </a:lnTo>
                  <a:lnTo>
                    <a:pt x="579" y="157"/>
                  </a:lnTo>
                  <a:lnTo>
                    <a:pt x="575" y="157"/>
                  </a:lnTo>
                  <a:lnTo>
                    <a:pt x="570" y="157"/>
                  </a:lnTo>
                  <a:lnTo>
                    <a:pt x="565" y="157"/>
                  </a:lnTo>
                  <a:lnTo>
                    <a:pt x="563" y="157"/>
                  </a:lnTo>
                  <a:lnTo>
                    <a:pt x="563" y="157"/>
                  </a:lnTo>
                  <a:lnTo>
                    <a:pt x="563" y="159"/>
                  </a:lnTo>
                  <a:lnTo>
                    <a:pt x="563" y="159"/>
                  </a:lnTo>
                  <a:lnTo>
                    <a:pt x="565" y="159"/>
                  </a:lnTo>
                  <a:lnTo>
                    <a:pt x="570" y="159"/>
                  </a:lnTo>
                  <a:moveTo>
                    <a:pt x="645" y="161"/>
                  </a:moveTo>
                  <a:lnTo>
                    <a:pt x="650" y="161"/>
                  </a:lnTo>
                  <a:lnTo>
                    <a:pt x="650" y="161"/>
                  </a:lnTo>
                  <a:lnTo>
                    <a:pt x="652" y="161"/>
                  </a:lnTo>
                  <a:lnTo>
                    <a:pt x="652" y="161"/>
                  </a:lnTo>
                  <a:lnTo>
                    <a:pt x="655" y="161"/>
                  </a:lnTo>
                  <a:lnTo>
                    <a:pt x="655" y="161"/>
                  </a:lnTo>
                  <a:lnTo>
                    <a:pt x="657" y="161"/>
                  </a:lnTo>
                  <a:lnTo>
                    <a:pt x="655" y="159"/>
                  </a:lnTo>
                  <a:lnTo>
                    <a:pt x="655" y="159"/>
                  </a:lnTo>
                  <a:lnTo>
                    <a:pt x="655" y="159"/>
                  </a:lnTo>
                  <a:lnTo>
                    <a:pt x="657" y="157"/>
                  </a:lnTo>
                  <a:lnTo>
                    <a:pt x="655" y="157"/>
                  </a:lnTo>
                  <a:lnTo>
                    <a:pt x="655" y="154"/>
                  </a:lnTo>
                  <a:lnTo>
                    <a:pt x="655" y="154"/>
                  </a:lnTo>
                  <a:lnTo>
                    <a:pt x="652" y="154"/>
                  </a:lnTo>
                  <a:lnTo>
                    <a:pt x="650" y="154"/>
                  </a:lnTo>
                  <a:lnTo>
                    <a:pt x="648" y="157"/>
                  </a:lnTo>
                  <a:lnTo>
                    <a:pt x="643" y="159"/>
                  </a:lnTo>
                  <a:lnTo>
                    <a:pt x="643" y="159"/>
                  </a:lnTo>
                  <a:lnTo>
                    <a:pt x="645" y="161"/>
                  </a:lnTo>
                  <a:moveTo>
                    <a:pt x="560" y="157"/>
                  </a:moveTo>
                  <a:lnTo>
                    <a:pt x="558" y="157"/>
                  </a:lnTo>
                  <a:lnTo>
                    <a:pt x="558" y="154"/>
                  </a:lnTo>
                  <a:lnTo>
                    <a:pt x="558" y="154"/>
                  </a:lnTo>
                  <a:lnTo>
                    <a:pt x="558" y="154"/>
                  </a:lnTo>
                  <a:lnTo>
                    <a:pt x="558" y="157"/>
                  </a:lnTo>
                  <a:lnTo>
                    <a:pt x="556" y="157"/>
                  </a:lnTo>
                  <a:lnTo>
                    <a:pt x="556" y="154"/>
                  </a:lnTo>
                  <a:lnTo>
                    <a:pt x="549" y="154"/>
                  </a:lnTo>
                  <a:lnTo>
                    <a:pt x="546" y="154"/>
                  </a:lnTo>
                  <a:lnTo>
                    <a:pt x="544" y="154"/>
                  </a:lnTo>
                  <a:lnTo>
                    <a:pt x="544" y="154"/>
                  </a:lnTo>
                  <a:lnTo>
                    <a:pt x="544" y="159"/>
                  </a:lnTo>
                  <a:lnTo>
                    <a:pt x="544" y="161"/>
                  </a:lnTo>
                  <a:lnTo>
                    <a:pt x="546" y="161"/>
                  </a:lnTo>
                  <a:lnTo>
                    <a:pt x="549" y="161"/>
                  </a:lnTo>
                  <a:lnTo>
                    <a:pt x="553" y="159"/>
                  </a:lnTo>
                  <a:lnTo>
                    <a:pt x="556" y="159"/>
                  </a:lnTo>
                  <a:lnTo>
                    <a:pt x="558" y="159"/>
                  </a:lnTo>
                  <a:lnTo>
                    <a:pt x="560" y="159"/>
                  </a:lnTo>
                  <a:lnTo>
                    <a:pt x="560" y="157"/>
                  </a:lnTo>
                  <a:lnTo>
                    <a:pt x="560" y="157"/>
                  </a:lnTo>
                  <a:lnTo>
                    <a:pt x="560" y="157"/>
                  </a:lnTo>
                  <a:moveTo>
                    <a:pt x="763" y="154"/>
                  </a:moveTo>
                  <a:lnTo>
                    <a:pt x="758" y="154"/>
                  </a:lnTo>
                  <a:lnTo>
                    <a:pt x="758" y="154"/>
                  </a:lnTo>
                  <a:lnTo>
                    <a:pt x="751" y="152"/>
                  </a:lnTo>
                  <a:lnTo>
                    <a:pt x="749" y="152"/>
                  </a:lnTo>
                  <a:lnTo>
                    <a:pt x="751" y="154"/>
                  </a:lnTo>
                  <a:lnTo>
                    <a:pt x="758" y="157"/>
                  </a:lnTo>
                  <a:lnTo>
                    <a:pt x="761" y="157"/>
                  </a:lnTo>
                  <a:lnTo>
                    <a:pt x="763" y="159"/>
                  </a:lnTo>
                  <a:lnTo>
                    <a:pt x="763" y="159"/>
                  </a:lnTo>
                  <a:lnTo>
                    <a:pt x="765" y="159"/>
                  </a:lnTo>
                  <a:lnTo>
                    <a:pt x="768" y="159"/>
                  </a:lnTo>
                  <a:lnTo>
                    <a:pt x="773" y="159"/>
                  </a:lnTo>
                  <a:lnTo>
                    <a:pt x="773" y="157"/>
                  </a:lnTo>
                  <a:lnTo>
                    <a:pt x="777" y="157"/>
                  </a:lnTo>
                  <a:lnTo>
                    <a:pt x="775" y="157"/>
                  </a:lnTo>
                  <a:lnTo>
                    <a:pt x="773" y="157"/>
                  </a:lnTo>
                  <a:lnTo>
                    <a:pt x="768" y="154"/>
                  </a:lnTo>
                  <a:lnTo>
                    <a:pt x="763" y="154"/>
                  </a:lnTo>
                  <a:moveTo>
                    <a:pt x="188" y="164"/>
                  </a:moveTo>
                  <a:lnTo>
                    <a:pt x="190" y="164"/>
                  </a:lnTo>
                  <a:lnTo>
                    <a:pt x="193" y="164"/>
                  </a:lnTo>
                  <a:lnTo>
                    <a:pt x="195" y="164"/>
                  </a:lnTo>
                  <a:lnTo>
                    <a:pt x="198" y="164"/>
                  </a:lnTo>
                  <a:lnTo>
                    <a:pt x="198" y="166"/>
                  </a:lnTo>
                  <a:lnTo>
                    <a:pt x="198" y="168"/>
                  </a:lnTo>
                  <a:lnTo>
                    <a:pt x="200" y="171"/>
                  </a:lnTo>
                  <a:lnTo>
                    <a:pt x="200" y="171"/>
                  </a:lnTo>
                  <a:lnTo>
                    <a:pt x="200" y="171"/>
                  </a:lnTo>
                  <a:lnTo>
                    <a:pt x="200" y="175"/>
                  </a:lnTo>
                  <a:lnTo>
                    <a:pt x="200" y="178"/>
                  </a:lnTo>
                  <a:lnTo>
                    <a:pt x="202" y="178"/>
                  </a:lnTo>
                  <a:lnTo>
                    <a:pt x="205" y="180"/>
                  </a:lnTo>
                  <a:lnTo>
                    <a:pt x="207" y="180"/>
                  </a:lnTo>
                  <a:lnTo>
                    <a:pt x="207" y="180"/>
                  </a:lnTo>
                  <a:lnTo>
                    <a:pt x="209" y="183"/>
                  </a:lnTo>
                  <a:lnTo>
                    <a:pt x="209" y="183"/>
                  </a:lnTo>
                  <a:lnTo>
                    <a:pt x="212" y="183"/>
                  </a:lnTo>
                  <a:lnTo>
                    <a:pt x="212" y="183"/>
                  </a:lnTo>
                  <a:lnTo>
                    <a:pt x="214" y="183"/>
                  </a:lnTo>
                  <a:lnTo>
                    <a:pt x="214" y="183"/>
                  </a:lnTo>
                  <a:lnTo>
                    <a:pt x="214" y="183"/>
                  </a:lnTo>
                  <a:lnTo>
                    <a:pt x="214" y="180"/>
                  </a:lnTo>
                  <a:lnTo>
                    <a:pt x="214" y="180"/>
                  </a:lnTo>
                  <a:lnTo>
                    <a:pt x="214" y="175"/>
                  </a:lnTo>
                  <a:lnTo>
                    <a:pt x="214" y="175"/>
                  </a:lnTo>
                  <a:lnTo>
                    <a:pt x="216" y="173"/>
                  </a:lnTo>
                  <a:lnTo>
                    <a:pt x="216" y="173"/>
                  </a:lnTo>
                  <a:lnTo>
                    <a:pt x="209" y="171"/>
                  </a:lnTo>
                  <a:lnTo>
                    <a:pt x="207" y="166"/>
                  </a:lnTo>
                  <a:lnTo>
                    <a:pt x="205" y="159"/>
                  </a:lnTo>
                  <a:lnTo>
                    <a:pt x="205" y="157"/>
                  </a:lnTo>
                  <a:lnTo>
                    <a:pt x="205" y="157"/>
                  </a:lnTo>
                  <a:lnTo>
                    <a:pt x="202" y="154"/>
                  </a:lnTo>
                  <a:lnTo>
                    <a:pt x="202" y="152"/>
                  </a:lnTo>
                  <a:lnTo>
                    <a:pt x="202" y="152"/>
                  </a:lnTo>
                  <a:lnTo>
                    <a:pt x="200" y="149"/>
                  </a:lnTo>
                  <a:lnTo>
                    <a:pt x="200" y="149"/>
                  </a:lnTo>
                  <a:lnTo>
                    <a:pt x="198" y="152"/>
                  </a:lnTo>
                  <a:lnTo>
                    <a:pt x="198" y="154"/>
                  </a:lnTo>
                  <a:lnTo>
                    <a:pt x="198" y="154"/>
                  </a:lnTo>
                  <a:lnTo>
                    <a:pt x="195" y="154"/>
                  </a:lnTo>
                  <a:lnTo>
                    <a:pt x="195" y="152"/>
                  </a:lnTo>
                  <a:lnTo>
                    <a:pt x="195" y="152"/>
                  </a:lnTo>
                  <a:lnTo>
                    <a:pt x="193" y="152"/>
                  </a:lnTo>
                  <a:lnTo>
                    <a:pt x="190" y="152"/>
                  </a:lnTo>
                  <a:lnTo>
                    <a:pt x="190" y="154"/>
                  </a:lnTo>
                  <a:lnTo>
                    <a:pt x="190" y="154"/>
                  </a:lnTo>
                  <a:lnTo>
                    <a:pt x="190" y="157"/>
                  </a:lnTo>
                  <a:lnTo>
                    <a:pt x="190" y="157"/>
                  </a:lnTo>
                  <a:lnTo>
                    <a:pt x="190" y="159"/>
                  </a:lnTo>
                  <a:lnTo>
                    <a:pt x="188" y="159"/>
                  </a:lnTo>
                  <a:lnTo>
                    <a:pt x="186" y="161"/>
                  </a:lnTo>
                  <a:lnTo>
                    <a:pt x="186" y="161"/>
                  </a:lnTo>
                  <a:lnTo>
                    <a:pt x="188" y="164"/>
                  </a:lnTo>
                  <a:lnTo>
                    <a:pt x="188" y="164"/>
                  </a:lnTo>
                  <a:moveTo>
                    <a:pt x="530" y="154"/>
                  </a:moveTo>
                  <a:lnTo>
                    <a:pt x="530" y="154"/>
                  </a:lnTo>
                  <a:lnTo>
                    <a:pt x="530" y="152"/>
                  </a:lnTo>
                  <a:lnTo>
                    <a:pt x="530" y="152"/>
                  </a:lnTo>
                  <a:lnTo>
                    <a:pt x="527" y="149"/>
                  </a:lnTo>
                  <a:lnTo>
                    <a:pt x="527" y="149"/>
                  </a:lnTo>
                  <a:lnTo>
                    <a:pt x="527" y="152"/>
                  </a:lnTo>
                  <a:lnTo>
                    <a:pt x="527" y="154"/>
                  </a:lnTo>
                  <a:lnTo>
                    <a:pt x="527" y="154"/>
                  </a:lnTo>
                  <a:lnTo>
                    <a:pt x="530" y="154"/>
                  </a:lnTo>
                  <a:moveTo>
                    <a:pt x="603" y="154"/>
                  </a:moveTo>
                  <a:lnTo>
                    <a:pt x="608" y="154"/>
                  </a:lnTo>
                  <a:lnTo>
                    <a:pt x="610" y="154"/>
                  </a:lnTo>
                  <a:lnTo>
                    <a:pt x="612" y="154"/>
                  </a:lnTo>
                  <a:lnTo>
                    <a:pt x="612" y="154"/>
                  </a:lnTo>
                  <a:lnTo>
                    <a:pt x="615" y="154"/>
                  </a:lnTo>
                  <a:lnTo>
                    <a:pt x="615" y="152"/>
                  </a:lnTo>
                  <a:lnTo>
                    <a:pt x="612" y="152"/>
                  </a:lnTo>
                  <a:lnTo>
                    <a:pt x="610" y="149"/>
                  </a:lnTo>
                  <a:lnTo>
                    <a:pt x="608" y="147"/>
                  </a:lnTo>
                  <a:lnTo>
                    <a:pt x="605" y="147"/>
                  </a:lnTo>
                  <a:lnTo>
                    <a:pt x="603" y="147"/>
                  </a:lnTo>
                  <a:lnTo>
                    <a:pt x="601" y="149"/>
                  </a:lnTo>
                  <a:lnTo>
                    <a:pt x="601" y="152"/>
                  </a:lnTo>
                  <a:lnTo>
                    <a:pt x="601" y="154"/>
                  </a:lnTo>
                  <a:lnTo>
                    <a:pt x="601" y="154"/>
                  </a:lnTo>
                  <a:lnTo>
                    <a:pt x="603" y="154"/>
                  </a:lnTo>
                  <a:moveTo>
                    <a:pt x="527" y="147"/>
                  </a:moveTo>
                  <a:lnTo>
                    <a:pt x="527" y="147"/>
                  </a:lnTo>
                  <a:lnTo>
                    <a:pt x="527" y="145"/>
                  </a:lnTo>
                  <a:lnTo>
                    <a:pt x="527" y="145"/>
                  </a:lnTo>
                  <a:lnTo>
                    <a:pt x="525" y="145"/>
                  </a:lnTo>
                  <a:lnTo>
                    <a:pt x="523" y="147"/>
                  </a:lnTo>
                  <a:lnTo>
                    <a:pt x="523" y="147"/>
                  </a:lnTo>
                  <a:lnTo>
                    <a:pt x="523" y="145"/>
                  </a:lnTo>
                  <a:lnTo>
                    <a:pt x="523" y="142"/>
                  </a:lnTo>
                  <a:lnTo>
                    <a:pt x="520" y="142"/>
                  </a:lnTo>
                  <a:lnTo>
                    <a:pt x="518" y="145"/>
                  </a:lnTo>
                  <a:lnTo>
                    <a:pt x="516" y="145"/>
                  </a:lnTo>
                  <a:lnTo>
                    <a:pt x="516" y="145"/>
                  </a:lnTo>
                  <a:lnTo>
                    <a:pt x="516" y="149"/>
                  </a:lnTo>
                  <a:lnTo>
                    <a:pt x="516" y="152"/>
                  </a:lnTo>
                  <a:lnTo>
                    <a:pt x="516" y="152"/>
                  </a:lnTo>
                  <a:lnTo>
                    <a:pt x="518" y="152"/>
                  </a:lnTo>
                  <a:lnTo>
                    <a:pt x="520" y="147"/>
                  </a:lnTo>
                  <a:lnTo>
                    <a:pt x="520" y="147"/>
                  </a:lnTo>
                  <a:lnTo>
                    <a:pt x="523" y="149"/>
                  </a:lnTo>
                  <a:lnTo>
                    <a:pt x="520" y="152"/>
                  </a:lnTo>
                  <a:lnTo>
                    <a:pt x="520" y="152"/>
                  </a:lnTo>
                  <a:lnTo>
                    <a:pt x="520" y="152"/>
                  </a:lnTo>
                  <a:lnTo>
                    <a:pt x="523" y="152"/>
                  </a:lnTo>
                  <a:lnTo>
                    <a:pt x="523" y="152"/>
                  </a:lnTo>
                  <a:lnTo>
                    <a:pt x="523" y="149"/>
                  </a:lnTo>
                  <a:lnTo>
                    <a:pt x="525" y="149"/>
                  </a:lnTo>
                  <a:lnTo>
                    <a:pt x="525" y="149"/>
                  </a:lnTo>
                  <a:lnTo>
                    <a:pt x="527" y="149"/>
                  </a:lnTo>
                  <a:lnTo>
                    <a:pt x="527" y="149"/>
                  </a:lnTo>
                  <a:lnTo>
                    <a:pt x="527" y="147"/>
                  </a:lnTo>
                  <a:moveTo>
                    <a:pt x="271" y="140"/>
                  </a:moveTo>
                  <a:lnTo>
                    <a:pt x="268" y="140"/>
                  </a:lnTo>
                  <a:lnTo>
                    <a:pt x="266" y="140"/>
                  </a:lnTo>
                  <a:lnTo>
                    <a:pt x="266" y="145"/>
                  </a:lnTo>
                  <a:lnTo>
                    <a:pt x="266" y="145"/>
                  </a:lnTo>
                  <a:lnTo>
                    <a:pt x="268" y="145"/>
                  </a:lnTo>
                  <a:lnTo>
                    <a:pt x="271" y="145"/>
                  </a:lnTo>
                  <a:lnTo>
                    <a:pt x="273" y="142"/>
                  </a:lnTo>
                  <a:lnTo>
                    <a:pt x="273" y="142"/>
                  </a:lnTo>
                  <a:lnTo>
                    <a:pt x="273" y="140"/>
                  </a:lnTo>
                  <a:lnTo>
                    <a:pt x="271" y="140"/>
                  </a:lnTo>
                  <a:lnTo>
                    <a:pt x="271" y="140"/>
                  </a:lnTo>
                  <a:moveTo>
                    <a:pt x="75" y="152"/>
                  </a:moveTo>
                  <a:lnTo>
                    <a:pt x="75" y="149"/>
                  </a:lnTo>
                  <a:lnTo>
                    <a:pt x="75" y="149"/>
                  </a:lnTo>
                  <a:lnTo>
                    <a:pt x="75" y="147"/>
                  </a:lnTo>
                  <a:lnTo>
                    <a:pt x="75" y="147"/>
                  </a:lnTo>
                  <a:lnTo>
                    <a:pt x="73" y="145"/>
                  </a:lnTo>
                  <a:lnTo>
                    <a:pt x="73" y="140"/>
                  </a:lnTo>
                  <a:lnTo>
                    <a:pt x="70" y="140"/>
                  </a:lnTo>
                  <a:lnTo>
                    <a:pt x="70" y="138"/>
                  </a:lnTo>
                  <a:lnTo>
                    <a:pt x="66" y="140"/>
                  </a:lnTo>
                  <a:lnTo>
                    <a:pt x="66" y="145"/>
                  </a:lnTo>
                  <a:lnTo>
                    <a:pt x="66" y="145"/>
                  </a:lnTo>
                  <a:lnTo>
                    <a:pt x="68" y="152"/>
                  </a:lnTo>
                  <a:lnTo>
                    <a:pt x="68" y="152"/>
                  </a:lnTo>
                  <a:lnTo>
                    <a:pt x="70" y="154"/>
                  </a:lnTo>
                  <a:lnTo>
                    <a:pt x="73" y="157"/>
                  </a:lnTo>
                  <a:lnTo>
                    <a:pt x="75" y="157"/>
                  </a:lnTo>
                  <a:lnTo>
                    <a:pt x="77" y="157"/>
                  </a:lnTo>
                  <a:lnTo>
                    <a:pt x="77" y="154"/>
                  </a:lnTo>
                  <a:lnTo>
                    <a:pt x="75" y="152"/>
                  </a:lnTo>
                  <a:moveTo>
                    <a:pt x="662" y="142"/>
                  </a:moveTo>
                  <a:lnTo>
                    <a:pt x="662" y="142"/>
                  </a:lnTo>
                  <a:lnTo>
                    <a:pt x="664" y="145"/>
                  </a:lnTo>
                  <a:lnTo>
                    <a:pt x="664" y="147"/>
                  </a:lnTo>
                  <a:lnTo>
                    <a:pt x="667" y="147"/>
                  </a:lnTo>
                  <a:lnTo>
                    <a:pt x="667" y="147"/>
                  </a:lnTo>
                  <a:lnTo>
                    <a:pt x="669" y="145"/>
                  </a:lnTo>
                  <a:lnTo>
                    <a:pt x="669" y="140"/>
                  </a:lnTo>
                  <a:lnTo>
                    <a:pt x="669" y="138"/>
                  </a:lnTo>
                  <a:lnTo>
                    <a:pt x="667" y="138"/>
                  </a:lnTo>
                  <a:lnTo>
                    <a:pt x="667" y="138"/>
                  </a:lnTo>
                  <a:lnTo>
                    <a:pt x="662" y="140"/>
                  </a:lnTo>
                  <a:lnTo>
                    <a:pt x="662" y="140"/>
                  </a:lnTo>
                  <a:lnTo>
                    <a:pt x="662" y="140"/>
                  </a:lnTo>
                  <a:lnTo>
                    <a:pt x="662" y="142"/>
                  </a:lnTo>
                  <a:moveTo>
                    <a:pt x="749" y="135"/>
                  </a:moveTo>
                  <a:lnTo>
                    <a:pt x="751" y="135"/>
                  </a:lnTo>
                  <a:lnTo>
                    <a:pt x="751" y="135"/>
                  </a:lnTo>
                  <a:lnTo>
                    <a:pt x="751" y="135"/>
                  </a:lnTo>
                  <a:lnTo>
                    <a:pt x="754" y="138"/>
                  </a:lnTo>
                  <a:lnTo>
                    <a:pt x="756" y="135"/>
                  </a:lnTo>
                  <a:lnTo>
                    <a:pt x="756" y="140"/>
                  </a:lnTo>
                  <a:lnTo>
                    <a:pt x="756" y="142"/>
                  </a:lnTo>
                  <a:lnTo>
                    <a:pt x="758" y="145"/>
                  </a:lnTo>
                  <a:lnTo>
                    <a:pt x="761" y="142"/>
                  </a:lnTo>
                  <a:lnTo>
                    <a:pt x="763" y="145"/>
                  </a:lnTo>
                  <a:lnTo>
                    <a:pt x="763" y="145"/>
                  </a:lnTo>
                  <a:lnTo>
                    <a:pt x="765" y="145"/>
                  </a:lnTo>
                  <a:lnTo>
                    <a:pt x="768" y="142"/>
                  </a:lnTo>
                  <a:lnTo>
                    <a:pt x="765" y="142"/>
                  </a:lnTo>
                  <a:lnTo>
                    <a:pt x="763" y="140"/>
                  </a:lnTo>
                  <a:lnTo>
                    <a:pt x="761" y="138"/>
                  </a:lnTo>
                  <a:lnTo>
                    <a:pt x="758" y="135"/>
                  </a:lnTo>
                  <a:lnTo>
                    <a:pt x="758" y="133"/>
                  </a:lnTo>
                  <a:lnTo>
                    <a:pt x="756" y="135"/>
                  </a:lnTo>
                  <a:lnTo>
                    <a:pt x="754" y="133"/>
                  </a:lnTo>
                  <a:lnTo>
                    <a:pt x="754" y="133"/>
                  </a:lnTo>
                  <a:lnTo>
                    <a:pt x="749" y="133"/>
                  </a:lnTo>
                  <a:lnTo>
                    <a:pt x="749" y="133"/>
                  </a:lnTo>
                  <a:lnTo>
                    <a:pt x="749" y="135"/>
                  </a:lnTo>
                  <a:moveTo>
                    <a:pt x="596" y="133"/>
                  </a:moveTo>
                  <a:lnTo>
                    <a:pt x="596" y="135"/>
                  </a:lnTo>
                  <a:lnTo>
                    <a:pt x="596" y="135"/>
                  </a:lnTo>
                  <a:lnTo>
                    <a:pt x="598" y="135"/>
                  </a:lnTo>
                  <a:lnTo>
                    <a:pt x="598" y="135"/>
                  </a:lnTo>
                  <a:lnTo>
                    <a:pt x="598" y="135"/>
                  </a:lnTo>
                  <a:lnTo>
                    <a:pt x="598" y="133"/>
                  </a:lnTo>
                  <a:lnTo>
                    <a:pt x="596" y="133"/>
                  </a:lnTo>
                  <a:moveTo>
                    <a:pt x="848" y="173"/>
                  </a:moveTo>
                  <a:lnTo>
                    <a:pt x="848" y="171"/>
                  </a:lnTo>
                  <a:lnTo>
                    <a:pt x="846" y="171"/>
                  </a:lnTo>
                  <a:lnTo>
                    <a:pt x="846" y="171"/>
                  </a:lnTo>
                  <a:lnTo>
                    <a:pt x="839" y="171"/>
                  </a:lnTo>
                  <a:lnTo>
                    <a:pt x="839" y="171"/>
                  </a:lnTo>
                  <a:lnTo>
                    <a:pt x="839" y="168"/>
                  </a:lnTo>
                  <a:lnTo>
                    <a:pt x="836" y="168"/>
                  </a:lnTo>
                  <a:lnTo>
                    <a:pt x="831" y="168"/>
                  </a:lnTo>
                  <a:lnTo>
                    <a:pt x="829" y="168"/>
                  </a:lnTo>
                  <a:lnTo>
                    <a:pt x="824" y="166"/>
                  </a:lnTo>
                  <a:lnTo>
                    <a:pt x="820" y="164"/>
                  </a:lnTo>
                  <a:lnTo>
                    <a:pt x="817" y="161"/>
                  </a:lnTo>
                  <a:lnTo>
                    <a:pt x="817" y="161"/>
                  </a:lnTo>
                  <a:lnTo>
                    <a:pt x="815" y="161"/>
                  </a:lnTo>
                  <a:lnTo>
                    <a:pt x="813" y="159"/>
                  </a:lnTo>
                  <a:lnTo>
                    <a:pt x="810" y="159"/>
                  </a:lnTo>
                  <a:lnTo>
                    <a:pt x="810" y="157"/>
                  </a:lnTo>
                  <a:lnTo>
                    <a:pt x="798" y="152"/>
                  </a:lnTo>
                  <a:lnTo>
                    <a:pt x="798" y="152"/>
                  </a:lnTo>
                  <a:lnTo>
                    <a:pt x="796" y="149"/>
                  </a:lnTo>
                  <a:lnTo>
                    <a:pt x="794" y="149"/>
                  </a:lnTo>
                  <a:lnTo>
                    <a:pt x="789" y="152"/>
                  </a:lnTo>
                  <a:lnTo>
                    <a:pt x="787" y="154"/>
                  </a:lnTo>
                  <a:lnTo>
                    <a:pt x="782" y="157"/>
                  </a:lnTo>
                  <a:lnTo>
                    <a:pt x="780" y="157"/>
                  </a:lnTo>
                  <a:lnTo>
                    <a:pt x="780" y="159"/>
                  </a:lnTo>
                  <a:lnTo>
                    <a:pt x="782" y="161"/>
                  </a:lnTo>
                  <a:lnTo>
                    <a:pt x="782" y="161"/>
                  </a:lnTo>
                  <a:lnTo>
                    <a:pt x="780" y="164"/>
                  </a:lnTo>
                  <a:lnTo>
                    <a:pt x="775" y="166"/>
                  </a:lnTo>
                  <a:lnTo>
                    <a:pt x="770" y="166"/>
                  </a:lnTo>
                  <a:lnTo>
                    <a:pt x="768" y="166"/>
                  </a:lnTo>
                  <a:lnTo>
                    <a:pt x="765" y="168"/>
                  </a:lnTo>
                  <a:lnTo>
                    <a:pt x="765" y="171"/>
                  </a:lnTo>
                  <a:lnTo>
                    <a:pt x="765" y="173"/>
                  </a:lnTo>
                  <a:lnTo>
                    <a:pt x="763" y="173"/>
                  </a:lnTo>
                  <a:lnTo>
                    <a:pt x="758" y="175"/>
                  </a:lnTo>
                  <a:lnTo>
                    <a:pt x="758" y="178"/>
                  </a:lnTo>
                  <a:lnTo>
                    <a:pt x="758" y="180"/>
                  </a:lnTo>
                  <a:lnTo>
                    <a:pt x="756" y="183"/>
                  </a:lnTo>
                  <a:lnTo>
                    <a:pt x="751" y="185"/>
                  </a:lnTo>
                  <a:lnTo>
                    <a:pt x="751" y="187"/>
                  </a:lnTo>
                  <a:lnTo>
                    <a:pt x="749" y="190"/>
                  </a:lnTo>
                  <a:lnTo>
                    <a:pt x="747" y="190"/>
                  </a:lnTo>
                  <a:lnTo>
                    <a:pt x="744" y="190"/>
                  </a:lnTo>
                  <a:lnTo>
                    <a:pt x="742" y="190"/>
                  </a:lnTo>
                  <a:lnTo>
                    <a:pt x="742" y="190"/>
                  </a:lnTo>
                  <a:lnTo>
                    <a:pt x="740" y="187"/>
                  </a:lnTo>
                  <a:lnTo>
                    <a:pt x="737" y="187"/>
                  </a:lnTo>
                  <a:lnTo>
                    <a:pt x="737" y="185"/>
                  </a:lnTo>
                  <a:lnTo>
                    <a:pt x="737" y="183"/>
                  </a:lnTo>
                  <a:lnTo>
                    <a:pt x="737" y="180"/>
                  </a:lnTo>
                  <a:lnTo>
                    <a:pt x="737" y="180"/>
                  </a:lnTo>
                  <a:lnTo>
                    <a:pt x="735" y="180"/>
                  </a:lnTo>
                  <a:lnTo>
                    <a:pt x="735" y="175"/>
                  </a:lnTo>
                  <a:lnTo>
                    <a:pt x="735" y="173"/>
                  </a:lnTo>
                  <a:lnTo>
                    <a:pt x="735" y="173"/>
                  </a:lnTo>
                  <a:lnTo>
                    <a:pt x="733" y="171"/>
                  </a:lnTo>
                  <a:lnTo>
                    <a:pt x="733" y="173"/>
                  </a:lnTo>
                  <a:lnTo>
                    <a:pt x="730" y="173"/>
                  </a:lnTo>
                  <a:lnTo>
                    <a:pt x="730" y="175"/>
                  </a:lnTo>
                  <a:lnTo>
                    <a:pt x="730" y="178"/>
                  </a:lnTo>
                  <a:lnTo>
                    <a:pt x="728" y="173"/>
                  </a:lnTo>
                  <a:lnTo>
                    <a:pt x="725" y="168"/>
                  </a:lnTo>
                  <a:lnTo>
                    <a:pt x="725" y="166"/>
                  </a:lnTo>
                  <a:lnTo>
                    <a:pt x="725" y="164"/>
                  </a:lnTo>
                  <a:lnTo>
                    <a:pt x="725" y="161"/>
                  </a:lnTo>
                  <a:lnTo>
                    <a:pt x="725" y="157"/>
                  </a:lnTo>
                  <a:lnTo>
                    <a:pt x="725" y="154"/>
                  </a:lnTo>
                  <a:lnTo>
                    <a:pt x="725" y="154"/>
                  </a:lnTo>
                  <a:lnTo>
                    <a:pt x="728" y="152"/>
                  </a:lnTo>
                  <a:lnTo>
                    <a:pt x="728" y="149"/>
                  </a:lnTo>
                  <a:lnTo>
                    <a:pt x="728" y="147"/>
                  </a:lnTo>
                  <a:lnTo>
                    <a:pt x="728" y="147"/>
                  </a:lnTo>
                  <a:lnTo>
                    <a:pt x="725" y="145"/>
                  </a:lnTo>
                  <a:lnTo>
                    <a:pt x="725" y="142"/>
                  </a:lnTo>
                  <a:lnTo>
                    <a:pt x="725" y="140"/>
                  </a:lnTo>
                  <a:lnTo>
                    <a:pt x="725" y="138"/>
                  </a:lnTo>
                  <a:lnTo>
                    <a:pt x="725" y="138"/>
                  </a:lnTo>
                  <a:lnTo>
                    <a:pt x="723" y="135"/>
                  </a:lnTo>
                  <a:lnTo>
                    <a:pt x="723" y="135"/>
                  </a:lnTo>
                  <a:lnTo>
                    <a:pt x="721" y="135"/>
                  </a:lnTo>
                  <a:lnTo>
                    <a:pt x="718" y="135"/>
                  </a:lnTo>
                  <a:lnTo>
                    <a:pt x="714" y="135"/>
                  </a:lnTo>
                  <a:lnTo>
                    <a:pt x="709" y="133"/>
                  </a:lnTo>
                  <a:lnTo>
                    <a:pt x="707" y="130"/>
                  </a:lnTo>
                  <a:lnTo>
                    <a:pt x="702" y="128"/>
                  </a:lnTo>
                  <a:lnTo>
                    <a:pt x="697" y="126"/>
                  </a:lnTo>
                  <a:lnTo>
                    <a:pt x="695" y="126"/>
                  </a:lnTo>
                  <a:lnTo>
                    <a:pt x="692" y="126"/>
                  </a:lnTo>
                  <a:lnTo>
                    <a:pt x="688" y="128"/>
                  </a:lnTo>
                  <a:lnTo>
                    <a:pt x="688" y="128"/>
                  </a:lnTo>
                  <a:lnTo>
                    <a:pt x="688" y="130"/>
                  </a:lnTo>
                  <a:lnTo>
                    <a:pt x="685" y="130"/>
                  </a:lnTo>
                  <a:lnTo>
                    <a:pt x="683" y="133"/>
                  </a:lnTo>
                  <a:lnTo>
                    <a:pt x="683" y="133"/>
                  </a:lnTo>
                  <a:lnTo>
                    <a:pt x="676" y="135"/>
                  </a:lnTo>
                  <a:lnTo>
                    <a:pt x="674" y="135"/>
                  </a:lnTo>
                  <a:lnTo>
                    <a:pt x="671" y="138"/>
                  </a:lnTo>
                  <a:lnTo>
                    <a:pt x="671" y="138"/>
                  </a:lnTo>
                  <a:lnTo>
                    <a:pt x="671" y="140"/>
                  </a:lnTo>
                  <a:lnTo>
                    <a:pt x="671" y="140"/>
                  </a:lnTo>
                  <a:lnTo>
                    <a:pt x="671" y="142"/>
                  </a:lnTo>
                  <a:lnTo>
                    <a:pt x="669" y="145"/>
                  </a:lnTo>
                  <a:lnTo>
                    <a:pt x="669" y="145"/>
                  </a:lnTo>
                  <a:lnTo>
                    <a:pt x="669" y="145"/>
                  </a:lnTo>
                  <a:lnTo>
                    <a:pt x="667" y="147"/>
                  </a:lnTo>
                  <a:lnTo>
                    <a:pt x="667" y="149"/>
                  </a:lnTo>
                  <a:lnTo>
                    <a:pt x="669" y="149"/>
                  </a:lnTo>
                  <a:lnTo>
                    <a:pt x="669" y="149"/>
                  </a:lnTo>
                  <a:lnTo>
                    <a:pt x="671" y="149"/>
                  </a:lnTo>
                  <a:lnTo>
                    <a:pt x="671" y="149"/>
                  </a:lnTo>
                  <a:lnTo>
                    <a:pt x="674" y="147"/>
                  </a:lnTo>
                  <a:lnTo>
                    <a:pt x="681" y="152"/>
                  </a:lnTo>
                  <a:lnTo>
                    <a:pt x="683" y="152"/>
                  </a:lnTo>
                  <a:lnTo>
                    <a:pt x="685" y="152"/>
                  </a:lnTo>
                  <a:lnTo>
                    <a:pt x="685" y="154"/>
                  </a:lnTo>
                  <a:lnTo>
                    <a:pt x="685" y="159"/>
                  </a:lnTo>
                  <a:lnTo>
                    <a:pt x="685" y="161"/>
                  </a:lnTo>
                  <a:lnTo>
                    <a:pt x="688" y="161"/>
                  </a:lnTo>
                  <a:lnTo>
                    <a:pt x="688" y="164"/>
                  </a:lnTo>
                  <a:lnTo>
                    <a:pt x="690" y="164"/>
                  </a:lnTo>
                  <a:lnTo>
                    <a:pt x="690" y="166"/>
                  </a:lnTo>
                  <a:lnTo>
                    <a:pt x="692" y="166"/>
                  </a:lnTo>
                  <a:lnTo>
                    <a:pt x="695" y="166"/>
                  </a:lnTo>
                  <a:lnTo>
                    <a:pt x="697" y="166"/>
                  </a:lnTo>
                  <a:lnTo>
                    <a:pt x="702" y="166"/>
                  </a:lnTo>
                  <a:lnTo>
                    <a:pt x="704" y="166"/>
                  </a:lnTo>
                  <a:lnTo>
                    <a:pt x="709" y="166"/>
                  </a:lnTo>
                  <a:lnTo>
                    <a:pt x="711" y="166"/>
                  </a:lnTo>
                  <a:lnTo>
                    <a:pt x="714" y="166"/>
                  </a:lnTo>
                  <a:lnTo>
                    <a:pt x="716" y="166"/>
                  </a:lnTo>
                  <a:lnTo>
                    <a:pt x="721" y="164"/>
                  </a:lnTo>
                  <a:lnTo>
                    <a:pt x="721" y="164"/>
                  </a:lnTo>
                  <a:lnTo>
                    <a:pt x="721" y="166"/>
                  </a:lnTo>
                  <a:lnTo>
                    <a:pt x="721" y="166"/>
                  </a:lnTo>
                  <a:lnTo>
                    <a:pt x="718" y="168"/>
                  </a:lnTo>
                  <a:lnTo>
                    <a:pt x="721" y="168"/>
                  </a:lnTo>
                  <a:lnTo>
                    <a:pt x="721" y="168"/>
                  </a:lnTo>
                  <a:lnTo>
                    <a:pt x="721" y="171"/>
                  </a:lnTo>
                  <a:lnTo>
                    <a:pt x="718" y="171"/>
                  </a:lnTo>
                  <a:lnTo>
                    <a:pt x="718" y="171"/>
                  </a:lnTo>
                  <a:lnTo>
                    <a:pt x="716" y="173"/>
                  </a:lnTo>
                  <a:lnTo>
                    <a:pt x="716" y="173"/>
                  </a:lnTo>
                  <a:lnTo>
                    <a:pt x="716" y="173"/>
                  </a:lnTo>
                  <a:lnTo>
                    <a:pt x="716" y="173"/>
                  </a:lnTo>
                  <a:lnTo>
                    <a:pt x="714" y="173"/>
                  </a:lnTo>
                  <a:lnTo>
                    <a:pt x="711" y="171"/>
                  </a:lnTo>
                  <a:lnTo>
                    <a:pt x="709" y="171"/>
                  </a:lnTo>
                  <a:lnTo>
                    <a:pt x="707" y="171"/>
                  </a:lnTo>
                  <a:lnTo>
                    <a:pt x="707" y="171"/>
                  </a:lnTo>
                  <a:lnTo>
                    <a:pt x="704" y="171"/>
                  </a:lnTo>
                  <a:lnTo>
                    <a:pt x="702" y="175"/>
                  </a:lnTo>
                  <a:lnTo>
                    <a:pt x="700" y="178"/>
                  </a:lnTo>
                  <a:lnTo>
                    <a:pt x="697" y="178"/>
                  </a:lnTo>
                  <a:lnTo>
                    <a:pt x="695" y="175"/>
                  </a:lnTo>
                  <a:lnTo>
                    <a:pt x="690" y="175"/>
                  </a:lnTo>
                  <a:lnTo>
                    <a:pt x="690" y="175"/>
                  </a:lnTo>
                  <a:lnTo>
                    <a:pt x="685" y="178"/>
                  </a:lnTo>
                  <a:lnTo>
                    <a:pt x="685" y="178"/>
                  </a:lnTo>
                  <a:lnTo>
                    <a:pt x="685" y="180"/>
                  </a:lnTo>
                  <a:lnTo>
                    <a:pt x="685" y="180"/>
                  </a:lnTo>
                  <a:lnTo>
                    <a:pt x="688" y="180"/>
                  </a:lnTo>
                  <a:lnTo>
                    <a:pt x="690" y="180"/>
                  </a:lnTo>
                  <a:lnTo>
                    <a:pt x="692" y="183"/>
                  </a:lnTo>
                  <a:lnTo>
                    <a:pt x="695" y="185"/>
                  </a:lnTo>
                  <a:lnTo>
                    <a:pt x="700" y="187"/>
                  </a:lnTo>
                  <a:lnTo>
                    <a:pt x="700" y="192"/>
                  </a:lnTo>
                  <a:lnTo>
                    <a:pt x="700" y="194"/>
                  </a:lnTo>
                  <a:lnTo>
                    <a:pt x="697" y="197"/>
                  </a:lnTo>
                  <a:lnTo>
                    <a:pt x="700" y="199"/>
                  </a:lnTo>
                  <a:lnTo>
                    <a:pt x="700" y="201"/>
                  </a:lnTo>
                  <a:lnTo>
                    <a:pt x="700" y="204"/>
                  </a:lnTo>
                  <a:lnTo>
                    <a:pt x="702" y="204"/>
                  </a:lnTo>
                  <a:lnTo>
                    <a:pt x="702" y="206"/>
                  </a:lnTo>
                  <a:lnTo>
                    <a:pt x="704" y="204"/>
                  </a:lnTo>
                  <a:lnTo>
                    <a:pt x="707" y="204"/>
                  </a:lnTo>
                  <a:lnTo>
                    <a:pt x="707" y="204"/>
                  </a:lnTo>
                  <a:lnTo>
                    <a:pt x="709" y="201"/>
                  </a:lnTo>
                  <a:lnTo>
                    <a:pt x="711" y="199"/>
                  </a:lnTo>
                  <a:lnTo>
                    <a:pt x="711" y="199"/>
                  </a:lnTo>
                  <a:lnTo>
                    <a:pt x="711" y="197"/>
                  </a:lnTo>
                  <a:lnTo>
                    <a:pt x="711" y="194"/>
                  </a:lnTo>
                  <a:lnTo>
                    <a:pt x="714" y="192"/>
                  </a:lnTo>
                  <a:lnTo>
                    <a:pt x="714" y="190"/>
                  </a:lnTo>
                  <a:lnTo>
                    <a:pt x="714" y="192"/>
                  </a:lnTo>
                  <a:lnTo>
                    <a:pt x="716" y="190"/>
                  </a:lnTo>
                  <a:lnTo>
                    <a:pt x="716" y="185"/>
                  </a:lnTo>
                  <a:lnTo>
                    <a:pt x="716" y="185"/>
                  </a:lnTo>
                  <a:lnTo>
                    <a:pt x="716" y="185"/>
                  </a:lnTo>
                  <a:lnTo>
                    <a:pt x="718" y="183"/>
                  </a:lnTo>
                  <a:lnTo>
                    <a:pt x="718" y="183"/>
                  </a:lnTo>
                  <a:lnTo>
                    <a:pt x="718" y="185"/>
                  </a:lnTo>
                  <a:lnTo>
                    <a:pt x="716" y="187"/>
                  </a:lnTo>
                  <a:lnTo>
                    <a:pt x="716" y="190"/>
                  </a:lnTo>
                  <a:lnTo>
                    <a:pt x="716" y="192"/>
                  </a:lnTo>
                  <a:lnTo>
                    <a:pt x="716" y="194"/>
                  </a:lnTo>
                  <a:lnTo>
                    <a:pt x="718" y="197"/>
                  </a:lnTo>
                  <a:lnTo>
                    <a:pt x="718" y="197"/>
                  </a:lnTo>
                  <a:lnTo>
                    <a:pt x="718" y="197"/>
                  </a:lnTo>
                  <a:lnTo>
                    <a:pt x="721" y="199"/>
                  </a:lnTo>
                  <a:lnTo>
                    <a:pt x="721" y="199"/>
                  </a:lnTo>
                  <a:lnTo>
                    <a:pt x="723" y="199"/>
                  </a:lnTo>
                  <a:lnTo>
                    <a:pt x="723" y="199"/>
                  </a:lnTo>
                  <a:lnTo>
                    <a:pt x="723" y="199"/>
                  </a:lnTo>
                  <a:lnTo>
                    <a:pt x="725" y="199"/>
                  </a:lnTo>
                  <a:lnTo>
                    <a:pt x="725" y="201"/>
                  </a:lnTo>
                  <a:lnTo>
                    <a:pt x="725" y="201"/>
                  </a:lnTo>
                  <a:lnTo>
                    <a:pt x="728" y="201"/>
                  </a:lnTo>
                  <a:lnTo>
                    <a:pt x="730" y="201"/>
                  </a:lnTo>
                  <a:lnTo>
                    <a:pt x="730" y="204"/>
                  </a:lnTo>
                  <a:lnTo>
                    <a:pt x="733" y="204"/>
                  </a:lnTo>
                  <a:lnTo>
                    <a:pt x="735" y="201"/>
                  </a:lnTo>
                  <a:lnTo>
                    <a:pt x="735" y="201"/>
                  </a:lnTo>
                  <a:lnTo>
                    <a:pt x="737" y="201"/>
                  </a:lnTo>
                  <a:lnTo>
                    <a:pt x="735" y="201"/>
                  </a:lnTo>
                  <a:lnTo>
                    <a:pt x="735" y="204"/>
                  </a:lnTo>
                  <a:lnTo>
                    <a:pt x="733" y="204"/>
                  </a:lnTo>
                  <a:lnTo>
                    <a:pt x="735" y="206"/>
                  </a:lnTo>
                  <a:lnTo>
                    <a:pt x="742" y="213"/>
                  </a:lnTo>
                  <a:lnTo>
                    <a:pt x="744" y="213"/>
                  </a:lnTo>
                  <a:lnTo>
                    <a:pt x="747" y="213"/>
                  </a:lnTo>
                  <a:lnTo>
                    <a:pt x="747" y="213"/>
                  </a:lnTo>
                  <a:lnTo>
                    <a:pt x="751" y="213"/>
                  </a:lnTo>
                  <a:lnTo>
                    <a:pt x="758" y="213"/>
                  </a:lnTo>
                  <a:lnTo>
                    <a:pt x="758" y="216"/>
                  </a:lnTo>
                  <a:lnTo>
                    <a:pt x="761" y="218"/>
                  </a:lnTo>
                  <a:lnTo>
                    <a:pt x="765" y="218"/>
                  </a:lnTo>
                  <a:lnTo>
                    <a:pt x="768" y="220"/>
                  </a:lnTo>
                  <a:lnTo>
                    <a:pt x="773" y="223"/>
                  </a:lnTo>
                  <a:lnTo>
                    <a:pt x="775" y="223"/>
                  </a:lnTo>
                  <a:lnTo>
                    <a:pt x="775" y="223"/>
                  </a:lnTo>
                  <a:lnTo>
                    <a:pt x="777" y="223"/>
                  </a:lnTo>
                  <a:lnTo>
                    <a:pt x="777" y="223"/>
                  </a:lnTo>
                  <a:lnTo>
                    <a:pt x="777" y="223"/>
                  </a:lnTo>
                  <a:lnTo>
                    <a:pt x="780" y="225"/>
                  </a:lnTo>
                  <a:lnTo>
                    <a:pt x="780" y="223"/>
                  </a:lnTo>
                  <a:lnTo>
                    <a:pt x="782" y="223"/>
                  </a:lnTo>
                  <a:lnTo>
                    <a:pt x="782" y="225"/>
                  </a:lnTo>
                  <a:lnTo>
                    <a:pt x="789" y="230"/>
                  </a:lnTo>
                  <a:lnTo>
                    <a:pt x="789" y="230"/>
                  </a:lnTo>
                  <a:lnTo>
                    <a:pt x="791" y="232"/>
                  </a:lnTo>
                  <a:lnTo>
                    <a:pt x="791" y="232"/>
                  </a:lnTo>
                  <a:lnTo>
                    <a:pt x="791" y="232"/>
                  </a:lnTo>
                  <a:lnTo>
                    <a:pt x="794" y="232"/>
                  </a:lnTo>
                  <a:lnTo>
                    <a:pt x="794" y="235"/>
                  </a:lnTo>
                  <a:lnTo>
                    <a:pt x="796" y="237"/>
                  </a:lnTo>
                  <a:lnTo>
                    <a:pt x="794" y="237"/>
                  </a:lnTo>
                  <a:lnTo>
                    <a:pt x="794" y="239"/>
                  </a:lnTo>
                  <a:lnTo>
                    <a:pt x="796" y="239"/>
                  </a:lnTo>
                  <a:lnTo>
                    <a:pt x="796" y="239"/>
                  </a:lnTo>
                  <a:lnTo>
                    <a:pt x="796" y="239"/>
                  </a:lnTo>
                  <a:lnTo>
                    <a:pt x="798" y="239"/>
                  </a:lnTo>
                  <a:lnTo>
                    <a:pt x="801" y="239"/>
                  </a:lnTo>
                  <a:lnTo>
                    <a:pt x="798" y="239"/>
                  </a:lnTo>
                  <a:lnTo>
                    <a:pt x="796" y="242"/>
                  </a:lnTo>
                  <a:lnTo>
                    <a:pt x="798" y="242"/>
                  </a:lnTo>
                  <a:lnTo>
                    <a:pt x="801" y="242"/>
                  </a:lnTo>
                  <a:lnTo>
                    <a:pt x="798" y="244"/>
                  </a:lnTo>
                  <a:lnTo>
                    <a:pt x="798" y="244"/>
                  </a:lnTo>
                  <a:lnTo>
                    <a:pt x="801" y="249"/>
                  </a:lnTo>
                  <a:lnTo>
                    <a:pt x="801" y="253"/>
                  </a:lnTo>
                  <a:lnTo>
                    <a:pt x="803" y="256"/>
                  </a:lnTo>
                  <a:lnTo>
                    <a:pt x="803" y="258"/>
                  </a:lnTo>
                  <a:lnTo>
                    <a:pt x="806" y="258"/>
                  </a:lnTo>
                  <a:lnTo>
                    <a:pt x="806" y="261"/>
                  </a:lnTo>
                  <a:lnTo>
                    <a:pt x="808" y="263"/>
                  </a:lnTo>
                  <a:lnTo>
                    <a:pt x="808" y="263"/>
                  </a:lnTo>
                  <a:lnTo>
                    <a:pt x="806" y="265"/>
                  </a:lnTo>
                  <a:lnTo>
                    <a:pt x="803" y="265"/>
                  </a:lnTo>
                  <a:lnTo>
                    <a:pt x="803" y="265"/>
                  </a:lnTo>
                  <a:lnTo>
                    <a:pt x="806" y="268"/>
                  </a:lnTo>
                  <a:lnTo>
                    <a:pt x="808" y="270"/>
                  </a:lnTo>
                  <a:lnTo>
                    <a:pt x="810" y="270"/>
                  </a:lnTo>
                  <a:lnTo>
                    <a:pt x="813" y="270"/>
                  </a:lnTo>
                  <a:lnTo>
                    <a:pt x="813" y="270"/>
                  </a:lnTo>
                  <a:lnTo>
                    <a:pt x="810" y="272"/>
                  </a:lnTo>
                  <a:lnTo>
                    <a:pt x="810" y="272"/>
                  </a:lnTo>
                  <a:lnTo>
                    <a:pt x="808" y="270"/>
                  </a:lnTo>
                  <a:lnTo>
                    <a:pt x="808" y="270"/>
                  </a:lnTo>
                  <a:lnTo>
                    <a:pt x="806" y="270"/>
                  </a:lnTo>
                  <a:lnTo>
                    <a:pt x="806" y="272"/>
                  </a:lnTo>
                  <a:lnTo>
                    <a:pt x="806" y="272"/>
                  </a:lnTo>
                  <a:lnTo>
                    <a:pt x="808" y="275"/>
                  </a:lnTo>
                  <a:lnTo>
                    <a:pt x="808" y="275"/>
                  </a:lnTo>
                  <a:lnTo>
                    <a:pt x="808" y="277"/>
                  </a:lnTo>
                  <a:lnTo>
                    <a:pt x="810" y="277"/>
                  </a:lnTo>
                  <a:lnTo>
                    <a:pt x="810" y="277"/>
                  </a:lnTo>
                  <a:lnTo>
                    <a:pt x="810" y="279"/>
                  </a:lnTo>
                  <a:lnTo>
                    <a:pt x="810" y="279"/>
                  </a:lnTo>
                  <a:lnTo>
                    <a:pt x="810" y="282"/>
                  </a:lnTo>
                  <a:lnTo>
                    <a:pt x="810" y="284"/>
                  </a:lnTo>
                  <a:lnTo>
                    <a:pt x="808" y="287"/>
                  </a:lnTo>
                  <a:lnTo>
                    <a:pt x="808" y="289"/>
                  </a:lnTo>
                  <a:lnTo>
                    <a:pt x="806" y="289"/>
                  </a:lnTo>
                  <a:lnTo>
                    <a:pt x="806" y="291"/>
                  </a:lnTo>
                  <a:lnTo>
                    <a:pt x="806" y="291"/>
                  </a:lnTo>
                  <a:lnTo>
                    <a:pt x="806" y="294"/>
                  </a:lnTo>
                  <a:lnTo>
                    <a:pt x="808" y="294"/>
                  </a:lnTo>
                  <a:lnTo>
                    <a:pt x="810" y="291"/>
                  </a:lnTo>
                  <a:lnTo>
                    <a:pt x="813" y="289"/>
                  </a:lnTo>
                  <a:lnTo>
                    <a:pt x="813" y="287"/>
                  </a:lnTo>
                  <a:lnTo>
                    <a:pt x="813" y="289"/>
                  </a:lnTo>
                  <a:lnTo>
                    <a:pt x="813" y="289"/>
                  </a:lnTo>
                  <a:lnTo>
                    <a:pt x="815" y="291"/>
                  </a:lnTo>
                  <a:lnTo>
                    <a:pt x="815" y="291"/>
                  </a:lnTo>
                  <a:lnTo>
                    <a:pt x="817" y="291"/>
                  </a:lnTo>
                  <a:lnTo>
                    <a:pt x="820" y="291"/>
                  </a:lnTo>
                  <a:lnTo>
                    <a:pt x="824" y="289"/>
                  </a:lnTo>
                  <a:lnTo>
                    <a:pt x="827" y="289"/>
                  </a:lnTo>
                  <a:lnTo>
                    <a:pt x="827" y="289"/>
                  </a:lnTo>
                  <a:lnTo>
                    <a:pt x="829" y="287"/>
                  </a:lnTo>
                  <a:lnTo>
                    <a:pt x="827" y="289"/>
                  </a:lnTo>
                  <a:lnTo>
                    <a:pt x="827" y="291"/>
                  </a:lnTo>
                  <a:lnTo>
                    <a:pt x="827" y="291"/>
                  </a:lnTo>
                  <a:lnTo>
                    <a:pt x="827" y="291"/>
                  </a:lnTo>
                  <a:lnTo>
                    <a:pt x="829" y="294"/>
                  </a:lnTo>
                  <a:lnTo>
                    <a:pt x="836" y="301"/>
                  </a:lnTo>
                  <a:lnTo>
                    <a:pt x="836" y="303"/>
                  </a:lnTo>
                  <a:lnTo>
                    <a:pt x="839" y="305"/>
                  </a:lnTo>
                  <a:lnTo>
                    <a:pt x="841" y="308"/>
                  </a:lnTo>
                  <a:lnTo>
                    <a:pt x="843" y="310"/>
                  </a:lnTo>
                  <a:lnTo>
                    <a:pt x="843" y="310"/>
                  </a:lnTo>
                  <a:lnTo>
                    <a:pt x="843" y="310"/>
                  </a:lnTo>
                  <a:lnTo>
                    <a:pt x="843" y="308"/>
                  </a:lnTo>
                  <a:lnTo>
                    <a:pt x="843" y="303"/>
                  </a:lnTo>
                  <a:lnTo>
                    <a:pt x="846" y="298"/>
                  </a:lnTo>
                  <a:lnTo>
                    <a:pt x="846" y="294"/>
                  </a:lnTo>
                  <a:lnTo>
                    <a:pt x="846" y="289"/>
                  </a:lnTo>
                  <a:lnTo>
                    <a:pt x="846" y="284"/>
                  </a:lnTo>
                  <a:lnTo>
                    <a:pt x="846" y="282"/>
                  </a:lnTo>
                  <a:lnTo>
                    <a:pt x="846" y="277"/>
                  </a:lnTo>
                  <a:lnTo>
                    <a:pt x="846" y="272"/>
                  </a:lnTo>
                  <a:lnTo>
                    <a:pt x="848" y="268"/>
                  </a:lnTo>
                  <a:lnTo>
                    <a:pt x="848" y="265"/>
                  </a:lnTo>
                  <a:lnTo>
                    <a:pt x="846" y="263"/>
                  </a:lnTo>
                  <a:lnTo>
                    <a:pt x="846" y="261"/>
                  </a:lnTo>
                  <a:lnTo>
                    <a:pt x="846" y="258"/>
                  </a:lnTo>
                  <a:lnTo>
                    <a:pt x="848" y="256"/>
                  </a:lnTo>
                  <a:lnTo>
                    <a:pt x="848" y="253"/>
                  </a:lnTo>
                  <a:lnTo>
                    <a:pt x="848" y="251"/>
                  </a:lnTo>
                  <a:lnTo>
                    <a:pt x="848" y="246"/>
                  </a:lnTo>
                  <a:lnTo>
                    <a:pt x="848" y="242"/>
                  </a:lnTo>
                  <a:lnTo>
                    <a:pt x="848" y="237"/>
                  </a:lnTo>
                  <a:lnTo>
                    <a:pt x="848" y="235"/>
                  </a:lnTo>
                  <a:lnTo>
                    <a:pt x="850" y="230"/>
                  </a:lnTo>
                  <a:lnTo>
                    <a:pt x="850" y="225"/>
                  </a:lnTo>
                  <a:lnTo>
                    <a:pt x="850" y="220"/>
                  </a:lnTo>
                  <a:lnTo>
                    <a:pt x="850" y="216"/>
                  </a:lnTo>
                  <a:lnTo>
                    <a:pt x="850" y="213"/>
                  </a:lnTo>
                  <a:lnTo>
                    <a:pt x="850" y="209"/>
                  </a:lnTo>
                  <a:lnTo>
                    <a:pt x="850" y="204"/>
                  </a:lnTo>
                  <a:lnTo>
                    <a:pt x="850" y="199"/>
                  </a:lnTo>
                  <a:lnTo>
                    <a:pt x="850" y="194"/>
                  </a:lnTo>
                  <a:lnTo>
                    <a:pt x="850" y="192"/>
                  </a:lnTo>
                  <a:lnTo>
                    <a:pt x="850" y="187"/>
                  </a:lnTo>
                  <a:lnTo>
                    <a:pt x="850" y="183"/>
                  </a:lnTo>
                  <a:lnTo>
                    <a:pt x="853" y="178"/>
                  </a:lnTo>
                  <a:lnTo>
                    <a:pt x="853" y="173"/>
                  </a:lnTo>
                  <a:lnTo>
                    <a:pt x="848" y="173"/>
                  </a:lnTo>
                  <a:moveTo>
                    <a:pt x="603" y="133"/>
                  </a:moveTo>
                  <a:lnTo>
                    <a:pt x="601" y="135"/>
                  </a:lnTo>
                  <a:lnTo>
                    <a:pt x="601" y="135"/>
                  </a:lnTo>
                  <a:lnTo>
                    <a:pt x="603" y="135"/>
                  </a:lnTo>
                  <a:lnTo>
                    <a:pt x="605" y="135"/>
                  </a:lnTo>
                  <a:lnTo>
                    <a:pt x="605" y="135"/>
                  </a:lnTo>
                  <a:lnTo>
                    <a:pt x="605" y="135"/>
                  </a:lnTo>
                  <a:lnTo>
                    <a:pt x="608" y="138"/>
                  </a:lnTo>
                  <a:lnTo>
                    <a:pt x="608" y="138"/>
                  </a:lnTo>
                  <a:lnTo>
                    <a:pt x="610" y="135"/>
                  </a:lnTo>
                  <a:lnTo>
                    <a:pt x="610" y="135"/>
                  </a:lnTo>
                  <a:lnTo>
                    <a:pt x="608" y="133"/>
                  </a:lnTo>
                  <a:lnTo>
                    <a:pt x="608" y="133"/>
                  </a:lnTo>
                  <a:lnTo>
                    <a:pt x="605" y="133"/>
                  </a:lnTo>
                  <a:lnTo>
                    <a:pt x="605" y="130"/>
                  </a:lnTo>
                  <a:lnTo>
                    <a:pt x="605" y="128"/>
                  </a:lnTo>
                  <a:lnTo>
                    <a:pt x="603" y="126"/>
                  </a:lnTo>
                  <a:lnTo>
                    <a:pt x="603" y="126"/>
                  </a:lnTo>
                  <a:lnTo>
                    <a:pt x="603" y="126"/>
                  </a:lnTo>
                  <a:lnTo>
                    <a:pt x="601" y="128"/>
                  </a:lnTo>
                  <a:lnTo>
                    <a:pt x="601" y="126"/>
                  </a:lnTo>
                  <a:lnTo>
                    <a:pt x="598" y="126"/>
                  </a:lnTo>
                  <a:lnTo>
                    <a:pt x="598" y="128"/>
                  </a:lnTo>
                  <a:lnTo>
                    <a:pt x="598" y="128"/>
                  </a:lnTo>
                  <a:lnTo>
                    <a:pt x="598" y="128"/>
                  </a:lnTo>
                  <a:lnTo>
                    <a:pt x="601" y="130"/>
                  </a:lnTo>
                  <a:lnTo>
                    <a:pt x="603" y="133"/>
                  </a:lnTo>
                  <a:moveTo>
                    <a:pt x="596" y="130"/>
                  </a:moveTo>
                  <a:lnTo>
                    <a:pt x="598" y="128"/>
                  </a:lnTo>
                  <a:lnTo>
                    <a:pt x="598" y="128"/>
                  </a:lnTo>
                  <a:lnTo>
                    <a:pt x="598" y="126"/>
                  </a:lnTo>
                  <a:lnTo>
                    <a:pt x="598" y="126"/>
                  </a:lnTo>
                  <a:lnTo>
                    <a:pt x="596" y="123"/>
                  </a:lnTo>
                  <a:lnTo>
                    <a:pt x="596" y="126"/>
                  </a:lnTo>
                  <a:lnTo>
                    <a:pt x="596" y="128"/>
                  </a:lnTo>
                  <a:lnTo>
                    <a:pt x="596" y="130"/>
                  </a:lnTo>
                  <a:lnTo>
                    <a:pt x="596" y="130"/>
                  </a:lnTo>
                  <a:moveTo>
                    <a:pt x="157" y="123"/>
                  </a:moveTo>
                  <a:lnTo>
                    <a:pt x="155" y="126"/>
                  </a:lnTo>
                  <a:lnTo>
                    <a:pt x="155" y="126"/>
                  </a:lnTo>
                  <a:lnTo>
                    <a:pt x="157" y="126"/>
                  </a:lnTo>
                  <a:lnTo>
                    <a:pt x="160" y="126"/>
                  </a:lnTo>
                  <a:lnTo>
                    <a:pt x="162" y="126"/>
                  </a:lnTo>
                  <a:lnTo>
                    <a:pt x="160" y="126"/>
                  </a:lnTo>
                  <a:lnTo>
                    <a:pt x="157" y="123"/>
                  </a:lnTo>
                  <a:lnTo>
                    <a:pt x="157" y="123"/>
                  </a:lnTo>
                  <a:moveTo>
                    <a:pt x="667" y="126"/>
                  </a:moveTo>
                  <a:lnTo>
                    <a:pt x="664" y="126"/>
                  </a:lnTo>
                  <a:lnTo>
                    <a:pt x="664" y="126"/>
                  </a:lnTo>
                  <a:lnTo>
                    <a:pt x="664" y="126"/>
                  </a:lnTo>
                  <a:lnTo>
                    <a:pt x="662" y="123"/>
                  </a:lnTo>
                  <a:lnTo>
                    <a:pt x="662" y="121"/>
                  </a:lnTo>
                  <a:lnTo>
                    <a:pt x="659" y="121"/>
                  </a:lnTo>
                  <a:lnTo>
                    <a:pt x="662" y="121"/>
                  </a:lnTo>
                  <a:lnTo>
                    <a:pt x="664" y="123"/>
                  </a:lnTo>
                  <a:lnTo>
                    <a:pt x="667" y="123"/>
                  </a:lnTo>
                  <a:lnTo>
                    <a:pt x="667" y="126"/>
                  </a:lnTo>
                  <a:lnTo>
                    <a:pt x="667" y="126"/>
                  </a:lnTo>
                  <a:lnTo>
                    <a:pt x="669" y="126"/>
                  </a:lnTo>
                  <a:lnTo>
                    <a:pt x="671" y="126"/>
                  </a:lnTo>
                  <a:lnTo>
                    <a:pt x="671" y="126"/>
                  </a:lnTo>
                  <a:lnTo>
                    <a:pt x="671" y="126"/>
                  </a:lnTo>
                  <a:lnTo>
                    <a:pt x="674" y="126"/>
                  </a:lnTo>
                  <a:lnTo>
                    <a:pt x="674" y="123"/>
                  </a:lnTo>
                  <a:lnTo>
                    <a:pt x="674" y="123"/>
                  </a:lnTo>
                  <a:lnTo>
                    <a:pt x="674" y="121"/>
                  </a:lnTo>
                  <a:lnTo>
                    <a:pt x="669" y="119"/>
                  </a:lnTo>
                  <a:lnTo>
                    <a:pt x="667" y="119"/>
                  </a:lnTo>
                  <a:lnTo>
                    <a:pt x="664" y="119"/>
                  </a:lnTo>
                  <a:lnTo>
                    <a:pt x="662" y="119"/>
                  </a:lnTo>
                  <a:lnTo>
                    <a:pt x="659" y="119"/>
                  </a:lnTo>
                  <a:lnTo>
                    <a:pt x="659" y="121"/>
                  </a:lnTo>
                  <a:lnTo>
                    <a:pt x="657" y="121"/>
                  </a:lnTo>
                  <a:lnTo>
                    <a:pt x="657" y="121"/>
                  </a:lnTo>
                  <a:lnTo>
                    <a:pt x="655" y="121"/>
                  </a:lnTo>
                  <a:lnTo>
                    <a:pt x="655" y="121"/>
                  </a:lnTo>
                  <a:lnTo>
                    <a:pt x="655" y="121"/>
                  </a:lnTo>
                  <a:lnTo>
                    <a:pt x="652" y="123"/>
                  </a:lnTo>
                  <a:lnTo>
                    <a:pt x="655" y="123"/>
                  </a:lnTo>
                  <a:lnTo>
                    <a:pt x="657" y="123"/>
                  </a:lnTo>
                  <a:lnTo>
                    <a:pt x="659" y="126"/>
                  </a:lnTo>
                  <a:lnTo>
                    <a:pt x="659" y="126"/>
                  </a:lnTo>
                  <a:lnTo>
                    <a:pt x="659" y="126"/>
                  </a:lnTo>
                  <a:lnTo>
                    <a:pt x="662" y="126"/>
                  </a:lnTo>
                  <a:moveTo>
                    <a:pt x="61" y="119"/>
                  </a:moveTo>
                  <a:lnTo>
                    <a:pt x="61" y="119"/>
                  </a:lnTo>
                  <a:lnTo>
                    <a:pt x="61" y="119"/>
                  </a:lnTo>
                  <a:lnTo>
                    <a:pt x="61" y="123"/>
                  </a:lnTo>
                  <a:lnTo>
                    <a:pt x="61" y="126"/>
                  </a:lnTo>
                  <a:lnTo>
                    <a:pt x="61" y="126"/>
                  </a:lnTo>
                  <a:lnTo>
                    <a:pt x="61" y="128"/>
                  </a:lnTo>
                  <a:lnTo>
                    <a:pt x="58" y="130"/>
                  </a:lnTo>
                  <a:lnTo>
                    <a:pt x="61" y="130"/>
                  </a:lnTo>
                  <a:lnTo>
                    <a:pt x="63" y="130"/>
                  </a:lnTo>
                  <a:lnTo>
                    <a:pt x="63" y="126"/>
                  </a:lnTo>
                  <a:lnTo>
                    <a:pt x="63" y="123"/>
                  </a:lnTo>
                  <a:lnTo>
                    <a:pt x="63" y="123"/>
                  </a:lnTo>
                  <a:lnTo>
                    <a:pt x="61" y="119"/>
                  </a:lnTo>
                  <a:moveTo>
                    <a:pt x="136" y="100"/>
                  </a:moveTo>
                  <a:lnTo>
                    <a:pt x="136" y="100"/>
                  </a:lnTo>
                  <a:lnTo>
                    <a:pt x="136" y="100"/>
                  </a:lnTo>
                  <a:lnTo>
                    <a:pt x="139" y="102"/>
                  </a:lnTo>
                  <a:lnTo>
                    <a:pt x="141" y="102"/>
                  </a:lnTo>
                  <a:lnTo>
                    <a:pt x="143" y="102"/>
                  </a:lnTo>
                  <a:lnTo>
                    <a:pt x="146" y="102"/>
                  </a:lnTo>
                  <a:lnTo>
                    <a:pt x="148" y="104"/>
                  </a:lnTo>
                  <a:lnTo>
                    <a:pt x="148" y="102"/>
                  </a:lnTo>
                  <a:lnTo>
                    <a:pt x="146" y="100"/>
                  </a:lnTo>
                  <a:lnTo>
                    <a:pt x="146" y="100"/>
                  </a:lnTo>
                  <a:lnTo>
                    <a:pt x="143" y="97"/>
                  </a:lnTo>
                  <a:lnTo>
                    <a:pt x="141" y="97"/>
                  </a:lnTo>
                  <a:lnTo>
                    <a:pt x="141" y="97"/>
                  </a:lnTo>
                  <a:lnTo>
                    <a:pt x="139" y="95"/>
                  </a:lnTo>
                  <a:lnTo>
                    <a:pt x="139" y="95"/>
                  </a:lnTo>
                  <a:lnTo>
                    <a:pt x="136" y="97"/>
                  </a:lnTo>
                  <a:lnTo>
                    <a:pt x="136" y="100"/>
                  </a:lnTo>
                  <a:moveTo>
                    <a:pt x="134" y="90"/>
                  </a:moveTo>
                  <a:lnTo>
                    <a:pt x="134" y="90"/>
                  </a:lnTo>
                  <a:lnTo>
                    <a:pt x="134" y="90"/>
                  </a:lnTo>
                  <a:lnTo>
                    <a:pt x="132" y="90"/>
                  </a:lnTo>
                  <a:lnTo>
                    <a:pt x="132" y="93"/>
                  </a:lnTo>
                  <a:lnTo>
                    <a:pt x="134" y="95"/>
                  </a:lnTo>
                  <a:lnTo>
                    <a:pt x="134" y="95"/>
                  </a:lnTo>
                  <a:lnTo>
                    <a:pt x="134" y="97"/>
                  </a:lnTo>
                  <a:lnTo>
                    <a:pt x="136" y="97"/>
                  </a:lnTo>
                  <a:lnTo>
                    <a:pt x="136" y="97"/>
                  </a:lnTo>
                  <a:lnTo>
                    <a:pt x="136" y="97"/>
                  </a:lnTo>
                  <a:lnTo>
                    <a:pt x="136" y="95"/>
                  </a:lnTo>
                  <a:lnTo>
                    <a:pt x="136" y="93"/>
                  </a:lnTo>
                  <a:lnTo>
                    <a:pt x="136" y="93"/>
                  </a:lnTo>
                  <a:lnTo>
                    <a:pt x="134" y="90"/>
                  </a:lnTo>
                  <a:moveTo>
                    <a:pt x="49" y="95"/>
                  </a:moveTo>
                  <a:lnTo>
                    <a:pt x="49" y="93"/>
                  </a:lnTo>
                  <a:lnTo>
                    <a:pt x="44" y="88"/>
                  </a:lnTo>
                  <a:lnTo>
                    <a:pt x="42" y="86"/>
                  </a:lnTo>
                  <a:lnTo>
                    <a:pt x="42" y="86"/>
                  </a:lnTo>
                  <a:lnTo>
                    <a:pt x="42" y="88"/>
                  </a:lnTo>
                  <a:lnTo>
                    <a:pt x="40" y="88"/>
                  </a:lnTo>
                  <a:lnTo>
                    <a:pt x="37" y="88"/>
                  </a:lnTo>
                  <a:lnTo>
                    <a:pt x="40" y="93"/>
                  </a:lnTo>
                  <a:lnTo>
                    <a:pt x="42" y="97"/>
                  </a:lnTo>
                  <a:lnTo>
                    <a:pt x="42" y="100"/>
                  </a:lnTo>
                  <a:lnTo>
                    <a:pt x="44" y="100"/>
                  </a:lnTo>
                  <a:lnTo>
                    <a:pt x="47" y="102"/>
                  </a:lnTo>
                  <a:lnTo>
                    <a:pt x="49" y="104"/>
                  </a:lnTo>
                  <a:lnTo>
                    <a:pt x="49" y="107"/>
                  </a:lnTo>
                  <a:lnTo>
                    <a:pt x="51" y="107"/>
                  </a:lnTo>
                  <a:lnTo>
                    <a:pt x="51" y="104"/>
                  </a:lnTo>
                  <a:lnTo>
                    <a:pt x="51" y="100"/>
                  </a:lnTo>
                  <a:lnTo>
                    <a:pt x="51" y="97"/>
                  </a:lnTo>
                  <a:lnTo>
                    <a:pt x="51" y="97"/>
                  </a:lnTo>
                  <a:lnTo>
                    <a:pt x="49" y="95"/>
                  </a:lnTo>
                  <a:moveTo>
                    <a:pt x="129" y="88"/>
                  </a:moveTo>
                  <a:lnTo>
                    <a:pt x="132" y="88"/>
                  </a:lnTo>
                  <a:lnTo>
                    <a:pt x="134" y="88"/>
                  </a:lnTo>
                  <a:lnTo>
                    <a:pt x="134" y="88"/>
                  </a:lnTo>
                  <a:lnTo>
                    <a:pt x="136" y="90"/>
                  </a:lnTo>
                  <a:lnTo>
                    <a:pt x="136" y="90"/>
                  </a:lnTo>
                  <a:lnTo>
                    <a:pt x="136" y="88"/>
                  </a:lnTo>
                  <a:lnTo>
                    <a:pt x="136" y="88"/>
                  </a:lnTo>
                  <a:lnTo>
                    <a:pt x="129" y="86"/>
                  </a:lnTo>
                  <a:lnTo>
                    <a:pt x="129" y="86"/>
                  </a:lnTo>
                  <a:lnTo>
                    <a:pt x="129" y="86"/>
                  </a:lnTo>
                  <a:lnTo>
                    <a:pt x="129" y="86"/>
                  </a:lnTo>
                  <a:lnTo>
                    <a:pt x="129" y="88"/>
                  </a:lnTo>
                  <a:moveTo>
                    <a:pt x="443" y="175"/>
                  </a:moveTo>
                  <a:lnTo>
                    <a:pt x="440" y="175"/>
                  </a:lnTo>
                  <a:lnTo>
                    <a:pt x="440" y="175"/>
                  </a:lnTo>
                  <a:lnTo>
                    <a:pt x="440" y="175"/>
                  </a:lnTo>
                  <a:lnTo>
                    <a:pt x="440" y="178"/>
                  </a:lnTo>
                  <a:lnTo>
                    <a:pt x="440" y="178"/>
                  </a:lnTo>
                  <a:lnTo>
                    <a:pt x="440" y="180"/>
                  </a:lnTo>
                  <a:lnTo>
                    <a:pt x="440" y="183"/>
                  </a:lnTo>
                  <a:lnTo>
                    <a:pt x="440" y="185"/>
                  </a:lnTo>
                  <a:lnTo>
                    <a:pt x="440" y="187"/>
                  </a:lnTo>
                  <a:lnTo>
                    <a:pt x="440" y="190"/>
                  </a:lnTo>
                  <a:lnTo>
                    <a:pt x="440" y="192"/>
                  </a:lnTo>
                  <a:lnTo>
                    <a:pt x="443" y="194"/>
                  </a:lnTo>
                  <a:lnTo>
                    <a:pt x="447" y="192"/>
                  </a:lnTo>
                  <a:lnTo>
                    <a:pt x="450" y="192"/>
                  </a:lnTo>
                  <a:lnTo>
                    <a:pt x="450" y="192"/>
                  </a:lnTo>
                  <a:lnTo>
                    <a:pt x="452" y="192"/>
                  </a:lnTo>
                  <a:lnTo>
                    <a:pt x="452" y="194"/>
                  </a:lnTo>
                  <a:lnTo>
                    <a:pt x="452" y="194"/>
                  </a:lnTo>
                  <a:lnTo>
                    <a:pt x="452" y="197"/>
                  </a:lnTo>
                  <a:lnTo>
                    <a:pt x="452" y="197"/>
                  </a:lnTo>
                  <a:lnTo>
                    <a:pt x="452" y="199"/>
                  </a:lnTo>
                  <a:lnTo>
                    <a:pt x="454" y="204"/>
                  </a:lnTo>
                  <a:lnTo>
                    <a:pt x="454" y="204"/>
                  </a:lnTo>
                  <a:lnTo>
                    <a:pt x="454" y="213"/>
                  </a:lnTo>
                  <a:lnTo>
                    <a:pt x="452" y="213"/>
                  </a:lnTo>
                  <a:lnTo>
                    <a:pt x="452" y="216"/>
                  </a:lnTo>
                  <a:lnTo>
                    <a:pt x="452" y="218"/>
                  </a:lnTo>
                  <a:lnTo>
                    <a:pt x="452" y="223"/>
                  </a:lnTo>
                  <a:lnTo>
                    <a:pt x="450" y="225"/>
                  </a:lnTo>
                  <a:lnTo>
                    <a:pt x="450" y="227"/>
                  </a:lnTo>
                  <a:lnTo>
                    <a:pt x="447" y="230"/>
                  </a:lnTo>
                  <a:lnTo>
                    <a:pt x="447" y="232"/>
                  </a:lnTo>
                  <a:lnTo>
                    <a:pt x="450" y="235"/>
                  </a:lnTo>
                  <a:lnTo>
                    <a:pt x="452" y="237"/>
                  </a:lnTo>
                  <a:lnTo>
                    <a:pt x="454" y="239"/>
                  </a:lnTo>
                  <a:lnTo>
                    <a:pt x="454" y="239"/>
                  </a:lnTo>
                  <a:lnTo>
                    <a:pt x="457" y="239"/>
                  </a:lnTo>
                  <a:lnTo>
                    <a:pt x="457" y="237"/>
                  </a:lnTo>
                  <a:lnTo>
                    <a:pt x="459" y="237"/>
                  </a:lnTo>
                  <a:lnTo>
                    <a:pt x="461" y="237"/>
                  </a:lnTo>
                  <a:lnTo>
                    <a:pt x="464" y="237"/>
                  </a:lnTo>
                  <a:lnTo>
                    <a:pt x="464" y="237"/>
                  </a:lnTo>
                  <a:lnTo>
                    <a:pt x="466" y="237"/>
                  </a:lnTo>
                  <a:lnTo>
                    <a:pt x="469" y="237"/>
                  </a:lnTo>
                  <a:lnTo>
                    <a:pt x="466" y="235"/>
                  </a:lnTo>
                  <a:lnTo>
                    <a:pt x="466" y="232"/>
                  </a:lnTo>
                  <a:lnTo>
                    <a:pt x="466" y="227"/>
                  </a:lnTo>
                  <a:lnTo>
                    <a:pt x="466" y="225"/>
                  </a:lnTo>
                  <a:lnTo>
                    <a:pt x="466" y="223"/>
                  </a:lnTo>
                  <a:lnTo>
                    <a:pt x="469" y="218"/>
                  </a:lnTo>
                  <a:lnTo>
                    <a:pt x="469" y="216"/>
                  </a:lnTo>
                  <a:lnTo>
                    <a:pt x="469" y="211"/>
                  </a:lnTo>
                  <a:lnTo>
                    <a:pt x="469" y="206"/>
                  </a:lnTo>
                  <a:lnTo>
                    <a:pt x="469" y="199"/>
                  </a:lnTo>
                  <a:lnTo>
                    <a:pt x="469" y="197"/>
                  </a:lnTo>
                  <a:lnTo>
                    <a:pt x="469" y="197"/>
                  </a:lnTo>
                  <a:lnTo>
                    <a:pt x="469" y="190"/>
                  </a:lnTo>
                  <a:lnTo>
                    <a:pt x="469" y="187"/>
                  </a:lnTo>
                  <a:lnTo>
                    <a:pt x="466" y="185"/>
                  </a:lnTo>
                  <a:lnTo>
                    <a:pt x="466" y="183"/>
                  </a:lnTo>
                  <a:lnTo>
                    <a:pt x="466" y="180"/>
                  </a:lnTo>
                  <a:lnTo>
                    <a:pt x="469" y="180"/>
                  </a:lnTo>
                  <a:lnTo>
                    <a:pt x="471" y="175"/>
                  </a:lnTo>
                  <a:lnTo>
                    <a:pt x="473" y="175"/>
                  </a:lnTo>
                  <a:lnTo>
                    <a:pt x="476" y="175"/>
                  </a:lnTo>
                  <a:lnTo>
                    <a:pt x="478" y="175"/>
                  </a:lnTo>
                  <a:lnTo>
                    <a:pt x="480" y="175"/>
                  </a:lnTo>
                  <a:lnTo>
                    <a:pt x="483" y="178"/>
                  </a:lnTo>
                  <a:lnTo>
                    <a:pt x="483" y="180"/>
                  </a:lnTo>
                  <a:lnTo>
                    <a:pt x="483" y="183"/>
                  </a:lnTo>
                  <a:lnTo>
                    <a:pt x="480" y="185"/>
                  </a:lnTo>
                  <a:lnTo>
                    <a:pt x="480" y="187"/>
                  </a:lnTo>
                  <a:lnTo>
                    <a:pt x="478" y="190"/>
                  </a:lnTo>
                  <a:lnTo>
                    <a:pt x="478" y="192"/>
                  </a:lnTo>
                  <a:lnTo>
                    <a:pt x="478" y="192"/>
                  </a:lnTo>
                  <a:lnTo>
                    <a:pt x="478" y="194"/>
                  </a:lnTo>
                  <a:lnTo>
                    <a:pt x="485" y="201"/>
                  </a:lnTo>
                  <a:lnTo>
                    <a:pt x="487" y="204"/>
                  </a:lnTo>
                  <a:lnTo>
                    <a:pt x="490" y="204"/>
                  </a:lnTo>
                  <a:lnTo>
                    <a:pt x="492" y="206"/>
                  </a:lnTo>
                  <a:lnTo>
                    <a:pt x="490" y="206"/>
                  </a:lnTo>
                  <a:lnTo>
                    <a:pt x="490" y="209"/>
                  </a:lnTo>
                  <a:lnTo>
                    <a:pt x="490" y="209"/>
                  </a:lnTo>
                  <a:lnTo>
                    <a:pt x="490" y="209"/>
                  </a:lnTo>
                  <a:lnTo>
                    <a:pt x="487" y="216"/>
                  </a:lnTo>
                  <a:lnTo>
                    <a:pt x="487" y="218"/>
                  </a:lnTo>
                  <a:lnTo>
                    <a:pt x="490" y="220"/>
                  </a:lnTo>
                  <a:lnTo>
                    <a:pt x="490" y="220"/>
                  </a:lnTo>
                  <a:lnTo>
                    <a:pt x="492" y="220"/>
                  </a:lnTo>
                  <a:lnTo>
                    <a:pt x="497" y="220"/>
                  </a:lnTo>
                  <a:lnTo>
                    <a:pt x="499" y="220"/>
                  </a:lnTo>
                  <a:lnTo>
                    <a:pt x="499" y="220"/>
                  </a:lnTo>
                  <a:lnTo>
                    <a:pt x="499" y="218"/>
                  </a:lnTo>
                  <a:lnTo>
                    <a:pt x="499" y="216"/>
                  </a:lnTo>
                  <a:lnTo>
                    <a:pt x="499" y="216"/>
                  </a:lnTo>
                  <a:lnTo>
                    <a:pt x="502" y="213"/>
                  </a:lnTo>
                  <a:lnTo>
                    <a:pt x="506" y="213"/>
                  </a:lnTo>
                  <a:lnTo>
                    <a:pt x="509" y="211"/>
                  </a:lnTo>
                  <a:lnTo>
                    <a:pt x="511" y="213"/>
                  </a:lnTo>
                  <a:lnTo>
                    <a:pt x="511" y="211"/>
                  </a:lnTo>
                  <a:lnTo>
                    <a:pt x="511" y="211"/>
                  </a:lnTo>
                  <a:lnTo>
                    <a:pt x="511" y="211"/>
                  </a:lnTo>
                  <a:lnTo>
                    <a:pt x="513" y="211"/>
                  </a:lnTo>
                  <a:lnTo>
                    <a:pt x="513" y="211"/>
                  </a:lnTo>
                  <a:lnTo>
                    <a:pt x="516" y="211"/>
                  </a:lnTo>
                  <a:lnTo>
                    <a:pt x="516" y="209"/>
                  </a:lnTo>
                  <a:lnTo>
                    <a:pt x="516" y="206"/>
                  </a:lnTo>
                  <a:lnTo>
                    <a:pt x="513" y="206"/>
                  </a:lnTo>
                  <a:lnTo>
                    <a:pt x="513" y="204"/>
                  </a:lnTo>
                  <a:lnTo>
                    <a:pt x="513" y="204"/>
                  </a:lnTo>
                  <a:lnTo>
                    <a:pt x="513" y="204"/>
                  </a:lnTo>
                  <a:lnTo>
                    <a:pt x="511" y="206"/>
                  </a:lnTo>
                  <a:lnTo>
                    <a:pt x="511" y="204"/>
                  </a:lnTo>
                  <a:lnTo>
                    <a:pt x="511" y="204"/>
                  </a:lnTo>
                  <a:lnTo>
                    <a:pt x="509" y="204"/>
                  </a:lnTo>
                  <a:lnTo>
                    <a:pt x="509" y="201"/>
                  </a:lnTo>
                  <a:lnTo>
                    <a:pt x="509" y="201"/>
                  </a:lnTo>
                  <a:lnTo>
                    <a:pt x="509" y="199"/>
                  </a:lnTo>
                  <a:lnTo>
                    <a:pt x="506" y="197"/>
                  </a:lnTo>
                  <a:lnTo>
                    <a:pt x="506" y="197"/>
                  </a:lnTo>
                  <a:lnTo>
                    <a:pt x="504" y="197"/>
                  </a:lnTo>
                  <a:lnTo>
                    <a:pt x="504" y="197"/>
                  </a:lnTo>
                  <a:lnTo>
                    <a:pt x="504" y="194"/>
                  </a:lnTo>
                  <a:lnTo>
                    <a:pt x="504" y="194"/>
                  </a:lnTo>
                  <a:lnTo>
                    <a:pt x="504" y="194"/>
                  </a:lnTo>
                  <a:lnTo>
                    <a:pt x="504" y="190"/>
                  </a:lnTo>
                  <a:lnTo>
                    <a:pt x="504" y="187"/>
                  </a:lnTo>
                  <a:lnTo>
                    <a:pt x="506" y="187"/>
                  </a:lnTo>
                  <a:lnTo>
                    <a:pt x="506" y="185"/>
                  </a:lnTo>
                  <a:lnTo>
                    <a:pt x="504" y="183"/>
                  </a:lnTo>
                  <a:lnTo>
                    <a:pt x="504" y="183"/>
                  </a:lnTo>
                  <a:lnTo>
                    <a:pt x="504" y="180"/>
                  </a:lnTo>
                  <a:lnTo>
                    <a:pt x="504" y="180"/>
                  </a:lnTo>
                  <a:lnTo>
                    <a:pt x="502" y="178"/>
                  </a:lnTo>
                  <a:lnTo>
                    <a:pt x="499" y="175"/>
                  </a:lnTo>
                  <a:lnTo>
                    <a:pt x="499" y="173"/>
                  </a:lnTo>
                  <a:lnTo>
                    <a:pt x="497" y="168"/>
                  </a:lnTo>
                  <a:lnTo>
                    <a:pt x="494" y="166"/>
                  </a:lnTo>
                  <a:lnTo>
                    <a:pt x="494" y="166"/>
                  </a:lnTo>
                  <a:lnTo>
                    <a:pt x="492" y="164"/>
                  </a:lnTo>
                  <a:lnTo>
                    <a:pt x="492" y="164"/>
                  </a:lnTo>
                  <a:lnTo>
                    <a:pt x="490" y="161"/>
                  </a:lnTo>
                  <a:lnTo>
                    <a:pt x="487" y="161"/>
                  </a:lnTo>
                  <a:lnTo>
                    <a:pt x="487" y="159"/>
                  </a:lnTo>
                  <a:lnTo>
                    <a:pt x="487" y="159"/>
                  </a:lnTo>
                  <a:lnTo>
                    <a:pt x="487" y="157"/>
                  </a:lnTo>
                  <a:lnTo>
                    <a:pt x="490" y="159"/>
                  </a:lnTo>
                  <a:lnTo>
                    <a:pt x="492" y="159"/>
                  </a:lnTo>
                  <a:lnTo>
                    <a:pt x="492" y="159"/>
                  </a:lnTo>
                  <a:lnTo>
                    <a:pt x="494" y="159"/>
                  </a:lnTo>
                  <a:lnTo>
                    <a:pt x="494" y="157"/>
                  </a:lnTo>
                  <a:lnTo>
                    <a:pt x="497" y="154"/>
                  </a:lnTo>
                  <a:lnTo>
                    <a:pt x="502" y="152"/>
                  </a:lnTo>
                  <a:lnTo>
                    <a:pt x="504" y="152"/>
                  </a:lnTo>
                  <a:lnTo>
                    <a:pt x="506" y="149"/>
                  </a:lnTo>
                  <a:lnTo>
                    <a:pt x="509" y="147"/>
                  </a:lnTo>
                  <a:lnTo>
                    <a:pt x="511" y="145"/>
                  </a:lnTo>
                  <a:lnTo>
                    <a:pt x="513" y="142"/>
                  </a:lnTo>
                  <a:lnTo>
                    <a:pt x="516" y="140"/>
                  </a:lnTo>
                  <a:lnTo>
                    <a:pt x="516" y="138"/>
                  </a:lnTo>
                  <a:lnTo>
                    <a:pt x="516" y="138"/>
                  </a:lnTo>
                  <a:lnTo>
                    <a:pt x="520" y="138"/>
                  </a:lnTo>
                  <a:lnTo>
                    <a:pt x="520" y="138"/>
                  </a:lnTo>
                  <a:lnTo>
                    <a:pt x="523" y="140"/>
                  </a:lnTo>
                  <a:lnTo>
                    <a:pt x="525" y="140"/>
                  </a:lnTo>
                  <a:lnTo>
                    <a:pt x="525" y="140"/>
                  </a:lnTo>
                  <a:lnTo>
                    <a:pt x="525" y="140"/>
                  </a:lnTo>
                  <a:lnTo>
                    <a:pt x="527" y="135"/>
                  </a:lnTo>
                  <a:lnTo>
                    <a:pt x="527" y="133"/>
                  </a:lnTo>
                  <a:lnTo>
                    <a:pt x="525" y="133"/>
                  </a:lnTo>
                  <a:lnTo>
                    <a:pt x="523" y="130"/>
                  </a:lnTo>
                  <a:lnTo>
                    <a:pt x="523" y="130"/>
                  </a:lnTo>
                  <a:lnTo>
                    <a:pt x="518" y="130"/>
                  </a:lnTo>
                  <a:lnTo>
                    <a:pt x="516" y="133"/>
                  </a:lnTo>
                  <a:lnTo>
                    <a:pt x="516" y="133"/>
                  </a:lnTo>
                  <a:lnTo>
                    <a:pt x="516" y="133"/>
                  </a:lnTo>
                  <a:lnTo>
                    <a:pt x="516" y="133"/>
                  </a:lnTo>
                  <a:lnTo>
                    <a:pt x="516" y="135"/>
                  </a:lnTo>
                  <a:lnTo>
                    <a:pt x="513" y="135"/>
                  </a:lnTo>
                  <a:lnTo>
                    <a:pt x="511" y="135"/>
                  </a:lnTo>
                  <a:lnTo>
                    <a:pt x="506" y="135"/>
                  </a:lnTo>
                  <a:lnTo>
                    <a:pt x="504" y="135"/>
                  </a:lnTo>
                  <a:lnTo>
                    <a:pt x="502" y="138"/>
                  </a:lnTo>
                  <a:lnTo>
                    <a:pt x="502" y="138"/>
                  </a:lnTo>
                  <a:lnTo>
                    <a:pt x="499" y="138"/>
                  </a:lnTo>
                  <a:lnTo>
                    <a:pt x="497" y="138"/>
                  </a:lnTo>
                  <a:lnTo>
                    <a:pt x="494" y="138"/>
                  </a:lnTo>
                  <a:lnTo>
                    <a:pt x="494" y="138"/>
                  </a:lnTo>
                  <a:lnTo>
                    <a:pt x="492" y="138"/>
                  </a:lnTo>
                  <a:lnTo>
                    <a:pt x="492" y="135"/>
                  </a:lnTo>
                  <a:lnTo>
                    <a:pt x="492" y="138"/>
                  </a:lnTo>
                  <a:lnTo>
                    <a:pt x="490" y="138"/>
                  </a:lnTo>
                  <a:lnTo>
                    <a:pt x="487" y="142"/>
                  </a:lnTo>
                  <a:lnTo>
                    <a:pt x="485" y="145"/>
                  </a:lnTo>
                  <a:lnTo>
                    <a:pt x="485" y="147"/>
                  </a:lnTo>
                  <a:lnTo>
                    <a:pt x="483" y="149"/>
                  </a:lnTo>
                  <a:lnTo>
                    <a:pt x="480" y="147"/>
                  </a:lnTo>
                  <a:lnTo>
                    <a:pt x="478" y="147"/>
                  </a:lnTo>
                  <a:lnTo>
                    <a:pt x="476" y="147"/>
                  </a:lnTo>
                  <a:lnTo>
                    <a:pt x="476" y="147"/>
                  </a:lnTo>
                  <a:lnTo>
                    <a:pt x="473" y="145"/>
                  </a:lnTo>
                  <a:lnTo>
                    <a:pt x="473" y="140"/>
                  </a:lnTo>
                  <a:lnTo>
                    <a:pt x="471" y="140"/>
                  </a:lnTo>
                  <a:lnTo>
                    <a:pt x="469" y="138"/>
                  </a:lnTo>
                  <a:lnTo>
                    <a:pt x="466" y="138"/>
                  </a:lnTo>
                  <a:lnTo>
                    <a:pt x="464" y="133"/>
                  </a:lnTo>
                  <a:lnTo>
                    <a:pt x="464" y="130"/>
                  </a:lnTo>
                  <a:lnTo>
                    <a:pt x="464" y="128"/>
                  </a:lnTo>
                  <a:lnTo>
                    <a:pt x="464" y="126"/>
                  </a:lnTo>
                  <a:lnTo>
                    <a:pt x="464" y="123"/>
                  </a:lnTo>
                  <a:lnTo>
                    <a:pt x="464" y="121"/>
                  </a:lnTo>
                  <a:lnTo>
                    <a:pt x="464" y="119"/>
                  </a:lnTo>
                  <a:lnTo>
                    <a:pt x="466" y="116"/>
                  </a:lnTo>
                  <a:lnTo>
                    <a:pt x="466" y="114"/>
                  </a:lnTo>
                  <a:lnTo>
                    <a:pt x="469" y="109"/>
                  </a:lnTo>
                  <a:lnTo>
                    <a:pt x="469" y="109"/>
                  </a:lnTo>
                  <a:lnTo>
                    <a:pt x="471" y="107"/>
                  </a:lnTo>
                  <a:lnTo>
                    <a:pt x="473" y="107"/>
                  </a:lnTo>
                  <a:lnTo>
                    <a:pt x="476" y="107"/>
                  </a:lnTo>
                  <a:lnTo>
                    <a:pt x="480" y="109"/>
                  </a:lnTo>
                  <a:lnTo>
                    <a:pt x="483" y="109"/>
                  </a:lnTo>
                  <a:lnTo>
                    <a:pt x="490" y="109"/>
                  </a:lnTo>
                  <a:lnTo>
                    <a:pt x="492" y="109"/>
                  </a:lnTo>
                  <a:lnTo>
                    <a:pt x="492" y="109"/>
                  </a:lnTo>
                  <a:lnTo>
                    <a:pt x="494" y="109"/>
                  </a:lnTo>
                  <a:lnTo>
                    <a:pt x="497" y="109"/>
                  </a:lnTo>
                  <a:lnTo>
                    <a:pt x="502" y="109"/>
                  </a:lnTo>
                  <a:lnTo>
                    <a:pt x="506" y="109"/>
                  </a:lnTo>
                  <a:lnTo>
                    <a:pt x="518" y="109"/>
                  </a:lnTo>
                  <a:lnTo>
                    <a:pt x="518" y="109"/>
                  </a:lnTo>
                  <a:lnTo>
                    <a:pt x="520" y="109"/>
                  </a:lnTo>
                  <a:lnTo>
                    <a:pt x="523" y="109"/>
                  </a:lnTo>
                  <a:lnTo>
                    <a:pt x="523" y="112"/>
                  </a:lnTo>
                  <a:lnTo>
                    <a:pt x="525" y="112"/>
                  </a:lnTo>
                  <a:lnTo>
                    <a:pt x="527" y="112"/>
                  </a:lnTo>
                  <a:lnTo>
                    <a:pt x="530" y="112"/>
                  </a:lnTo>
                  <a:lnTo>
                    <a:pt x="532" y="112"/>
                  </a:lnTo>
                  <a:lnTo>
                    <a:pt x="539" y="112"/>
                  </a:lnTo>
                  <a:lnTo>
                    <a:pt x="542" y="112"/>
                  </a:lnTo>
                  <a:lnTo>
                    <a:pt x="542" y="109"/>
                  </a:lnTo>
                  <a:lnTo>
                    <a:pt x="544" y="109"/>
                  </a:lnTo>
                  <a:lnTo>
                    <a:pt x="546" y="109"/>
                  </a:lnTo>
                  <a:lnTo>
                    <a:pt x="546" y="107"/>
                  </a:lnTo>
                  <a:lnTo>
                    <a:pt x="549" y="104"/>
                  </a:lnTo>
                  <a:lnTo>
                    <a:pt x="549" y="102"/>
                  </a:lnTo>
                  <a:lnTo>
                    <a:pt x="551" y="102"/>
                  </a:lnTo>
                  <a:lnTo>
                    <a:pt x="553" y="97"/>
                  </a:lnTo>
                  <a:lnTo>
                    <a:pt x="556" y="95"/>
                  </a:lnTo>
                  <a:lnTo>
                    <a:pt x="556" y="93"/>
                  </a:lnTo>
                  <a:lnTo>
                    <a:pt x="558" y="90"/>
                  </a:lnTo>
                  <a:lnTo>
                    <a:pt x="558" y="88"/>
                  </a:lnTo>
                  <a:lnTo>
                    <a:pt x="560" y="88"/>
                  </a:lnTo>
                  <a:lnTo>
                    <a:pt x="560" y="88"/>
                  </a:lnTo>
                  <a:lnTo>
                    <a:pt x="558" y="83"/>
                  </a:lnTo>
                  <a:lnTo>
                    <a:pt x="558" y="83"/>
                  </a:lnTo>
                  <a:lnTo>
                    <a:pt x="556" y="83"/>
                  </a:lnTo>
                  <a:lnTo>
                    <a:pt x="553" y="83"/>
                  </a:lnTo>
                  <a:lnTo>
                    <a:pt x="553" y="86"/>
                  </a:lnTo>
                  <a:lnTo>
                    <a:pt x="551" y="88"/>
                  </a:lnTo>
                  <a:lnTo>
                    <a:pt x="551" y="88"/>
                  </a:lnTo>
                  <a:lnTo>
                    <a:pt x="549" y="88"/>
                  </a:lnTo>
                  <a:lnTo>
                    <a:pt x="549" y="90"/>
                  </a:lnTo>
                  <a:lnTo>
                    <a:pt x="549" y="90"/>
                  </a:lnTo>
                  <a:lnTo>
                    <a:pt x="546" y="93"/>
                  </a:lnTo>
                  <a:lnTo>
                    <a:pt x="544" y="93"/>
                  </a:lnTo>
                  <a:lnTo>
                    <a:pt x="542" y="97"/>
                  </a:lnTo>
                  <a:lnTo>
                    <a:pt x="537" y="100"/>
                  </a:lnTo>
                  <a:lnTo>
                    <a:pt x="535" y="102"/>
                  </a:lnTo>
                  <a:lnTo>
                    <a:pt x="523" y="100"/>
                  </a:lnTo>
                  <a:lnTo>
                    <a:pt x="520" y="100"/>
                  </a:lnTo>
                  <a:lnTo>
                    <a:pt x="518" y="100"/>
                  </a:lnTo>
                  <a:lnTo>
                    <a:pt x="518" y="100"/>
                  </a:lnTo>
                  <a:lnTo>
                    <a:pt x="516" y="100"/>
                  </a:lnTo>
                  <a:lnTo>
                    <a:pt x="516" y="100"/>
                  </a:lnTo>
                  <a:lnTo>
                    <a:pt x="516" y="100"/>
                  </a:lnTo>
                  <a:lnTo>
                    <a:pt x="513" y="100"/>
                  </a:lnTo>
                  <a:lnTo>
                    <a:pt x="511" y="97"/>
                  </a:lnTo>
                  <a:lnTo>
                    <a:pt x="509" y="97"/>
                  </a:lnTo>
                  <a:lnTo>
                    <a:pt x="502" y="97"/>
                  </a:lnTo>
                  <a:lnTo>
                    <a:pt x="497" y="95"/>
                  </a:lnTo>
                  <a:lnTo>
                    <a:pt x="492" y="95"/>
                  </a:lnTo>
                  <a:lnTo>
                    <a:pt x="492" y="95"/>
                  </a:lnTo>
                  <a:lnTo>
                    <a:pt x="490" y="95"/>
                  </a:lnTo>
                  <a:lnTo>
                    <a:pt x="490" y="95"/>
                  </a:lnTo>
                  <a:lnTo>
                    <a:pt x="490" y="93"/>
                  </a:lnTo>
                  <a:lnTo>
                    <a:pt x="490" y="93"/>
                  </a:lnTo>
                  <a:lnTo>
                    <a:pt x="487" y="93"/>
                  </a:lnTo>
                  <a:lnTo>
                    <a:pt x="487" y="93"/>
                  </a:lnTo>
                  <a:lnTo>
                    <a:pt x="485" y="93"/>
                  </a:lnTo>
                  <a:lnTo>
                    <a:pt x="483" y="90"/>
                  </a:lnTo>
                  <a:lnTo>
                    <a:pt x="483" y="90"/>
                  </a:lnTo>
                  <a:lnTo>
                    <a:pt x="480" y="90"/>
                  </a:lnTo>
                  <a:lnTo>
                    <a:pt x="480" y="93"/>
                  </a:lnTo>
                  <a:lnTo>
                    <a:pt x="478" y="93"/>
                  </a:lnTo>
                  <a:lnTo>
                    <a:pt x="478" y="95"/>
                  </a:lnTo>
                  <a:lnTo>
                    <a:pt x="478" y="97"/>
                  </a:lnTo>
                  <a:lnTo>
                    <a:pt x="476" y="97"/>
                  </a:lnTo>
                  <a:lnTo>
                    <a:pt x="476" y="100"/>
                  </a:lnTo>
                  <a:lnTo>
                    <a:pt x="476" y="100"/>
                  </a:lnTo>
                  <a:lnTo>
                    <a:pt x="473" y="100"/>
                  </a:lnTo>
                  <a:lnTo>
                    <a:pt x="473" y="102"/>
                  </a:lnTo>
                  <a:lnTo>
                    <a:pt x="471" y="100"/>
                  </a:lnTo>
                  <a:lnTo>
                    <a:pt x="469" y="100"/>
                  </a:lnTo>
                  <a:lnTo>
                    <a:pt x="469" y="97"/>
                  </a:lnTo>
                  <a:lnTo>
                    <a:pt x="469" y="97"/>
                  </a:lnTo>
                  <a:lnTo>
                    <a:pt x="469" y="97"/>
                  </a:lnTo>
                  <a:lnTo>
                    <a:pt x="466" y="100"/>
                  </a:lnTo>
                  <a:lnTo>
                    <a:pt x="466" y="102"/>
                  </a:lnTo>
                  <a:lnTo>
                    <a:pt x="464" y="102"/>
                  </a:lnTo>
                  <a:lnTo>
                    <a:pt x="464" y="104"/>
                  </a:lnTo>
                  <a:lnTo>
                    <a:pt x="464" y="107"/>
                  </a:lnTo>
                  <a:lnTo>
                    <a:pt x="464" y="107"/>
                  </a:lnTo>
                  <a:lnTo>
                    <a:pt x="461" y="109"/>
                  </a:lnTo>
                  <a:lnTo>
                    <a:pt x="459" y="114"/>
                  </a:lnTo>
                  <a:lnTo>
                    <a:pt x="459" y="114"/>
                  </a:lnTo>
                  <a:lnTo>
                    <a:pt x="461" y="119"/>
                  </a:lnTo>
                  <a:lnTo>
                    <a:pt x="459" y="119"/>
                  </a:lnTo>
                  <a:lnTo>
                    <a:pt x="459" y="121"/>
                  </a:lnTo>
                  <a:lnTo>
                    <a:pt x="459" y="119"/>
                  </a:lnTo>
                  <a:lnTo>
                    <a:pt x="457" y="121"/>
                  </a:lnTo>
                  <a:lnTo>
                    <a:pt x="459" y="128"/>
                  </a:lnTo>
                  <a:lnTo>
                    <a:pt x="459" y="133"/>
                  </a:lnTo>
                  <a:lnTo>
                    <a:pt x="459" y="135"/>
                  </a:lnTo>
                  <a:lnTo>
                    <a:pt x="459" y="138"/>
                  </a:lnTo>
                  <a:lnTo>
                    <a:pt x="459" y="135"/>
                  </a:lnTo>
                  <a:lnTo>
                    <a:pt x="457" y="133"/>
                  </a:lnTo>
                  <a:lnTo>
                    <a:pt x="457" y="135"/>
                  </a:lnTo>
                  <a:lnTo>
                    <a:pt x="454" y="138"/>
                  </a:lnTo>
                  <a:lnTo>
                    <a:pt x="450" y="145"/>
                  </a:lnTo>
                  <a:lnTo>
                    <a:pt x="450" y="149"/>
                  </a:lnTo>
                  <a:lnTo>
                    <a:pt x="450" y="149"/>
                  </a:lnTo>
                  <a:lnTo>
                    <a:pt x="450" y="152"/>
                  </a:lnTo>
                  <a:lnTo>
                    <a:pt x="450" y="154"/>
                  </a:lnTo>
                  <a:lnTo>
                    <a:pt x="450" y="157"/>
                  </a:lnTo>
                  <a:lnTo>
                    <a:pt x="450" y="159"/>
                  </a:lnTo>
                  <a:lnTo>
                    <a:pt x="447" y="161"/>
                  </a:lnTo>
                  <a:lnTo>
                    <a:pt x="447" y="164"/>
                  </a:lnTo>
                  <a:lnTo>
                    <a:pt x="447" y="166"/>
                  </a:lnTo>
                  <a:lnTo>
                    <a:pt x="445" y="168"/>
                  </a:lnTo>
                  <a:lnTo>
                    <a:pt x="445" y="171"/>
                  </a:lnTo>
                  <a:lnTo>
                    <a:pt x="443" y="173"/>
                  </a:lnTo>
                  <a:lnTo>
                    <a:pt x="443" y="175"/>
                  </a:lnTo>
                  <a:moveTo>
                    <a:pt x="120" y="83"/>
                  </a:moveTo>
                  <a:lnTo>
                    <a:pt x="120" y="83"/>
                  </a:lnTo>
                  <a:lnTo>
                    <a:pt x="122" y="81"/>
                  </a:lnTo>
                  <a:lnTo>
                    <a:pt x="122" y="78"/>
                  </a:lnTo>
                  <a:lnTo>
                    <a:pt x="124" y="78"/>
                  </a:lnTo>
                  <a:lnTo>
                    <a:pt x="124" y="76"/>
                  </a:lnTo>
                  <a:lnTo>
                    <a:pt x="122" y="74"/>
                  </a:lnTo>
                  <a:lnTo>
                    <a:pt x="122" y="74"/>
                  </a:lnTo>
                  <a:lnTo>
                    <a:pt x="120" y="76"/>
                  </a:lnTo>
                  <a:lnTo>
                    <a:pt x="117" y="76"/>
                  </a:lnTo>
                  <a:lnTo>
                    <a:pt x="117" y="76"/>
                  </a:lnTo>
                  <a:lnTo>
                    <a:pt x="117" y="78"/>
                  </a:lnTo>
                  <a:lnTo>
                    <a:pt x="117" y="81"/>
                  </a:lnTo>
                  <a:lnTo>
                    <a:pt x="120" y="83"/>
                  </a:lnTo>
                  <a:moveTo>
                    <a:pt x="601" y="95"/>
                  </a:moveTo>
                  <a:lnTo>
                    <a:pt x="603" y="100"/>
                  </a:lnTo>
                  <a:lnTo>
                    <a:pt x="605" y="100"/>
                  </a:lnTo>
                  <a:lnTo>
                    <a:pt x="605" y="102"/>
                  </a:lnTo>
                  <a:lnTo>
                    <a:pt x="603" y="102"/>
                  </a:lnTo>
                  <a:lnTo>
                    <a:pt x="603" y="104"/>
                  </a:lnTo>
                  <a:lnTo>
                    <a:pt x="603" y="107"/>
                  </a:lnTo>
                  <a:lnTo>
                    <a:pt x="603" y="109"/>
                  </a:lnTo>
                  <a:lnTo>
                    <a:pt x="605" y="112"/>
                  </a:lnTo>
                  <a:lnTo>
                    <a:pt x="605" y="112"/>
                  </a:lnTo>
                  <a:lnTo>
                    <a:pt x="605" y="112"/>
                  </a:lnTo>
                  <a:lnTo>
                    <a:pt x="605" y="116"/>
                  </a:lnTo>
                  <a:lnTo>
                    <a:pt x="605" y="119"/>
                  </a:lnTo>
                  <a:lnTo>
                    <a:pt x="605" y="121"/>
                  </a:lnTo>
                  <a:lnTo>
                    <a:pt x="605" y="121"/>
                  </a:lnTo>
                  <a:lnTo>
                    <a:pt x="605" y="123"/>
                  </a:lnTo>
                  <a:lnTo>
                    <a:pt x="608" y="126"/>
                  </a:lnTo>
                  <a:lnTo>
                    <a:pt x="610" y="126"/>
                  </a:lnTo>
                  <a:lnTo>
                    <a:pt x="610" y="128"/>
                  </a:lnTo>
                  <a:lnTo>
                    <a:pt x="612" y="133"/>
                  </a:lnTo>
                  <a:lnTo>
                    <a:pt x="612" y="133"/>
                  </a:lnTo>
                  <a:lnTo>
                    <a:pt x="617" y="135"/>
                  </a:lnTo>
                  <a:lnTo>
                    <a:pt x="617" y="138"/>
                  </a:lnTo>
                  <a:lnTo>
                    <a:pt x="619" y="138"/>
                  </a:lnTo>
                  <a:lnTo>
                    <a:pt x="617" y="135"/>
                  </a:lnTo>
                  <a:lnTo>
                    <a:pt x="617" y="135"/>
                  </a:lnTo>
                  <a:lnTo>
                    <a:pt x="612" y="128"/>
                  </a:lnTo>
                  <a:lnTo>
                    <a:pt x="612" y="123"/>
                  </a:lnTo>
                  <a:lnTo>
                    <a:pt x="610" y="119"/>
                  </a:lnTo>
                  <a:lnTo>
                    <a:pt x="610" y="116"/>
                  </a:lnTo>
                  <a:lnTo>
                    <a:pt x="610" y="114"/>
                  </a:lnTo>
                  <a:lnTo>
                    <a:pt x="610" y="112"/>
                  </a:lnTo>
                  <a:lnTo>
                    <a:pt x="610" y="112"/>
                  </a:lnTo>
                  <a:lnTo>
                    <a:pt x="610" y="109"/>
                  </a:lnTo>
                  <a:lnTo>
                    <a:pt x="612" y="109"/>
                  </a:lnTo>
                  <a:lnTo>
                    <a:pt x="615" y="109"/>
                  </a:lnTo>
                  <a:lnTo>
                    <a:pt x="615" y="109"/>
                  </a:lnTo>
                  <a:lnTo>
                    <a:pt x="617" y="109"/>
                  </a:lnTo>
                  <a:lnTo>
                    <a:pt x="619" y="112"/>
                  </a:lnTo>
                  <a:lnTo>
                    <a:pt x="622" y="112"/>
                  </a:lnTo>
                  <a:lnTo>
                    <a:pt x="629" y="114"/>
                  </a:lnTo>
                  <a:lnTo>
                    <a:pt x="629" y="114"/>
                  </a:lnTo>
                  <a:lnTo>
                    <a:pt x="626" y="112"/>
                  </a:lnTo>
                  <a:lnTo>
                    <a:pt x="626" y="112"/>
                  </a:lnTo>
                  <a:lnTo>
                    <a:pt x="624" y="112"/>
                  </a:lnTo>
                  <a:lnTo>
                    <a:pt x="624" y="109"/>
                  </a:lnTo>
                  <a:lnTo>
                    <a:pt x="624" y="107"/>
                  </a:lnTo>
                  <a:lnTo>
                    <a:pt x="624" y="107"/>
                  </a:lnTo>
                  <a:lnTo>
                    <a:pt x="619" y="104"/>
                  </a:lnTo>
                  <a:lnTo>
                    <a:pt x="617" y="102"/>
                  </a:lnTo>
                  <a:lnTo>
                    <a:pt x="617" y="102"/>
                  </a:lnTo>
                  <a:lnTo>
                    <a:pt x="617" y="100"/>
                  </a:lnTo>
                  <a:lnTo>
                    <a:pt x="617" y="100"/>
                  </a:lnTo>
                  <a:lnTo>
                    <a:pt x="622" y="97"/>
                  </a:lnTo>
                  <a:lnTo>
                    <a:pt x="624" y="95"/>
                  </a:lnTo>
                  <a:lnTo>
                    <a:pt x="624" y="95"/>
                  </a:lnTo>
                  <a:lnTo>
                    <a:pt x="624" y="90"/>
                  </a:lnTo>
                  <a:lnTo>
                    <a:pt x="624" y="88"/>
                  </a:lnTo>
                  <a:lnTo>
                    <a:pt x="624" y="86"/>
                  </a:lnTo>
                  <a:lnTo>
                    <a:pt x="624" y="86"/>
                  </a:lnTo>
                  <a:lnTo>
                    <a:pt x="622" y="86"/>
                  </a:lnTo>
                  <a:lnTo>
                    <a:pt x="619" y="86"/>
                  </a:lnTo>
                  <a:lnTo>
                    <a:pt x="615" y="90"/>
                  </a:lnTo>
                  <a:lnTo>
                    <a:pt x="615" y="90"/>
                  </a:lnTo>
                  <a:lnTo>
                    <a:pt x="615" y="93"/>
                  </a:lnTo>
                  <a:lnTo>
                    <a:pt x="615" y="95"/>
                  </a:lnTo>
                  <a:lnTo>
                    <a:pt x="615" y="95"/>
                  </a:lnTo>
                  <a:lnTo>
                    <a:pt x="612" y="95"/>
                  </a:lnTo>
                  <a:lnTo>
                    <a:pt x="610" y="97"/>
                  </a:lnTo>
                  <a:lnTo>
                    <a:pt x="610" y="100"/>
                  </a:lnTo>
                  <a:lnTo>
                    <a:pt x="610" y="100"/>
                  </a:lnTo>
                  <a:lnTo>
                    <a:pt x="610" y="102"/>
                  </a:lnTo>
                  <a:lnTo>
                    <a:pt x="608" y="102"/>
                  </a:lnTo>
                  <a:lnTo>
                    <a:pt x="608" y="100"/>
                  </a:lnTo>
                  <a:lnTo>
                    <a:pt x="605" y="100"/>
                  </a:lnTo>
                  <a:lnTo>
                    <a:pt x="605" y="100"/>
                  </a:lnTo>
                  <a:lnTo>
                    <a:pt x="605" y="97"/>
                  </a:lnTo>
                  <a:lnTo>
                    <a:pt x="605" y="97"/>
                  </a:lnTo>
                  <a:lnTo>
                    <a:pt x="610" y="95"/>
                  </a:lnTo>
                  <a:lnTo>
                    <a:pt x="612" y="93"/>
                  </a:lnTo>
                  <a:lnTo>
                    <a:pt x="612" y="90"/>
                  </a:lnTo>
                  <a:lnTo>
                    <a:pt x="612" y="88"/>
                  </a:lnTo>
                  <a:lnTo>
                    <a:pt x="612" y="86"/>
                  </a:lnTo>
                  <a:lnTo>
                    <a:pt x="612" y="83"/>
                  </a:lnTo>
                  <a:lnTo>
                    <a:pt x="610" y="81"/>
                  </a:lnTo>
                  <a:lnTo>
                    <a:pt x="610" y="81"/>
                  </a:lnTo>
                  <a:lnTo>
                    <a:pt x="610" y="78"/>
                  </a:lnTo>
                  <a:lnTo>
                    <a:pt x="610" y="78"/>
                  </a:lnTo>
                  <a:lnTo>
                    <a:pt x="612" y="74"/>
                  </a:lnTo>
                  <a:lnTo>
                    <a:pt x="612" y="74"/>
                  </a:lnTo>
                  <a:lnTo>
                    <a:pt x="612" y="71"/>
                  </a:lnTo>
                  <a:lnTo>
                    <a:pt x="610" y="74"/>
                  </a:lnTo>
                  <a:lnTo>
                    <a:pt x="610" y="74"/>
                  </a:lnTo>
                  <a:lnTo>
                    <a:pt x="605" y="76"/>
                  </a:lnTo>
                  <a:lnTo>
                    <a:pt x="605" y="81"/>
                  </a:lnTo>
                  <a:lnTo>
                    <a:pt x="603" y="83"/>
                  </a:lnTo>
                  <a:lnTo>
                    <a:pt x="603" y="83"/>
                  </a:lnTo>
                  <a:lnTo>
                    <a:pt x="603" y="86"/>
                  </a:lnTo>
                  <a:lnTo>
                    <a:pt x="603" y="88"/>
                  </a:lnTo>
                  <a:lnTo>
                    <a:pt x="601" y="93"/>
                  </a:lnTo>
                  <a:lnTo>
                    <a:pt x="601" y="95"/>
                  </a:lnTo>
                  <a:moveTo>
                    <a:pt x="617" y="76"/>
                  </a:moveTo>
                  <a:lnTo>
                    <a:pt x="619" y="76"/>
                  </a:lnTo>
                  <a:lnTo>
                    <a:pt x="622" y="74"/>
                  </a:lnTo>
                  <a:lnTo>
                    <a:pt x="622" y="71"/>
                  </a:lnTo>
                  <a:lnTo>
                    <a:pt x="624" y="67"/>
                  </a:lnTo>
                  <a:lnTo>
                    <a:pt x="622" y="64"/>
                  </a:lnTo>
                  <a:lnTo>
                    <a:pt x="622" y="64"/>
                  </a:lnTo>
                  <a:lnTo>
                    <a:pt x="619" y="64"/>
                  </a:lnTo>
                  <a:lnTo>
                    <a:pt x="617" y="67"/>
                  </a:lnTo>
                  <a:lnTo>
                    <a:pt x="615" y="71"/>
                  </a:lnTo>
                  <a:lnTo>
                    <a:pt x="617" y="74"/>
                  </a:lnTo>
                  <a:lnTo>
                    <a:pt x="617" y="76"/>
                  </a:lnTo>
                  <a:moveTo>
                    <a:pt x="25" y="67"/>
                  </a:moveTo>
                  <a:lnTo>
                    <a:pt x="23" y="67"/>
                  </a:lnTo>
                  <a:lnTo>
                    <a:pt x="18" y="62"/>
                  </a:lnTo>
                  <a:lnTo>
                    <a:pt x="18" y="62"/>
                  </a:lnTo>
                  <a:lnTo>
                    <a:pt x="18" y="62"/>
                  </a:lnTo>
                  <a:lnTo>
                    <a:pt x="16" y="60"/>
                  </a:lnTo>
                  <a:lnTo>
                    <a:pt x="14" y="57"/>
                  </a:lnTo>
                  <a:lnTo>
                    <a:pt x="11" y="57"/>
                  </a:lnTo>
                  <a:lnTo>
                    <a:pt x="11" y="60"/>
                  </a:lnTo>
                  <a:lnTo>
                    <a:pt x="11" y="60"/>
                  </a:lnTo>
                  <a:lnTo>
                    <a:pt x="11" y="60"/>
                  </a:lnTo>
                  <a:lnTo>
                    <a:pt x="11" y="62"/>
                  </a:lnTo>
                  <a:lnTo>
                    <a:pt x="14" y="62"/>
                  </a:lnTo>
                  <a:lnTo>
                    <a:pt x="16" y="64"/>
                  </a:lnTo>
                  <a:lnTo>
                    <a:pt x="16" y="64"/>
                  </a:lnTo>
                  <a:lnTo>
                    <a:pt x="21" y="67"/>
                  </a:lnTo>
                  <a:lnTo>
                    <a:pt x="23" y="69"/>
                  </a:lnTo>
                  <a:lnTo>
                    <a:pt x="23" y="69"/>
                  </a:lnTo>
                  <a:lnTo>
                    <a:pt x="25" y="69"/>
                  </a:lnTo>
                  <a:lnTo>
                    <a:pt x="25" y="67"/>
                  </a:lnTo>
                  <a:lnTo>
                    <a:pt x="25" y="67"/>
                  </a:lnTo>
                  <a:moveTo>
                    <a:pt x="417" y="48"/>
                  </a:moveTo>
                  <a:lnTo>
                    <a:pt x="417" y="48"/>
                  </a:lnTo>
                  <a:lnTo>
                    <a:pt x="417" y="50"/>
                  </a:lnTo>
                  <a:lnTo>
                    <a:pt x="419" y="50"/>
                  </a:lnTo>
                  <a:lnTo>
                    <a:pt x="419" y="48"/>
                  </a:lnTo>
                  <a:lnTo>
                    <a:pt x="417" y="45"/>
                  </a:lnTo>
                  <a:lnTo>
                    <a:pt x="417" y="45"/>
                  </a:lnTo>
                  <a:lnTo>
                    <a:pt x="417" y="48"/>
                  </a:lnTo>
                  <a:moveTo>
                    <a:pt x="421" y="34"/>
                  </a:moveTo>
                  <a:lnTo>
                    <a:pt x="421" y="34"/>
                  </a:lnTo>
                  <a:lnTo>
                    <a:pt x="421" y="31"/>
                  </a:lnTo>
                  <a:lnTo>
                    <a:pt x="419" y="31"/>
                  </a:lnTo>
                  <a:lnTo>
                    <a:pt x="417" y="31"/>
                  </a:lnTo>
                  <a:lnTo>
                    <a:pt x="417" y="31"/>
                  </a:lnTo>
                  <a:lnTo>
                    <a:pt x="419" y="34"/>
                  </a:lnTo>
                  <a:lnTo>
                    <a:pt x="421" y="34"/>
                  </a:lnTo>
                  <a:moveTo>
                    <a:pt x="256" y="112"/>
                  </a:moveTo>
                  <a:lnTo>
                    <a:pt x="259" y="114"/>
                  </a:lnTo>
                  <a:lnTo>
                    <a:pt x="261" y="116"/>
                  </a:lnTo>
                  <a:lnTo>
                    <a:pt x="261" y="116"/>
                  </a:lnTo>
                  <a:lnTo>
                    <a:pt x="263" y="116"/>
                  </a:lnTo>
                  <a:lnTo>
                    <a:pt x="263" y="119"/>
                  </a:lnTo>
                  <a:lnTo>
                    <a:pt x="263" y="119"/>
                  </a:lnTo>
                  <a:lnTo>
                    <a:pt x="261" y="119"/>
                  </a:lnTo>
                  <a:lnTo>
                    <a:pt x="261" y="121"/>
                  </a:lnTo>
                  <a:lnTo>
                    <a:pt x="261" y="123"/>
                  </a:lnTo>
                  <a:lnTo>
                    <a:pt x="261" y="123"/>
                  </a:lnTo>
                  <a:lnTo>
                    <a:pt x="261" y="128"/>
                  </a:lnTo>
                  <a:lnTo>
                    <a:pt x="261" y="128"/>
                  </a:lnTo>
                  <a:lnTo>
                    <a:pt x="261" y="128"/>
                  </a:lnTo>
                  <a:lnTo>
                    <a:pt x="263" y="130"/>
                  </a:lnTo>
                  <a:lnTo>
                    <a:pt x="266" y="133"/>
                  </a:lnTo>
                  <a:lnTo>
                    <a:pt x="266" y="133"/>
                  </a:lnTo>
                  <a:lnTo>
                    <a:pt x="263" y="133"/>
                  </a:lnTo>
                  <a:lnTo>
                    <a:pt x="263" y="135"/>
                  </a:lnTo>
                  <a:lnTo>
                    <a:pt x="263" y="135"/>
                  </a:lnTo>
                  <a:lnTo>
                    <a:pt x="263" y="138"/>
                  </a:lnTo>
                  <a:lnTo>
                    <a:pt x="263" y="138"/>
                  </a:lnTo>
                  <a:lnTo>
                    <a:pt x="266" y="138"/>
                  </a:lnTo>
                  <a:lnTo>
                    <a:pt x="271" y="138"/>
                  </a:lnTo>
                  <a:lnTo>
                    <a:pt x="273" y="140"/>
                  </a:lnTo>
                  <a:lnTo>
                    <a:pt x="275" y="142"/>
                  </a:lnTo>
                  <a:lnTo>
                    <a:pt x="275" y="145"/>
                  </a:lnTo>
                  <a:lnTo>
                    <a:pt x="278" y="145"/>
                  </a:lnTo>
                  <a:lnTo>
                    <a:pt x="278" y="149"/>
                  </a:lnTo>
                  <a:lnTo>
                    <a:pt x="278" y="152"/>
                  </a:lnTo>
                  <a:lnTo>
                    <a:pt x="278" y="154"/>
                  </a:lnTo>
                  <a:lnTo>
                    <a:pt x="275" y="157"/>
                  </a:lnTo>
                  <a:lnTo>
                    <a:pt x="275" y="159"/>
                  </a:lnTo>
                  <a:lnTo>
                    <a:pt x="278" y="159"/>
                  </a:lnTo>
                  <a:lnTo>
                    <a:pt x="278" y="161"/>
                  </a:lnTo>
                  <a:lnTo>
                    <a:pt x="278" y="166"/>
                  </a:lnTo>
                  <a:lnTo>
                    <a:pt x="280" y="175"/>
                  </a:lnTo>
                  <a:lnTo>
                    <a:pt x="280" y="180"/>
                  </a:lnTo>
                  <a:lnTo>
                    <a:pt x="280" y="183"/>
                  </a:lnTo>
                  <a:lnTo>
                    <a:pt x="282" y="183"/>
                  </a:lnTo>
                  <a:lnTo>
                    <a:pt x="282" y="180"/>
                  </a:lnTo>
                  <a:lnTo>
                    <a:pt x="282" y="180"/>
                  </a:lnTo>
                  <a:lnTo>
                    <a:pt x="287" y="180"/>
                  </a:lnTo>
                  <a:lnTo>
                    <a:pt x="289" y="183"/>
                  </a:lnTo>
                  <a:lnTo>
                    <a:pt x="289" y="183"/>
                  </a:lnTo>
                  <a:lnTo>
                    <a:pt x="289" y="183"/>
                  </a:lnTo>
                  <a:lnTo>
                    <a:pt x="292" y="180"/>
                  </a:lnTo>
                  <a:lnTo>
                    <a:pt x="292" y="180"/>
                  </a:lnTo>
                  <a:lnTo>
                    <a:pt x="292" y="180"/>
                  </a:lnTo>
                  <a:lnTo>
                    <a:pt x="292" y="183"/>
                  </a:lnTo>
                  <a:lnTo>
                    <a:pt x="292" y="183"/>
                  </a:lnTo>
                  <a:lnTo>
                    <a:pt x="294" y="183"/>
                  </a:lnTo>
                  <a:lnTo>
                    <a:pt x="296" y="183"/>
                  </a:lnTo>
                  <a:lnTo>
                    <a:pt x="299" y="180"/>
                  </a:lnTo>
                  <a:lnTo>
                    <a:pt x="301" y="180"/>
                  </a:lnTo>
                  <a:lnTo>
                    <a:pt x="304" y="183"/>
                  </a:lnTo>
                  <a:lnTo>
                    <a:pt x="306" y="183"/>
                  </a:lnTo>
                  <a:lnTo>
                    <a:pt x="306" y="180"/>
                  </a:lnTo>
                  <a:lnTo>
                    <a:pt x="308" y="180"/>
                  </a:lnTo>
                  <a:lnTo>
                    <a:pt x="308" y="180"/>
                  </a:lnTo>
                  <a:lnTo>
                    <a:pt x="311" y="183"/>
                  </a:lnTo>
                  <a:lnTo>
                    <a:pt x="311" y="183"/>
                  </a:lnTo>
                  <a:lnTo>
                    <a:pt x="311" y="190"/>
                  </a:lnTo>
                  <a:lnTo>
                    <a:pt x="311" y="192"/>
                  </a:lnTo>
                  <a:lnTo>
                    <a:pt x="308" y="194"/>
                  </a:lnTo>
                  <a:lnTo>
                    <a:pt x="311" y="194"/>
                  </a:lnTo>
                  <a:lnTo>
                    <a:pt x="311" y="194"/>
                  </a:lnTo>
                  <a:lnTo>
                    <a:pt x="313" y="194"/>
                  </a:lnTo>
                  <a:lnTo>
                    <a:pt x="315" y="190"/>
                  </a:lnTo>
                  <a:lnTo>
                    <a:pt x="318" y="190"/>
                  </a:lnTo>
                  <a:lnTo>
                    <a:pt x="320" y="190"/>
                  </a:lnTo>
                  <a:lnTo>
                    <a:pt x="325" y="190"/>
                  </a:lnTo>
                  <a:lnTo>
                    <a:pt x="327" y="190"/>
                  </a:lnTo>
                  <a:lnTo>
                    <a:pt x="332" y="185"/>
                  </a:lnTo>
                  <a:lnTo>
                    <a:pt x="332" y="180"/>
                  </a:lnTo>
                  <a:lnTo>
                    <a:pt x="339" y="187"/>
                  </a:lnTo>
                  <a:lnTo>
                    <a:pt x="339" y="187"/>
                  </a:lnTo>
                  <a:lnTo>
                    <a:pt x="339" y="187"/>
                  </a:lnTo>
                  <a:lnTo>
                    <a:pt x="341" y="185"/>
                  </a:lnTo>
                  <a:lnTo>
                    <a:pt x="341" y="185"/>
                  </a:lnTo>
                  <a:lnTo>
                    <a:pt x="344" y="187"/>
                  </a:lnTo>
                  <a:lnTo>
                    <a:pt x="344" y="187"/>
                  </a:lnTo>
                  <a:lnTo>
                    <a:pt x="344" y="190"/>
                  </a:lnTo>
                  <a:lnTo>
                    <a:pt x="344" y="192"/>
                  </a:lnTo>
                  <a:lnTo>
                    <a:pt x="344" y="192"/>
                  </a:lnTo>
                  <a:lnTo>
                    <a:pt x="346" y="192"/>
                  </a:lnTo>
                  <a:lnTo>
                    <a:pt x="348" y="190"/>
                  </a:lnTo>
                  <a:lnTo>
                    <a:pt x="351" y="187"/>
                  </a:lnTo>
                  <a:lnTo>
                    <a:pt x="353" y="187"/>
                  </a:lnTo>
                  <a:lnTo>
                    <a:pt x="353" y="190"/>
                  </a:lnTo>
                  <a:lnTo>
                    <a:pt x="353" y="190"/>
                  </a:lnTo>
                  <a:lnTo>
                    <a:pt x="355" y="190"/>
                  </a:lnTo>
                  <a:lnTo>
                    <a:pt x="355" y="190"/>
                  </a:lnTo>
                  <a:lnTo>
                    <a:pt x="355" y="187"/>
                  </a:lnTo>
                  <a:lnTo>
                    <a:pt x="355" y="190"/>
                  </a:lnTo>
                  <a:lnTo>
                    <a:pt x="355" y="190"/>
                  </a:lnTo>
                  <a:lnTo>
                    <a:pt x="355" y="192"/>
                  </a:lnTo>
                  <a:lnTo>
                    <a:pt x="358" y="192"/>
                  </a:lnTo>
                  <a:lnTo>
                    <a:pt x="358" y="192"/>
                  </a:lnTo>
                  <a:lnTo>
                    <a:pt x="360" y="190"/>
                  </a:lnTo>
                  <a:lnTo>
                    <a:pt x="360" y="192"/>
                  </a:lnTo>
                  <a:lnTo>
                    <a:pt x="360" y="197"/>
                  </a:lnTo>
                  <a:lnTo>
                    <a:pt x="360" y="206"/>
                  </a:lnTo>
                  <a:lnTo>
                    <a:pt x="362" y="206"/>
                  </a:lnTo>
                  <a:lnTo>
                    <a:pt x="362" y="206"/>
                  </a:lnTo>
                  <a:lnTo>
                    <a:pt x="372" y="201"/>
                  </a:lnTo>
                  <a:lnTo>
                    <a:pt x="386" y="194"/>
                  </a:lnTo>
                  <a:lnTo>
                    <a:pt x="386" y="192"/>
                  </a:lnTo>
                  <a:lnTo>
                    <a:pt x="388" y="192"/>
                  </a:lnTo>
                  <a:lnTo>
                    <a:pt x="388" y="190"/>
                  </a:lnTo>
                  <a:lnTo>
                    <a:pt x="391" y="187"/>
                  </a:lnTo>
                  <a:lnTo>
                    <a:pt x="391" y="185"/>
                  </a:lnTo>
                  <a:lnTo>
                    <a:pt x="391" y="185"/>
                  </a:lnTo>
                  <a:lnTo>
                    <a:pt x="393" y="185"/>
                  </a:lnTo>
                  <a:lnTo>
                    <a:pt x="391" y="183"/>
                  </a:lnTo>
                  <a:lnTo>
                    <a:pt x="391" y="183"/>
                  </a:lnTo>
                  <a:lnTo>
                    <a:pt x="391" y="180"/>
                  </a:lnTo>
                  <a:lnTo>
                    <a:pt x="391" y="183"/>
                  </a:lnTo>
                  <a:lnTo>
                    <a:pt x="393" y="180"/>
                  </a:lnTo>
                  <a:lnTo>
                    <a:pt x="393" y="180"/>
                  </a:lnTo>
                  <a:lnTo>
                    <a:pt x="393" y="178"/>
                  </a:lnTo>
                  <a:lnTo>
                    <a:pt x="395" y="175"/>
                  </a:lnTo>
                  <a:lnTo>
                    <a:pt x="395" y="173"/>
                  </a:lnTo>
                  <a:lnTo>
                    <a:pt x="393" y="173"/>
                  </a:lnTo>
                  <a:lnTo>
                    <a:pt x="393" y="173"/>
                  </a:lnTo>
                  <a:lnTo>
                    <a:pt x="395" y="173"/>
                  </a:lnTo>
                  <a:lnTo>
                    <a:pt x="395" y="173"/>
                  </a:lnTo>
                  <a:lnTo>
                    <a:pt x="395" y="173"/>
                  </a:lnTo>
                  <a:lnTo>
                    <a:pt x="398" y="171"/>
                  </a:lnTo>
                  <a:lnTo>
                    <a:pt x="398" y="171"/>
                  </a:lnTo>
                  <a:lnTo>
                    <a:pt x="398" y="168"/>
                  </a:lnTo>
                  <a:lnTo>
                    <a:pt x="398" y="166"/>
                  </a:lnTo>
                  <a:lnTo>
                    <a:pt x="395" y="166"/>
                  </a:lnTo>
                  <a:lnTo>
                    <a:pt x="395" y="164"/>
                  </a:lnTo>
                  <a:lnTo>
                    <a:pt x="393" y="164"/>
                  </a:lnTo>
                  <a:lnTo>
                    <a:pt x="395" y="161"/>
                  </a:lnTo>
                  <a:lnTo>
                    <a:pt x="395" y="159"/>
                  </a:lnTo>
                  <a:lnTo>
                    <a:pt x="395" y="159"/>
                  </a:lnTo>
                  <a:lnTo>
                    <a:pt x="395" y="157"/>
                  </a:lnTo>
                  <a:lnTo>
                    <a:pt x="395" y="157"/>
                  </a:lnTo>
                  <a:lnTo>
                    <a:pt x="393" y="157"/>
                  </a:lnTo>
                  <a:lnTo>
                    <a:pt x="393" y="157"/>
                  </a:lnTo>
                  <a:lnTo>
                    <a:pt x="395" y="154"/>
                  </a:lnTo>
                  <a:lnTo>
                    <a:pt x="398" y="154"/>
                  </a:lnTo>
                  <a:lnTo>
                    <a:pt x="398" y="152"/>
                  </a:lnTo>
                  <a:lnTo>
                    <a:pt x="398" y="152"/>
                  </a:lnTo>
                  <a:lnTo>
                    <a:pt x="398" y="149"/>
                  </a:lnTo>
                  <a:lnTo>
                    <a:pt x="400" y="149"/>
                  </a:lnTo>
                  <a:lnTo>
                    <a:pt x="403" y="147"/>
                  </a:lnTo>
                  <a:lnTo>
                    <a:pt x="403" y="147"/>
                  </a:lnTo>
                  <a:lnTo>
                    <a:pt x="403" y="145"/>
                  </a:lnTo>
                  <a:lnTo>
                    <a:pt x="403" y="145"/>
                  </a:lnTo>
                  <a:lnTo>
                    <a:pt x="403" y="142"/>
                  </a:lnTo>
                  <a:lnTo>
                    <a:pt x="403" y="142"/>
                  </a:lnTo>
                  <a:lnTo>
                    <a:pt x="403" y="140"/>
                  </a:lnTo>
                  <a:lnTo>
                    <a:pt x="403" y="142"/>
                  </a:lnTo>
                  <a:lnTo>
                    <a:pt x="403" y="145"/>
                  </a:lnTo>
                  <a:lnTo>
                    <a:pt x="405" y="145"/>
                  </a:lnTo>
                  <a:lnTo>
                    <a:pt x="405" y="145"/>
                  </a:lnTo>
                  <a:lnTo>
                    <a:pt x="407" y="145"/>
                  </a:lnTo>
                  <a:lnTo>
                    <a:pt x="407" y="142"/>
                  </a:lnTo>
                  <a:lnTo>
                    <a:pt x="410" y="140"/>
                  </a:lnTo>
                  <a:lnTo>
                    <a:pt x="412" y="138"/>
                  </a:lnTo>
                  <a:lnTo>
                    <a:pt x="414" y="138"/>
                  </a:lnTo>
                  <a:lnTo>
                    <a:pt x="417" y="135"/>
                  </a:lnTo>
                  <a:lnTo>
                    <a:pt x="417" y="135"/>
                  </a:lnTo>
                  <a:lnTo>
                    <a:pt x="417" y="135"/>
                  </a:lnTo>
                  <a:lnTo>
                    <a:pt x="417" y="133"/>
                  </a:lnTo>
                  <a:lnTo>
                    <a:pt x="417" y="130"/>
                  </a:lnTo>
                  <a:lnTo>
                    <a:pt x="417" y="126"/>
                  </a:lnTo>
                  <a:lnTo>
                    <a:pt x="417" y="123"/>
                  </a:lnTo>
                  <a:lnTo>
                    <a:pt x="417" y="114"/>
                  </a:lnTo>
                  <a:lnTo>
                    <a:pt x="417" y="112"/>
                  </a:lnTo>
                  <a:lnTo>
                    <a:pt x="421" y="104"/>
                  </a:lnTo>
                  <a:lnTo>
                    <a:pt x="421" y="102"/>
                  </a:lnTo>
                  <a:lnTo>
                    <a:pt x="424" y="102"/>
                  </a:lnTo>
                  <a:lnTo>
                    <a:pt x="424" y="102"/>
                  </a:lnTo>
                  <a:lnTo>
                    <a:pt x="426" y="100"/>
                  </a:lnTo>
                  <a:lnTo>
                    <a:pt x="426" y="97"/>
                  </a:lnTo>
                  <a:lnTo>
                    <a:pt x="424" y="97"/>
                  </a:lnTo>
                  <a:lnTo>
                    <a:pt x="424" y="95"/>
                  </a:lnTo>
                  <a:lnTo>
                    <a:pt x="426" y="97"/>
                  </a:lnTo>
                  <a:lnTo>
                    <a:pt x="428" y="100"/>
                  </a:lnTo>
                  <a:lnTo>
                    <a:pt x="428" y="100"/>
                  </a:lnTo>
                  <a:lnTo>
                    <a:pt x="431" y="100"/>
                  </a:lnTo>
                  <a:lnTo>
                    <a:pt x="436" y="102"/>
                  </a:lnTo>
                  <a:lnTo>
                    <a:pt x="440" y="102"/>
                  </a:lnTo>
                  <a:lnTo>
                    <a:pt x="443" y="100"/>
                  </a:lnTo>
                  <a:lnTo>
                    <a:pt x="445" y="97"/>
                  </a:lnTo>
                  <a:lnTo>
                    <a:pt x="443" y="97"/>
                  </a:lnTo>
                  <a:lnTo>
                    <a:pt x="440" y="95"/>
                  </a:lnTo>
                  <a:lnTo>
                    <a:pt x="438" y="90"/>
                  </a:lnTo>
                  <a:lnTo>
                    <a:pt x="433" y="88"/>
                  </a:lnTo>
                  <a:lnTo>
                    <a:pt x="428" y="83"/>
                  </a:lnTo>
                  <a:lnTo>
                    <a:pt x="426" y="83"/>
                  </a:lnTo>
                  <a:lnTo>
                    <a:pt x="424" y="78"/>
                  </a:lnTo>
                  <a:lnTo>
                    <a:pt x="424" y="76"/>
                  </a:lnTo>
                  <a:lnTo>
                    <a:pt x="421" y="76"/>
                  </a:lnTo>
                  <a:lnTo>
                    <a:pt x="421" y="76"/>
                  </a:lnTo>
                  <a:lnTo>
                    <a:pt x="424" y="76"/>
                  </a:lnTo>
                  <a:lnTo>
                    <a:pt x="424" y="74"/>
                  </a:lnTo>
                  <a:lnTo>
                    <a:pt x="424" y="74"/>
                  </a:lnTo>
                  <a:lnTo>
                    <a:pt x="426" y="71"/>
                  </a:lnTo>
                  <a:lnTo>
                    <a:pt x="426" y="71"/>
                  </a:lnTo>
                  <a:lnTo>
                    <a:pt x="426" y="69"/>
                  </a:lnTo>
                  <a:lnTo>
                    <a:pt x="426" y="69"/>
                  </a:lnTo>
                  <a:lnTo>
                    <a:pt x="424" y="64"/>
                  </a:lnTo>
                  <a:lnTo>
                    <a:pt x="421" y="62"/>
                  </a:lnTo>
                  <a:lnTo>
                    <a:pt x="421" y="62"/>
                  </a:lnTo>
                  <a:lnTo>
                    <a:pt x="419" y="60"/>
                  </a:lnTo>
                  <a:lnTo>
                    <a:pt x="419" y="60"/>
                  </a:lnTo>
                  <a:lnTo>
                    <a:pt x="419" y="60"/>
                  </a:lnTo>
                  <a:lnTo>
                    <a:pt x="419" y="60"/>
                  </a:lnTo>
                  <a:lnTo>
                    <a:pt x="419" y="57"/>
                  </a:lnTo>
                  <a:lnTo>
                    <a:pt x="419" y="57"/>
                  </a:lnTo>
                  <a:lnTo>
                    <a:pt x="417" y="57"/>
                  </a:lnTo>
                  <a:lnTo>
                    <a:pt x="419" y="57"/>
                  </a:lnTo>
                  <a:lnTo>
                    <a:pt x="417" y="55"/>
                  </a:lnTo>
                  <a:lnTo>
                    <a:pt x="417" y="55"/>
                  </a:lnTo>
                  <a:lnTo>
                    <a:pt x="417" y="52"/>
                  </a:lnTo>
                  <a:lnTo>
                    <a:pt x="414" y="52"/>
                  </a:lnTo>
                  <a:lnTo>
                    <a:pt x="414" y="52"/>
                  </a:lnTo>
                  <a:lnTo>
                    <a:pt x="412" y="52"/>
                  </a:lnTo>
                  <a:lnTo>
                    <a:pt x="412" y="50"/>
                  </a:lnTo>
                  <a:lnTo>
                    <a:pt x="412" y="48"/>
                  </a:lnTo>
                  <a:lnTo>
                    <a:pt x="412" y="45"/>
                  </a:lnTo>
                  <a:lnTo>
                    <a:pt x="410" y="43"/>
                  </a:lnTo>
                  <a:lnTo>
                    <a:pt x="407" y="43"/>
                  </a:lnTo>
                  <a:lnTo>
                    <a:pt x="407" y="43"/>
                  </a:lnTo>
                  <a:lnTo>
                    <a:pt x="410" y="43"/>
                  </a:lnTo>
                  <a:lnTo>
                    <a:pt x="412" y="43"/>
                  </a:lnTo>
                  <a:lnTo>
                    <a:pt x="414" y="43"/>
                  </a:lnTo>
                  <a:lnTo>
                    <a:pt x="414" y="41"/>
                  </a:lnTo>
                  <a:lnTo>
                    <a:pt x="414" y="41"/>
                  </a:lnTo>
                  <a:lnTo>
                    <a:pt x="417" y="41"/>
                  </a:lnTo>
                  <a:lnTo>
                    <a:pt x="417" y="43"/>
                  </a:lnTo>
                  <a:lnTo>
                    <a:pt x="419" y="41"/>
                  </a:lnTo>
                  <a:lnTo>
                    <a:pt x="419" y="41"/>
                  </a:lnTo>
                  <a:lnTo>
                    <a:pt x="419" y="41"/>
                  </a:lnTo>
                  <a:lnTo>
                    <a:pt x="419" y="38"/>
                  </a:lnTo>
                  <a:lnTo>
                    <a:pt x="419" y="38"/>
                  </a:lnTo>
                  <a:lnTo>
                    <a:pt x="417" y="36"/>
                  </a:lnTo>
                  <a:lnTo>
                    <a:pt x="417" y="36"/>
                  </a:lnTo>
                  <a:lnTo>
                    <a:pt x="417" y="34"/>
                  </a:lnTo>
                  <a:lnTo>
                    <a:pt x="414" y="34"/>
                  </a:lnTo>
                  <a:lnTo>
                    <a:pt x="414" y="31"/>
                  </a:lnTo>
                  <a:lnTo>
                    <a:pt x="417" y="31"/>
                  </a:lnTo>
                  <a:lnTo>
                    <a:pt x="417" y="31"/>
                  </a:lnTo>
                  <a:lnTo>
                    <a:pt x="414" y="31"/>
                  </a:lnTo>
                  <a:lnTo>
                    <a:pt x="414" y="31"/>
                  </a:lnTo>
                  <a:lnTo>
                    <a:pt x="410" y="29"/>
                  </a:lnTo>
                  <a:lnTo>
                    <a:pt x="407" y="26"/>
                  </a:lnTo>
                  <a:lnTo>
                    <a:pt x="403" y="26"/>
                  </a:lnTo>
                  <a:lnTo>
                    <a:pt x="400" y="26"/>
                  </a:lnTo>
                  <a:lnTo>
                    <a:pt x="398" y="26"/>
                  </a:lnTo>
                  <a:lnTo>
                    <a:pt x="398" y="26"/>
                  </a:lnTo>
                  <a:lnTo>
                    <a:pt x="398" y="26"/>
                  </a:lnTo>
                  <a:lnTo>
                    <a:pt x="395" y="26"/>
                  </a:lnTo>
                  <a:lnTo>
                    <a:pt x="393" y="29"/>
                  </a:lnTo>
                  <a:lnTo>
                    <a:pt x="393" y="26"/>
                  </a:lnTo>
                  <a:lnTo>
                    <a:pt x="393" y="26"/>
                  </a:lnTo>
                  <a:lnTo>
                    <a:pt x="391" y="26"/>
                  </a:lnTo>
                  <a:lnTo>
                    <a:pt x="388" y="26"/>
                  </a:lnTo>
                  <a:lnTo>
                    <a:pt x="386" y="29"/>
                  </a:lnTo>
                  <a:lnTo>
                    <a:pt x="384" y="26"/>
                  </a:lnTo>
                  <a:lnTo>
                    <a:pt x="384" y="26"/>
                  </a:lnTo>
                  <a:lnTo>
                    <a:pt x="384" y="26"/>
                  </a:lnTo>
                  <a:lnTo>
                    <a:pt x="381" y="29"/>
                  </a:lnTo>
                  <a:lnTo>
                    <a:pt x="381" y="31"/>
                  </a:lnTo>
                  <a:lnTo>
                    <a:pt x="379" y="34"/>
                  </a:lnTo>
                  <a:lnTo>
                    <a:pt x="379" y="36"/>
                  </a:lnTo>
                  <a:lnTo>
                    <a:pt x="379" y="36"/>
                  </a:lnTo>
                  <a:lnTo>
                    <a:pt x="379" y="41"/>
                  </a:lnTo>
                  <a:lnTo>
                    <a:pt x="379" y="43"/>
                  </a:lnTo>
                  <a:lnTo>
                    <a:pt x="379" y="45"/>
                  </a:lnTo>
                  <a:lnTo>
                    <a:pt x="379" y="45"/>
                  </a:lnTo>
                  <a:lnTo>
                    <a:pt x="379" y="48"/>
                  </a:lnTo>
                  <a:lnTo>
                    <a:pt x="379" y="48"/>
                  </a:lnTo>
                  <a:lnTo>
                    <a:pt x="379" y="50"/>
                  </a:lnTo>
                  <a:lnTo>
                    <a:pt x="379" y="52"/>
                  </a:lnTo>
                  <a:lnTo>
                    <a:pt x="379" y="52"/>
                  </a:lnTo>
                  <a:lnTo>
                    <a:pt x="377" y="55"/>
                  </a:lnTo>
                  <a:lnTo>
                    <a:pt x="377" y="55"/>
                  </a:lnTo>
                  <a:lnTo>
                    <a:pt x="374" y="55"/>
                  </a:lnTo>
                  <a:lnTo>
                    <a:pt x="374" y="55"/>
                  </a:lnTo>
                  <a:lnTo>
                    <a:pt x="372" y="55"/>
                  </a:lnTo>
                  <a:lnTo>
                    <a:pt x="372" y="57"/>
                  </a:lnTo>
                  <a:lnTo>
                    <a:pt x="370" y="60"/>
                  </a:lnTo>
                  <a:lnTo>
                    <a:pt x="370" y="60"/>
                  </a:lnTo>
                  <a:lnTo>
                    <a:pt x="372" y="60"/>
                  </a:lnTo>
                  <a:lnTo>
                    <a:pt x="370" y="62"/>
                  </a:lnTo>
                  <a:lnTo>
                    <a:pt x="370" y="62"/>
                  </a:lnTo>
                  <a:lnTo>
                    <a:pt x="370" y="64"/>
                  </a:lnTo>
                  <a:lnTo>
                    <a:pt x="372" y="64"/>
                  </a:lnTo>
                  <a:lnTo>
                    <a:pt x="372" y="64"/>
                  </a:lnTo>
                  <a:lnTo>
                    <a:pt x="372" y="67"/>
                  </a:lnTo>
                  <a:lnTo>
                    <a:pt x="372" y="67"/>
                  </a:lnTo>
                  <a:lnTo>
                    <a:pt x="372" y="67"/>
                  </a:lnTo>
                  <a:lnTo>
                    <a:pt x="370" y="69"/>
                  </a:lnTo>
                  <a:lnTo>
                    <a:pt x="367" y="71"/>
                  </a:lnTo>
                  <a:lnTo>
                    <a:pt x="365" y="71"/>
                  </a:lnTo>
                  <a:lnTo>
                    <a:pt x="365" y="71"/>
                  </a:lnTo>
                  <a:lnTo>
                    <a:pt x="365" y="74"/>
                  </a:lnTo>
                  <a:lnTo>
                    <a:pt x="365" y="76"/>
                  </a:lnTo>
                  <a:lnTo>
                    <a:pt x="365" y="76"/>
                  </a:lnTo>
                  <a:lnTo>
                    <a:pt x="367" y="76"/>
                  </a:lnTo>
                  <a:lnTo>
                    <a:pt x="365" y="78"/>
                  </a:lnTo>
                  <a:lnTo>
                    <a:pt x="365" y="78"/>
                  </a:lnTo>
                  <a:lnTo>
                    <a:pt x="365" y="78"/>
                  </a:lnTo>
                  <a:lnTo>
                    <a:pt x="365" y="81"/>
                  </a:lnTo>
                  <a:lnTo>
                    <a:pt x="365" y="81"/>
                  </a:lnTo>
                  <a:lnTo>
                    <a:pt x="362" y="83"/>
                  </a:lnTo>
                  <a:lnTo>
                    <a:pt x="362" y="86"/>
                  </a:lnTo>
                  <a:lnTo>
                    <a:pt x="362" y="88"/>
                  </a:lnTo>
                  <a:lnTo>
                    <a:pt x="360" y="88"/>
                  </a:lnTo>
                  <a:lnTo>
                    <a:pt x="360" y="88"/>
                  </a:lnTo>
                  <a:lnTo>
                    <a:pt x="358" y="88"/>
                  </a:lnTo>
                  <a:lnTo>
                    <a:pt x="355" y="88"/>
                  </a:lnTo>
                  <a:lnTo>
                    <a:pt x="353" y="88"/>
                  </a:lnTo>
                  <a:lnTo>
                    <a:pt x="351" y="88"/>
                  </a:lnTo>
                  <a:lnTo>
                    <a:pt x="348" y="88"/>
                  </a:lnTo>
                  <a:lnTo>
                    <a:pt x="348" y="90"/>
                  </a:lnTo>
                  <a:lnTo>
                    <a:pt x="346" y="90"/>
                  </a:lnTo>
                  <a:lnTo>
                    <a:pt x="346" y="93"/>
                  </a:lnTo>
                  <a:lnTo>
                    <a:pt x="344" y="93"/>
                  </a:lnTo>
                  <a:lnTo>
                    <a:pt x="341" y="90"/>
                  </a:lnTo>
                  <a:lnTo>
                    <a:pt x="341" y="90"/>
                  </a:lnTo>
                  <a:lnTo>
                    <a:pt x="339" y="90"/>
                  </a:lnTo>
                  <a:lnTo>
                    <a:pt x="334" y="88"/>
                  </a:lnTo>
                  <a:lnTo>
                    <a:pt x="334" y="88"/>
                  </a:lnTo>
                  <a:lnTo>
                    <a:pt x="332" y="88"/>
                  </a:lnTo>
                  <a:lnTo>
                    <a:pt x="332" y="88"/>
                  </a:lnTo>
                  <a:lnTo>
                    <a:pt x="332" y="88"/>
                  </a:lnTo>
                  <a:lnTo>
                    <a:pt x="332" y="86"/>
                  </a:lnTo>
                  <a:lnTo>
                    <a:pt x="332" y="86"/>
                  </a:lnTo>
                  <a:lnTo>
                    <a:pt x="322" y="86"/>
                  </a:lnTo>
                  <a:lnTo>
                    <a:pt x="320" y="88"/>
                  </a:lnTo>
                  <a:lnTo>
                    <a:pt x="318" y="88"/>
                  </a:lnTo>
                  <a:lnTo>
                    <a:pt x="318" y="88"/>
                  </a:lnTo>
                  <a:lnTo>
                    <a:pt x="318" y="90"/>
                  </a:lnTo>
                  <a:lnTo>
                    <a:pt x="315" y="93"/>
                  </a:lnTo>
                  <a:lnTo>
                    <a:pt x="315" y="95"/>
                  </a:lnTo>
                  <a:lnTo>
                    <a:pt x="313" y="95"/>
                  </a:lnTo>
                  <a:lnTo>
                    <a:pt x="311" y="97"/>
                  </a:lnTo>
                  <a:lnTo>
                    <a:pt x="311" y="97"/>
                  </a:lnTo>
                  <a:lnTo>
                    <a:pt x="308" y="97"/>
                  </a:lnTo>
                  <a:lnTo>
                    <a:pt x="306" y="97"/>
                  </a:lnTo>
                  <a:lnTo>
                    <a:pt x="306" y="97"/>
                  </a:lnTo>
                  <a:lnTo>
                    <a:pt x="304" y="97"/>
                  </a:lnTo>
                  <a:lnTo>
                    <a:pt x="301" y="97"/>
                  </a:lnTo>
                  <a:lnTo>
                    <a:pt x="296" y="97"/>
                  </a:lnTo>
                  <a:lnTo>
                    <a:pt x="296" y="97"/>
                  </a:lnTo>
                  <a:lnTo>
                    <a:pt x="294" y="97"/>
                  </a:lnTo>
                  <a:lnTo>
                    <a:pt x="289" y="100"/>
                  </a:lnTo>
                  <a:lnTo>
                    <a:pt x="287" y="100"/>
                  </a:lnTo>
                  <a:lnTo>
                    <a:pt x="285" y="100"/>
                  </a:lnTo>
                  <a:lnTo>
                    <a:pt x="285" y="100"/>
                  </a:lnTo>
                  <a:lnTo>
                    <a:pt x="282" y="97"/>
                  </a:lnTo>
                  <a:lnTo>
                    <a:pt x="280" y="93"/>
                  </a:lnTo>
                  <a:lnTo>
                    <a:pt x="278" y="93"/>
                  </a:lnTo>
                  <a:lnTo>
                    <a:pt x="278" y="93"/>
                  </a:lnTo>
                  <a:lnTo>
                    <a:pt x="275" y="90"/>
                  </a:lnTo>
                  <a:lnTo>
                    <a:pt x="275" y="90"/>
                  </a:lnTo>
                  <a:lnTo>
                    <a:pt x="273" y="88"/>
                  </a:lnTo>
                  <a:lnTo>
                    <a:pt x="273" y="86"/>
                  </a:lnTo>
                  <a:lnTo>
                    <a:pt x="271" y="86"/>
                  </a:lnTo>
                  <a:lnTo>
                    <a:pt x="271" y="81"/>
                  </a:lnTo>
                  <a:lnTo>
                    <a:pt x="268" y="81"/>
                  </a:lnTo>
                  <a:lnTo>
                    <a:pt x="268" y="81"/>
                  </a:lnTo>
                  <a:lnTo>
                    <a:pt x="268" y="78"/>
                  </a:lnTo>
                  <a:lnTo>
                    <a:pt x="271" y="76"/>
                  </a:lnTo>
                  <a:lnTo>
                    <a:pt x="266" y="78"/>
                  </a:lnTo>
                  <a:lnTo>
                    <a:pt x="263" y="81"/>
                  </a:lnTo>
                  <a:lnTo>
                    <a:pt x="263" y="83"/>
                  </a:lnTo>
                  <a:lnTo>
                    <a:pt x="261" y="86"/>
                  </a:lnTo>
                  <a:lnTo>
                    <a:pt x="259" y="88"/>
                  </a:lnTo>
                  <a:lnTo>
                    <a:pt x="259" y="88"/>
                  </a:lnTo>
                  <a:lnTo>
                    <a:pt x="259" y="93"/>
                  </a:lnTo>
                  <a:lnTo>
                    <a:pt x="259" y="93"/>
                  </a:lnTo>
                  <a:lnTo>
                    <a:pt x="261" y="93"/>
                  </a:lnTo>
                  <a:lnTo>
                    <a:pt x="261" y="93"/>
                  </a:lnTo>
                  <a:lnTo>
                    <a:pt x="259" y="93"/>
                  </a:lnTo>
                  <a:lnTo>
                    <a:pt x="259" y="93"/>
                  </a:lnTo>
                  <a:lnTo>
                    <a:pt x="256" y="95"/>
                  </a:lnTo>
                  <a:lnTo>
                    <a:pt x="256" y="100"/>
                  </a:lnTo>
                  <a:lnTo>
                    <a:pt x="256" y="102"/>
                  </a:lnTo>
                  <a:lnTo>
                    <a:pt x="256" y="107"/>
                  </a:lnTo>
                  <a:lnTo>
                    <a:pt x="256" y="112"/>
                  </a:lnTo>
                  <a:moveTo>
                    <a:pt x="183" y="239"/>
                  </a:moveTo>
                  <a:lnTo>
                    <a:pt x="186" y="237"/>
                  </a:lnTo>
                  <a:lnTo>
                    <a:pt x="188" y="237"/>
                  </a:lnTo>
                  <a:lnTo>
                    <a:pt x="190" y="239"/>
                  </a:lnTo>
                  <a:lnTo>
                    <a:pt x="190" y="239"/>
                  </a:lnTo>
                  <a:lnTo>
                    <a:pt x="193" y="239"/>
                  </a:lnTo>
                  <a:lnTo>
                    <a:pt x="193" y="242"/>
                  </a:lnTo>
                  <a:lnTo>
                    <a:pt x="193" y="242"/>
                  </a:lnTo>
                  <a:lnTo>
                    <a:pt x="195" y="242"/>
                  </a:lnTo>
                  <a:lnTo>
                    <a:pt x="195" y="239"/>
                  </a:lnTo>
                  <a:lnTo>
                    <a:pt x="195" y="239"/>
                  </a:lnTo>
                  <a:lnTo>
                    <a:pt x="198" y="225"/>
                  </a:lnTo>
                  <a:lnTo>
                    <a:pt x="198" y="220"/>
                  </a:lnTo>
                  <a:lnTo>
                    <a:pt x="198" y="218"/>
                  </a:lnTo>
                  <a:lnTo>
                    <a:pt x="198" y="216"/>
                  </a:lnTo>
                  <a:lnTo>
                    <a:pt x="198" y="206"/>
                  </a:lnTo>
                  <a:lnTo>
                    <a:pt x="198" y="206"/>
                  </a:lnTo>
                  <a:lnTo>
                    <a:pt x="200" y="201"/>
                  </a:lnTo>
                  <a:lnTo>
                    <a:pt x="200" y="199"/>
                  </a:lnTo>
                  <a:lnTo>
                    <a:pt x="200" y="199"/>
                  </a:lnTo>
                  <a:lnTo>
                    <a:pt x="198" y="197"/>
                  </a:lnTo>
                  <a:lnTo>
                    <a:pt x="198" y="194"/>
                  </a:lnTo>
                  <a:lnTo>
                    <a:pt x="200" y="192"/>
                  </a:lnTo>
                  <a:lnTo>
                    <a:pt x="200" y="190"/>
                  </a:lnTo>
                  <a:lnTo>
                    <a:pt x="202" y="187"/>
                  </a:lnTo>
                  <a:lnTo>
                    <a:pt x="202" y="187"/>
                  </a:lnTo>
                  <a:lnTo>
                    <a:pt x="202" y="185"/>
                  </a:lnTo>
                  <a:lnTo>
                    <a:pt x="202" y="185"/>
                  </a:lnTo>
                  <a:lnTo>
                    <a:pt x="200" y="180"/>
                  </a:lnTo>
                  <a:lnTo>
                    <a:pt x="195" y="171"/>
                  </a:lnTo>
                  <a:lnTo>
                    <a:pt x="193" y="171"/>
                  </a:lnTo>
                  <a:lnTo>
                    <a:pt x="190" y="168"/>
                  </a:lnTo>
                  <a:lnTo>
                    <a:pt x="188" y="168"/>
                  </a:lnTo>
                  <a:lnTo>
                    <a:pt x="183" y="168"/>
                  </a:lnTo>
                  <a:lnTo>
                    <a:pt x="183" y="168"/>
                  </a:lnTo>
                  <a:lnTo>
                    <a:pt x="181" y="168"/>
                  </a:lnTo>
                  <a:lnTo>
                    <a:pt x="181" y="171"/>
                  </a:lnTo>
                  <a:lnTo>
                    <a:pt x="179" y="173"/>
                  </a:lnTo>
                  <a:lnTo>
                    <a:pt x="179" y="173"/>
                  </a:lnTo>
                  <a:lnTo>
                    <a:pt x="176" y="173"/>
                  </a:lnTo>
                  <a:lnTo>
                    <a:pt x="176" y="173"/>
                  </a:lnTo>
                  <a:lnTo>
                    <a:pt x="176" y="171"/>
                  </a:lnTo>
                  <a:lnTo>
                    <a:pt x="176" y="168"/>
                  </a:lnTo>
                  <a:lnTo>
                    <a:pt x="179" y="166"/>
                  </a:lnTo>
                  <a:lnTo>
                    <a:pt x="181" y="166"/>
                  </a:lnTo>
                  <a:lnTo>
                    <a:pt x="181" y="164"/>
                  </a:lnTo>
                  <a:lnTo>
                    <a:pt x="181" y="164"/>
                  </a:lnTo>
                  <a:lnTo>
                    <a:pt x="179" y="161"/>
                  </a:lnTo>
                  <a:lnTo>
                    <a:pt x="179" y="161"/>
                  </a:lnTo>
                  <a:lnTo>
                    <a:pt x="176" y="159"/>
                  </a:lnTo>
                  <a:lnTo>
                    <a:pt x="174" y="157"/>
                  </a:lnTo>
                  <a:lnTo>
                    <a:pt x="174" y="154"/>
                  </a:lnTo>
                  <a:lnTo>
                    <a:pt x="174" y="152"/>
                  </a:lnTo>
                  <a:lnTo>
                    <a:pt x="174" y="147"/>
                  </a:lnTo>
                  <a:lnTo>
                    <a:pt x="174" y="145"/>
                  </a:lnTo>
                  <a:lnTo>
                    <a:pt x="172" y="142"/>
                  </a:lnTo>
                  <a:lnTo>
                    <a:pt x="172" y="140"/>
                  </a:lnTo>
                  <a:lnTo>
                    <a:pt x="169" y="140"/>
                  </a:lnTo>
                  <a:lnTo>
                    <a:pt x="169" y="140"/>
                  </a:lnTo>
                  <a:lnTo>
                    <a:pt x="167" y="140"/>
                  </a:lnTo>
                  <a:lnTo>
                    <a:pt x="165" y="140"/>
                  </a:lnTo>
                  <a:lnTo>
                    <a:pt x="160" y="138"/>
                  </a:lnTo>
                  <a:lnTo>
                    <a:pt x="157" y="135"/>
                  </a:lnTo>
                  <a:lnTo>
                    <a:pt x="157" y="135"/>
                  </a:lnTo>
                  <a:lnTo>
                    <a:pt x="155" y="130"/>
                  </a:lnTo>
                  <a:lnTo>
                    <a:pt x="155" y="130"/>
                  </a:lnTo>
                  <a:lnTo>
                    <a:pt x="157" y="128"/>
                  </a:lnTo>
                  <a:lnTo>
                    <a:pt x="155" y="128"/>
                  </a:lnTo>
                  <a:lnTo>
                    <a:pt x="155" y="126"/>
                  </a:lnTo>
                  <a:lnTo>
                    <a:pt x="155" y="123"/>
                  </a:lnTo>
                  <a:lnTo>
                    <a:pt x="155" y="123"/>
                  </a:lnTo>
                  <a:lnTo>
                    <a:pt x="155" y="123"/>
                  </a:lnTo>
                  <a:lnTo>
                    <a:pt x="157" y="121"/>
                  </a:lnTo>
                  <a:lnTo>
                    <a:pt x="160" y="119"/>
                  </a:lnTo>
                  <a:lnTo>
                    <a:pt x="162" y="119"/>
                  </a:lnTo>
                  <a:lnTo>
                    <a:pt x="160" y="114"/>
                  </a:lnTo>
                  <a:lnTo>
                    <a:pt x="160" y="112"/>
                  </a:lnTo>
                  <a:lnTo>
                    <a:pt x="157" y="112"/>
                  </a:lnTo>
                  <a:lnTo>
                    <a:pt x="155" y="109"/>
                  </a:lnTo>
                  <a:lnTo>
                    <a:pt x="155" y="109"/>
                  </a:lnTo>
                  <a:lnTo>
                    <a:pt x="153" y="107"/>
                  </a:lnTo>
                  <a:lnTo>
                    <a:pt x="153" y="109"/>
                  </a:lnTo>
                  <a:lnTo>
                    <a:pt x="148" y="109"/>
                  </a:lnTo>
                  <a:lnTo>
                    <a:pt x="148" y="112"/>
                  </a:lnTo>
                  <a:lnTo>
                    <a:pt x="146" y="114"/>
                  </a:lnTo>
                  <a:lnTo>
                    <a:pt x="143" y="114"/>
                  </a:lnTo>
                  <a:lnTo>
                    <a:pt x="139" y="114"/>
                  </a:lnTo>
                  <a:lnTo>
                    <a:pt x="143" y="112"/>
                  </a:lnTo>
                  <a:lnTo>
                    <a:pt x="148" y="109"/>
                  </a:lnTo>
                  <a:lnTo>
                    <a:pt x="148" y="109"/>
                  </a:lnTo>
                  <a:lnTo>
                    <a:pt x="148" y="107"/>
                  </a:lnTo>
                  <a:lnTo>
                    <a:pt x="146" y="104"/>
                  </a:lnTo>
                  <a:lnTo>
                    <a:pt x="143" y="104"/>
                  </a:lnTo>
                  <a:lnTo>
                    <a:pt x="139" y="102"/>
                  </a:lnTo>
                  <a:lnTo>
                    <a:pt x="136" y="102"/>
                  </a:lnTo>
                  <a:lnTo>
                    <a:pt x="136" y="102"/>
                  </a:lnTo>
                  <a:lnTo>
                    <a:pt x="132" y="97"/>
                  </a:lnTo>
                  <a:lnTo>
                    <a:pt x="132" y="97"/>
                  </a:lnTo>
                  <a:lnTo>
                    <a:pt x="132" y="95"/>
                  </a:lnTo>
                  <a:lnTo>
                    <a:pt x="132" y="93"/>
                  </a:lnTo>
                  <a:lnTo>
                    <a:pt x="129" y="90"/>
                  </a:lnTo>
                  <a:lnTo>
                    <a:pt x="129" y="88"/>
                  </a:lnTo>
                  <a:lnTo>
                    <a:pt x="124" y="86"/>
                  </a:lnTo>
                  <a:lnTo>
                    <a:pt x="122" y="83"/>
                  </a:lnTo>
                  <a:lnTo>
                    <a:pt x="120" y="83"/>
                  </a:lnTo>
                  <a:lnTo>
                    <a:pt x="117" y="83"/>
                  </a:lnTo>
                  <a:lnTo>
                    <a:pt x="117" y="81"/>
                  </a:lnTo>
                  <a:lnTo>
                    <a:pt x="115" y="78"/>
                  </a:lnTo>
                  <a:lnTo>
                    <a:pt x="115" y="76"/>
                  </a:lnTo>
                  <a:lnTo>
                    <a:pt x="113" y="74"/>
                  </a:lnTo>
                  <a:lnTo>
                    <a:pt x="110" y="71"/>
                  </a:lnTo>
                  <a:lnTo>
                    <a:pt x="108" y="71"/>
                  </a:lnTo>
                  <a:lnTo>
                    <a:pt x="108" y="71"/>
                  </a:lnTo>
                  <a:lnTo>
                    <a:pt x="106" y="71"/>
                  </a:lnTo>
                  <a:lnTo>
                    <a:pt x="106" y="71"/>
                  </a:lnTo>
                  <a:lnTo>
                    <a:pt x="106" y="74"/>
                  </a:lnTo>
                  <a:lnTo>
                    <a:pt x="108" y="76"/>
                  </a:lnTo>
                  <a:lnTo>
                    <a:pt x="108" y="78"/>
                  </a:lnTo>
                  <a:lnTo>
                    <a:pt x="106" y="76"/>
                  </a:lnTo>
                  <a:lnTo>
                    <a:pt x="103" y="74"/>
                  </a:lnTo>
                  <a:lnTo>
                    <a:pt x="101" y="74"/>
                  </a:lnTo>
                  <a:lnTo>
                    <a:pt x="101" y="71"/>
                  </a:lnTo>
                  <a:lnTo>
                    <a:pt x="99" y="71"/>
                  </a:lnTo>
                  <a:lnTo>
                    <a:pt x="99" y="69"/>
                  </a:lnTo>
                  <a:lnTo>
                    <a:pt x="96" y="67"/>
                  </a:lnTo>
                  <a:lnTo>
                    <a:pt x="96" y="67"/>
                  </a:lnTo>
                  <a:lnTo>
                    <a:pt x="94" y="62"/>
                  </a:lnTo>
                  <a:lnTo>
                    <a:pt x="91" y="60"/>
                  </a:lnTo>
                  <a:lnTo>
                    <a:pt x="89" y="57"/>
                  </a:lnTo>
                  <a:lnTo>
                    <a:pt x="89" y="55"/>
                  </a:lnTo>
                  <a:lnTo>
                    <a:pt x="84" y="52"/>
                  </a:lnTo>
                  <a:lnTo>
                    <a:pt x="82" y="48"/>
                  </a:lnTo>
                  <a:lnTo>
                    <a:pt x="75" y="43"/>
                  </a:lnTo>
                  <a:lnTo>
                    <a:pt x="68" y="41"/>
                  </a:lnTo>
                  <a:lnTo>
                    <a:pt x="68" y="38"/>
                  </a:lnTo>
                  <a:lnTo>
                    <a:pt x="66" y="38"/>
                  </a:lnTo>
                  <a:lnTo>
                    <a:pt x="66" y="36"/>
                  </a:lnTo>
                  <a:lnTo>
                    <a:pt x="66" y="36"/>
                  </a:lnTo>
                  <a:lnTo>
                    <a:pt x="63" y="34"/>
                  </a:lnTo>
                  <a:lnTo>
                    <a:pt x="58" y="31"/>
                  </a:lnTo>
                  <a:lnTo>
                    <a:pt x="56" y="31"/>
                  </a:lnTo>
                  <a:lnTo>
                    <a:pt x="56" y="26"/>
                  </a:lnTo>
                  <a:lnTo>
                    <a:pt x="56" y="26"/>
                  </a:lnTo>
                  <a:lnTo>
                    <a:pt x="51" y="22"/>
                  </a:lnTo>
                  <a:lnTo>
                    <a:pt x="51" y="19"/>
                  </a:lnTo>
                  <a:lnTo>
                    <a:pt x="51" y="17"/>
                  </a:lnTo>
                  <a:lnTo>
                    <a:pt x="49" y="15"/>
                  </a:lnTo>
                  <a:lnTo>
                    <a:pt x="47" y="12"/>
                  </a:lnTo>
                  <a:lnTo>
                    <a:pt x="44" y="10"/>
                  </a:lnTo>
                  <a:lnTo>
                    <a:pt x="42" y="10"/>
                  </a:lnTo>
                  <a:lnTo>
                    <a:pt x="42" y="8"/>
                  </a:lnTo>
                  <a:lnTo>
                    <a:pt x="42" y="8"/>
                  </a:lnTo>
                  <a:lnTo>
                    <a:pt x="37" y="10"/>
                  </a:lnTo>
                  <a:lnTo>
                    <a:pt x="35" y="8"/>
                  </a:lnTo>
                  <a:lnTo>
                    <a:pt x="33" y="8"/>
                  </a:lnTo>
                  <a:lnTo>
                    <a:pt x="30" y="8"/>
                  </a:lnTo>
                  <a:lnTo>
                    <a:pt x="25" y="8"/>
                  </a:lnTo>
                  <a:lnTo>
                    <a:pt x="23" y="8"/>
                  </a:lnTo>
                  <a:lnTo>
                    <a:pt x="18" y="8"/>
                  </a:lnTo>
                  <a:lnTo>
                    <a:pt x="16" y="8"/>
                  </a:lnTo>
                  <a:lnTo>
                    <a:pt x="14" y="5"/>
                  </a:lnTo>
                  <a:lnTo>
                    <a:pt x="11" y="3"/>
                  </a:lnTo>
                  <a:lnTo>
                    <a:pt x="9" y="0"/>
                  </a:lnTo>
                  <a:lnTo>
                    <a:pt x="7" y="0"/>
                  </a:lnTo>
                  <a:lnTo>
                    <a:pt x="4" y="0"/>
                  </a:lnTo>
                  <a:lnTo>
                    <a:pt x="2" y="0"/>
                  </a:lnTo>
                  <a:lnTo>
                    <a:pt x="0" y="0"/>
                  </a:lnTo>
                  <a:lnTo>
                    <a:pt x="0" y="0"/>
                  </a:lnTo>
                  <a:lnTo>
                    <a:pt x="0" y="3"/>
                  </a:lnTo>
                  <a:lnTo>
                    <a:pt x="0" y="3"/>
                  </a:lnTo>
                  <a:lnTo>
                    <a:pt x="0" y="5"/>
                  </a:lnTo>
                  <a:lnTo>
                    <a:pt x="0" y="5"/>
                  </a:lnTo>
                  <a:lnTo>
                    <a:pt x="0" y="8"/>
                  </a:lnTo>
                  <a:lnTo>
                    <a:pt x="2" y="15"/>
                  </a:lnTo>
                  <a:lnTo>
                    <a:pt x="4" y="17"/>
                  </a:lnTo>
                  <a:lnTo>
                    <a:pt x="4" y="19"/>
                  </a:lnTo>
                  <a:lnTo>
                    <a:pt x="7" y="19"/>
                  </a:lnTo>
                  <a:lnTo>
                    <a:pt x="14" y="29"/>
                  </a:lnTo>
                  <a:lnTo>
                    <a:pt x="18" y="34"/>
                  </a:lnTo>
                  <a:lnTo>
                    <a:pt x="21" y="34"/>
                  </a:lnTo>
                  <a:lnTo>
                    <a:pt x="23" y="38"/>
                  </a:lnTo>
                  <a:lnTo>
                    <a:pt x="25" y="38"/>
                  </a:lnTo>
                  <a:lnTo>
                    <a:pt x="30" y="41"/>
                  </a:lnTo>
                  <a:lnTo>
                    <a:pt x="33" y="41"/>
                  </a:lnTo>
                  <a:lnTo>
                    <a:pt x="33" y="43"/>
                  </a:lnTo>
                  <a:lnTo>
                    <a:pt x="37" y="50"/>
                  </a:lnTo>
                  <a:lnTo>
                    <a:pt x="40" y="52"/>
                  </a:lnTo>
                  <a:lnTo>
                    <a:pt x="40" y="55"/>
                  </a:lnTo>
                  <a:lnTo>
                    <a:pt x="42" y="55"/>
                  </a:lnTo>
                  <a:lnTo>
                    <a:pt x="44" y="60"/>
                  </a:lnTo>
                  <a:lnTo>
                    <a:pt x="47" y="60"/>
                  </a:lnTo>
                  <a:lnTo>
                    <a:pt x="47" y="62"/>
                  </a:lnTo>
                  <a:lnTo>
                    <a:pt x="47" y="67"/>
                  </a:lnTo>
                  <a:lnTo>
                    <a:pt x="47" y="69"/>
                  </a:lnTo>
                  <a:lnTo>
                    <a:pt x="49" y="71"/>
                  </a:lnTo>
                  <a:lnTo>
                    <a:pt x="51" y="71"/>
                  </a:lnTo>
                  <a:lnTo>
                    <a:pt x="54" y="71"/>
                  </a:lnTo>
                  <a:lnTo>
                    <a:pt x="56" y="71"/>
                  </a:lnTo>
                  <a:lnTo>
                    <a:pt x="63" y="78"/>
                  </a:lnTo>
                  <a:lnTo>
                    <a:pt x="66" y="78"/>
                  </a:lnTo>
                  <a:lnTo>
                    <a:pt x="66" y="83"/>
                  </a:lnTo>
                  <a:lnTo>
                    <a:pt x="68" y="88"/>
                  </a:lnTo>
                  <a:lnTo>
                    <a:pt x="70" y="97"/>
                  </a:lnTo>
                  <a:lnTo>
                    <a:pt x="73" y="104"/>
                  </a:lnTo>
                  <a:lnTo>
                    <a:pt x="75" y="109"/>
                  </a:lnTo>
                  <a:lnTo>
                    <a:pt x="75" y="112"/>
                  </a:lnTo>
                  <a:lnTo>
                    <a:pt x="77" y="114"/>
                  </a:lnTo>
                  <a:lnTo>
                    <a:pt x="80" y="114"/>
                  </a:lnTo>
                  <a:lnTo>
                    <a:pt x="84" y="116"/>
                  </a:lnTo>
                  <a:lnTo>
                    <a:pt x="84" y="119"/>
                  </a:lnTo>
                  <a:lnTo>
                    <a:pt x="87" y="119"/>
                  </a:lnTo>
                  <a:lnTo>
                    <a:pt x="89" y="126"/>
                  </a:lnTo>
                  <a:lnTo>
                    <a:pt x="89" y="128"/>
                  </a:lnTo>
                  <a:lnTo>
                    <a:pt x="91" y="128"/>
                  </a:lnTo>
                  <a:lnTo>
                    <a:pt x="94" y="130"/>
                  </a:lnTo>
                  <a:lnTo>
                    <a:pt x="96" y="135"/>
                  </a:lnTo>
                  <a:lnTo>
                    <a:pt x="96" y="135"/>
                  </a:lnTo>
                  <a:lnTo>
                    <a:pt x="99" y="142"/>
                  </a:lnTo>
                  <a:lnTo>
                    <a:pt x="101" y="147"/>
                  </a:lnTo>
                  <a:lnTo>
                    <a:pt x="106" y="159"/>
                  </a:lnTo>
                  <a:lnTo>
                    <a:pt x="106" y="164"/>
                  </a:lnTo>
                  <a:lnTo>
                    <a:pt x="108" y="166"/>
                  </a:lnTo>
                  <a:lnTo>
                    <a:pt x="108" y="168"/>
                  </a:lnTo>
                  <a:lnTo>
                    <a:pt x="110" y="173"/>
                  </a:lnTo>
                  <a:lnTo>
                    <a:pt x="113" y="175"/>
                  </a:lnTo>
                  <a:lnTo>
                    <a:pt x="115" y="175"/>
                  </a:lnTo>
                  <a:lnTo>
                    <a:pt x="115" y="178"/>
                  </a:lnTo>
                  <a:lnTo>
                    <a:pt x="117" y="180"/>
                  </a:lnTo>
                  <a:lnTo>
                    <a:pt x="120" y="185"/>
                  </a:lnTo>
                  <a:lnTo>
                    <a:pt x="120" y="187"/>
                  </a:lnTo>
                  <a:lnTo>
                    <a:pt x="124" y="190"/>
                  </a:lnTo>
                  <a:lnTo>
                    <a:pt x="129" y="194"/>
                  </a:lnTo>
                  <a:lnTo>
                    <a:pt x="132" y="197"/>
                  </a:lnTo>
                  <a:lnTo>
                    <a:pt x="134" y="201"/>
                  </a:lnTo>
                  <a:lnTo>
                    <a:pt x="136" y="206"/>
                  </a:lnTo>
                  <a:lnTo>
                    <a:pt x="143" y="213"/>
                  </a:lnTo>
                  <a:lnTo>
                    <a:pt x="148" y="216"/>
                  </a:lnTo>
                  <a:lnTo>
                    <a:pt x="148" y="218"/>
                  </a:lnTo>
                  <a:lnTo>
                    <a:pt x="150" y="220"/>
                  </a:lnTo>
                  <a:lnTo>
                    <a:pt x="153" y="220"/>
                  </a:lnTo>
                  <a:lnTo>
                    <a:pt x="160" y="225"/>
                  </a:lnTo>
                  <a:lnTo>
                    <a:pt x="160" y="225"/>
                  </a:lnTo>
                  <a:lnTo>
                    <a:pt x="165" y="232"/>
                  </a:lnTo>
                  <a:lnTo>
                    <a:pt x="165" y="235"/>
                  </a:lnTo>
                  <a:lnTo>
                    <a:pt x="167" y="235"/>
                  </a:lnTo>
                  <a:lnTo>
                    <a:pt x="169" y="239"/>
                  </a:lnTo>
                  <a:lnTo>
                    <a:pt x="172" y="242"/>
                  </a:lnTo>
                  <a:lnTo>
                    <a:pt x="174" y="244"/>
                  </a:lnTo>
                  <a:lnTo>
                    <a:pt x="174" y="244"/>
                  </a:lnTo>
                  <a:lnTo>
                    <a:pt x="174" y="244"/>
                  </a:lnTo>
                  <a:lnTo>
                    <a:pt x="174" y="242"/>
                  </a:lnTo>
                  <a:lnTo>
                    <a:pt x="174" y="237"/>
                  </a:lnTo>
                  <a:lnTo>
                    <a:pt x="174" y="237"/>
                  </a:lnTo>
                  <a:lnTo>
                    <a:pt x="174" y="235"/>
                  </a:lnTo>
                  <a:lnTo>
                    <a:pt x="179" y="239"/>
                  </a:lnTo>
                  <a:lnTo>
                    <a:pt x="181" y="239"/>
                  </a:lnTo>
                  <a:lnTo>
                    <a:pt x="183" y="239"/>
                  </a:lnTo>
                  <a:lnTo>
                    <a:pt x="183" y="239"/>
                  </a:lnTo>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7" name="Freeform 323"/>
            <p:cNvSpPr>
              <a:spLocks/>
            </p:cNvSpPr>
            <p:nvPr userDrawn="1"/>
          </p:nvSpPr>
          <p:spPr bwMode="auto">
            <a:xfrm>
              <a:off x="4895" y="2056"/>
              <a:ext cx="514" cy="581"/>
            </a:xfrm>
            <a:custGeom>
              <a:avLst/>
              <a:gdLst>
                <a:gd name="T0" fmla="*/ 493 w 514"/>
                <a:gd name="T1" fmla="*/ 153 h 581"/>
                <a:gd name="T2" fmla="*/ 488 w 514"/>
                <a:gd name="T3" fmla="*/ 135 h 581"/>
                <a:gd name="T4" fmla="*/ 460 w 514"/>
                <a:gd name="T5" fmla="*/ 132 h 581"/>
                <a:gd name="T6" fmla="*/ 429 w 514"/>
                <a:gd name="T7" fmla="*/ 161 h 581"/>
                <a:gd name="T8" fmla="*/ 412 w 514"/>
                <a:gd name="T9" fmla="*/ 172 h 581"/>
                <a:gd name="T10" fmla="*/ 412 w 514"/>
                <a:gd name="T11" fmla="*/ 184 h 581"/>
                <a:gd name="T12" fmla="*/ 375 w 514"/>
                <a:gd name="T13" fmla="*/ 184 h 581"/>
                <a:gd name="T14" fmla="*/ 356 w 514"/>
                <a:gd name="T15" fmla="*/ 158 h 581"/>
                <a:gd name="T16" fmla="*/ 351 w 514"/>
                <a:gd name="T17" fmla="*/ 194 h 581"/>
                <a:gd name="T18" fmla="*/ 309 w 514"/>
                <a:gd name="T19" fmla="*/ 189 h 581"/>
                <a:gd name="T20" fmla="*/ 276 w 514"/>
                <a:gd name="T21" fmla="*/ 172 h 581"/>
                <a:gd name="T22" fmla="*/ 236 w 514"/>
                <a:gd name="T23" fmla="*/ 163 h 581"/>
                <a:gd name="T24" fmla="*/ 200 w 514"/>
                <a:gd name="T25" fmla="*/ 144 h 581"/>
                <a:gd name="T26" fmla="*/ 205 w 514"/>
                <a:gd name="T27" fmla="*/ 109 h 581"/>
                <a:gd name="T28" fmla="*/ 179 w 514"/>
                <a:gd name="T29" fmla="*/ 97 h 581"/>
                <a:gd name="T30" fmla="*/ 163 w 514"/>
                <a:gd name="T31" fmla="*/ 78 h 581"/>
                <a:gd name="T32" fmla="*/ 167 w 514"/>
                <a:gd name="T33" fmla="*/ 68 h 581"/>
                <a:gd name="T34" fmla="*/ 158 w 514"/>
                <a:gd name="T35" fmla="*/ 42 h 581"/>
                <a:gd name="T36" fmla="*/ 134 w 514"/>
                <a:gd name="T37" fmla="*/ 2 h 581"/>
                <a:gd name="T38" fmla="*/ 120 w 514"/>
                <a:gd name="T39" fmla="*/ 12 h 581"/>
                <a:gd name="T40" fmla="*/ 78 w 514"/>
                <a:gd name="T41" fmla="*/ 19 h 581"/>
                <a:gd name="T42" fmla="*/ 75 w 514"/>
                <a:gd name="T43" fmla="*/ 35 h 581"/>
                <a:gd name="T44" fmla="*/ 82 w 514"/>
                <a:gd name="T45" fmla="*/ 59 h 581"/>
                <a:gd name="T46" fmla="*/ 90 w 514"/>
                <a:gd name="T47" fmla="*/ 80 h 581"/>
                <a:gd name="T48" fmla="*/ 82 w 514"/>
                <a:gd name="T49" fmla="*/ 116 h 581"/>
                <a:gd name="T50" fmla="*/ 42 w 514"/>
                <a:gd name="T51" fmla="*/ 165 h 581"/>
                <a:gd name="T52" fmla="*/ 16 w 514"/>
                <a:gd name="T53" fmla="*/ 187 h 581"/>
                <a:gd name="T54" fmla="*/ 40 w 514"/>
                <a:gd name="T55" fmla="*/ 210 h 581"/>
                <a:gd name="T56" fmla="*/ 42 w 514"/>
                <a:gd name="T57" fmla="*/ 241 h 581"/>
                <a:gd name="T58" fmla="*/ 9 w 514"/>
                <a:gd name="T59" fmla="*/ 239 h 581"/>
                <a:gd name="T60" fmla="*/ 5 w 514"/>
                <a:gd name="T61" fmla="*/ 255 h 581"/>
                <a:gd name="T62" fmla="*/ 35 w 514"/>
                <a:gd name="T63" fmla="*/ 276 h 581"/>
                <a:gd name="T64" fmla="*/ 57 w 514"/>
                <a:gd name="T65" fmla="*/ 314 h 581"/>
                <a:gd name="T66" fmla="*/ 85 w 514"/>
                <a:gd name="T67" fmla="*/ 281 h 581"/>
                <a:gd name="T68" fmla="*/ 87 w 514"/>
                <a:gd name="T69" fmla="*/ 305 h 581"/>
                <a:gd name="T70" fmla="*/ 94 w 514"/>
                <a:gd name="T71" fmla="*/ 352 h 581"/>
                <a:gd name="T72" fmla="*/ 118 w 514"/>
                <a:gd name="T73" fmla="*/ 421 h 581"/>
                <a:gd name="T74" fmla="*/ 139 w 514"/>
                <a:gd name="T75" fmla="*/ 475 h 581"/>
                <a:gd name="T76" fmla="*/ 174 w 514"/>
                <a:gd name="T77" fmla="*/ 551 h 581"/>
                <a:gd name="T78" fmla="*/ 205 w 514"/>
                <a:gd name="T79" fmla="*/ 572 h 581"/>
                <a:gd name="T80" fmla="*/ 233 w 514"/>
                <a:gd name="T81" fmla="*/ 534 h 581"/>
                <a:gd name="T82" fmla="*/ 238 w 514"/>
                <a:gd name="T83" fmla="*/ 466 h 581"/>
                <a:gd name="T84" fmla="*/ 247 w 514"/>
                <a:gd name="T85" fmla="*/ 418 h 581"/>
                <a:gd name="T86" fmla="*/ 285 w 514"/>
                <a:gd name="T87" fmla="*/ 380 h 581"/>
                <a:gd name="T88" fmla="*/ 325 w 514"/>
                <a:gd name="T89" fmla="*/ 336 h 581"/>
                <a:gd name="T90" fmla="*/ 344 w 514"/>
                <a:gd name="T91" fmla="*/ 307 h 581"/>
                <a:gd name="T92" fmla="*/ 370 w 514"/>
                <a:gd name="T93" fmla="*/ 295 h 581"/>
                <a:gd name="T94" fmla="*/ 384 w 514"/>
                <a:gd name="T95" fmla="*/ 293 h 581"/>
                <a:gd name="T96" fmla="*/ 370 w 514"/>
                <a:gd name="T97" fmla="*/ 255 h 581"/>
                <a:gd name="T98" fmla="*/ 361 w 514"/>
                <a:gd name="T99" fmla="*/ 227 h 581"/>
                <a:gd name="T100" fmla="*/ 353 w 514"/>
                <a:gd name="T101" fmla="*/ 205 h 581"/>
                <a:gd name="T102" fmla="*/ 365 w 514"/>
                <a:gd name="T103" fmla="*/ 198 h 581"/>
                <a:gd name="T104" fmla="*/ 382 w 514"/>
                <a:gd name="T105" fmla="*/ 198 h 581"/>
                <a:gd name="T106" fmla="*/ 429 w 514"/>
                <a:gd name="T107" fmla="*/ 220 h 581"/>
                <a:gd name="T108" fmla="*/ 427 w 514"/>
                <a:gd name="T109" fmla="*/ 241 h 581"/>
                <a:gd name="T110" fmla="*/ 422 w 514"/>
                <a:gd name="T111" fmla="*/ 262 h 581"/>
                <a:gd name="T112" fmla="*/ 438 w 514"/>
                <a:gd name="T113" fmla="*/ 255 h 581"/>
                <a:gd name="T114" fmla="*/ 455 w 514"/>
                <a:gd name="T115" fmla="*/ 284 h 581"/>
                <a:gd name="T116" fmla="*/ 457 w 514"/>
                <a:gd name="T117" fmla="*/ 250 h 581"/>
                <a:gd name="T118" fmla="*/ 476 w 514"/>
                <a:gd name="T119" fmla="*/ 222 h 581"/>
                <a:gd name="T120" fmla="*/ 478 w 514"/>
                <a:gd name="T121" fmla="*/ 194 h 581"/>
                <a:gd name="T122" fmla="*/ 507 w 514"/>
                <a:gd name="T123" fmla="*/ 17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 h="581">
                  <a:moveTo>
                    <a:pt x="507" y="168"/>
                  </a:moveTo>
                  <a:lnTo>
                    <a:pt x="509" y="165"/>
                  </a:lnTo>
                  <a:lnTo>
                    <a:pt x="509" y="163"/>
                  </a:lnTo>
                  <a:lnTo>
                    <a:pt x="511" y="163"/>
                  </a:lnTo>
                  <a:lnTo>
                    <a:pt x="511" y="163"/>
                  </a:lnTo>
                  <a:lnTo>
                    <a:pt x="514" y="163"/>
                  </a:lnTo>
                  <a:lnTo>
                    <a:pt x="514" y="161"/>
                  </a:lnTo>
                  <a:lnTo>
                    <a:pt x="511" y="161"/>
                  </a:lnTo>
                  <a:lnTo>
                    <a:pt x="511" y="158"/>
                  </a:lnTo>
                  <a:lnTo>
                    <a:pt x="511" y="158"/>
                  </a:lnTo>
                  <a:lnTo>
                    <a:pt x="511" y="156"/>
                  </a:lnTo>
                  <a:lnTo>
                    <a:pt x="511" y="156"/>
                  </a:lnTo>
                  <a:lnTo>
                    <a:pt x="507" y="153"/>
                  </a:lnTo>
                  <a:lnTo>
                    <a:pt x="507" y="153"/>
                  </a:lnTo>
                  <a:lnTo>
                    <a:pt x="504" y="153"/>
                  </a:lnTo>
                  <a:lnTo>
                    <a:pt x="502" y="153"/>
                  </a:lnTo>
                  <a:lnTo>
                    <a:pt x="502" y="153"/>
                  </a:lnTo>
                  <a:lnTo>
                    <a:pt x="497" y="151"/>
                  </a:lnTo>
                  <a:lnTo>
                    <a:pt x="497" y="151"/>
                  </a:lnTo>
                  <a:lnTo>
                    <a:pt x="495" y="151"/>
                  </a:lnTo>
                  <a:lnTo>
                    <a:pt x="495" y="153"/>
                  </a:lnTo>
                  <a:lnTo>
                    <a:pt x="493" y="153"/>
                  </a:lnTo>
                  <a:lnTo>
                    <a:pt x="493" y="153"/>
                  </a:lnTo>
                  <a:lnTo>
                    <a:pt x="493" y="151"/>
                  </a:lnTo>
                  <a:lnTo>
                    <a:pt x="493" y="151"/>
                  </a:lnTo>
                  <a:lnTo>
                    <a:pt x="493" y="151"/>
                  </a:lnTo>
                  <a:lnTo>
                    <a:pt x="493" y="151"/>
                  </a:lnTo>
                  <a:lnTo>
                    <a:pt x="493" y="149"/>
                  </a:lnTo>
                  <a:lnTo>
                    <a:pt x="493" y="149"/>
                  </a:lnTo>
                  <a:lnTo>
                    <a:pt x="495" y="144"/>
                  </a:lnTo>
                  <a:lnTo>
                    <a:pt x="495" y="144"/>
                  </a:lnTo>
                  <a:lnTo>
                    <a:pt x="493" y="139"/>
                  </a:lnTo>
                  <a:lnTo>
                    <a:pt x="493" y="139"/>
                  </a:lnTo>
                  <a:lnTo>
                    <a:pt x="493" y="139"/>
                  </a:lnTo>
                  <a:lnTo>
                    <a:pt x="490" y="139"/>
                  </a:lnTo>
                  <a:lnTo>
                    <a:pt x="488" y="142"/>
                  </a:lnTo>
                  <a:lnTo>
                    <a:pt x="488" y="142"/>
                  </a:lnTo>
                  <a:lnTo>
                    <a:pt x="488" y="139"/>
                  </a:lnTo>
                  <a:lnTo>
                    <a:pt x="485" y="137"/>
                  </a:lnTo>
                  <a:lnTo>
                    <a:pt x="488" y="137"/>
                  </a:lnTo>
                  <a:lnTo>
                    <a:pt x="488" y="137"/>
                  </a:lnTo>
                  <a:lnTo>
                    <a:pt x="490" y="135"/>
                  </a:lnTo>
                  <a:lnTo>
                    <a:pt x="490" y="135"/>
                  </a:lnTo>
                  <a:lnTo>
                    <a:pt x="488" y="135"/>
                  </a:lnTo>
                  <a:lnTo>
                    <a:pt x="488" y="135"/>
                  </a:lnTo>
                  <a:lnTo>
                    <a:pt x="485" y="135"/>
                  </a:lnTo>
                  <a:lnTo>
                    <a:pt x="485" y="132"/>
                  </a:lnTo>
                  <a:lnTo>
                    <a:pt x="483" y="130"/>
                  </a:lnTo>
                  <a:lnTo>
                    <a:pt x="483" y="130"/>
                  </a:lnTo>
                  <a:lnTo>
                    <a:pt x="481" y="132"/>
                  </a:lnTo>
                  <a:lnTo>
                    <a:pt x="478" y="132"/>
                  </a:lnTo>
                  <a:lnTo>
                    <a:pt x="474" y="135"/>
                  </a:lnTo>
                  <a:lnTo>
                    <a:pt x="474" y="137"/>
                  </a:lnTo>
                  <a:lnTo>
                    <a:pt x="474" y="137"/>
                  </a:lnTo>
                  <a:lnTo>
                    <a:pt x="474" y="137"/>
                  </a:lnTo>
                  <a:lnTo>
                    <a:pt x="474" y="139"/>
                  </a:lnTo>
                  <a:lnTo>
                    <a:pt x="474" y="139"/>
                  </a:lnTo>
                  <a:lnTo>
                    <a:pt x="471" y="139"/>
                  </a:lnTo>
                  <a:lnTo>
                    <a:pt x="471" y="139"/>
                  </a:lnTo>
                  <a:lnTo>
                    <a:pt x="469" y="137"/>
                  </a:lnTo>
                  <a:lnTo>
                    <a:pt x="467" y="137"/>
                  </a:lnTo>
                  <a:lnTo>
                    <a:pt x="464" y="137"/>
                  </a:lnTo>
                  <a:lnTo>
                    <a:pt x="462" y="137"/>
                  </a:lnTo>
                  <a:lnTo>
                    <a:pt x="462" y="135"/>
                  </a:lnTo>
                  <a:lnTo>
                    <a:pt x="460" y="135"/>
                  </a:lnTo>
                  <a:lnTo>
                    <a:pt x="460" y="132"/>
                  </a:lnTo>
                  <a:lnTo>
                    <a:pt x="457" y="132"/>
                  </a:lnTo>
                  <a:lnTo>
                    <a:pt x="455" y="135"/>
                  </a:lnTo>
                  <a:lnTo>
                    <a:pt x="452" y="137"/>
                  </a:lnTo>
                  <a:lnTo>
                    <a:pt x="452" y="139"/>
                  </a:lnTo>
                  <a:lnTo>
                    <a:pt x="450" y="139"/>
                  </a:lnTo>
                  <a:lnTo>
                    <a:pt x="448" y="139"/>
                  </a:lnTo>
                  <a:lnTo>
                    <a:pt x="450" y="142"/>
                  </a:lnTo>
                  <a:lnTo>
                    <a:pt x="448" y="142"/>
                  </a:lnTo>
                  <a:lnTo>
                    <a:pt x="448" y="144"/>
                  </a:lnTo>
                  <a:lnTo>
                    <a:pt x="445" y="144"/>
                  </a:lnTo>
                  <a:lnTo>
                    <a:pt x="443" y="146"/>
                  </a:lnTo>
                  <a:lnTo>
                    <a:pt x="438" y="146"/>
                  </a:lnTo>
                  <a:lnTo>
                    <a:pt x="436" y="146"/>
                  </a:lnTo>
                  <a:lnTo>
                    <a:pt x="436" y="149"/>
                  </a:lnTo>
                  <a:lnTo>
                    <a:pt x="436" y="151"/>
                  </a:lnTo>
                  <a:lnTo>
                    <a:pt x="436" y="151"/>
                  </a:lnTo>
                  <a:lnTo>
                    <a:pt x="434" y="153"/>
                  </a:lnTo>
                  <a:lnTo>
                    <a:pt x="431" y="156"/>
                  </a:lnTo>
                  <a:lnTo>
                    <a:pt x="429" y="158"/>
                  </a:lnTo>
                  <a:lnTo>
                    <a:pt x="429" y="158"/>
                  </a:lnTo>
                  <a:lnTo>
                    <a:pt x="429" y="158"/>
                  </a:lnTo>
                  <a:lnTo>
                    <a:pt x="429" y="161"/>
                  </a:lnTo>
                  <a:lnTo>
                    <a:pt x="429" y="161"/>
                  </a:lnTo>
                  <a:lnTo>
                    <a:pt x="429" y="161"/>
                  </a:lnTo>
                  <a:lnTo>
                    <a:pt x="429" y="161"/>
                  </a:lnTo>
                  <a:lnTo>
                    <a:pt x="427" y="163"/>
                  </a:lnTo>
                  <a:lnTo>
                    <a:pt x="427" y="163"/>
                  </a:lnTo>
                  <a:lnTo>
                    <a:pt x="424" y="165"/>
                  </a:lnTo>
                  <a:lnTo>
                    <a:pt x="424" y="165"/>
                  </a:lnTo>
                  <a:lnTo>
                    <a:pt x="422" y="165"/>
                  </a:lnTo>
                  <a:lnTo>
                    <a:pt x="422" y="163"/>
                  </a:lnTo>
                  <a:lnTo>
                    <a:pt x="422" y="165"/>
                  </a:lnTo>
                  <a:lnTo>
                    <a:pt x="419" y="165"/>
                  </a:lnTo>
                  <a:lnTo>
                    <a:pt x="419" y="165"/>
                  </a:lnTo>
                  <a:lnTo>
                    <a:pt x="417" y="165"/>
                  </a:lnTo>
                  <a:lnTo>
                    <a:pt x="417" y="165"/>
                  </a:lnTo>
                  <a:lnTo>
                    <a:pt x="415" y="165"/>
                  </a:lnTo>
                  <a:lnTo>
                    <a:pt x="412" y="165"/>
                  </a:lnTo>
                  <a:lnTo>
                    <a:pt x="410" y="165"/>
                  </a:lnTo>
                  <a:lnTo>
                    <a:pt x="410" y="165"/>
                  </a:lnTo>
                  <a:lnTo>
                    <a:pt x="410" y="168"/>
                  </a:lnTo>
                  <a:lnTo>
                    <a:pt x="410" y="168"/>
                  </a:lnTo>
                  <a:lnTo>
                    <a:pt x="410" y="170"/>
                  </a:lnTo>
                  <a:lnTo>
                    <a:pt x="412" y="172"/>
                  </a:lnTo>
                  <a:lnTo>
                    <a:pt x="415" y="172"/>
                  </a:lnTo>
                  <a:lnTo>
                    <a:pt x="417" y="172"/>
                  </a:lnTo>
                  <a:lnTo>
                    <a:pt x="417" y="172"/>
                  </a:lnTo>
                  <a:lnTo>
                    <a:pt x="419" y="172"/>
                  </a:lnTo>
                  <a:lnTo>
                    <a:pt x="419" y="175"/>
                  </a:lnTo>
                  <a:lnTo>
                    <a:pt x="422" y="175"/>
                  </a:lnTo>
                  <a:lnTo>
                    <a:pt x="419" y="177"/>
                  </a:lnTo>
                  <a:lnTo>
                    <a:pt x="419" y="179"/>
                  </a:lnTo>
                  <a:lnTo>
                    <a:pt x="419" y="179"/>
                  </a:lnTo>
                  <a:lnTo>
                    <a:pt x="419" y="179"/>
                  </a:lnTo>
                  <a:lnTo>
                    <a:pt x="422" y="182"/>
                  </a:lnTo>
                  <a:lnTo>
                    <a:pt x="422" y="182"/>
                  </a:lnTo>
                  <a:lnTo>
                    <a:pt x="422" y="184"/>
                  </a:lnTo>
                  <a:lnTo>
                    <a:pt x="422" y="184"/>
                  </a:lnTo>
                  <a:lnTo>
                    <a:pt x="422" y="184"/>
                  </a:lnTo>
                  <a:lnTo>
                    <a:pt x="419" y="184"/>
                  </a:lnTo>
                  <a:lnTo>
                    <a:pt x="419" y="184"/>
                  </a:lnTo>
                  <a:lnTo>
                    <a:pt x="419" y="184"/>
                  </a:lnTo>
                  <a:lnTo>
                    <a:pt x="417" y="184"/>
                  </a:lnTo>
                  <a:lnTo>
                    <a:pt x="415" y="187"/>
                  </a:lnTo>
                  <a:lnTo>
                    <a:pt x="412" y="187"/>
                  </a:lnTo>
                  <a:lnTo>
                    <a:pt x="412" y="184"/>
                  </a:lnTo>
                  <a:lnTo>
                    <a:pt x="410" y="184"/>
                  </a:lnTo>
                  <a:lnTo>
                    <a:pt x="408" y="187"/>
                  </a:lnTo>
                  <a:lnTo>
                    <a:pt x="405" y="187"/>
                  </a:lnTo>
                  <a:lnTo>
                    <a:pt x="401" y="187"/>
                  </a:lnTo>
                  <a:lnTo>
                    <a:pt x="398" y="187"/>
                  </a:lnTo>
                  <a:lnTo>
                    <a:pt x="396" y="187"/>
                  </a:lnTo>
                  <a:lnTo>
                    <a:pt x="396" y="187"/>
                  </a:lnTo>
                  <a:lnTo>
                    <a:pt x="394" y="184"/>
                  </a:lnTo>
                  <a:lnTo>
                    <a:pt x="391" y="184"/>
                  </a:lnTo>
                  <a:lnTo>
                    <a:pt x="389" y="184"/>
                  </a:lnTo>
                  <a:lnTo>
                    <a:pt x="389" y="184"/>
                  </a:lnTo>
                  <a:lnTo>
                    <a:pt x="389" y="187"/>
                  </a:lnTo>
                  <a:lnTo>
                    <a:pt x="384" y="187"/>
                  </a:lnTo>
                  <a:lnTo>
                    <a:pt x="382" y="189"/>
                  </a:lnTo>
                  <a:lnTo>
                    <a:pt x="379" y="189"/>
                  </a:lnTo>
                  <a:lnTo>
                    <a:pt x="379" y="187"/>
                  </a:lnTo>
                  <a:lnTo>
                    <a:pt x="379" y="187"/>
                  </a:lnTo>
                  <a:lnTo>
                    <a:pt x="379" y="187"/>
                  </a:lnTo>
                  <a:lnTo>
                    <a:pt x="377" y="187"/>
                  </a:lnTo>
                  <a:lnTo>
                    <a:pt x="377" y="187"/>
                  </a:lnTo>
                  <a:lnTo>
                    <a:pt x="377" y="187"/>
                  </a:lnTo>
                  <a:lnTo>
                    <a:pt x="375" y="184"/>
                  </a:lnTo>
                  <a:lnTo>
                    <a:pt x="372" y="184"/>
                  </a:lnTo>
                  <a:lnTo>
                    <a:pt x="370" y="187"/>
                  </a:lnTo>
                  <a:lnTo>
                    <a:pt x="368" y="184"/>
                  </a:lnTo>
                  <a:lnTo>
                    <a:pt x="365" y="184"/>
                  </a:lnTo>
                  <a:lnTo>
                    <a:pt x="365" y="182"/>
                  </a:lnTo>
                  <a:lnTo>
                    <a:pt x="363" y="179"/>
                  </a:lnTo>
                  <a:lnTo>
                    <a:pt x="363" y="179"/>
                  </a:lnTo>
                  <a:lnTo>
                    <a:pt x="363" y="179"/>
                  </a:lnTo>
                  <a:lnTo>
                    <a:pt x="361" y="177"/>
                  </a:lnTo>
                  <a:lnTo>
                    <a:pt x="361" y="177"/>
                  </a:lnTo>
                  <a:lnTo>
                    <a:pt x="363" y="175"/>
                  </a:lnTo>
                  <a:lnTo>
                    <a:pt x="363" y="175"/>
                  </a:lnTo>
                  <a:lnTo>
                    <a:pt x="363" y="175"/>
                  </a:lnTo>
                  <a:lnTo>
                    <a:pt x="361" y="172"/>
                  </a:lnTo>
                  <a:lnTo>
                    <a:pt x="361" y="170"/>
                  </a:lnTo>
                  <a:lnTo>
                    <a:pt x="361" y="165"/>
                  </a:lnTo>
                  <a:lnTo>
                    <a:pt x="361" y="163"/>
                  </a:lnTo>
                  <a:lnTo>
                    <a:pt x="361" y="163"/>
                  </a:lnTo>
                  <a:lnTo>
                    <a:pt x="358" y="161"/>
                  </a:lnTo>
                  <a:lnTo>
                    <a:pt x="358" y="161"/>
                  </a:lnTo>
                  <a:lnTo>
                    <a:pt x="356" y="158"/>
                  </a:lnTo>
                  <a:lnTo>
                    <a:pt x="356" y="158"/>
                  </a:lnTo>
                  <a:lnTo>
                    <a:pt x="353" y="161"/>
                  </a:lnTo>
                  <a:lnTo>
                    <a:pt x="353" y="161"/>
                  </a:lnTo>
                  <a:lnTo>
                    <a:pt x="353" y="161"/>
                  </a:lnTo>
                  <a:lnTo>
                    <a:pt x="351" y="161"/>
                  </a:lnTo>
                  <a:lnTo>
                    <a:pt x="349" y="161"/>
                  </a:lnTo>
                  <a:lnTo>
                    <a:pt x="346" y="163"/>
                  </a:lnTo>
                  <a:lnTo>
                    <a:pt x="346" y="163"/>
                  </a:lnTo>
                  <a:lnTo>
                    <a:pt x="346" y="163"/>
                  </a:lnTo>
                  <a:lnTo>
                    <a:pt x="349" y="163"/>
                  </a:lnTo>
                  <a:lnTo>
                    <a:pt x="349" y="165"/>
                  </a:lnTo>
                  <a:lnTo>
                    <a:pt x="349" y="165"/>
                  </a:lnTo>
                  <a:lnTo>
                    <a:pt x="349" y="168"/>
                  </a:lnTo>
                  <a:lnTo>
                    <a:pt x="349" y="170"/>
                  </a:lnTo>
                  <a:lnTo>
                    <a:pt x="346" y="172"/>
                  </a:lnTo>
                  <a:lnTo>
                    <a:pt x="349" y="179"/>
                  </a:lnTo>
                  <a:lnTo>
                    <a:pt x="349" y="179"/>
                  </a:lnTo>
                  <a:lnTo>
                    <a:pt x="351" y="184"/>
                  </a:lnTo>
                  <a:lnTo>
                    <a:pt x="351" y="187"/>
                  </a:lnTo>
                  <a:lnTo>
                    <a:pt x="353" y="187"/>
                  </a:lnTo>
                  <a:lnTo>
                    <a:pt x="351" y="191"/>
                  </a:lnTo>
                  <a:lnTo>
                    <a:pt x="351" y="194"/>
                  </a:lnTo>
                  <a:lnTo>
                    <a:pt x="351" y="194"/>
                  </a:lnTo>
                  <a:lnTo>
                    <a:pt x="351" y="194"/>
                  </a:lnTo>
                  <a:lnTo>
                    <a:pt x="349" y="194"/>
                  </a:lnTo>
                  <a:lnTo>
                    <a:pt x="346" y="194"/>
                  </a:lnTo>
                  <a:lnTo>
                    <a:pt x="344" y="194"/>
                  </a:lnTo>
                  <a:lnTo>
                    <a:pt x="342" y="194"/>
                  </a:lnTo>
                  <a:lnTo>
                    <a:pt x="339" y="194"/>
                  </a:lnTo>
                  <a:lnTo>
                    <a:pt x="337" y="196"/>
                  </a:lnTo>
                  <a:lnTo>
                    <a:pt x="335" y="194"/>
                  </a:lnTo>
                  <a:lnTo>
                    <a:pt x="335" y="194"/>
                  </a:lnTo>
                  <a:lnTo>
                    <a:pt x="332" y="191"/>
                  </a:lnTo>
                  <a:lnTo>
                    <a:pt x="332" y="191"/>
                  </a:lnTo>
                  <a:lnTo>
                    <a:pt x="328" y="194"/>
                  </a:lnTo>
                  <a:lnTo>
                    <a:pt x="328" y="194"/>
                  </a:lnTo>
                  <a:lnTo>
                    <a:pt x="325" y="191"/>
                  </a:lnTo>
                  <a:lnTo>
                    <a:pt x="320" y="191"/>
                  </a:lnTo>
                  <a:lnTo>
                    <a:pt x="320" y="191"/>
                  </a:lnTo>
                  <a:lnTo>
                    <a:pt x="318" y="191"/>
                  </a:lnTo>
                  <a:lnTo>
                    <a:pt x="316" y="189"/>
                  </a:lnTo>
                  <a:lnTo>
                    <a:pt x="313" y="189"/>
                  </a:lnTo>
                  <a:lnTo>
                    <a:pt x="311" y="191"/>
                  </a:lnTo>
                  <a:lnTo>
                    <a:pt x="311" y="189"/>
                  </a:lnTo>
                  <a:lnTo>
                    <a:pt x="309" y="189"/>
                  </a:lnTo>
                  <a:lnTo>
                    <a:pt x="309" y="189"/>
                  </a:lnTo>
                  <a:lnTo>
                    <a:pt x="309" y="187"/>
                  </a:lnTo>
                  <a:lnTo>
                    <a:pt x="306" y="184"/>
                  </a:lnTo>
                  <a:lnTo>
                    <a:pt x="306" y="184"/>
                  </a:lnTo>
                  <a:lnTo>
                    <a:pt x="304" y="187"/>
                  </a:lnTo>
                  <a:lnTo>
                    <a:pt x="302" y="187"/>
                  </a:lnTo>
                  <a:lnTo>
                    <a:pt x="299" y="187"/>
                  </a:lnTo>
                  <a:lnTo>
                    <a:pt x="299" y="187"/>
                  </a:lnTo>
                  <a:lnTo>
                    <a:pt x="299" y="187"/>
                  </a:lnTo>
                  <a:lnTo>
                    <a:pt x="297" y="184"/>
                  </a:lnTo>
                  <a:lnTo>
                    <a:pt x="297" y="184"/>
                  </a:lnTo>
                  <a:lnTo>
                    <a:pt x="297" y="184"/>
                  </a:lnTo>
                  <a:lnTo>
                    <a:pt x="295" y="184"/>
                  </a:lnTo>
                  <a:lnTo>
                    <a:pt x="295" y="184"/>
                  </a:lnTo>
                  <a:lnTo>
                    <a:pt x="290" y="182"/>
                  </a:lnTo>
                  <a:lnTo>
                    <a:pt x="287" y="179"/>
                  </a:lnTo>
                  <a:lnTo>
                    <a:pt x="287" y="177"/>
                  </a:lnTo>
                  <a:lnTo>
                    <a:pt x="287" y="177"/>
                  </a:lnTo>
                  <a:lnTo>
                    <a:pt x="287" y="175"/>
                  </a:lnTo>
                  <a:lnTo>
                    <a:pt x="285" y="175"/>
                  </a:lnTo>
                  <a:lnTo>
                    <a:pt x="280" y="172"/>
                  </a:lnTo>
                  <a:lnTo>
                    <a:pt x="276" y="172"/>
                  </a:lnTo>
                  <a:lnTo>
                    <a:pt x="276" y="172"/>
                  </a:lnTo>
                  <a:lnTo>
                    <a:pt x="273" y="172"/>
                  </a:lnTo>
                  <a:lnTo>
                    <a:pt x="273" y="175"/>
                  </a:lnTo>
                  <a:lnTo>
                    <a:pt x="271" y="172"/>
                  </a:lnTo>
                  <a:lnTo>
                    <a:pt x="266" y="172"/>
                  </a:lnTo>
                  <a:lnTo>
                    <a:pt x="264" y="172"/>
                  </a:lnTo>
                  <a:lnTo>
                    <a:pt x="264" y="172"/>
                  </a:lnTo>
                  <a:lnTo>
                    <a:pt x="264" y="172"/>
                  </a:lnTo>
                  <a:lnTo>
                    <a:pt x="262" y="175"/>
                  </a:lnTo>
                  <a:lnTo>
                    <a:pt x="262" y="172"/>
                  </a:lnTo>
                  <a:lnTo>
                    <a:pt x="259" y="172"/>
                  </a:lnTo>
                  <a:lnTo>
                    <a:pt x="257" y="172"/>
                  </a:lnTo>
                  <a:lnTo>
                    <a:pt x="252" y="170"/>
                  </a:lnTo>
                  <a:lnTo>
                    <a:pt x="252" y="170"/>
                  </a:lnTo>
                  <a:lnTo>
                    <a:pt x="250" y="168"/>
                  </a:lnTo>
                  <a:lnTo>
                    <a:pt x="250" y="168"/>
                  </a:lnTo>
                  <a:lnTo>
                    <a:pt x="247" y="168"/>
                  </a:lnTo>
                  <a:lnTo>
                    <a:pt x="243" y="165"/>
                  </a:lnTo>
                  <a:lnTo>
                    <a:pt x="240" y="163"/>
                  </a:lnTo>
                  <a:lnTo>
                    <a:pt x="238" y="163"/>
                  </a:lnTo>
                  <a:lnTo>
                    <a:pt x="238" y="163"/>
                  </a:lnTo>
                  <a:lnTo>
                    <a:pt x="236" y="163"/>
                  </a:lnTo>
                  <a:lnTo>
                    <a:pt x="236" y="163"/>
                  </a:lnTo>
                  <a:lnTo>
                    <a:pt x="236" y="163"/>
                  </a:lnTo>
                  <a:lnTo>
                    <a:pt x="233" y="163"/>
                  </a:lnTo>
                  <a:lnTo>
                    <a:pt x="231" y="161"/>
                  </a:lnTo>
                  <a:lnTo>
                    <a:pt x="229" y="158"/>
                  </a:lnTo>
                  <a:lnTo>
                    <a:pt x="224" y="156"/>
                  </a:lnTo>
                  <a:lnTo>
                    <a:pt x="222" y="156"/>
                  </a:lnTo>
                  <a:lnTo>
                    <a:pt x="222" y="153"/>
                  </a:lnTo>
                  <a:lnTo>
                    <a:pt x="222" y="153"/>
                  </a:lnTo>
                  <a:lnTo>
                    <a:pt x="219" y="151"/>
                  </a:lnTo>
                  <a:lnTo>
                    <a:pt x="217" y="151"/>
                  </a:lnTo>
                  <a:lnTo>
                    <a:pt x="212" y="149"/>
                  </a:lnTo>
                  <a:lnTo>
                    <a:pt x="212" y="149"/>
                  </a:lnTo>
                  <a:lnTo>
                    <a:pt x="212" y="149"/>
                  </a:lnTo>
                  <a:lnTo>
                    <a:pt x="210" y="146"/>
                  </a:lnTo>
                  <a:lnTo>
                    <a:pt x="207" y="146"/>
                  </a:lnTo>
                  <a:lnTo>
                    <a:pt x="207" y="146"/>
                  </a:lnTo>
                  <a:lnTo>
                    <a:pt x="207" y="149"/>
                  </a:lnTo>
                  <a:lnTo>
                    <a:pt x="207" y="149"/>
                  </a:lnTo>
                  <a:lnTo>
                    <a:pt x="205" y="146"/>
                  </a:lnTo>
                  <a:lnTo>
                    <a:pt x="203" y="146"/>
                  </a:lnTo>
                  <a:lnTo>
                    <a:pt x="200" y="144"/>
                  </a:lnTo>
                  <a:lnTo>
                    <a:pt x="200" y="144"/>
                  </a:lnTo>
                  <a:lnTo>
                    <a:pt x="198" y="142"/>
                  </a:lnTo>
                  <a:lnTo>
                    <a:pt x="200" y="139"/>
                  </a:lnTo>
                  <a:lnTo>
                    <a:pt x="200" y="137"/>
                  </a:lnTo>
                  <a:lnTo>
                    <a:pt x="200" y="137"/>
                  </a:lnTo>
                  <a:lnTo>
                    <a:pt x="200" y="135"/>
                  </a:lnTo>
                  <a:lnTo>
                    <a:pt x="200" y="132"/>
                  </a:lnTo>
                  <a:lnTo>
                    <a:pt x="200" y="130"/>
                  </a:lnTo>
                  <a:lnTo>
                    <a:pt x="200" y="127"/>
                  </a:lnTo>
                  <a:lnTo>
                    <a:pt x="203" y="125"/>
                  </a:lnTo>
                  <a:lnTo>
                    <a:pt x="205" y="120"/>
                  </a:lnTo>
                  <a:lnTo>
                    <a:pt x="205" y="120"/>
                  </a:lnTo>
                  <a:lnTo>
                    <a:pt x="205" y="118"/>
                  </a:lnTo>
                  <a:lnTo>
                    <a:pt x="207" y="116"/>
                  </a:lnTo>
                  <a:lnTo>
                    <a:pt x="207" y="116"/>
                  </a:lnTo>
                  <a:lnTo>
                    <a:pt x="210" y="116"/>
                  </a:lnTo>
                  <a:lnTo>
                    <a:pt x="210" y="116"/>
                  </a:lnTo>
                  <a:lnTo>
                    <a:pt x="212" y="116"/>
                  </a:lnTo>
                  <a:lnTo>
                    <a:pt x="210" y="113"/>
                  </a:lnTo>
                  <a:lnTo>
                    <a:pt x="207" y="113"/>
                  </a:lnTo>
                  <a:lnTo>
                    <a:pt x="205" y="111"/>
                  </a:lnTo>
                  <a:lnTo>
                    <a:pt x="205" y="109"/>
                  </a:lnTo>
                  <a:lnTo>
                    <a:pt x="203" y="109"/>
                  </a:lnTo>
                  <a:lnTo>
                    <a:pt x="203" y="109"/>
                  </a:lnTo>
                  <a:lnTo>
                    <a:pt x="200" y="109"/>
                  </a:lnTo>
                  <a:lnTo>
                    <a:pt x="196" y="106"/>
                  </a:lnTo>
                  <a:lnTo>
                    <a:pt x="196" y="106"/>
                  </a:lnTo>
                  <a:lnTo>
                    <a:pt x="196" y="106"/>
                  </a:lnTo>
                  <a:lnTo>
                    <a:pt x="196" y="104"/>
                  </a:lnTo>
                  <a:lnTo>
                    <a:pt x="193" y="101"/>
                  </a:lnTo>
                  <a:lnTo>
                    <a:pt x="193" y="101"/>
                  </a:lnTo>
                  <a:lnTo>
                    <a:pt x="193" y="101"/>
                  </a:lnTo>
                  <a:lnTo>
                    <a:pt x="189" y="99"/>
                  </a:lnTo>
                  <a:lnTo>
                    <a:pt x="189" y="99"/>
                  </a:lnTo>
                  <a:lnTo>
                    <a:pt x="189" y="99"/>
                  </a:lnTo>
                  <a:lnTo>
                    <a:pt x="189" y="99"/>
                  </a:lnTo>
                  <a:lnTo>
                    <a:pt x="189" y="99"/>
                  </a:lnTo>
                  <a:lnTo>
                    <a:pt x="186" y="99"/>
                  </a:lnTo>
                  <a:lnTo>
                    <a:pt x="184" y="99"/>
                  </a:lnTo>
                  <a:lnTo>
                    <a:pt x="181" y="99"/>
                  </a:lnTo>
                  <a:lnTo>
                    <a:pt x="181" y="97"/>
                  </a:lnTo>
                  <a:lnTo>
                    <a:pt x="179" y="97"/>
                  </a:lnTo>
                  <a:lnTo>
                    <a:pt x="179" y="97"/>
                  </a:lnTo>
                  <a:lnTo>
                    <a:pt x="179" y="97"/>
                  </a:lnTo>
                  <a:lnTo>
                    <a:pt x="177" y="94"/>
                  </a:lnTo>
                  <a:lnTo>
                    <a:pt x="174" y="92"/>
                  </a:lnTo>
                  <a:lnTo>
                    <a:pt x="172" y="90"/>
                  </a:lnTo>
                  <a:lnTo>
                    <a:pt x="172" y="87"/>
                  </a:lnTo>
                  <a:lnTo>
                    <a:pt x="170" y="90"/>
                  </a:lnTo>
                  <a:lnTo>
                    <a:pt x="170" y="90"/>
                  </a:lnTo>
                  <a:lnTo>
                    <a:pt x="170" y="90"/>
                  </a:lnTo>
                  <a:lnTo>
                    <a:pt x="170" y="90"/>
                  </a:lnTo>
                  <a:lnTo>
                    <a:pt x="167" y="92"/>
                  </a:lnTo>
                  <a:lnTo>
                    <a:pt x="167" y="92"/>
                  </a:lnTo>
                  <a:lnTo>
                    <a:pt x="167" y="92"/>
                  </a:lnTo>
                  <a:lnTo>
                    <a:pt x="167" y="90"/>
                  </a:lnTo>
                  <a:lnTo>
                    <a:pt x="165" y="87"/>
                  </a:lnTo>
                  <a:lnTo>
                    <a:pt x="165" y="87"/>
                  </a:lnTo>
                  <a:lnTo>
                    <a:pt x="165" y="85"/>
                  </a:lnTo>
                  <a:lnTo>
                    <a:pt x="165" y="85"/>
                  </a:lnTo>
                  <a:lnTo>
                    <a:pt x="165" y="83"/>
                  </a:lnTo>
                  <a:lnTo>
                    <a:pt x="163" y="83"/>
                  </a:lnTo>
                  <a:lnTo>
                    <a:pt x="163" y="80"/>
                  </a:lnTo>
                  <a:lnTo>
                    <a:pt x="163" y="78"/>
                  </a:lnTo>
                  <a:lnTo>
                    <a:pt x="163" y="78"/>
                  </a:lnTo>
                  <a:lnTo>
                    <a:pt x="163" y="78"/>
                  </a:lnTo>
                  <a:lnTo>
                    <a:pt x="163" y="78"/>
                  </a:lnTo>
                  <a:lnTo>
                    <a:pt x="163" y="78"/>
                  </a:lnTo>
                  <a:lnTo>
                    <a:pt x="163" y="78"/>
                  </a:lnTo>
                  <a:lnTo>
                    <a:pt x="163" y="75"/>
                  </a:lnTo>
                  <a:lnTo>
                    <a:pt x="158" y="71"/>
                  </a:lnTo>
                  <a:lnTo>
                    <a:pt x="158" y="71"/>
                  </a:lnTo>
                  <a:lnTo>
                    <a:pt x="158" y="71"/>
                  </a:lnTo>
                  <a:lnTo>
                    <a:pt x="156" y="68"/>
                  </a:lnTo>
                  <a:lnTo>
                    <a:pt x="156" y="66"/>
                  </a:lnTo>
                  <a:lnTo>
                    <a:pt x="156" y="66"/>
                  </a:lnTo>
                  <a:lnTo>
                    <a:pt x="156" y="66"/>
                  </a:lnTo>
                  <a:lnTo>
                    <a:pt x="156" y="64"/>
                  </a:lnTo>
                  <a:lnTo>
                    <a:pt x="158" y="64"/>
                  </a:lnTo>
                  <a:lnTo>
                    <a:pt x="158" y="64"/>
                  </a:lnTo>
                  <a:lnTo>
                    <a:pt x="160" y="64"/>
                  </a:lnTo>
                  <a:lnTo>
                    <a:pt x="160" y="64"/>
                  </a:lnTo>
                  <a:lnTo>
                    <a:pt x="160" y="66"/>
                  </a:lnTo>
                  <a:lnTo>
                    <a:pt x="163" y="66"/>
                  </a:lnTo>
                  <a:lnTo>
                    <a:pt x="163" y="68"/>
                  </a:lnTo>
                  <a:lnTo>
                    <a:pt x="165" y="68"/>
                  </a:lnTo>
                  <a:lnTo>
                    <a:pt x="167" y="68"/>
                  </a:lnTo>
                  <a:lnTo>
                    <a:pt x="167" y="68"/>
                  </a:lnTo>
                  <a:lnTo>
                    <a:pt x="167" y="66"/>
                  </a:lnTo>
                  <a:lnTo>
                    <a:pt x="170" y="66"/>
                  </a:lnTo>
                  <a:lnTo>
                    <a:pt x="170" y="66"/>
                  </a:lnTo>
                  <a:lnTo>
                    <a:pt x="170" y="64"/>
                  </a:lnTo>
                  <a:lnTo>
                    <a:pt x="170" y="61"/>
                  </a:lnTo>
                  <a:lnTo>
                    <a:pt x="170" y="61"/>
                  </a:lnTo>
                  <a:lnTo>
                    <a:pt x="167" y="59"/>
                  </a:lnTo>
                  <a:lnTo>
                    <a:pt x="167" y="59"/>
                  </a:lnTo>
                  <a:lnTo>
                    <a:pt x="167" y="57"/>
                  </a:lnTo>
                  <a:lnTo>
                    <a:pt x="165" y="54"/>
                  </a:lnTo>
                  <a:lnTo>
                    <a:pt x="165" y="54"/>
                  </a:lnTo>
                  <a:lnTo>
                    <a:pt x="165" y="54"/>
                  </a:lnTo>
                  <a:lnTo>
                    <a:pt x="165" y="54"/>
                  </a:lnTo>
                  <a:lnTo>
                    <a:pt x="165" y="52"/>
                  </a:lnTo>
                  <a:lnTo>
                    <a:pt x="165" y="49"/>
                  </a:lnTo>
                  <a:lnTo>
                    <a:pt x="163" y="49"/>
                  </a:lnTo>
                  <a:lnTo>
                    <a:pt x="163" y="49"/>
                  </a:lnTo>
                  <a:lnTo>
                    <a:pt x="160" y="47"/>
                  </a:lnTo>
                  <a:lnTo>
                    <a:pt x="160" y="47"/>
                  </a:lnTo>
                  <a:lnTo>
                    <a:pt x="160" y="47"/>
                  </a:lnTo>
                  <a:lnTo>
                    <a:pt x="158" y="45"/>
                  </a:lnTo>
                  <a:lnTo>
                    <a:pt x="158" y="42"/>
                  </a:lnTo>
                  <a:lnTo>
                    <a:pt x="156" y="38"/>
                  </a:lnTo>
                  <a:lnTo>
                    <a:pt x="156" y="38"/>
                  </a:lnTo>
                  <a:lnTo>
                    <a:pt x="153" y="33"/>
                  </a:lnTo>
                  <a:lnTo>
                    <a:pt x="153" y="33"/>
                  </a:lnTo>
                  <a:lnTo>
                    <a:pt x="153" y="33"/>
                  </a:lnTo>
                  <a:lnTo>
                    <a:pt x="158" y="31"/>
                  </a:lnTo>
                  <a:lnTo>
                    <a:pt x="158" y="28"/>
                  </a:lnTo>
                  <a:lnTo>
                    <a:pt x="158" y="28"/>
                  </a:lnTo>
                  <a:lnTo>
                    <a:pt x="158" y="28"/>
                  </a:lnTo>
                  <a:lnTo>
                    <a:pt x="156" y="26"/>
                  </a:lnTo>
                  <a:lnTo>
                    <a:pt x="156" y="26"/>
                  </a:lnTo>
                  <a:lnTo>
                    <a:pt x="153" y="23"/>
                  </a:lnTo>
                  <a:lnTo>
                    <a:pt x="151" y="23"/>
                  </a:lnTo>
                  <a:lnTo>
                    <a:pt x="148" y="23"/>
                  </a:lnTo>
                  <a:lnTo>
                    <a:pt x="144" y="21"/>
                  </a:lnTo>
                  <a:lnTo>
                    <a:pt x="144" y="21"/>
                  </a:lnTo>
                  <a:lnTo>
                    <a:pt x="141" y="19"/>
                  </a:lnTo>
                  <a:lnTo>
                    <a:pt x="139" y="14"/>
                  </a:lnTo>
                  <a:lnTo>
                    <a:pt x="137" y="9"/>
                  </a:lnTo>
                  <a:lnTo>
                    <a:pt x="137" y="7"/>
                  </a:lnTo>
                  <a:lnTo>
                    <a:pt x="134" y="7"/>
                  </a:lnTo>
                  <a:lnTo>
                    <a:pt x="134" y="2"/>
                  </a:lnTo>
                  <a:lnTo>
                    <a:pt x="134" y="2"/>
                  </a:lnTo>
                  <a:lnTo>
                    <a:pt x="134" y="2"/>
                  </a:lnTo>
                  <a:lnTo>
                    <a:pt x="134" y="2"/>
                  </a:lnTo>
                  <a:lnTo>
                    <a:pt x="132" y="2"/>
                  </a:lnTo>
                  <a:lnTo>
                    <a:pt x="132" y="2"/>
                  </a:lnTo>
                  <a:lnTo>
                    <a:pt x="132" y="2"/>
                  </a:lnTo>
                  <a:lnTo>
                    <a:pt x="130" y="2"/>
                  </a:lnTo>
                  <a:lnTo>
                    <a:pt x="130" y="2"/>
                  </a:lnTo>
                  <a:lnTo>
                    <a:pt x="127" y="2"/>
                  </a:lnTo>
                  <a:lnTo>
                    <a:pt x="125" y="2"/>
                  </a:lnTo>
                  <a:lnTo>
                    <a:pt x="125" y="2"/>
                  </a:lnTo>
                  <a:lnTo>
                    <a:pt x="123" y="2"/>
                  </a:lnTo>
                  <a:lnTo>
                    <a:pt x="118" y="2"/>
                  </a:lnTo>
                  <a:lnTo>
                    <a:pt x="113" y="0"/>
                  </a:lnTo>
                  <a:lnTo>
                    <a:pt x="111" y="0"/>
                  </a:lnTo>
                  <a:lnTo>
                    <a:pt x="113" y="0"/>
                  </a:lnTo>
                  <a:lnTo>
                    <a:pt x="115" y="4"/>
                  </a:lnTo>
                  <a:lnTo>
                    <a:pt x="115" y="4"/>
                  </a:lnTo>
                  <a:lnTo>
                    <a:pt x="118" y="7"/>
                  </a:lnTo>
                  <a:lnTo>
                    <a:pt x="118" y="9"/>
                  </a:lnTo>
                  <a:lnTo>
                    <a:pt x="120" y="12"/>
                  </a:lnTo>
                  <a:lnTo>
                    <a:pt x="120" y="12"/>
                  </a:lnTo>
                  <a:lnTo>
                    <a:pt x="120" y="14"/>
                  </a:lnTo>
                  <a:lnTo>
                    <a:pt x="118" y="14"/>
                  </a:lnTo>
                  <a:lnTo>
                    <a:pt x="115" y="14"/>
                  </a:lnTo>
                  <a:lnTo>
                    <a:pt x="115" y="16"/>
                  </a:lnTo>
                  <a:lnTo>
                    <a:pt x="115" y="16"/>
                  </a:lnTo>
                  <a:lnTo>
                    <a:pt x="115" y="16"/>
                  </a:lnTo>
                  <a:lnTo>
                    <a:pt x="113" y="19"/>
                  </a:lnTo>
                  <a:lnTo>
                    <a:pt x="111" y="19"/>
                  </a:lnTo>
                  <a:lnTo>
                    <a:pt x="111" y="19"/>
                  </a:lnTo>
                  <a:lnTo>
                    <a:pt x="106" y="21"/>
                  </a:lnTo>
                  <a:lnTo>
                    <a:pt x="104" y="21"/>
                  </a:lnTo>
                  <a:lnTo>
                    <a:pt x="101" y="21"/>
                  </a:lnTo>
                  <a:lnTo>
                    <a:pt x="101" y="23"/>
                  </a:lnTo>
                  <a:lnTo>
                    <a:pt x="99" y="23"/>
                  </a:lnTo>
                  <a:lnTo>
                    <a:pt x="97" y="23"/>
                  </a:lnTo>
                  <a:lnTo>
                    <a:pt x="94" y="23"/>
                  </a:lnTo>
                  <a:lnTo>
                    <a:pt x="90" y="21"/>
                  </a:lnTo>
                  <a:lnTo>
                    <a:pt x="90" y="21"/>
                  </a:lnTo>
                  <a:lnTo>
                    <a:pt x="87" y="21"/>
                  </a:lnTo>
                  <a:lnTo>
                    <a:pt x="85" y="21"/>
                  </a:lnTo>
                  <a:lnTo>
                    <a:pt x="82" y="19"/>
                  </a:lnTo>
                  <a:lnTo>
                    <a:pt x="78" y="19"/>
                  </a:lnTo>
                  <a:lnTo>
                    <a:pt x="75" y="19"/>
                  </a:lnTo>
                  <a:lnTo>
                    <a:pt x="73" y="19"/>
                  </a:lnTo>
                  <a:lnTo>
                    <a:pt x="71" y="19"/>
                  </a:lnTo>
                  <a:lnTo>
                    <a:pt x="68" y="19"/>
                  </a:lnTo>
                  <a:lnTo>
                    <a:pt x="68" y="21"/>
                  </a:lnTo>
                  <a:lnTo>
                    <a:pt x="66" y="23"/>
                  </a:lnTo>
                  <a:lnTo>
                    <a:pt x="66" y="23"/>
                  </a:lnTo>
                  <a:lnTo>
                    <a:pt x="66" y="26"/>
                  </a:lnTo>
                  <a:lnTo>
                    <a:pt x="66" y="26"/>
                  </a:lnTo>
                  <a:lnTo>
                    <a:pt x="66" y="28"/>
                  </a:lnTo>
                  <a:lnTo>
                    <a:pt x="68" y="28"/>
                  </a:lnTo>
                  <a:lnTo>
                    <a:pt x="68" y="28"/>
                  </a:lnTo>
                  <a:lnTo>
                    <a:pt x="71" y="31"/>
                  </a:lnTo>
                  <a:lnTo>
                    <a:pt x="68" y="31"/>
                  </a:lnTo>
                  <a:lnTo>
                    <a:pt x="68" y="33"/>
                  </a:lnTo>
                  <a:lnTo>
                    <a:pt x="68" y="33"/>
                  </a:lnTo>
                  <a:lnTo>
                    <a:pt x="68" y="33"/>
                  </a:lnTo>
                  <a:lnTo>
                    <a:pt x="71" y="33"/>
                  </a:lnTo>
                  <a:lnTo>
                    <a:pt x="73" y="35"/>
                  </a:lnTo>
                  <a:lnTo>
                    <a:pt x="75" y="35"/>
                  </a:lnTo>
                  <a:lnTo>
                    <a:pt x="75" y="35"/>
                  </a:lnTo>
                  <a:lnTo>
                    <a:pt x="75" y="35"/>
                  </a:lnTo>
                  <a:lnTo>
                    <a:pt x="75" y="38"/>
                  </a:lnTo>
                  <a:lnTo>
                    <a:pt x="73" y="38"/>
                  </a:lnTo>
                  <a:lnTo>
                    <a:pt x="73" y="38"/>
                  </a:lnTo>
                  <a:lnTo>
                    <a:pt x="71" y="40"/>
                  </a:lnTo>
                  <a:lnTo>
                    <a:pt x="73" y="42"/>
                  </a:lnTo>
                  <a:lnTo>
                    <a:pt x="73" y="42"/>
                  </a:lnTo>
                  <a:lnTo>
                    <a:pt x="73" y="42"/>
                  </a:lnTo>
                  <a:lnTo>
                    <a:pt x="75" y="45"/>
                  </a:lnTo>
                  <a:lnTo>
                    <a:pt x="75" y="45"/>
                  </a:lnTo>
                  <a:lnTo>
                    <a:pt x="75" y="45"/>
                  </a:lnTo>
                  <a:lnTo>
                    <a:pt x="75" y="47"/>
                  </a:lnTo>
                  <a:lnTo>
                    <a:pt x="75" y="49"/>
                  </a:lnTo>
                  <a:lnTo>
                    <a:pt x="73" y="49"/>
                  </a:lnTo>
                  <a:lnTo>
                    <a:pt x="73" y="52"/>
                  </a:lnTo>
                  <a:lnTo>
                    <a:pt x="75" y="52"/>
                  </a:lnTo>
                  <a:lnTo>
                    <a:pt x="75" y="52"/>
                  </a:lnTo>
                  <a:lnTo>
                    <a:pt x="78" y="54"/>
                  </a:lnTo>
                  <a:lnTo>
                    <a:pt x="80" y="54"/>
                  </a:lnTo>
                  <a:lnTo>
                    <a:pt x="80" y="54"/>
                  </a:lnTo>
                  <a:lnTo>
                    <a:pt x="80" y="57"/>
                  </a:lnTo>
                  <a:lnTo>
                    <a:pt x="80" y="57"/>
                  </a:lnTo>
                  <a:lnTo>
                    <a:pt x="82" y="59"/>
                  </a:lnTo>
                  <a:lnTo>
                    <a:pt x="82" y="59"/>
                  </a:lnTo>
                  <a:lnTo>
                    <a:pt x="82" y="61"/>
                  </a:lnTo>
                  <a:lnTo>
                    <a:pt x="85" y="61"/>
                  </a:lnTo>
                  <a:lnTo>
                    <a:pt x="87" y="61"/>
                  </a:lnTo>
                  <a:lnTo>
                    <a:pt x="87" y="61"/>
                  </a:lnTo>
                  <a:lnTo>
                    <a:pt x="87" y="61"/>
                  </a:lnTo>
                  <a:lnTo>
                    <a:pt x="87" y="64"/>
                  </a:lnTo>
                  <a:lnTo>
                    <a:pt x="90" y="66"/>
                  </a:lnTo>
                  <a:lnTo>
                    <a:pt x="90" y="66"/>
                  </a:lnTo>
                  <a:lnTo>
                    <a:pt x="92" y="66"/>
                  </a:lnTo>
                  <a:lnTo>
                    <a:pt x="94" y="66"/>
                  </a:lnTo>
                  <a:lnTo>
                    <a:pt x="97" y="68"/>
                  </a:lnTo>
                  <a:lnTo>
                    <a:pt x="99" y="68"/>
                  </a:lnTo>
                  <a:lnTo>
                    <a:pt x="101" y="71"/>
                  </a:lnTo>
                  <a:lnTo>
                    <a:pt x="101" y="71"/>
                  </a:lnTo>
                  <a:lnTo>
                    <a:pt x="101" y="71"/>
                  </a:lnTo>
                  <a:lnTo>
                    <a:pt x="101" y="73"/>
                  </a:lnTo>
                  <a:lnTo>
                    <a:pt x="99" y="73"/>
                  </a:lnTo>
                  <a:lnTo>
                    <a:pt x="99" y="75"/>
                  </a:lnTo>
                  <a:lnTo>
                    <a:pt x="92" y="78"/>
                  </a:lnTo>
                  <a:lnTo>
                    <a:pt x="92" y="78"/>
                  </a:lnTo>
                  <a:lnTo>
                    <a:pt x="90" y="80"/>
                  </a:lnTo>
                  <a:lnTo>
                    <a:pt x="90" y="80"/>
                  </a:lnTo>
                  <a:lnTo>
                    <a:pt x="90" y="83"/>
                  </a:lnTo>
                  <a:lnTo>
                    <a:pt x="92" y="87"/>
                  </a:lnTo>
                  <a:lnTo>
                    <a:pt x="92" y="87"/>
                  </a:lnTo>
                  <a:lnTo>
                    <a:pt x="92" y="92"/>
                  </a:lnTo>
                  <a:lnTo>
                    <a:pt x="92" y="94"/>
                  </a:lnTo>
                  <a:lnTo>
                    <a:pt x="92" y="94"/>
                  </a:lnTo>
                  <a:lnTo>
                    <a:pt x="94" y="94"/>
                  </a:lnTo>
                  <a:lnTo>
                    <a:pt x="94" y="97"/>
                  </a:lnTo>
                  <a:lnTo>
                    <a:pt x="94" y="97"/>
                  </a:lnTo>
                  <a:lnTo>
                    <a:pt x="92" y="99"/>
                  </a:lnTo>
                  <a:lnTo>
                    <a:pt x="90" y="99"/>
                  </a:lnTo>
                  <a:lnTo>
                    <a:pt x="90" y="99"/>
                  </a:lnTo>
                  <a:lnTo>
                    <a:pt x="87" y="101"/>
                  </a:lnTo>
                  <a:lnTo>
                    <a:pt x="85" y="109"/>
                  </a:lnTo>
                  <a:lnTo>
                    <a:pt x="82" y="109"/>
                  </a:lnTo>
                  <a:lnTo>
                    <a:pt x="82" y="111"/>
                  </a:lnTo>
                  <a:lnTo>
                    <a:pt x="82" y="111"/>
                  </a:lnTo>
                  <a:lnTo>
                    <a:pt x="85" y="113"/>
                  </a:lnTo>
                  <a:lnTo>
                    <a:pt x="85" y="113"/>
                  </a:lnTo>
                  <a:lnTo>
                    <a:pt x="85" y="116"/>
                  </a:lnTo>
                  <a:lnTo>
                    <a:pt x="82" y="116"/>
                  </a:lnTo>
                  <a:lnTo>
                    <a:pt x="80" y="118"/>
                  </a:lnTo>
                  <a:lnTo>
                    <a:pt x="78" y="118"/>
                  </a:lnTo>
                  <a:lnTo>
                    <a:pt x="75" y="120"/>
                  </a:lnTo>
                  <a:lnTo>
                    <a:pt x="75" y="123"/>
                  </a:lnTo>
                  <a:lnTo>
                    <a:pt x="75" y="127"/>
                  </a:lnTo>
                  <a:lnTo>
                    <a:pt x="75" y="127"/>
                  </a:lnTo>
                  <a:lnTo>
                    <a:pt x="73" y="132"/>
                  </a:lnTo>
                  <a:lnTo>
                    <a:pt x="71" y="137"/>
                  </a:lnTo>
                  <a:lnTo>
                    <a:pt x="71" y="139"/>
                  </a:lnTo>
                  <a:lnTo>
                    <a:pt x="66" y="142"/>
                  </a:lnTo>
                  <a:lnTo>
                    <a:pt x="61" y="144"/>
                  </a:lnTo>
                  <a:lnTo>
                    <a:pt x="61" y="146"/>
                  </a:lnTo>
                  <a:lnTo>
                    <a:pt x="59" y="149"/>
                  </a:lnTo>
                  <a:lnTo>
                    <a:pt x="59" y="151"/>
                  </a:lnTo>
                  <a:lnTo>
                    <a:pt x="59" y="153"/>
                  </a:lnTo>
                  <a:lnTo>
                    <a:pt x="57" y="156"/>
                  </a:lnTo>
                  <a:lnTo>
                    <a:pt x="57" y="161"/>
                  </a:lnTo>
                  <a:lnTo>
                    <a:pt x="57" y="161"/>
                  </a:lnTo>
                  <a:lnTo>
                    <a:pt x="52" y="163"/>
                  </a:lnTo>
                  <a:lnTo>
                    <a:pt x="49" y="163"/>
                  </a:lnTo>
                  <a:lnTo>
                    <a:pt x="45" y="163"/>
                  </a:lnTo>
                  <a:lnTo>
                    <a:pt x="42" y="165"/>
                  </a:lnTo>
                  <a:lnTo>
                    <a:pt x="38" y="168"/>
                  </a:lnTo>
                  <a:lnTo>
                    <a:pt x="38" y="168"/>
                  </a:lnTo>
                  <a:lnTo>
                    <a:pt x="35" y="165"/>
                  </a:lnTo>
                  <a:lnTo>
                    <a:pt x="35" y="165"/>
                  </a:lnTo>
                  <a:lnTo>
                    <a:pt x="33" y="163"/>
                  </a:lnTo>
                  <a:lnTo>
                    <a:pt x="33" y="163"/>
                  </a:lnTo>
                  <a:lnTo>
                    <a:pt x="33" y="161"/>
                  </a:lnTo>
                  <a:lnTo>
                    <a:pt x="31" y="161"/>
                  </a:lnTo>
                  <a:lnTo>
                    <a:pt x="28" y="161"/>
                  </a:lnTo>
                  <a:lnTo>
                    <a:pt x="28" y="161"/>
                  </a:lnTo>
                  <a:lnTo>
                    <a:pt x="26" y="163"/>
                  </a:lnTo>
                  <a:lnTo>
                    <a:pt x="26" y="163"/>
                  </a:lnTo>
                  <a:lnTo>
                    <a:pt x="26" y="163"/>
                  </a:lnTo>
                  <a:lnTo>
                    <a:pt x="24" y="168"/>
                  </a:lnTo>
                  <a:lnTo>
                    <a:pt x="21" y="172"/>
                  </a:lnTo>
                  <a:lnTo>
                    <a:pt x="19" y="175"/>
                  </a:lnTo>
                  <a:lnTo>
                    <a:pt x="19" y="177"/>
                  </a:lnTo>
                  <a:lnTo>
                    <a:pt x="16" y="177"/>
                  </a:lnTo>
                  <a:lnTo>
                    <a:pt x="16" y="177"/>
                  </a:lnTo>
                  <a:lnTo>
                    <a:pt x="16" y="179"/>
                  </a:lnTo>
                  <a:lnTo>
                    <a:pt x="16" y="182"/>
                  </a:lnTo>
                  <a:lnTo>
                    <a:pt x="16" y="187"/>
                  </a:lnTo>
                  <a:lnTo>
                    <a:pt x="16" y="187"/>
                  </a:lnTo>
                  <a:lnTo>
                    <a:pt x="16" y="187"/>
                  </a:lnTo>
                  <a:lnTo>
                    <a:pt x="19" y="189"/>
                  </a:lnTo>
                  <a:lnTo>
                    <a:pt x="21" y="189"/>
                  </a:lnTo>
                  <a:lnTo>
                    <a:pt x="24" y="191"/>
                  </a:lnTo>
                  <a:lnTo>
                    <a:pt x="26" y="191"/>
                  </a:lnTo>
                  <a:lnTo>
                    <a:pt x="28" y="191"/>
                  </a:lnTo>
                  <a:lnTo>
                    <a:pt x="28" y="191"/>
                  </a:lnTo>
                  <a:lnTo>
                    <a:pt x="28" y="194"/>
                  </a:lnTo>
                  <a:lnTo>
                    <a:pt x="28" y="196"/>
                  </a:lnTo>
                  <a:lnTo>
                    <a:pt x="28" y="198"/>
                  </a:lnTo>
                  <a:lnTo>
                    <a:pt x="28" y="201"/>
                  </a:lnTo>
                  <a:lnTo>
                    <a:pt x="28" y="203"/>
                  </a:lnTo>
                  <a:lnTo>
                    <a:pt x="28" y="205"/>
                  </a:lnTo>
                  <a:lnTo>
                    <a:pt x="33" y="210"/>
                  </a:lnTo>
                  <a:lnTo>
                    <a:pt x="33" y="210"/>
                  </a:lnTo>
                  <a:lnTo>
                    <a:pt x="35" y="210"/>
                  </a:lnTo>
                  <a:lnTo>
                    <a:pt x="38" y="210"/>
                  </a:lnTo>
                  <a:lnTo>
                    <a:pt x="38" y="210"/>
                  </a:lnTo>
                  <a:lnTo>
                    <a:pt x="40" y="210"/>
                  </a:lnTo>
                  <a:lnTo>
                    <a:pt x="40" y="210"/>
                  </a:lnTo>
                  <a:lnTo>
                    <a:pt x="40" y="210"/>
                  </a:lnTo>
                  <a:lnTo>
                    <a:pt x="40" y="215"/>
                  </a:lnTo>
                  <a:lnTo>
                    <a:pt x="42" y="217"/>
                  </a:lnTo>
                  <a:lnTo>
                    <a:pt x="45" y="220"/>
                  </a:lnTo>
                  <a:lnTo>
                    <a:pt x="45" y="222"/>
                  </a:lnTo>
                  <a:lnTo>
                    <a:pt x="47" y="227"/>
                  </a:lnTo>
                  <a:lnTo>
                    <a:pt x="49" y="229"/>
                  </a:lnTo>
                  <a:lnTo>
                    <a:pt x="49" y="231"/>
                  </a:lnTo>
                  <a:lnTo>
                    <a:pt x="49" y="231"/>
                  </a:lnTo>
                  <a:lnTo>
                    <a:pt x="47" y="231"/>
                  </a:lnTo>
                  <a:lnTo>
                    <a:pt x="47" y="234"/>
                  </a:lnTo>
                  <a:lnTo>
                    <a:pt x="49" y="234"/>
                  </a:lnTo>
                  <a:lnTo>
                    <a:pt x="49" y="234"/>
                  </a:lnTo>
                  <a:lnTo>
                    <a:pt x="49" y="236"/>
                  </a:lnTo>
                  <a:lnTo>
                    <a:pt x="49" y="236"/>
                  </a:lnTo>
                  <a:lnTo>
                    <a:pt x="49" y="236"/>
                  </a:lnTo>
                  <a:lnTo>
                    <a:pt x="49" y="239"/>
                  </a:lnTo>
                  <a:lnTo>
                    <a:pt x="47" y="239"/>
                  </a:lnTo>
                  <a:lnTo>
                    <a:pt x="47" y="239"/>
                  </a:lnTo>
                  <a:lnTo>
                    <a:pt x="47" y="239"/>
                  </a:lnTo>
                  <a:lnTo>
                    <a:pt x="45" y="241"/>
                  </a:lnTo>
                  <a:lnTo>
                    <a:pt x="45" y="241"/>
                  </a:lnTo>
                  <a:lnTo>
                    <a:pt x="42" y="241"/>
                  </a:lnTo>
                  <a:lnTo>
                    <a:pt x="42" y="239"/>
                  </a:lnTo>
                  <a:lnTo>
                    <a:pt x="42" y="239"/>
                  </a:lnTo>
                  <a:lnTo>
                    <a:pt x="42" y="236"/>
                  </a:lnTo>
                  <a:lnTo>
                    <a:pt x="40" y="236"/>
                  </a:lnTo>
                  <a:lnTo>
                    <a:pt x="40" y="236"/>
                  </a:lnTo>
                  <a:lnTo>
                    <a:pt x="35" y="239"/>
                  </a:lnTo>
                  <a:lnTo>
                    <a:pt x="33" y="239"/>
                  </a:lnTo>
                  <a:lnTo>
                    <a:pt x="33" y="241"/>
                  </a:lnTo>
                  <a:lnTo>
                    <a:pt x="33" y="241"/>
                  </a:lnTo>
                  <a:lnTo>
                    <a:pt x="31" y="241"/>
                  </a:lnTo>
                  <a:lnTo>
                    <a:pt x="28" y="241"/>
                  </a:lnTo>
                  <a:lnTo>
                    <a:pt x="26" y="241"/>
                  </a:lnTo>
                  <a:lnTo>
                    <a:pt x="26" y="241"/>
                  </a:lnTo>
                  <a:lnTo>
                    <a:pt x="24" y="239"/>
                  </a:lnTo>
                  <a:lnTo>
                    <a:pt x="21" y="239"/>
                  </a:lnTo>
                  <a:lnTo>
                    <a:pt x="16" y="239"/>
                  </a:lnTo>
                  <a:lnTo>
                    <a:pt x="16" y="239"/>
                  </a:lnTo>
                  <a:lnTo>
                    <a:pt x="14" y="239"/>
                  </a:lnTo>
                  <a:lnTo>
                    <a:pt x="12" y="239"/>
                  </a:lnTo>
                  <a:lnTo>
                    <a:pt x="12" y="239"/>
                  </a:lnTo>
                  <a:lnTo>
                    <a:pt x="12" y="239"/>
                  </a:lnTo>
                  <a:lnTo>
                    <a:pt x="9" y="239"/>
                  </a:lnTo>
                  <a:lnTo>
                    <a:pt x="9" y="239"/>
                  </a:lnTo>
                  <a:lnTo>
                    <a:pt x="9" y="239"/>
                  </a:lnTo>
                  <a:lnTo>
                    <a:pt x="9" y="239"/>
                  </a:lnTo>
                  <a:lnTo>
                    <a:pt x="9" y="239"/>
                  </a:lnTo>
                  <a:lnTo>
                    <a:pt x="9" y="239"/>
                  </a:lnTo>
                  <a:lnTo>
                    <a:pt x="9" y="246"/>
                  </a:lnTo>
                  <a:lnTo>
                    <a:pt x="7" y="246"/>
                  </a:lnTo>
                  <a:lnTo>
                    <a:pt x="5" y="246"/>
                  </a:lnTo>
                  <a:lnTo>
                    <a:pt x="2" y="246"/>
                  </a:lnTo>
                  <a:lnTo>
                    <a:pt x="0" y="246"/>
                  </a:lnTo>
                  <a:lnTo>
                    <a:pt x="0" y="248"/>
                  </a:lnTo>
                  <a:lnTo>
                    <a:pt x="0" y="248"/>
                  </a:lnTo>
                  <a:lnTo>
                    <a:pt x="0" y="250"/>
                  </a:lnTo>
                  <a:lnTo>
                    <a:pt x="0" y="253"/>
                  </a:lnTo>
                  <a:lnTo>
                    <a:pt x="2" y="253"/>
                  </a:lnTo>
                  <a:lnTo>
                    <a:pt x="5" y="250"/>
                  </a:lnTo>
                  <a:lnTo>
                    <a:pt x="5" y="250"/>
                  </a:lnTo>
                  <a:lnTo>
                    <a:pt x="7" y="248"/>
                  </a:lnTo>
                  <a:lnTo>
                    <a:pt x="9" y="248"/>
                  </a:lnTo>
                  <a:lnTo>
                    <a:pt x="7" y="250"/>
                  </a:lnTo>
                  <a:lnTo>
                    <a:pt x="5" y="253"/>
                  </a:lnTo>
                  <a:lnTo>
                    <a:pt x="5" y="255"/>
                  </a:lnTo>
                  <a:lnTo>
                    <a:pt x="7" y="257"/>
                  </a:lnTo>
                  <a:lnTo>
                    <a:pt x="9" y="262"/>
                  </a:lnTo>
                  <a:lnTo>
                    <a:pt x="12" y="265"/>
                  </a:lnTo>
                  <a:lnTo>
                    <a:pt x="21" y="269"/>
                  </a:lnTo>
                  <a:lnTo>
                    <a:pt x="28" y="272"/>
                  </a:lnTo>
                  <a:lnTo>
                    <a:pt x="31" y="272"/>
                  </a:lnTo>
                  <a:lnTo>
                    <a:pt x="31" y="269"/>
                  </a:lnTo>
                  <a:lnTo>
                    <a:pt x="35" y="267"/>
                  </a:lnTo>
                  <a:lnTo>
                    <a:pt x="38" y="267"/>
                  </a:lnTo>
                  <a:lnTo>
                    <a:pt x="38" y="267"/>
                  </a:lnTo>
                  <a:lnTo>
                    <a:pt x="40" y="267"/>
                  </a:lnTo>
                  <a:lnTo>
                    <a:pt x="40" y="267"/>
                  </a:lnTo>
                  <a:lnTo>
                    <a:pt x="40" y="265"/>
                  </a:lnTo>
                  <a:lnTo>
                    <a:pt x="42" y="265"/>
                  </a:lnTo>
                  <a:lnTo>
                    <a:pt x="42" y="265"/>
                  </a:lnTo>
                  <a:lnTo>
                    <a:pt x="42" y="265"/>
                  </a:lnTo>
                  <a:lnTo>
                    <a:pt x="42" y="267"/>
                  </a:lnTo>
                  <a:lnTo>
                    <a:pt x="42" y="267"/>
                  </a:lnTo>
                  <a:lnTo>
                    <a:pt x="40" y="269"/>
                  </a:lnTo>
                  <a:lnTo>
                    <a:pt x="38" y="274"/>
                  </a:lnTo>
                  <a:lnTo>
                    <a:pt x="35" y="276"/>
                  </a:lnTo>
                  <a:lnTo>
                    <a:pt x="35" y="276"/>
                  </a:lnTo>
                  <a:lnTo>
                    <a:pt x="33" y="279"/>
                  </a:lnTo>
                  <a:lnTo>
                    <a:pt x="31" y="276"/>
                  </a:lnTo>
                  <a:lnTo>
                    <a:pt x="28" y="279"/>
                  </a:lnTo>
                  <a:lnTo>
                    <a:pt x="26" y="279"/>
                  </a:lnTo>
                  <a:lnTo>
                    <a:pt x="21" y="281"/>
                  </a:lnTo>
                  <a:lnTo>
                    <a:pt x="21" y="281"/>
                  </a:lnTo>
                  <a:lnTo>
                    <a:pt x="21" y="281"/>
                  </a:lnTo>
                  <a:lnTo>
                    <a:pt x="19" y="279"/>
                  </a:lnTo>
                  <a:lnTo>
                    <a:pt x="19" y="279"/>
                  </a:lnTo>
                  <a:lnTo>
                    <a:pt x="16" y="279"/>
                  </a:lnTo>
                  <a:lnTo>
                    <a:pt x="16" y="281"/>
                  </a:lnTo>
                  <a:lnTo>
                    <a:pt x="16" y="284"/>
                  </a:lnTo>
                  <a:lnTo>
                    <a:pt x="21" y="288"/>
                  </a:lnTo>
                  <a:lnTo>
                    <a:pt x="26" y="291"/>
                  </a:lnTo>
                  <a:lnTo>
                    <a:pt x="28" y="293"/>
                  </a:lnTo>
                  <a:lnTo>
                    <a:pt x="33" y="298"/>
                  </a:lnTo>
                  <a:lnTo>
                    <a:pt x="38" y="305"/>
                  </a:lnTo>
                  <a:lnTo>
                    <a:pt x="40" y="307"/>
                  </a:lnTo>
                  <a:lnTo>
                    <a:pt x="47" y="312"/>
                  </a:lnTo>
                  <a:lnTo>
                    <a:pt x="52" y="314"/>
                  </a:lnTo>
                  <a:lnTo>
                    <a:pt x="54" y="314"/>
                  </a:lnTo>
                  <a:lnTo>
                    <a:pt x="57" y="314"/>
                  </a:lnTo>
                  <a:lnTo>
                    <a:pt x="64" y="312"/>
                  </a:lnTo>
                  <a:lnTo>
                    <a:pt x="66" y="310"/>
                  </a:lnTo>
                  <a:lnTo>
                    <a:pt x="75" y="305"/>
                  </a:lnTo>
                  <a:lnTo>
                    <a:pt x="75" y="305"/>
                  </a:lnTo>
                  <a:lnTo>
                    <a:pt x="78" y="298"/>
                  </a:lnTo>
                  <a:lnTo>
                    <a:pt x="78" y="295"/>
                  </a:lnTo>
                  <a:lnTo>
                    <a:pt x="78" y="293"/>
                  </a:lnTo>
                  <a:lnTo>
                    <a:pt x="75" y="293"/>
                  </a:lnTo>
                  <a:lnTo>
                    <a:pt x="75" y="291"/>
                  </a:lnTo>
                  <a:lnTo>
                    <a:pt x="73" y="291"/>
                  </a:lnTo>
                  <a:lnTo>
                    <a:pt x="73" y="291"/>
                  </a:lnTo>
                  <a:lnTo>
                    <a:pt x="75" y="288"/>
                  </a:lnTo>
                  <a:lnTo>
                    <a:pt x="75" y="288"/>
                  </a:lnTo>
                  <a:lnTo>
                    <a:pt x="78" y="286"/>
                  </a:lnTo>
                  <a:lnTo>
                    <a:pt x="78" y="286"/>
                  </a:lnTo>
                  <a:lnTo>
                    <a:pt x="78" y="284"/>
                  </a:lnTo>
                  <a:lnTo>
                    <a:pt x="75" y="281"/>
                  </a:lnTo>
                  <a:lnTo>
                    <a:pt x="75" y="281"/>
                  </a:lnTo>
                  <a:lnTo>
                    <a:pt x="78" y="281"/>
                  </a:lnTo>
                  <a:lnTo>
                    <a:pt x="80" y="281"/>
                  </a:lnTo>
                  <a:lnTo>
                    <a:pt x="82" y="281"/>
                  </a:lnTo>
                  <a:lnTo>
                    <a:pt x="85" y="281"/>
                  </a:lnTo>
                  <a:lnTo>
                    <a:pt x="87" y="284"/>
                  </a:lnTo>
                  <a:lnTo>
                    <a:pt x="85" y="284"/>
                  </a:lnTo>
                  <a:lnTo>
                    <a:pt x="82" y="284"/>
                  </a:lnTo>
                  <a:lnTo>
                    <a:pt x="82" y="284"/>
                  </a:lnTo>
                  <a:lnTo>
                    <a:pt x="82" y="288"/>
                  </a:lnTo>
                  <a:lnTo>
                    <a:pt x="85" y="288"/>
                  </a:lnTo>
                  <a:lnTo>
                    <a:pt x="85" y="288"/>
                  </a:lnTo>
                  <a:lnTo>
                    <a:pt x="85" y="288"/>
                  </a:lnTo>
                  <a:lnTo>
                    <a:pt x="82" y="291"/>
                  </a:lnTo>
                  <a:lnTo>
                    <a:pt x="82" y="293"/>
                  </a:lnTo>
                  <a:lnTo>
                    <a:pt x="87" y="293"/>
                  </a:lnTo>
                  <a:lnTo>
                    <a:pt x="92" y="293"/>
                  </a:lnTo>
                  <a:lnTo>
                    <a:pt x="94" y="293"/>
                  </a:lnTo>
                  <a:lnTo>
                    <a:pt x="92" y="293"/>
                  </a:lnTo>
                  <a:lnTo>
                    <a:pt x="87" y="295"/>
                  </a:lnTo>
                  <a:lnTo>
                    <a:pt x="87" y="298"/>
                  </a:lnTo>
                  <a:lnTo>
                    <a:pt x="85" y="298"/>
                  </a:lnTo>
                  <a:lnTo>
                    <a:pt x="85" y="298"/>
                  </a:lnTo>
                  <a:lnTo>
                    <a:pt x="87" y="298"/>
                  </a:lnTo>
                  <a:lnTo>
                    <a:pt x="87" y="300"/>
                  </a:lnTo>
                  <a:lnTo>
                    <a:pt x="85" y="300"/>
                  </a:lnTo>
                  <a:lnTo>
                    <a:pt x="87" y="305"/>
                  </a:lnTo>
                  <a:lnTo>
                    <a:pt x="87" y="305"/>
                  </a:lnTo>
                  <a:lnTo>
                    <a:pt x="90" y="305"/>
                  </a:lnTo>
                  <a:lnTo>
                    <a:pt x="90" y="307"/>
                  </a:lnTo>
                  <a:lnTo>
                    <a:pt x="90" y="310"/>
                  </a:lnTo>
                  <a:lnTo>
                    <a:pt x="92" y="312"/>
                  </a:lnTo>
                  <a:lnTo>
                    <a:pt x="92" y="314"/>
                  </a:lnTo>
                  <a:lnTo>
                    <a:pt x="92" y="317"/>
                  </a:lnTo>
                  <a:lnTo>
                    <a:pt x="90" y="328"/>
                  </a:lnTo>
                  <a:lnTo>
                    <a:pt x="90" y="333"/>
                  </a:lnTo>
                  <a:lnTo>
                    <a:pt x="90" y="333"/>
                  </a:lnTo>
                  <a:lnTo>
                    <a:pt x="90" y="336"/>
                  </a:lnTo>
                  <a:lnTo>
                    <a:pt x="90" y="338"/>
                  </a:lnTo>
                  <a:lnTo>
                    <a:pt x="92" y="340"/>
                  </a:lnTo>
                  <a:lnTo>
                    <a:pt x="92" y="340"/>
                  </a:lnTo>
                  <a:lnTo>
                    <a:pt x="92" y="343"/>
                  </a:lnTo>
                  <a:lnTo>
                    <a:pt x="92" y="343"/>
                  </a:lnTo>
                  <a:lnTo>
                    <a:pt x="97" y="345"/>
                  </a:lnTo>
                  <a:lnTo>
                    <a:pt x="92" y="345"/>
                  </a:lnTo>
                  <a:lnTo>
                    <a:pt x="92" y="345"/>
                  </a:lnTo>
                  <a:lnTo>
                    <a:pt x="92" y="345"/>
                  </a:lnTo>
                  <a:lnTo>
                    <a:pt x="92" y="350"/>
                  </a:lnTo>
                  <a:lnTo>
                    <a:pt x="94" y="352"/>
                  </a:lnTo>
                  <a:lnTo>
                    <a:pt x="94" y="350"/>
                  </a:lnTo>
                  <a:lnTo>
                    <a:pt x="97" y="347"/>
                  </a:lnTo>
                  <a:lnTo>
                    <a:pt x="97" y="350"/>
                  </a:lnTo>
                  <a:lnTo>
                    <a:pt x="97" y="352"/>
                  </a:lnTo>
                  <a:lnTo>
                    <a:pt x="94" y="354"/>
                  </a:lnTo>
                  <a:lnTo>
                    <a:pt x="94" y="357"/>
                  </a:lnTo>
                  <a:lnTo>
                    <a:pt x="94" y="359"/>
                  </a:lnTo>
                  <a:lnTo>
                    <a:pt x="97" y="359"/>
                  </a:lnTo>
                  <a:lnTo>
                    <a:pt x="97" y="364"/>
                  </a:lnTo>
                  <a:lnTo>
                    <a:pt x="97" y="366"/>
                  </a:lnTo>
                  <a:lnTo>
                    <a:pt x="99" y="369"/>
                  </a:lnTo>
                  <a:lnTo>
                    <a:pt x="99" y="373"/>
                  </a:lnTo>
                  <a:lnTo>
                    <a:pt x="101" y="380"/>
                  </a:lnTo>
                  <a:lnTo>
                    <a:pt x="101" y="383"/>
                  </a:lnTo>
                  <a:lnTo>
                    <a:pt x="104" y="388"/>
                  </a:lnTo>
                  <a:lnTo>
                    <a:pt x="108" y="404"/>
                  </a:lnTo>
                  <a:lnTo>
                    <a:pt x="111" y="411"/>
                  </a:lnTo>
                  <a:lnTo>
                    <a:pt x="111" y="414"/>
                  </a:lnTo>
                  <a:lnTo>
                    <a:pt x="113" y="416"/>
                  </a:lnTo>
                  <a:lnTo>
                    <a:pt x="115" y="421"/>
                  </a:lnTo>
                  <a:lnTo>
                    <a:pt x="115" y="421"/>
                  </a:lnTo>
                  <a:lnTo>
                    <a:pt x="118" y="421"/>
                  </a:lnTo>
                  <a:lnTo>
                    <a:pt x="118" y="423"/>
                  </a:lnTo>
                  <a:lnTo>
                    <a:pt x="118" y="423"/>
                  </a:lnTo>
                  <a:lnTo>
                    <a:pt x="118" y="425"/>
                  </a:lnTo>
                  <a:lnTo>
                    <a:pt x="120" y="428"/>
                  </a:lnTo>
                  <a:lnTo>
                    <a:pt x="118" y="428"/>
                  </a:lnTo>
                  <a:lnTo>
                    <a:pt x="120" y="428"/>
                  </a:lnTo>
                  <a:lnTo>
                    <a:pt x="120" y="432"/>
                  </a:lnTo>
                  <a:lnTo>
                    <a:pt x="123" y="437"/>
                  </a:lnTo>
                  <a:lnTo>
                    <a:pt x="125" y="437"/>
                  </a:lnTo>
                  <a:lnTo>
                    <a:pt x="127" y="442"/>
                  </a:lnTo>
                  <a:lnTo>
                    <a:pt x="127" y="442"/>
                  </a:lnTo>
                  <a:lnTo>
                    <a:pt x="130" y="444"/>
                  </a:lnTo>
                  <a:lnTo>
                    <a:pt x="130" y="447"/>
                  </a:lnTo>
                  <a:lnTo>
                    <a:pt x="130" y="447"/>
                  </a:lnTo>
                  <a:lnTo>
                    <a:pt x="132" y="451"/>
                  </a:lnTo>
                  <a:lnTo>
                    <a:pt x="132" y="454"/>
                  </a:lnTo>
                  <a:lnTo>
                    <a:pt x="132" y="456"/>
                  </a:lnTo>
                  <a:lnTo>
                    <a:pt x="134" y="458"/>
                  </a:lnTo>
                  <a:lnTo>
                    <a:pt x="137" y="463"/>
                  </a:lnTo>
                  <a:lnTo>
                    <a:pt x="137" y="466"/>
                  </a:lnTo>
                  <a:lnTo>
                    <a:pt x="137" y="466"/>
                  </a:lnTo>
                  <a:lnTo>
                    <a:pt x="139" y="475"/>
                  </a:lnTo>
                  <a:lnTo>
                    <a:pt x="139" y="477"/>
                  </a:lnTo>
                  <a:lnTo>
                    <a:pt x="141" y="480"/>
                  </a:lnTo>
                  <a:lnTo>
                    <a:pt x="144" y="487"/>
                  </a:lnTo>
                  <a:lnTo>
                    <a:pt x="148" y="496"/>
                  </a:lnTo>
                  <a:lnTo>
                    <a:pt x="148" y="499"/>
                  </a:lnTo>
                  <a:lnTo>
                    <a:pt x="151" y="499"/>
                  </a:lnTo>
                  <a:lnTo>
                    <a:pt x="153" y="503"/>
                  </a:lnTo>
                  <a:lnTo>
                    <a:pt x="156" y="506"/>
                  </a:lnTo>
                  <a:lnTo>
                    <a:pt x="158" y="510"/>
                  </a:lnTo>
                  <a:lnTo>
                    <a:pt x="158" y="513"/>
                  </a:lnTo>
                  <a:lnTo>
                    <a:pt x="160" y="518"/>
                  </a:lnTo>
                  <a:lnTo>
                    <a:pt x="163" y="525"/>
                  </a:lnTo>
                  <a:lnTo>
                    <a:pt x="167" y="532"/>
                  </a:lnTo>
                  <a:lnTo>
                    <a:pt x="167" y="534"/>
                  </a:lnTo>
                  <a:lnTo>
                    <a:pt x="170" y="537"/>
                  </a:lnTo>
                  <a:lnTo>
                    <a:pt x="170" y="537"/>
                  </a:lnTo>
                  <a:lnTo>
                    <a:pt x="170" y="539"/>
                  </a:lnTo>
                  <a:lnTo>
                    <a:pt x="170" y="541"/>
                  </a:lnTo>
                  <a:lnTo>
                    <a:pt x="170" y="541"/>
                  </a:lnTo>
                  <a:lnTo>
                    <a:pt x="172" y="541"/>
                  </a:lnTo>
                  <a:lnTo>
                    <a:pt x="174" y="551"/>
                  </a:lnTo>
                  <a:lnTo>
                    <a:pt x="174" y="551"/>
                  </a:lnTo>
                  <a:lnTo>
                    <a:pt x="172" y="551"/>
                  </a:lnTo>
                  <a:lnTo>
                    <a:pt x="172" y="546"/>
                  </a:lnTo>
                  <a:lnTo>
                    <a:pt x="172" y="544"/>
                  </a:lnTo>
                  <a:lnTo>
                    <a:pt x="170" y="544"/>
                  </a:lnTo>
                  <a:lnTo>
                    <a:pt x="170" y="541"/>
                  </a:lnTo>
                  <a:lnTo>
                    <a:pt x="172" y="548"/>
                  </a:lnTo>
                  <a:lnTo>
                    <a:pt x="172" y="553"/>
                  </a:lnTo>
                  <a:lnTo>
                    <a:pt x="174" y="558"/>
                  </a:lnTo>
                  <a:lnTo>
                    <a:pt x="174" y="558"/>
                  </a:lnTo>
                  <a:lnTo>
                    <a:pt x="174" y="558"/>
                  </a:lnTo>
                  <a:lnTo>
                    <a:pt x="174" y="558"/>
                  </a:lnTo>
                  <a:lnTo>
                    <a:pt x="174" y="560"/>
                  </a:lnTo>
                  <a:lnTo>
                    <a:pt x="177" y="565"/>
                  </a:lnTo>
                  <a:lnTo>
                    <a:pt x="177" y="565"/>
                  </a:lnTo>
                  <a:lnTo>
                    <a:pt x="184" y="574"/>
                  </a:lnTo>
                  <a:lnTo>
                    <a:pt x="186" y="577"/>
                  </a:lnTo>
                  <a:lnTo>
                    <a:pt x="191" y="579"/>
                  </a:lnTo>
                  <a:lnTo>
                    <a:pt x="196" y="581"/>
                  </a:lnTo>
                  <a:lnTo>
                    <a:pt x="196" y="579"/>
                  </a:lnTo>
                  <a:lnTo>
                    <a:pt x="200" y="579"/>
                  </a:lnTo>
                  <a:lnTo>
                    <a:pt x="205" y="574"/>
                  </a:lnTo>
                  <a:lnTo>
                    <a:pt x="205" y="572"/>
                  </a:lnTo>
                  <a:lnTo>
                    <a:pt x="205" y="570"/>
                  </a:lnTo>
                  <a:lnTo>
                    <a:pt x="207" y="565"/>
                  </a:lnTo>
                  <a:lnTo>
                    <a:pt x="207" y="563"/>
                  </a:lnTo>
                  <a:lnTo>
                    <a:pt x="212" y="560"/>
                  </a:lnTo>
                  <a:lnTo>
                    <a:pt x="222" y="555"/>
                  </a:lnTo>
                  <a:lnTo>
                    <a:pt x="226" y="555"/>
                  </a:lnTo>
                  <a:lnTo>
                    <a:pt x="229" y="558"/>
                  </a:lnTo>
                  <a:lnTo>
                    <a:pt x="229" y="555"/>
                  </a:lnTo>
                  <a:lnTo>
                    <a:pt x="226" y="555"/>
                  </a:lnTo>
                  <a:lnTo>
                    <a:pt x="224" y="555"/>
                  </a:lnTo>
                  <a:lnTo>
                    <a:pt x="222" y="555"/>
                  </a:lnTo>
                  <a:lnTo>
                    <a:pt x="222" y="553"/>
                  </a:lnTo>
                  <a:lnTo>
                    <a:pt x="219" y="553"/>
                  </a:lnTo>
                  <a:lnTo>
                    <a:pt x="219" y="551"/>
                  </a:lnTo>
                  <a:lnTo>
                    <a:pt x="222" y="548"/>
                  </a:lnTo>
                  <a:lnTo>
                    <a:pt x="226" y="539"/>
                  </a:lnTo>
                  <a:lnTo>
                    <a:pt x="226" y="537"/>
                  </a:lnTo>
                  <a:lnTo>
                    <a:pt x="226" y="534"/>
                  </a:lnTo>
                  <a:lnTo>
                    <a:pt x="229" y="534"/>
                  </a:lnTo>
                  <a:lnTo>
                    <a:pt x="231" y="534"/>
                  </a:lnTo>
                  <a:lnTo>
                    <a:pt x="231" y="534"/>
                  </a:lnTo>
                  <a:lnTo>
                    <a:pt x="233" y="534"/>
                  </a:lnTo>
                  <a:lnTo>
                    <a:pt x="236" y="534"/>
                  </a:lnTo>
                  <a:lnTo>
                    <a:pt x="236" y="534"/>
                  </a:lnTo>
                  <a:lnTo>
                    <a:pt x="236" y="525"/>
                  </a:lnTo>
                  <a:lnTo>
                    <a:pt x="236" y="515"/>
                  </a:lnTo>
                  <a:lnTo>
                    <a:pt x="236" y="513"/>
                  </a:lnTo>
                  <a:lnTo>
                    <a:pt x="233" y="513"/>
                  </a:lnTo>
                  <a:lnTo>
                    <a:pt x="233" y="513"/>
                  </a:lnTo>
                  <a:lnTo>
                    <a:pt x="233" y="513"/>
                  </a:lnTo>
                  <a:lnTo>
                    <a:pt x="233" y="510"/>
                  </a:lnTo>
                  <a:lnTo>
                    <a:pt x="233" y="508"/>
                  </a:lnTo>
                  <a:lnTo>
                    <a:pt x="233" y="506"/>
                  </a:lnTo>
                  <a:lnTo>
                    <a:pt x="233" y="499"/>
                  </a:lnTo>
                  <a:lnTo>
                    <a:pt x="236" y="494"/>
                  </a:lnTo>
                  <a:lnTo>
                    <a:pt x="238" y="492"/>
                  </a:lnTo>
                  <a:lnTo>
                    <a:pt x="238" y="489"/>
                  </a:lnTo>
                  <a:lnTo>
                    <a:pt x="240" y="484"/>
                  </a:lnTo>
                  <a:lnTo>
                    <a:pt x="240" y="470"/>
                  </a:lnTo>
                  <a:lnTo>
                    <a:pt x="240" y="468"/>
                  </a:lnTo>
                  <a:lnTo>
                    <a:pt x="238" y="466"/>
                  </a:lnTo>
                  <a:lnTo>
                    <a:pt x="236" y="466"/>
                  </a:lnTo>
                  <a:lnTo>
                    <a:pt x="238" y="463"/>
                  </a:lnTo>
                  <a:lnTo>
                    <a:pt x="238" y="466"/>
                  </a:lnTo>
                  <a:lnTo>
                    <a:pt x="240" y="466"/>
                  </a:lnTo>
                  <a:lnTo>
                    <a:pt x="240" y="468"/>
                  </a:lnTo>
                  <a:lnTo>
                    <a:pt x="238" y="463"/>
                  </a:lnTo>
                  <a:lnTo>
                    <a:pt x="238" y="461"/>
                  </a:lnTo>
                  <a:lnTo>
                    <a:pt x="238" y="458"/>
                  </a:lnTo>
                  <a:lnTo>
                    <a:pt x="236" y="456"/>
                  </a:lnTo>
                  <a:lnTo>
                    <a:pt x="236" y="451"/>
                  </a:lnTo>
                  <a:lnTo>
                    <a:pt x="236" y="449"/>
                  </a:lnTo>
                  <a:lnTo>
                    <a:pt x="236" y="449"/>
                  </a:lnTo>
                  <a:lnTo>
                    <a:pt x="236" y="447"/>
                  </a:lnTo>
                  <a:lnTo>
                    <a:pt x="236" y="444"/>
                  </a:lnTo>
                  <a:lnTo>
                    <a:pt x="236" y="440"/>
                  </a:lnTo>
                  <a:lnTo>
                    <a:pt x="233" y="432"/>
                  </a:lnTo>
                  <a:lnTo>
                    <a:pt x="233" y="428"/>
                  </a:lnTo>
                  <a:lnTo>
                    <a:pt x="236" y="421"/>
                  </a:lnTo>
                  <a:lnTo>
                    <a:pt x="238" y="418"/>
                  </a:lnTo>
                  <a:lnTo>
                    <a:pt x="243" y="416"/>
                  </a:lnTo>
                  <a:lnTo>
                    <a:pt x="243" y="416"/>
                  </a:lnTo>
                  <a:lnTo>
                    <a:pt x="245" y="416"/>
                  </a:lnTo>
                  <a:lnTo>
                    <a:pt x="245" y="418"/>
                  </a:lnTo>
                  <a:lnTo>
                    <a:pt x="247" y="418"/>
                  </a:lnTo>
                  <a:lnTo>
                    <a:pt x="247" y="418"/>
                  </a:lnTo>
                  <a:lnTo>
                    <a:pt x="250" y="418"/>
                  </a:lnTo>
                  <a:lnTo>
                    <a:pt x="250" y="418"/>
                  </a:lnTo>
                  <a:lnTo>
                    <a:pt x="250" y="416"/>
                  </a:lnTo>
                  <a:lnTo>
                    <a:pt x="252" y="416"/>
                  </a:lnTo>
                  <a:lnTo>
                    <a:pt x="252" y="409"/>
                  </a:lnTo>
                  <a:lnTo>
                    <a:pt x="254" y="406"/>
                  </a:lnTo>
                  <a:lnTo>
                    <a:pt x="254" y="406"/>
                  </a:lnTo>
                  <a:lnTo>
                    <a:pt x="262" y="406"/>
                  </a:lnTo>
                  <a:lnTo>
                    <a:pt x="262" y="406"/>
                  </a:lnTo>
                  <a:lnTo>
                    <a:pt x="269" y="404"/>
                  </a:lnTo>
                  <a:lnTo>
                    <a:pt x="271" y="402"/>
                  </a:lnTo>
                  <a:lnTo>
                    <a:pt x="271" y="399"/>
                  </a:lnTo>
                  <a:lnTo>
                    <a:pt x="271" y="399"/>
                  </a:lnTo>
                  <a:lnTo>
                    <a:pt x="273" y="397"/>
                  </a:lnTo>
                  <a:lnTo>
                    <a:pt x="271" y="397"/>
                  </a:lnTo>
                  <a:lnTo>
                    <a:pt x="271" y="395"/>
                  </a:lnTo>
                  <a:lnTo>
                    <a:pt x="271" y="395"/>
                  </a:lnTo>
                  <a:lnTo>
                    <a:pt x="271" y="392"/>
                  </a:lnTo>
                  <a:lnTo>
                    <a:pt x="271" y="390"/>
                  </a:lnTo>
                  <a:lnTo>
                    <a:pt x="276" y="388"/>
                  </a:lnTo>
                  <a:lnTo>
                    <a:pt x="283" y="383"/>
                  </a:lnTo>
                  <a:lnTo>
                    <a:pt x="285" y="380"/>
                  </a:lnTo>
                  <a:lnTo>
                    <a:pt x="290" y="376"/>
                  </a:lnTo>
                  <a:lnTo>
                    <a:pt x="292" y="371"/>
                  </a:lnTo>
                  <a:lnTo>
                    <a:pt x="295" y="371"/>
                  </a:lnTo>
                  <a:lnTo>
                    <a:pt x="302" y="366"/>
                  </a:lnTo>
                  <a:lnTo>
                    <a:pt x="302" y="364"/>
                  </a:lnTo>
                  <a:lnTo>
                    <a:pt x="306" y="357"/>
                  </a:lnTo>
                  <a:lnTo>
                    <a:pt x="309" y="352"/>
                  </a:lnTo>
                  <a:lnTo>
                    <a:pt x="311" y="352"/>
                  </a:lnTo>
                  <a:lnTo>
                    <a:pt x="311" y="350"/>
                  </a:lnTo>
                  <a:lnTo>
                    <a:pt x="311" y="347"/>
                  </a:lnTo>
                  <a:lnTo>
                    <a:pt x="318" y="340"/>
                  </a:lnTo>
                  <a:lnTo>
                    <a:pt x="323" y="338"/>
                  </a:lnTo>
                  <a:lnTo>
                    <a:pt x="323" y="338"/>
                  </a:lnTo>
                  <a:lnTo>
                    <a:pt x="320" y="336"/>
                  </a:lnTo>
                  <a:lnTo>
                    <a:pt x="318" y="338"/>
                  </a:lnTo>
                  <a:lnTo>
                    <a:pt x="318" y="338"/>
                  </a:lnTo>
                  <a:lnTo>
                    <a:pt x="318" y="338"/>
                  </a:lnTo>
                  <a:lnTo>
                    <a:pt x="318" y="336"/>
                  </a:lnTo>
                  <a:lnTo>
                    <a:pt x="323" y="331"/>
                  </a:lnTo>
                  <a:lnTo>
                    <a:pt x="323" y="331"/>
                  </a:lnTo>
                  <a:lnTo>
                    <a:pt x="325" y="333"/>
                  </a:lnTo>
                  <a:lnTo>
                    <a:pt x="325" y="336"/>
                  </a:lnTo>
                  <a:lnTo>
                    <a:pt x="323" y="336"/>
                  </a:lnTo>
                  <a:lnTo>
                    <a:pt x="323" y="336"/>
                  </a:lnTo>
                  <a:lnTo>
                    <a:pt x="325" y="336"/>
                  </a:lnTo>
                  <a:lnTo>
                    <a:pt x="330" y="333"/>
                  </a:lnTo>
                  <a:lnTo>
                    <a:pt x="337" y="331"/>
                  </a:lnTo>
                  <a:lnTo>
                    <a:pt x="337" y="331"/>
                  </a:lnTo>
                  <a:lnTo>
                    <a:pt x="337" y="331"/>
                  </a:lnTo>
                  <a:lnTo>
                    <a:pt x="337" y="331"/>
                  </a:lnTo>
                  <a:lnTo>
                    <a:pt x="337" y="328"/>
                  </a:lnTo>
                  <a:lnTo>
                    <a:pt x="337" y="328"/>
                  </a:lnTo>
                  <a:lnTo>
                    <a:pt x="339" y="328"/>
                  </a:lnTo>
                  <a:lnTo>
                    <a:pt x="339" y="328"/>
                  </a:lnTo>
                  <a:lnTo>
                    <a:pt x="342" y="326"/>
                  </a:lnTo>
                  <a:lnTo>
                    <a:pt x="344" y="324"/>
                  </a:lnTo>
                  <a:lnTo>
                    <a:pt x="344" y="321"/>
                  </a:lnTo>
                  <a:lnTo>
                    <a:pt x="344" y="321"/>
                  </a:lnTo>
                  <a:lnTo>
                    <a:pt x="346" y="319"/>
                  </a:lnTo>
                  <a:lnTo>
                    <a:pt x="346" y="317"/>
                  </a:lnTo>
                  <a:lnTo>
                    <a:pt x="349" y="314"/>
                  </a:lnTo>
                  <a:lnTo>
                    <a:pt x="346" y="314"/>
                  </a:lnTo>
                  <a:lnTo>
                    <a:pt x="346" y="310"/>
                  </a:lnTo>
                  <a:lnTo>
                    <a:pt x="344" y="307"/>
                  </a:lnTo>
                  <a:lnTo>
                    <a:pt x="344" y="302"/>
                  </a:lnTo>
                  <a:lnTo>
                    <a:pt x="346" y="300"/>
                  </a:lnTo>
                  <a:lnTo>
                    <a:pt x="349" y="298"/>
                  </a:lnTo>
                  <a:lnTo>
                    <a:pt x="351" y="298"/>
                  </a:lnTo>
                  <a:lnTo>
                    <a:pt x="358" y="295"/>
                  </a:lnTo>
                  <a:lnTo>
                    <a:pt x="361" y="293"/>
                  </a:lnTo>
                  <a:lnTo>
                    <a:pt x="363" y="291"/>
                  </a:lnTo>
                  <a:lnTo>
                    <a:pt x="365" y="288"/>
                  </a:lnTo>
                  <a:lnTo>
                    <a:pt x="365" y="286"/>
                  </a:lnTo>
                  <a:lnTo>
                    <a:pt x="365" y="286"/>
                  </a:lnTo>
                  <a:lnTo>
                    <a:pt x="365" y="284"/>
                  </a:lnTo>
                  <a:lnTo>
                    <a:pt x="363" y="284"/>
                  </a:lnTo>
                  <a:lnTo>
                    <a:pt x="363" y="281"/>
                  </a:lnTo>
                  <a:lnTo>
                    <a:pt x="361" y="279"/>
                  </a:lnTo>
                  <a:lnTo>
                    <a:pt x="363" y="281"/>
                  </a:lnTo>
                  <a:lnTo>
                    <a:pt x="365" y="284"/>
                  </a:lnTo>
                  <a:lnTo>
                    <a:pt x="368" y="284"/>
                  </a:lnTo>
                  <a:lnTo>
                    <a:pt x="368" y="286"/>
                  </a:lnTo>
                  <a:lnTo>
                    <a:pt x="365" y="291"/>
                  </a:lnTo>
                  <a:lnTo>
                    <a:pt x="365" y="293"/>
                  </a:lnTo>
                  <a:lnTo>
                    <a:pt x="368" y="295"/>
                  </a:lnTo>
                  <a:lnTo>
                    <a:pt x="370" y="295"/>
                  </a:lnTo>
                  <a:lnTo>
                    <a:pt x="370" y="293"/>
                  </a:lnTo>
                  <a:lnTo>
                    <a:pt x="370" y="293"/>
                  </a:lnTo>
                  <a:lnTo>
                    <a:pt x="370" y="293"/>
                  </a:lnTo>
                  <a:lnTo>
                    <a:pt x="372" y="295"/>
                  </a:lnTo>
                  <a:lnTo>
                    <a:pt x="375" y="295"/>
                  </a:lnTo>
                  <a:lnTo>
                    <a:pt x="375" y="293"/>
                  </a:lnTo>
                  <a:lnTo>
                    <a:pt x="375" y="291"/>
                  </a:lnTo>
                  <a:lnTo>
                    <a:pt x="375" y="286"/>
                  </a:lnTo>
                  <a:lnTo>
                    <a:pt x="375" y="286"/>
                  </a:lnTo>
                  <a:lnTo>
                    <a:pt x="377" y="286"/>
                  </a:lnTo>
                  <a:lnTo>
                    <a:pt x="377" y="286"/>
                  </a:lnTo>
                  <a:lnTo>
                    <a:pt x="377" y="288"/>
                  </a:lnTo>
                  <a:lnTo>
                    <a:pt x="377" y="293"/>
                  </a:lnTo>
                  <a:lnTo>
                    <a:pt x="377" y="295"/>
                  </a:lnTo>
                  <a:lnTo>
                    <a:pt x="377" y="295"/>
                  </a:lnTo>
                  <a:lnTo>
                    <a:pt x="377" y="295"/>
                  </a:lnTo>
                  <a:lnTo>
                    <a:pt x="379" y="295"/>
                  </a:lnTo>
                  <a:lnTo>
                    <a:pt x="379" y="293"/>
                  </a:lnTo>
                  <a:lnTo>
                    <a:pt x="382" y="295"/>
                  </a:lnTo>
                  <a:lnTo>
                    <a:pt x="382" y="295"/>
                  </a:lnTo>
                  <a:lnTo>
                    <a:pt x="384" y="295"/>
                  </a:lnTo>
                  <a:lnTo>
                    <a:pt x="384" y="293"/>
                  </a:lnTo>
                  <a:lnTo>
                    <a:pt x="382" y="291"/>
                  </a:lnTo>
                  <a:lnTo>
                    <a:pt x="382" y="288"/>
                  </a:lnTo>
                  <a:lnTo>
                    <a:pt x="382" y="288"/>
                  </a:lnTo>
                  <a:lnTo>
                    <a:pt x="382" y="286"/>
                  </a:lnTo>
                  <a:lnTo>
                    <a:pt x="382" y="284"/>
                  </a:lnTo>
                  <a:lnTo>
                    <a:pt x="382" y="281"/>
                  </a:lnTo>
                  <a:lnTo>
                    <a:pt x="379" y="276"/>
                  </a:lnTo>
                  <a:lnTo>
                    <a:pt x="379" y="274"/>
                  </a:lnTo>
                  <a:lnTo>
                    <a:pt x="379" y="274"/>
                  </a:lnTo>
                  <a:lnTo>
                    <a:pt x="379" y="272"/>
                  </a:lnTo>
                  <a:lnTo>
                    <a:pt x="377" y="269"/>
                  </a:lnTo>
                  <a:lnTo>
                    <a:pt x="377" y="267"/>
                  </a:lnTo>
                  <a:lnTo>
                    <a:pt x="377" y="265"/>
                  </a:lnTo>
                  <a:lnTo>
                    <a:pt x="377" y="262"/>
                  </a:lnTo>
                  <a:lnTo>
                    <a:pt x="377" y="262"/>
                  </a:lnTo>
                  <a:lnTo>
                    <a:pt x="375" y="262"/>
                  </a:lnTo>
                  <a:lnTo>
                    <a:pt x="372" y="260"/>
                  </a:lnTo>
                  <a:lnTo>
                    <a:pt x="372" y="260"/>
                  </a:lnTo>
                  <a:lnTo>
                    <a:pt x="372" y="257"/>
                  </a:lnTo>
                  <a:lnTo>
                    <a:pt x="372" y="255"/>
                  </a:lnTo>
                  <a:lnTo>
                    <a:pt x="370" y="255"/>
                  </a:lnTo>
                  <a:lnTo>
                    <a:pt x="370" y="255"/>
                  </a:lnTo>
                  <a:lnTo>
                    <a:pt x="370" y="253"/>
                  </a:lnTo>
                  <a:lnTo>
                    <a:pt x="370" y="253"/>
                  </a:lnTo>
                  <a:lnTo>
                    <a:pt x="370" y="248"/>
                  </a:lnTo>
                  <a:lnTo>
                    <a:pt x="370" y="246"/>
                  </a:lnTo>
                  <a:lnTo>
                    <a:pt x="370" y="243"/>
                  </a:lnTo>
                  <a:lnTo>
                    <a:pt x="370" y="241"/>
                  </a:lnTo>
                  <a:lnTo>
                    <a:pt x="370" y="241"/>
                  </a:lnTo>
                  <a:lnTo>
                    <a:pt x="370" y="239"/>
                  </a:lnTo>
                  <a:lnTo>
                    <a:pt x="370" y="239"/>
                  </a:lnTo>
                  <a:lnTo>
                    <a:pt x="365" y="239"/>
                  </a:lnTo>
                  <a:lnTo>
                    <a:pt x="365" y="236"/>
                  </a:lnTo>
                  <a:lnTo>
                    <a:pt x="363" y="236"/>
                  </a:lnTo>
                  <a:lnTo>
                    <a:pt x="363" y="234"/>
                  </a:lnTo>
                  <a:lnTo>
                    <a:pt x="361" y="236"/>
                  </a:lnTo>
                  <a:lnTo>
                    <a:pt x="361" y="234"/>
                  </a:lnTo>
                  <a:lnTo>
                    <a:pt x="358" y="234"/>
                  </a:lnTo>
                  <a:lnTo>
                    <a:pt x="356" y="231"/>
                  </a:lnTo>
                  <a:lnTo>
                    <a:pt x="356" y="231"/>
                  </a:lnTo>
                  <a:lnTo>
                    <a:pt x="356" y="229"/>
                  </a:lnTo>
                  <a:lnTo>
                    <a:pt x="358" y="227"/>
                  </a:lnTo>
                  <a:lnTo>
                    <a:pt x="358" y="227"/>
                  </a:lnTo>
                  <a:lnTo>
                    <a:pt x="361" y="227"/>
                  </a:lnTo>
                  <a:lnTo>
                    <a:pt x="361" y="227"/>
                  </a:lnTo>
                  <a:lnTo>
                    <a:pt x="363" y="224"/>
                  </a:lnTo>
                  <a:lnTo>
                    <a:pt x="363" y="220"/>
                  </a:lnTo>
                  <a:lnTo>
                    <a:pt x="365" y="220"/>
                  </a:lnTo>
                  <a:lnTo>
                    <a:pt x="368" y="220"/>
                  </a:lnTo>
                  <a:lnTo>
                    <a:pt x="368" y="220"/>
                  </a:lnTo>
                  <a:lnTo>
                    <a:pt x="370" y="220"/>
                  </a:lnTo>
                  <a:lnTo>
                    <a:pt x="370" y="220"/>
                  </a:lnTo>
                  <a:lnTo>
                    <a:pt x="372" y="220"/>
                  </a:lnTo>
                  <a:lnTo>
                    <a:pt x="372" y="220"/>
                  </a:lnTo>
                  <a:lnTo>
                    <a:pt x="372" y="217"/>
                  </a:lnTo>
                  <a:lnTo>
                    <a:pt x="370" y="217"/>
                  </a:lnTo>
                  <a:lnTo>
                    <a:pt x="370" y="217"/>
                  </a:lnTo>
                  <a:lnTo>
                    <a:pt x="368" y="215"/>
                  </a:lnTo>
                  <a:lnTo>
                    <a:pt x="368" y="213"/>
                  </a:lnTo>
                  <a:lnTo>
                    <a:pt x="365" y="213"/>
                  </a:lnTo>
                  <a:lnTo>
                    <a:pt x="363" y="213"/>
                  </a:lnTo>
                  <a:lnTo>
                    <a:pt x="361" y="213"/>
                  </a:lnTo>
                  <a:lnTo>
                    <a:pt x="361" y="210"/>
                  </a:lnTo>
                  <a:lnTo>
                    <a:pt x="358" y="208"/>
                  </a:lnTo>
                  <a:lnTo>
                    <a:pt x="356" y="208"/>
                  </a:lnTo>
                  <a:lnTo>
                    <a:pt x="353" y="205"/>
                  </a:lnTo>
                  <a:lnTo>
                    <a:pt x="353" y="205"/>
                  </a:lnTo>
                  <a:lnTo>
                    <a:pt x="353" y="203"/>
                  </a:lnTo>
                  <a:lnTo>
                    <a:pt x="353" y="203"/>
                  </a:lnTo>
                  <a:lnTo>
                    <a:pt x="353" y="201"/>
                  </a:lnTo>
                  <a:lnTo>
                    <a:pt x="356" y="198"/>
                  </a:lnTo>
                  <a:lnTo>
                    <a:pt x="358" y="198"/>
                  </a:lnTo>
                  <a:lnTo>
                    <a:pt x="358" y="196"/>
                  </a:lnTo>
                  <a:lnTo>
                    <a:pt x="358" y="196"/>
                  </a:lnTo>
                  <a:lnTo>
                    <a:pt x="358" y="194"/>
                  </a:lnTo>
                  <a:lnTo>
                    <a:pt x="358" y="194"/>
                  </a:lnTo>
                  <a:lnTo>
                    <a:pt x="358" y="194"/>
                  </a:lnTo>
                  <a:lnTo>
                    <a:pt x="356" y="194"/>
                  </a:lnTo>
                  <a:lnTo>
                    <a:pt x="356" y="191"/>
                  </a:lnTo>
                  <a:lnTo>
                    <a:pt x="356" y="191"/>
                  </a:lnTo>
                  <a:lnTo>
                    <a:pt x="358" y="191"/>
                  </a:lnTo>
                  <a:lnTo>
                    <a:pt x="361" y="191"/>
                  </a:lnTo>
                  <a:lnTo>
                    <a:pt x="363" y="194"/>
                  </a:lnTo>
                  <a:lnTo>
                    <a:pt x="363" y="196"/>
                  </a:lnTo>
                  <a:lnTo>
                    <a:pt x="363" y="196"/>
                  </a:lnTo>
                  <a:lnTo>
                    <a:pt x="365" y="196"/>
                  </a:lnTo>
                  <a:lnTo>
                    <a:pt x="365" y="196"/>
                  </a:lnTo>
                  <a:lnTo>
                    <a:pt x="365" y="198"/>
                  </a:lnTo>
                  <a:lnTo>
                    <a:pt x="368" y="198"/>
                  </a:lnTo>
                  <a:lnTo>
                    <a:pt x="368" y="198"/>
                  </a:lnTo>
                  <a:lnTo>
                    <a:pt x="368" y="198"/>
                  </a:lnTo>
                  <a:lnTo>
                    <a:pt x="370" y="196"/>
                  </a:lnTo>
                  <a:lnTo>
                    <a:pt x="368" y="196"/>
                  </a:lnTo>
                  <a:lnTo>
                    <a:pt x="368" y="196"/>
                  </a:lnTo>
                  <a:lnTo>
                    <a:pt x="368" y="194"/>
                  </a:lnTo>
                  <a:lnTo>
                    <a:pt x="368" y="194"/>
                  </a:lnTo>
                  <a:lnTo>
                    <a:pt x="370" y="194"/>
                  </a:lnTo>
                  <a:lnTo>
                    <a:pt x="370" y="196"/>
                  </a:lnTo>
                  <a:lnTo>
                    <a:pt x="370" y="196"/>
                  </a:lnTo>
                  <a:lnTo>
                    <a:pt x="372" y="198"/>
                  </a:lnTo>
                  <a:lnTo>
                    <a:pt x="372" y="201"/>
                  </a:lnTo>
                  <a:lnTo>
                    <a:pt x="375" y="203"/>
                  </a:lnTo>
                  <a:lnTo>
                    <a:pt x="377" y="203"/>
                  </a:lnTo>
                  <a:lnTo>
                    <a:pt x="379" y="203"/>
                  </a:lnTo>
                  <a:lnTo>
                    <a:pt x="379" y="203"/>
                  </a:lnTo>
                  <a:lnTo>
                    <a:pt x="379" y="201"/>
                  </a:lnTo>
                  <a:lnTo>
                    <a:pt x="379" y="201"/>
                  </a:lnTo>
                  <a:lnTo>
                    <a:pt x="379" y="198"/>
                  </a:lnTo>
                  <a:lnTo>
                    <a:pt x="379" y="198"/>
                  </a:lnTo>
                  <a:lnTo>
                    <a:pt x="382" y="198"/>
                  </a:lnTo>
                  <a:lnTo>
                    <a:pt x="382" y="198"/>
                  </a:lnTo>
                  <a:lnTo>
                    <a:pt x="384" y="203"/>
                  </a:lnTo>
                  <a:lnTo>
                    <a:pt x="384" y="205"/>
                  </a:lnTo>
                  <a:lnTo>
                    <a:pt x="386" y="213"/>
                  </a:lnTo>
                  <a:lnTo>
                    <a:pt x="386" y="215"/>
                  </a:lnTo>
                  <a:lnTo>
                    <a:pt x="386" y="217"/>
                  </a:lnTo>
                  <a:lnTo>
                    <a:pt x="386" y="217"/>
                  </a:lnTo>
                  <a:lnTo>
                    <a:pt x="386" y="217"/>
                  </a:lnTo>
                  <a:lnTo>
                    <a:pt x="389" y="217"/>
                  </a:lnTo>
                  <a:lnTo>
                    <a:pt x="391" y="220"/>
                  </a:lnTo>
                  <a:lnTo>
                    <a:pt x="394" y="220"/>
                  </a:lnTo>
                  <a:lnTo>
                    <a:pt x="396" y="220"/>
                  </a:lnTo>
                  <a:lnTo>
                    <a:pt x="398" y="220"/>
                  </a:lnTo>
                  <a:lnTo>
                    <a:pt x="401" y="220"/>
                  </a:lnTo>
                  <a:lnTo>
                    <a:pt x="403" y="220"/>
                  </a:lnTo>
                  <a:lnTo>
                    <a:pt x="405" y="220"/>
                  </a:lnTo>
                  <a:lnTo>
                    <a:pt x="410" y="220"/>
                  </a:lnTo>
                  <a:lnTo>
                    <a:pt x="415" y="220"/>
                  </a:lnTo>
                  <a:lnTo>
                    <a:pt x="417" y="220"/>
                  </a:lnTo>
                  <a:lnTo>
                    <a:pt x="417" y="222"/>
                  </a:lnTo>
                  <a:lnTo>
                    <a:pt x="422" y="220"/>
                  </a:lnTo>
                  <a:lnTo>
                    <a:pt x="429" y="220"/>
                  </a:lnTo>
                  <a:lnTo>
                    <a:pt x="431" y="222"/>
                  </a:lnTo>
                  <a:lnTo>
                    <a:pt x="434" y="224"/>
                  </a:lnTo>
                  <a:lnTo>
                    <a:pt x="436" y="224"/>
                  </a:lnTo>
                  <a:lnTo>
                    <a:pt x="436" y="227"/>
                  </a:lnTo>
                  <a:lnTo>
                    <a:pt x="436" y="227"/>
                  </a:lnTo>
                  <a:lnTo>
                    <a:pt x="436" y="227"/>
                  </a:lnTo>
                  <a:lnTo>
                    <a:pt x="436" y="227"/>
                  </a:lnTo>
                  <a:lnTo>
                    <a:pt x="434" y="227"/>
                  </a:lnTo>
                  <a:lnTo>
                    <a:pt x="431" y="227"/>
                  </a:lnTo>
                  <a:lnTo>
                    <a:pt x="434" y="229"/>
                  </a:lnTo>
                  <a:lnTo>
                    <a:pt x="434" y="229"/>
                  </a:lnTo>
                  <a:lnTo>
                    <a:pt x="431" y="231"/>
                  </a:lnTo>
                  <a:lnTo>
                    <a:pt x="431" y="234"/>
                  </a:lnTo>
                  <a:lnTo>
                    <a:pt x="431" y="236"/>
                  </a:lnTo>
                  <a:lnTo>
                    <a:pt x="431" y="236"/>
                  </a:lnTo>
                  <a:lnTo>
                    <a:pt x="431" y="236"/>
                  </a:lnTo>
                  <a:lnTo>
                    <a:pt x="429" y="236"/>
                  </a:lnTo>
                  <a:lnTo>
                    <a:pt x="429" y="239"/>
                  </a:lnTo>
                  <a:lnTo>
                    <a:pt x="429" y="239"/>
                  </a:lnTo>
                  <a:lnTo>
                    <a:pt x="429" y="239"/>
                  </a:lnTo>
                  <a:lnTo>
                    <a:pt x="429" y="241"/>
                  </a:lnTo>
                  <a:lnTo>
                    <a:pt x="427" y="241"/>
                  </a:lnTo>
                  <a:lnTo>
                    <a:pt x="427" y="241"/>
                  </a:lnTo>
                  <a:lnTo>
                    <a:pt x="424" y="241"/>
                  </a:lnTo>
                  <a:lnTo>
                    <a:pt x="424" y="241"/>
                  </a:lnTo>
                  <a:lnTo>
                    <a:pt x="424" y="241"/>
                  </a:lnTo>
                  <a:lnTo>
                    <a:pt x="422" y="243"/>
                  </a:lnTo>
                  <a:lnTo>
                    <a:pt x="422" y="243"/>
                  </a:lnTo>
                  <a:lnTo>
                    <a:pt x="419" y="243"/>
                  </a:lnTo>
                  <a:lnTo>
                    <a:pt x="419" y="243"/>
                  </a:lnTo>
                  <a:lnTo>
                    <a:pt x="419" y="243"/>
                  </a:lnTo>
                  <a:lnTo>
                    <a:pt x="419" y="246"/>
                  </a:lnTo>
                  <a:lnTo>
                    <a:pt x="417" y="246"/>
                  </a:lnTo>
                  <a:lnTo>
                    <a:pt x="417" y="250"/>
                  </a:lnTo>
                  <a:lnTo>
                    <a:pt x="417" y="253"/>
                  </a:lnTo>
                  <a:lnTo>
                    <a:pt x="417" y="253"/>
                  </a:lnTo>
                  <a:lnTo>
                    <a:pt x="419" y="257"/>
                  </a:lnTo>
                  <a:lnTo>
                    <a:pt x="422" y="265"/>
                  </a:lnTo>
                  <a:lnTo>
                    <a:pt x="422" y="265"/>
                  </a:lnTo>
                  <a:lnTo>
                    <a:pt x="422" y="265"/>
                  </a:lnTo>
                  <a:lnTo>
                    <a:pt x="422" y="265"/>
                  </a:lnTo>
                  <a:lnTo>
                    <a:pt x="422" y="265"/>
                  </a:lnTo>
                  <a:lnTo>
                    <a:pt x="422" y="262"/>
                  </a:lnTo>
                  <a:lnTo>
                    <a:pt x="422" y="262"/>
                  </a:lnTo>
                  <a:lnTo>
                    <a:pt x="422" y="262"/>
                  </a:lnTo>
                  <a:lnTo>
                    <a:pt x="424" y="262"/>
                  </a:lnTo>
                  <a:lnTo>
                    <a:pt x="424" y="265"/>
                  </a:lnTo>
                  <a:lnTo>
                    <a:pt x="427" y="267"/>
                  </a:lnTo>
                  <a:lnTo>
                    <a:pt x="427" y="267"/>
                  </a:lnTo>
                  <a:lnTo>
                    <a:pt x="429" y="267"/>
                  </a:lnTo>
                  <a:lnTo>
                    <a:pt x="429" y="265"/>
                  </a:lnTo>
                  <a:lnTo>
                    <a:pt x="429" y="265"/>
                  </a:lnTo>
                  <a:lnTo>
                    <a:pt x="429" y="262"/>
                  </a:lnTo>
                  <a:lnTo>
                    <a:pt x="429" y="260"/>
                  </a:lnTo>
                  <a:lnTo>
                    <a:pt x="429" y="257"/>
                  </a:lnTo>
                  <a:lnTo>
                    <a:pt x="431" y="255"/>
                  </a:lnTo>
                  <a:lnTo>
                    <a:pt x="431" y="255"/>
                  </a:lnTo>
                  <a:lnTo>
                    <a:pt x="431" y="253"/>
                  </a:lnTo>
                  <a:lnTo>
                    <a:pt x="431" y="253"/>
                  </a:lnTo>
                  <a:lnTo>
                    <a:pt x="431" y="253"/>
                  </a:lnTo>
                  <a:lnTo>
                    <a:pt x="434" y="253"/>
                  </a:lnTo>
                  <a:lnTo>
                    <a:pt x="434" y="250"/>
                  </a:lnTo>
                  <a:lnTo>
                    <a:pt x="434" y="250"/>
                  </a:lnTo>
                  <a:lnTo>
                    <a:pt x="436" y="253"/>
                  </a:lnTo>
                  <a:lnTo>
                    <a:pt x="436" y="253"/>
                  </a:lnTo>
                  <a:lnTo>
                    <a:pt x="438" y="255"/>
                  </a:lnTo>
                  <a:lnTo>
                    <a:pt x="438" y="260"/>
                  </a:lnTo>
                  <a:lnTo>
                    <a:pt x="438" y="262"/>
                  </a:lnTo>
                  <a:lnTo>
                    <a:pt x="441" y="265"/>
                  </a:lnTo>
                  <a:lnTo>
                    <a:pt x="441" y="267"/>
                  </a:lnTo>
                  <a:lnTo>
                    <a:pt x="441" y="269"/>
                  </a:lnTo>
                  <a:lnTo>
                    <a:pt x="443" y="269"/>
                  </a:lnTo>
                  <a:lnTo>
                    <a:pt x="443" y="272"/>
                  </a:lnTo>
                  <a:lnTo>
                    <a:pt x="443" y="272"/>
                  </a:lnTo>
                  <a:lnTo>
                    <a:pt x="445" y="276"/>
                  </a:lnTo>
                  <a:lnTo>
                    <a:pt x="445" y="279"/>
                  </a:lnTo>
                  <a:lnTo>
                    <a:pt x="445" y="286"/>
                  </a:lnTo>
                  <a:lnTo>
                    <a:pt x="448" y="288"/>
                  </a:lnTo>
                  <a:lnTo>
                    <a:pt x="448" y="288"/>
                  </a:lnTo>
                  <a:lnTo>
                    <a:pt x="448" y="286"/>
                  </a:lnTo>
                  <a:lnTo>
                    <a:pt x="448" y="286"/>
                  </a:lnTo>
                  <a:lnTo>
                    <a:pt x="448" y="284"/>
                  </a:lnTo>
                  <a:lnTo>
                    <a:pt x="450" y="284"/>
                  </a:lnTo>
                  <a:lnTo>
                    <a:pt x="450" y="286"/>
                  </a:lnTo>
                  <a:lnTo>
                    <a:pt x="452" y="288"/>
                  </a:lnTo>
                  <a:lnTo>
                    <a:pt x="452" y="288"/>
                  </a:lnTo>
                  <a:lnTo>
                    <a:pt x="455" y="288"/>
                  </a:lnTo>
                  <a:lnTo>
                    <a:pt x="455" y="284"/>
                  </a:lnTo>
                  <a:lnTo>
                    <a:pt x="455" y="284"/>
                  </a:lnTo>
                  <a:lnTo>
                    <a:pt x="455" y="284"/>
                  </a:lnTo>
                  <a:lnTo>
                    <a:pt x="457" y="284"/>
                  </a:lnTo>
                  <a:lnTo>
                    <a:pt x="457" y="284"/>
                  </a:lnTo>
                  <a:lnTo>
                    <a:pt x="457" y="281"/>
                  </a:lnTo>
                  <a:lnTo>
                    <a:pt x="457" y="279"/>
                  </a:lnTo>
                  <a:lnTo>
                    <a:pt x="455" y="276"/>
                  </a:lnTo>
                  <a:lnTo>
                    <a:pt x="455" y="274"/>
                  </a:lnTo>
                  <a:lnTo>
                    <a:pt x="455" y="272"/>
                  </a:lnTo>
                  <a:lnTo>
                    <a:pt x="455" y="269"/>
                  </a:lnTo>
                  <a:lnTo>
                    <a:pt x="455" y="269"/>
                  </a:lnTo>
                  <a:lnTo>
                    <a:pt x="455" y="267"/>
                  </a:lnTo>
                  <a:lnTo>
                    <a:pt x="455" y="265"/>
                  </a:lnTo>
                  <a:lnTo>
                    <a:pt x="455" y="265"/>
                  </a:lnTo>
                  <a:lnTo>
                    <a:pt x="457" y="267"/>
                  </a:lnTo>
                  <a:lnTo>
                    <a:pt x="457" y="265"/>
                  </a:lnTo>
                  <a:lnTo>
                    <a:pt x="457" y="265"/>
                  </a:lnTo>
                  <a:lnTo>
                    <a:pt x="457" y="265"/>
                  </a:lnTo>
                  <a:lnTo>
                    <a:pt x="457" y="260"/>
                  </a:lnTo>
                  <a:lnTo>
                    <a:pt x="457" y="255"/>
                  </a:lnTo>
                  <a:lnTo>
                    <a:pt x="457" y="253"/>
                  </a:lnTo>
                  <a:lnTo>
                    <a:pt x="457" y="250"/>
                  </a:lnTo>
                  <a:lnTo>
                    <a:pt x="455" y="246"/>
                  </a:lnTo>
                  <a:lnTo>
                    <a:pt x="455" y="243"/>
                  </a:lnTo>
                  <a:lnTo>
                    <a:pt x="455" y="243"/>
                  </a:lnTo>
                  <a:lnTo>
                    <a:pt x="457" y="246"/>
                  </a:lnTo>
                  <a:lnTo>
                    <a:pt x="457" y="246"/>
                  </a:lnTo>
                  <a:lnTo>
                    <a:pt x="460" y="246"/>
                  </a:lnTo>
                  <a:lnTo>
                    <a:pt x="460" y="246"/>
                  </a:lnTo>
                  <a:lnTo>
                    <a:pt x="462" y="246"/>
                  </a:lnTo>
                  <a:lnTo>
                    <a:pt x="462" y="246"/>
                  </a:lnTo>
                  <a:lnTo>
                    <a:pt x="464" y="246"/>
                  </a:lnTo>
                  <a:lnTo>
                    <a:pt x="467" y="248"/>
                  </a:lnTo>
                  <a:lnTo>
                    <a:pt x="469" y="248"/>
                  </a:lnTo>
                  <a:lnTo>
                    <a:pt x="469" y="248"/>
                  </a:lnTo>
                  <a:lnTo>
                    <a:pt x="471" y="246"/>
                  </a:lnTo>
                  <a:lnTo>
                    <a:pt x="471" y="243"/>
                  </a:lnTo>
                  <a:lnTo>
                    <a:pt x="471" y="239"/>
                  </a:lnTo>
                  <a:lnTo>
                    <a:pt x="471" y="236"/>
                  </a:lnTo>
                  <a:lnTo>
                    <a:pt x="474" y="234"/>
                  </a:lnTo>
                  <a:lnTo>
                    <a:pt x="474" y="231"/>
                  </a:lnTo>
                  <a:lnTo>
                    <a:pt x="476" y="229"/>
                  </a:lnTo>
                  <a:lnTo>
                    <a:pt x="476" y="224"/>
                  </a:lnTo>
                  <a:lnTo>
                    <a:pt x="476" y="222"/>
                  </a:lnTo>
                  <a:lnTo>
                    <a:pt x="476" y="222"/>
                  </a:lnTo>
                  <a:lnTo>
                    <a:pt x="476" y="222"/>
                  </a:lnTo>
                  <a:lnTo>
                    <a:pt x="474" y="220"/>
                  </a:lnTo>
                  <a:lnTo>
                    <a:pt x="474" y="220"/>
                  </a:lnTo>
                  <a:lnTo>
                    <a:pt x="474" y="220"/>
                  </a:lnTo>
                  <a:lnTo>
                    <a:pt x="474" y="220"/>
                  </a:lnTo>
                  <a:lnTo>
                    <a:pt x="474" y="217"/>
                  </a:lnTo>
                  <a:lnTo>
                    <a:pt x="474" y="215"/>
                  </a:lnTo>
                  <a:lnTo>
                    <a:pt x="474" y="215"/>
                  </a:lnTo>
                  <a:lnTo>
                    <a:pt x="476" y="213"/>
                  </a:lnTo>
                  <a:lnTo>
                    <a:pt x="478" y="210"/>
                  </a:lnTo>
                  <a:lnTo>
                    <a:pt x="478" y="210"/>
                  </a:lnTo>
                  <a:lnTo>
                    <a:pt x="478" y="208"/>
                  </a:lnTo>
                  <a:lnTo>
                    <a:pt x="478" y="205"/>
                  </a:lnTo>
                  <a:lnTo>
                    <a:pt x="478" y="203"/>
                  </a:lnTo>
                  <a:lnTo>
                    <a:pt x="481" y="203"/>
                  </a:lnTo>
                  <a:lnTo>
                    <a:pt x="481" y="203"/>
                  </a:lnTo>
                  <a:lnTo>
                    <a:pt x="481" y="201"/>
                  </a:lnTo>
                  <a:lnTo>
                    <a:pt x="481" y="201"/>
                  </a:lnTo>
                  <a:lnTo>
                    <a:pt x="478" y="198"/>
                  </a:lnTo>
                  <a:lnTo>
                    <a:pt x="478" y="196"/>
                  </a:lnTo>
                  <a:lnTo>
                    <a:pt x="478" y="194"/>
                  </a:lnTo>
                  <a:lnTo>
                    <a:pt x="478" y="191"/>
                  </a:lnTo>
                  <a:lnTo>
                    <a:pt x="478" y="191"/>
                  </a:lnTo>
                  <a:lnTo>
                    <a:pt x="481" y="189"/>
                  </a:lnTo>
                  <a:lnTo>
                    <a:pt x="481" y="189"/>
                  </a:lnTo>
                  <a:lnTo>
                    <a:pt x="483" y="187"/>
                  </a:lnTo>
                  <a:lnTo>
                    <a:pt x="488" y="182"/>
                  </a:lnTo>
                  <a:lnTo>
                    <a:pt x="490" y="182"/>
                  </a:lnTo>
                  <a:lnTo>
                    <a:pt x="490" y="182"/>
                  </a:lnTo>
                  <a:lnTo>
                    <a:pt x="493" y="179"/>
                  </a:lnTo>
                  <a:lnTo>
                    <a:pt x="493" y="177"/>
                  </a:lnTo>
                  <a:lnTo>
                    <a:pt x="495" y="177"/>
                  </a:lnTo>
                  <a:lnTo>
                    <a:pt x="497" y="175"/>
                  </a:lnTo>
                  <a:lnTo>
                    <a:pt x="504" y="175"/>
                  </a:lnTo>
                  <a:lnTo>
                    <a:pt x="504" y="175"/>
                  </a:lnTo>
                  <a:lnTo>
                    <a:pt x="507" y="175"/>
                  </a:lnTo>
                  <a:lnTo>
                    <a:pt x="507" y="177"/>
                  </a:lnTo>
                  <a:lnTo>
                    <a:pt x="509" y="179"/>
                  </a:lnTo>
                  <a:lnTo>
                    <a:pt x="511" y="179"/>
                  </a:lnTo>
                  <a:lnTo>
                    <a:pt x="511" y="179"/>
                  </a:lnTo>
                  <a:lnTo>
                    <a:pt x="511" y="177"/>
                  </a:lnTo>
                  <a:lnTo>
                    <a:pt x="507" y="172"/>
                  </a:lnTo>
                  <a:lnTo>
                    <a:pt x="507" y="170"/>
                  </a:lnTo>
                  <a:lnTo>
                    <a:pt x="507" y="170"/>
                  </a:lnTo>
                  <a:lnTo>
                    <a:pt x="507" y="168"/>
                  </a:lnTo>
                  <a:lnTo>
                    <a:pt x="507" y="16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8" name="Freeform 324"/>
            <p:cNvSpPr>
              <a:spLocks/>
            </p:cNvSpPr>
            <p:nvPr userDrawn="1"/>
          </p:nvSpPr>
          <p:spPr bwMode="auto">
            <a:xfrm>
              <a:off x="3358" y="1434"/>
              <a:ext cx="154" cy="59"/>
            </a:xfrm>
            <a:custGeom>
              <a:avLst/>
              <a:gdLst>
                <a:gd name="T0" fmla="*/ 151 w 154"/>
                <a:gd name="T1" fmla="*/ 19 h 59"/>
                <a:gd name="T2" fmla="*/ 144 w 154"/>
                <a:gd name="T3" fmla="*/ 14 h 59"/>
                <a:gd name="T4" fmla="*/ 139 w 154"/>
                <a:gd name="T5" fmla="*/ 12 h 59"/>
                <a:gd name="T6" fmla="*/ 137 w 154"/>
                <a:gd name="T7" fmla="*/ 9 h 59"/>
                <a:gd name="T8" fmla="*/ 144 w 154"/>
                <a:gd name="T9" fmla="*/ 2 h 59"/>
                <a:gd name="T10" fmla="*/ 128 w 154"/>
                <a:gd name="T11" fmla="*/ 5 h 59"/>
                <a:gd name="T12" fmla="*/ 118 w 154"/>
                <a:gd name="T13" fmla="*/ 0 h 59"/>
                <a:gd name="T14" fmla="*/ 109 w 154"/>
                <a:gd name="T15" fmla="*/ 7 h 59"/>
                <a:gd name="T16" fmla="*/ 99 w 154"/>
                <a:gd name="T17" fmla="*/ 9 h 59"/>
                <a:gd name="T18" fmla="*/ 90 w 154"/>
                <a:gd name="T19" fmla="*/ 7 h 59"/>
                <a:gd name="T20" fmla="*/ 90 w 154"/>
                <a:gd name="T21" fmla="*/ 14 h 59"/>
                <a:gd name="T22" fmla="*/ 80 w 154"/>
                <a:gd name="T23" fmla="*/ 7 h 59"/>
                <a:gd name="T24" fmla="*/ 73 w 154"/>
                <a:gd name="T25" fmla="*/ 14 h 59"/>
                <a:gd name="T26" fmla="*/ 64 w 154"/>
                <a:gd name="T27" fmla="*/ 7 h 59"/>
                <a:gd name="T28" fmla="*/ 57 w 154"/>
                <a:gd name="T29" fmla="*/ 19 h 59"/>
                <a:gd name="T30" fmla="*/ 50 w 154"/>
                <a:gd name="T31" fmla="*/ 21 h 59"/>
                <a:gd name="T32" fmla="*/ 45 w 154"/>
                <a:gd name="T33" fmla="*/ 19 h 59"/>
                <a:gd name="T34" fmla="*/ 43 w 154"/>
                <a:gd name="T35" fmla="*/ 16 h 59"/>
                <a:gd name="T36" fmla="*/ 45 w 154"/>
                <a:gd name="T37" fmla="*/ 14 h 59"/>
                <a:gd name="T38" fmla="*/ 47 w 154"/>
                <a:gd name="T39" fmla="*/ 9 h 59"/>
                <a:gd name="T40" fmla="*/ 33 w 154"/>
                <a:gd name="T41" fmla="*/ 2 h 59"/>
                <a:gd name="T42" fmla="*/ 29 w 154"/>
                <a:gd name="T43" fmla="*/ 5 h 59"/>
                <a:gd name="T44" fmla="*/ 26 w 154"/>
                <a:gd name="T45" fmla="*/ 5 h 59"/>
                <a:gd name="T46" fmla="*/ 31 w 154"/>
                <a:gd name="T47" fmla="*/ 12 h 59"/>
                <a:gd name="T48" fmla="*/ 29 w 154"/>
                <a:gd name="T49" fmla="*/ 9 h 59"/>
                <a:gd name="T50" fmla="*/ 24 w 154"/>
                <a:gd name="T51" fmla="*/ 9 h 59"/>
                <a:gd name="T52" fmla="*/ 17 w 154"/>
                <a:gd name="T53" fmla="*/ 7 h 59"/>
                <a:gd name="T54" fmla="*/ 14 w 154"/>
                <a:gd name="T55" fmla="*/ 9 h 59"/>
                <a:gd name="T56" fmla="*/ 12 w 154"/>
                <a:gd name="T57" fmla="*/ 14 h 59"/>
                <a:gd name="T58" fmla="*/ 7 w 154"/>
                <a:gd name="T59" fmla="*/ 14 h 59"/>
                <a:gd name="T60" fmla="*/ 7 w 154"/>
                <a:gd name="T61" fmla="*/ 19 h 59"/>
                <a:gd name="T62" fmla="*/ 7 w 154"/>
                <a:gd name="T63" fmla="*/ 21 h 59"/>
                <a:gd name="T64" fmla="*/ 31 w 154"/>
                <a:gd name="T65" fmla="*/ 19 h 59"/>
                <a:gd name="T66" fmla="*/ 26 w 154"/>
                <a:gd name="T67" fmla="*/ 24 h 59"/>
                <a:gd name="T68" fmla="*/ 36 w 154"/>
                <a:gd name="T69" fmla="*/ 28 h 59"/>
                <a:gd name="T70" fmla="*/ 22 w 154"/>
                <a:gd name="T71" fmla="*/ 28 h 59"/>
                <a:gd name="T72" fmla="*/ 10 w 154"/>
                <a:gd name="T73" fmla="*/ 31 h 59"/>
                <a:gd name="T74" fmla="*/ 5 w 154"/>
                <a:gd name="T75" fmla="*/ 33 h 59"/>
                <a:gd name="T76" fmla="*/ 29 w 154"/>
                <a:gd name="T77" fmla="*/ 33 h 59"/>
                <a:gd name="T78" fmla="*/ 36 w 154"/>
                <a:gd name="T79" fmla="*/ 35 h 59"/>
                <a:gd name="T80" fmla="*/ 31 w 154"/>
                <a:gd name="T81" fmla="*/ 40 h 59"/>
                <a:gd name="T82" fmla="*/ 38 w 154"/>
                <a:gd name="T83" fmla="*/ 40 h 59"/>
                <a:gd name="T84" fmla="*/ 29 w 154"/>
                <a:gd name="T85" fmla="*/ 45 h 59"/>
                <a:gd name="T86" fmla="*/ 19 w 154"/>
                <a:gd name="T87" fmla="*/ 47 h 59"/>
                <a:gd name="T88" fmla="*/ 36 w 154"/>
                <a:gd name="T89" fmla="*/ 50 h 59"/>
                <a:gd name="T90" fmla="*/ 43 w 154"/>
                <a:gd name="T91" fmla="*/ 50 h 59"/>
                <a:gd name="T92" fmla="*/ 50 w 154"/>
                <a:gd name="T93" fmla="*/ 52 h 59"/>
                <a:gd name="T94" fmla="*/ 55 w 154"/>
                <a:gd name="T95" fmla="*/ 54 h 59"/>
                <a:gd name="T96" fmla="*/ 80 w 154"/>
                <a:gd name="T97" fmla="*/ 57 h 59"/>
                <a:gd name="T98" fmla="*/ 85 w 154"/>
                <a:gd name="T99" fmla="*/ 54 h 59"/>
                <a:gd name="T100" fmla="*/ 104 w 154"/>
                <a:gd name="T101" fmla="*/ 50 h 59"/>
                <a:gd name="T102" fmla="*/ 130 w 154"/>
                <a:gd name="T103" fmla="*/ 40 h 59"/>
                <a:gd name="T104" fmla="*/ 139 w 154"/>
                <a:gd name="T105" fmla="*/ 35 h 59"/>
                <a:gd name="T106" fmla="*/ 149 w 154"/>
                <a:gd name="T107" fmla="*/ 31 h 59"/>
                <a:gd name="T108" fmla="*/ 154 w 154"/>
                <a:gd name="T109" fmla="*/ 26 h 59"/>
                <a:gd name="T110" fmla="*/ 151 w 154"/>
                <a:gd name="T11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59">
                  <a:moveTo>
                    <a:pt x="151" y="21"/>
                  </a:moveTo>
                  <a:lnTo>
                    <a:pt x="151" y="21"/>
                  </a:lnTo>
                  <a:lnTo>
                    <a:pt x="154" y="21"/>
                  </a:lnTo>
                  <a:lnTo>
                    <a:pt x="154" y="19"/>
                  </a:lnTo>
                  <a:lnTo>
                    <a:pt x="154" y="19"/>
                  </a:lnTo>
                  <a:lnTo>
                    <a:pt x="154" y="19"/>
                  </a:lnTo>
                  <a:lnTo>
                    <a:pt x="154" y="19"/>
                  </a:lnTo>
                  <a:lnTo>
                    <a:pt x="151" y="19"/>
                  </a:lnTo>
                  <a:lnTo>
                    <a:pt x="151" y="16"/>
                  </a:lnTo>
                  <a:lnTo>
                    <a:pt x="149" y="16"/>
                  </a:lnTo>
                  <a:lnTo>
                    <a:pt x="146" y="16"/>
                  </a:lnTo>
                  <a:lnTo>
                    <a:pt x="144" y="16"/>
                  </a:lnTo>
                  <a:lnTo>
                    <a:pt x="142" y="16"/>
                  </a:lnTo>
                  <a:lnTo>
                    <a:pt x="144" y="16"/>
                  </a:lnTo>
                  <a:lnTo>
                    <a:pt x="144" y="16"/>
                  </a:lnTo>
                  <a:lnTo>
                    <a:pt x="144" y="14"/>
                  </a:lnTo>
                  <a:lnTo>
                    <a:pt x="144" y="14"/>
                  </a:lnTo>
                  <a:lnTo>
                    <a:pt x="144" y="14"/>
                  </a:lnTo>
                  <a:lnTo>
                    <a:pt x="144" y="14"/>
                  </a:lnTo>
                  <a:lnTo>
                    <a:pt x="144" y="14"/>
                  </a:lnTo>
                  <a:lnTo>
                    <a:pt x="139" y="14"/>
                  </a:lnTo>
                  <a:lnTo>
                    <a:pt x="137" y="14"/>
                  </a:lnTo>
                  <a:lnTo>
                    <a:pt x="137" y="14"/>
                  </a:lnTo>
                  <a:lnTo>
                    <a:pt x="139" y="12"/>
                  </a:lnTo>
                  <a:lnTo>
                    <a:pt x="139" y="12"/>
                  </a:lnTo>
                  <a:lnTo>
                    <a:pt x="139" y="9"/>
                  </a:lnTo>
                  <a:lnTo>
                    <a:pt x="139" y="9"/>
                  </a:lnTo>
                  <a:lnTo>
                    <a:pt x="139" y="9"/>
                  </a:lnTo>
                  <a:lnTo>
                    <a:pt x="139" y="9"/>
                  </a:lnTo>
                  <a:lnTo>
                    <a:pt x="139" y="9"/>
                  </a:lnTo>
                  <a:lnTo>
                    <a:pt x="137" y="9"/>
                  </a:lnTo>
                  <a:lnTo>
                    <a:pt x="137" y="9"/>
                  </a:lnTo>
                  <a:lnTo>
                    <a:pt x="135" y="7"/>
                  </a:lnTo>
                  <a:lnTo>
                    <a:pt x="135" y="7"/>
                  </a:lnTo>
                  <a:lnTo>
                    <a:pt x="137" y="7"/>
                  </a:lnTo>
                  <a:lnTo>
                    <a:pt x="139" y="5"/>
                  </a:lnTo>
                  <a:lnTo>
                    <a:pt x="139" y="5"/>
                  </a:lnTo>
                  <a:lnTo>
                    <a:pt x="142" y="5"/>
                  </a:lnTo>
                  <a:lnTo>
                    <a:pt x="144" y="2"/>
                  </a:lnTo>
                  <a:lnTo>
                    <a:pt x="144" y="2"/>
                  </a:lnTo>
                  <a:lnTo>
                    <a:pt x="142" y="2"/>
                  </a:lnTo>
                  <a:lnTo>
                    <a:pt x="139" y="2"/>
                  </a:lnTo>
                  <a:lnTo>
                    <a:pt x="137" y="2"/>
                  </a:lnTo>
                  <a:lnTo>
                    <a:pt x="135" y="5"/>
                  </a:lnTo>
                  <a:lnTo>
                    <a:pt x="135" y="5"/>
                  </a:lnTo>
                  <a:lnTo>
                    <a:pt x="130" y="5"/>
                  </a:lnTo>
                  <a:lnTo>
                    <a:pt x="130" y="5"/>
                  </a:lnTo>
                  <a:lnTo>
                    <a:pt x="128" y="5"/>
                  </a:lnTo>
                  <a:lnTo>
                    <a:pt x="128" y="5"/>
                  </a:lnTo>
                  <a:lnTo>
                    <a:pt x="128" y="2"/>
                  </a:lnTo>
                  <a:lnTo>
                    <a:pt x="128" y="2"/>
                  </a:lnTo>
                  <a:lnTo>
                    <a:pt x="125" y="2"/>
                  </a:lnTo>
                  <a:lnTo>
                    <a:pt x="125" y="0"/>
                  </a:lnTo>
                  <a:lnTo>
                    <a:pt x="123" y="0"/>
                  </a:lnTo>
                  <a:lnTo>
                    <a:pt x="121" y="0"/>
                  </a:lnTo>
                  <a:lnTo>
                    <a:pt x="118" y="0"/>
                  </a:lnTo>
                  <a:lnTo>
                    <a:pt x="116" y="2"/>
                  </a:lnTo>
                  <a:lnTo>
                    <a:pt x="118" y="5"/>
                  </a:lnTo>
                  <a:lnTo>
                    <a:pt x="116" y="5"/>
                  </a:lnTo>
                  <a:lnTo>
                    <a:pt x="116" y="7"/>
                  </a:lnTo>
                  <a:lnTo>
                    <a:pt x="113" y="7"/>
                  </a:lnTo>
                  <a:lnTo>
                    <a:pt x="111" y="7"/>
                  </a:lnTo>
                  <a:lnTo>
                    <a:pt x="111" y="7"/>
                  </a:lnTo>
                  <a:lnTo>
                    <a:pt x="109" y="7"/>
                  </a:lnTo>
                  <a:lnTo>
                    <a:pt x="109" y="7"/>
                  </a:lnTo>
                  <a:lnTo>
                    <a:pt x="109" y="7"/>
                  </a:lnTo>
                  <a:lnTo>
                    <a:pt x="106" y="7"/>
                  </a:lnTo>
                  <a:lnTo>
                    <a:pt x="106" y="7"/>
                  </a:lnTo>
                  <a:lnTo>
                    <a:pt x="104" y="7"/>
                  </a:lnTo>
                  <a:lnTo>
                    <a:pt x="102" y="9"/>
                  </a:lnTo>
                  <a:lnTo>
                    <a:pt x="102" y="9"/>
                  </a:lnTo>
                  <a:lnTo>
                    <a:pt x="99" y="9"/>
                  </a:lnTo>
                  <a:lnTo>
                    <a:pt x="99" y="9"/>
                  </a:lnTo>
                  <a:lnTo>
                    <a:pt x="99" y="9"/>
                  </a:lnTo>
                  <a:lnTo>
                    <a:pt x="99" y="9"/>
                  </a:lnTo>
                  <a:lnTo>
                    <a:pt x="97" y="7"/>
                  </a:lnTo>
                  <a:lnTo>
                    <a:pt x="97" y="7"/>
                  </a:lnTo>
                  <a:lnTo>
                    <a:pt x="92" y="7"/>
                  </a:lnTo>
                  <a:lnTo>
                    <a:pt x="90" y="7"/>
                  </a:lnTo>
                  <a:lnTo>
                    <a:pt x="90" y="7"/>
                  </a:lnTo>
                  <a:lnTo>
                    <a:pt x="90" y="7"/>
                  </a:lnTo>
                  <a:lnTo>
                    <a:pt x="92" y="12"/>
                  </a:lnTo>
                  <a:lnTo>
                    <a:pt x="92" y="12"/>
                  </a:lnTo>
                  <a:lnTo>
                    <a:pt x="92" y="14"/>
                  </a:lnTo>
                  <a:lnTo>
                    <a:pt x="92" y="14"/>
                  </a:lnTo>
                  <a:lnTo>
                    <a:pt x="90" y="14"/>
                  </a:lnTo>
                  <a:lnTo>
                    <a:pt x="90" y="14"/>
                  </a:lnTo>
                  <a:lnTo>
                    <a:pt x="90" y="14"/>
                  </a:lnTo>
                  <a:lnTo>
                    <a:pt x="90" y="12"/>
                  </a:lnTo>
                  <a:lnTo>
                    <a:pt x="88" y="9"/>
                  </a:lnTo>
                  <a:lnTo>
                    <a:pt x="85" y="9"/>
                  </a:lnTo>
                  <a:lnTo>
                    <a:pt x="85" y="7"/>
                  </a:lnTo>
                  <a:lnTo>
                    <a:pt x="83" y="7"/>
                  </a:lnTo>
                  <a:lnTo>
                    <a:pt x="83" y="7"/>
                  </a:lnTo>
                  <a:lnTo>
                    <a:pt x="83" y="7"/>
                  </a:lnTo>
                  <a:lnTo>
                    <a:pt x="80" y="7"/>
                  </a:lnTo>
                  <a:lnTo>
                    <a:pt x="78" y="7"/>
                  </a:lnTo>
                  <a:lnTo>
                    <a:pt x="78" y="7"/>
                  </a:lnTo>
                  <a:lnTo>
                    <a:pt x="76" y="9"/>
                  </a:lnTo>
                  <a:lnTo>
                    <a:pt x="73" y="9"/>
                  </a:lnTo>
                  <a:lnTo>
                    <a:pt x="73" y="9"/>
                  </a:lnTo>
                  <a:lnTo>
                    <a:pt x="73" y="14"/>
                  </a:lnTo>
                  <a:lnTo>
                    <a:pt x="73" y="14"/>
                  </a:lnTo>
                  <a:lnTo>
                    <a:pt x="73" y="14"/>
                  </a:lnTo>
                  <a:lnTo>
                    <a:pt x="71" y="14"/>
                  </a:lnTo>
                  <a:lnTo>
                    <a:pt x="71" y="14"/>
                  </a:lnTo>
                  <a:lnTo>
                    <a:pt x="71" y="14"/>
                  </a:lnTo>
                  <a:lnTo>
                    <a:pt x="69" y="12"/>
                  </a:lnTo>
                  <a:lnTo>
                    <a:pt x="66" y="12"/>
                  </a:lnTo>
                  <a:lnTo>
                    <a:pt x="66" y="9"/>
                  </a:lnTo>
                  <a:lnTo>
                    <a:pt x="64" y="9"/>
                  </a:lnTo>
                  <a:lnTo>
                    <a:pt x="64" y="7"/>
                  </a:lnTo>
                  <a:lnTo>
                    <a:pt x="62" y="9"/>
                  </a:lnTo>
                  <a:lnTo>
                    <a:pt x="62" y="9"/>
                  </a:lnTo>
                  <a:lnTo>
                    <a:pt x="62" y="12"/>
                  </a:lnTo>
                  <a:lnTo>
                    <a:pt x="62" y="14"/>
                  </a:lnTo>
                  <a:lnTo>
                    <a:pt x="59" y="14"/>
                  </a:lnTo>
                  <a:lnTo>
                    <a:pt x="59" y="16"/>
                  </a:lnTo>
                  <a:lnTo>
                    <a:pt x="57" y="19"/>
                  </a:lnTo>
                  <a:lnTo>
                    <a:pt x="57" y="19"/>
                  </a:lnTo>
                  <a:lnTo>
                    <a:pt x="57" y="16"/>
                  </a:lnTo>
                  <a:lnTo>
                    <a:pt x="55" y="16"/>
                  </a:lnTo>
                  <a:lnTo>
                    <a:pt x="55" y="16"/>
                  </a:lnTo>
                  <a:lnTo>
                    <a:pt x="55" y="16"/>
                  </a:lnTo>
                  <a:lnTo>
                    <a:pt x="52" y="16"/>
                  </a:lnTo>
                  <a:lnTo>
                    <a:pt x="50" y="19"/>
                  </a:lnTo>
                  <a:lnTo>
                    <a:pt x="50" y="19"/>
                  </a:lnTo>
                  <a:lnTo>
                    <a:pt x="50" y="21"/>
                  </a:lnTo>
                  <a:lnTo>
                    <a:pt x="50" y="21"/>
                  </a:lnTo>
                  <a:lnTo>
                    <a:pt x="50" y="21"/>
                  </a:lnTo>
                  <a:lnTo>
                    <a:pt x="47" y="21"/>
                  </a:lnTo>
                  <a:lnTo>
                    <a:pt x="47" y="24"/>
                  </a:lnTo>
                  <a:lnTo>
                    <a:pt x="47" y="24"/>
                  </a:lnTo>
                  <a:lnTo>
                    <a:pt x="47" y="24"/>
                  </a:lnTo>
                  <a:lnTo>
                    <a:pt x="45" y="21"/>
                  </a:lnTo>
                  <a:lnTo>
                    <a:pt x="45" y="19"/>
                  </a:lnTo>
                  <a:lnTo>
                    <a:pt x="45" y="19"/>
                  </a:lnTo>
                  <a:lnTo>
                    <a:pt x="43" y="19"/>
                  </a:lnTo>
                  <a:lnTo>
                    <a:pt x="43" y="19"/>
                  </a:lnTo>
                  <a:lnTo>
                    <a:pt x="45" y="19"/>
                  </a:lnTo>
                  <a:lnTo>
                    <a:pt x="45" y="19"/>
                  </a:lnTo>
                  <a:lnTo>
                    <a:pt x="45" y="16"/>
                  </a:lnTo>
                  <a:lnTo>
                    <a:pt x="45" y="16"/>
                  </a:lnTo>
                  <a:lnTo>
                    <a:pt x="43" y="16"/>
                  </a:lnTo>
                  <a:lnTo>
                    <a:pt x="43" y="16"/>
                  </a:lnTo>
                  <a:lnTo>
                    <a:pt x="45" y="16"/>
                  </a:lnTo>
                  <a:lnTo>
                    <a:pt x="43" y="16"/>
                  </a:lnTo>
                  <a:lnTo>
                    <a:pt x="43" y="16"/>
                  </a:lnTo>
                  <a:lnTo>
                    <a:pt x="40" y="14"/>
                  </a:lnTo>
                  <a:lnTo>
                    <a:pt x="45" y="16"/>
                  </a:lnTo>
                  <a:lnTo>
                    <a:pt x="45" y="14"/>
                  </a:lnTo>
                  <a:lnTo>
                    <a:pt x="45" y="14"/>
                  </a:lnTo>
                  <a:lnTo>
                    <a:pt x="47" y="12"/>
                  </a:lnTo>
                  <a:lnTo>
                    <a:pt x="47" y="12"/>
                  </a:lnTo>
                  <a:lnTo>
                    <a:pt x="47" y="12"/>
                  </a:lnTo>
                  <a:lnTo>
                    <a:pt x="45" y="12"/>
                  </a:lnTo>
                  <a:lnTo>
                    <a:pt x="45" y="9"/>
                  </a:lnTo>
                  <a:lnTo>
                    <a:pt x="45" y="9"/>
                  </a:lnTo>
                  <a:lnTo>
                    <a:pt x="47" y="9"/>
                  </a:lnTo>
                  <a:lnTo>
                    <a:pt x="47" y="9"/>
                  </a:lnTo>
                  <a:lnTo>
                    <a:pt x="43" y="7"/>
                  </a:lnTo>
                  <a:lnTo>
                    <a:pt x="40" y="7"/>
                  </a:lnTo>
                  <a:lnTo>
                    <a:pt x="40" y="5"/>
                  </a:lnTo>
                  <a:lnTo>
                    <a:pt x="40" y="5"/>
                  </a:lnTo>
                  <a:lnTo>
                    <a:pt x="38" y="5"/>
                  </a:lnTo>
                  <a:lnTo>
                    <a:pt x="36" y="2"/>
                  </a:lnTo>
                  <a:lnTo>
                    <a:pt x="33" y="2"/>
                  </a:lnTo>
                  <a:lnTo>
                    <a:pt x="33" y="2"/>
                  </a:lnTo>
                  <a:lnTo>
                    <a:pt x="31" y="2"/>
                  </a:lnTo>
                  <a:lnTo>
                    <a:pt x="29" y="2"/>
                  </a:lnTo>
                  <a:lnTo>
                    <a:pt x="26" y="2"/>
                  </a:lnTo>
                  <a:lnTo>
                    <a:pt x="26" y="2"/>
                  </a:lnTo>
                  <a:lnTo>
                    <a:pt x="24" y="2"/>
                  </a:lnTo>
                  <a:lnTo>
                    <a:pt x="24" y="5"/>
                  </a:lnTo>
                  <a:lnTo>
                    <a:pt x="26" y="5"/>
                  </a:lnTo>
                  <a:lnTo>
                    <a:pt x="29" y="5"/>
                  </a:lnTo>
                  <a:lnTo>
                    <a:pt x="31" y="5"/>
                  </a:lnTo>
                  <a:lnTo>
                    <a:pt x="31" y="5"/>
                  </a:lnTo>
                  <a:lnTo>
                    <a:pt x="31" y="5"/>
                  </a:lnTo>
                  <a:lnTo>
                    <a:pt x="31" y="5"/>
                  </a:lnTo>
                  <a:lnTo>
                    <a:pt x="33" y="5"/>
                  </a:lnTo>
                  <a:lnTo>
                    <a:pt x="33" y="5"/>
                  </a:lnTo>
                  <a:lnTo>
                    <a:pt x="29" y="5"/>
                  </a:lnTo>
                  <a:lnTo>
                    <a:pt x="26" y="5"/>
                  </a:lnTo>
                  <a:lnTo>
                    <a:pt x="26" y="5"/>
                  </a:lnTo>
                  <a:lnTo>
                    <a:pt x="26" y="7"/>
                  </a:lnTo>
                  <a:lnTo>
                    <a:pt x="26" y="7"/>
                  </a:lnTo>
                  <a:lnTo>
                    <a:pt x="29" y="7"/>
                  </a:lnTo>
                  <a:lnTo>
                    <a:pt x="33" y="9"/>
                  </a:lnTo>
                  <a:lnTo>
                    <a:pt x="33" y="9"/>
                  </a:lnTo>
                  <a:lnTo>
                    <a:pt x="33" y="9"/>
                  </a:lnTo>
                  <a:lnTo>
                    <a:pt x="31" y="12"/>
                  </a:lnTo>
                  <a:lnTo>
                    <a:pt x="31" y="12"/>
                  </a:lnTo>
                  <a:lnTo>
                    <a:pt x="31" y="12"/>
                  </a:lnTo>
                  <a:lnTo>
                    <a:pt x="29" y="12"/>
                  </a:lnTo>
                  <a:lnTo>
                    <a:pt x="29" y="12"/>
                  </a:lnTo>
                  <a:lnTo>
                    <a:pt x="29" y="12"/>
                  </a:lnTo>
                  <a:lnTo>
                    <a:pt x="29" y="9"/>
                  </a:lnTo>
                  <a:lnTo>
                    <a:pt x="29" y="9"/>
                  </a:lnTo>
                  <a:lnTo>
                    <a:pt x="29" y="9"/>
                  </a:lnTo>
                  <a:lnTo>
                    <a:pt x="29" y="9"/>
                  </a:lnTo>
                  <a:lnTo>
                    <a:pt x="26" y="9"/>
                  </a:lnTo>
                  <a:lnTo>
                    <a:pt x="26" y="9"/>
                  </a:lnTo>
                  <a:lnTo>
                    <a:pt x="26" y="9"/>
                  </a:lnTo>
                  <a:lnTo>
                    <a:pt x="24" y="9"/>
                  </a:lnTo>
                  <a:lnTo>
                    <a:pt x="24" y="9"/>
                  </a:lnTo>
                  <a:lnTo>
                    <a:pt x="24" y="9"/>
                  </a:lnTo>
                  <a:lnTo>
                    <a:pt x="24" y="9"/>
                  </a:lnTo>
                  <a:lnTo>
                    <a:pt x="24" y="9"/>
                  </a:lnTo>
                  <a:lnTo>
                    <a:pt x="22" y="7"/>
                  </a:lnTo>
                  <a:lnTo>
                    <a:pt x="19" y="7"/>
                  </a:lnTo>
                  <a:lnTo>
                    <a:pt x="19" y="7"/>
                  </a:lnTo>
                  <a:lnTo>
                    <a:pt x="17" y="7"/>
                  </a:lnTo>
                  <a:lnTo>
                    <a:pt x="17" y="7"/>
                  </a:lnTo>
                  <a:lnTo>
                    <a:pt x="17" y="7"/>
                  </a:lnTo>
                  <a:lnTo>
                    <a:pt x="17" y="7"/>
                  </a:lnTo>
                  <a:lnTo>
                    <a:pt x="17" y="7"/>
                  </a:lnTo>
                  <a:lnTo>
                    <a:pt x="17" y="9"/>
                  </a:lnTo>
                  <a:lnTo>
                    <a:pt x="19" y="9"/>
                  </a:lnTo>
                  <a:lnTo>
                    <a:pt x="17" y="9"/>
                  </a:lnTo>
                  <a:lnTo>
                    <a:pt x="14" y="9"/>
                  </a:lnTo>
                  <a:lnTo>
                    <a:pt x="14" y="9"/>
                  </a:lnTo>
                  <a:lnTo>
                    <a:pt x="14" y="9"/>
                  </a:lnTo>
                  <a:lnTo>
                    <a:pt x="14" y="9"/>
                  </a:lnTo>
                  <a:lnTo>
                    <a:pt x="14" y="9"/>
                  </a:lnTo>
                  <a:lnTo>
                    <a:pt x="14" y="12"/>
                  </a:lnTo>
                  <a:lnTo>
                    <a:pt x="17" y="12"/>
                  </a:lnTo>
                  <a:lnTo>
                    <a:pt x="12" y="12"/>
                  </a:lnTo>
                  <a:lnTo>
                    <a:pt x="12" y="12"/>
                  </a:lnTo>
                  <a:lnTo>
                    <a:pt x="12" y="12"/>
                  </a:lnTo>
                  <a:lnTo>
                    <a:pt x="12" y="14"/>
                  </a:lnTo>
                  <a:lnTo>
                    <a:pt x="12" y="14"/>
                  </a:lnTo>
                  <a:lnTo>
                    <a:pt x="14" y="14"/>
                  </a:lnTo>
                  <a:lnTo>
                    <a:pt x="19" y="14"/>
                  </a:lnTo>
                  <a:lnTo>
                    <a:pt x="19" y="14"/>
                  </a:lnTo>
                  <a:lnTo>
                    <a:pt x="17" y="14"/>
                  </a:lnTo>
                  <a:lnTo>
                    <a:pt x="17" y="16"/>
                  </a:lnTo>
                  <a:lnTo>
                    <a:pt x="14" y="16"/>
                  </a:lnTo>
                  <a:lnTo>
                    <a:pt x="10" y="14"/>
                  </a:lnTo>
                  <a:lnTo>
                    <a:pt x="7" y="14"/>
                  </a:lnTo>
                  <a:lnTo>
                    <a:pt x="7" y="14"/>
                  </a:lnTo>
                  <a:lnTo>
                    <a:pt x="7" y="14"/>
                  </a:lnTo>
                  <a:lnTo>
                    <a:pt x="7" y="14"/>
                  </a:lnTo>
                  <a:lnTo>
                    <a:pt x="7" y="16"/>
                  </a:lnTo>
                  <a:lnTo>
                    <a:pt x="7" y="16"/>
                  </a:lnTo>
                  <a:lnTo>
                    <a:pt x="7" y="16"/>
                  </a:lnTo>
                  <a:lnTo>
                    <a:pt x="10" y="19"/>
                  </a:lnTo>
                  <a:lnTo>
                    <a:pt x="7" y="19"/>
                  </a:lnTo>
                  <a:lnTo>
                    <a:pt x="5" y="16"/>
                  </a:lnTo>
                  <a:lnTo>
                    <a:pt x="5" y="16"/>
                  </a:lnTo>
                  <a:lnTo>
                    <a:pt x="3" y="16"/>
                  </a:lnTo>
                  <a:lnTo>
                    <a:pt x="0" y="19"/>
                  </a:lnTo>
                  <a:lnTo>
                    <a:pt x="0" y="19"/>
                  </a:lnTo>
                  <a:lnTo>
                    <a:pt x="5" y="19"/>
                  </a:lnTo>
                  <a:lnTo>
                    <a:pt x="7" y="21"/>
                  </a:lnTo>
                  <a:lnTo>
                    <a:pt x="7" y="21"/>
                  </a:lnTo>
                  <a:lnTo>
                    <a:pt x="10" y="21"/>
                  </a:lnTo>
                  <a:lnTo>
                    <a:pt x="12" y="19"/>
                  </a:lnTo>
                  <a:lnTo>
                    <a:pt x="19" y="19"/>
                  </a:lnTo>
                  <a:lnTo>
                    <a:pt x="24" y="16"/>
                  </a:lnTo>
                  <a:lnTo>
                    <a:pt x="24" y="19"/>
                  </a:lnTo>
                  <a:lnTo>
                    <a:pt x="26" y="19"/>
                  </a:lnTo>
                  <a:lnTo>
                    <a:pt x="31" y="19"/>
                  </a:lnTo>
                  <a:lnTo>
                    <a:pt x="31" y="19"/>
                  </a:lnTo>
                  <a:lnTo>
                    <a:pt x="36" y="19"/>
                  </a:lnTo>
                  <a:lnTo>
                    <a:pt x="38" y="19"/>
                  </a:lnTo>
                  <a:lnTo>
                    <a:pt x="38" y="21"/>
                  </a:lnTo>
                  <a:lnTo>
                    <a:pt x="36" y="21"/>
                  </a:lnTo>
                  <a:lnTo>
                    <a:pt x="33" y="21"/>
                  </a:lnTo>
                  <a:lnTo>
                    <a:pt x="31" y="24"/>
                  </a:lnTo>
                  <a:lnTo>
                    <a:pt x="29" y="24"/>
                  </a:lnTo>
                  <a:lnTo>
                    <a:pt x="26" y="24"/>
                  </a:lnTo>
                  <a:lnTo>
                    <a:pt x="29" y="26"/>
                  </a:lnTo>
                  <a:lnTo>
                    <a:pt x="33" y="26"/>
                  </a:lnTo>
                  <a:lnTo>
                    <a:pt x="33" y="26"/>
                  </a:lnTo>
                  <a:lnTo>
                    <a:pt x="38" y="26"/>
                  </a:lnTo>
                  <a:lnTo>
                    <a:pt x="38" y="26"/>
                  </a:lnTo>
                  <a:lnTo>
                    <a:pt x="36" y="26"/>
                  </a:lnTo>
                  <a:lnTo>
                    <a:pt x="36" y="26"/>
                  </a:lnTo>
                  <a:lnTo>
                    <a:pt x="36" y="28"/>
                  </a:lnTo>
                  <a:lnTo>
                    <a:pt x="29" y="28"/>
                  </a:lnTo>
                  <a:lnTo>
                    <a:pt x="26" y="28"/>
                  </a:lnTo>
                  <a:lnTo>
                    <a:pt x="24" y="28"/>
                  </a:lnTo>
                  <a:lnTo>
                    <a:pt x="24" y="28"/>
                  </a:lnTo>
                  <a:lnTo>
                    <a:pt x="22" y="28"/>
                  </a:lnTo>
                  <a:lnTo>
                    <a:pt x="22" y="28"/>
                  </a:lnTo>
                  <a:lnTo>
                    <a:pt x="22" y="28"/>
                  </a:lnTo>
                  <a:lnTo>
                    <a:pt x="22" y="28"/>
                  </a:lnTo>
                  <a:lnTo>
                    <a:pt x="17" y="28"/>
                  </a:lnTo>
                  <a:lnTo>
                    <a:pt x="17" y="28"/>
                  </a:lnTo>
                  <a:lnTo>
                    <a:pt x="17" y="28"/>
                  </a:lnTo>
                  <a:lnTo>
                    <a:pt x="17" y="28"/>
                  </a:lnTo>
                  <a:lnTo>
                    <a:pt x="14" y="28"/>
                  </a:lnTo>
                  <a:lnTo>
                    <a:pt x="14" y="28"/>
                  </a:lnTo>
                  <a:lnTo>
                    <a:pt x="12" y="28"/>
                  </a:lnTo>
                  <a:lnTo>
                    <a:pt x="10" y="31"/>
                  </a:lnTo>
                  <a:lnTo>
                    <a:pt x="7" y="31"/>
                  </a:lnTo>
                  <a:lnTo>
                    <a:pt x="5" y="31"/>
                  </a:lnTo>
                  <a:lnTo>
                    <a:pt x="5" y="31"/>
                  </a:lnTo>
                  <a:lnTo>
                    <a:pt x="3" y="31"/>
                  </a:lnTo>
                  <a:lnTo>
                    <a:pt x="5" y="31"/>
                  </a:lnTo>
                  <a:lnTo>
                    <a:pt x="5" y="33"/>
                  </a:lnTo>
                  <a:lnTo>
                    <a:pt x="5" y="33"/>
                  </a:lnTo>
                  <a:lnTo>
                    <a:pt x="5" y="33"/>
                  </a:lnTo>
                  <a:lnTo>
                    <a:pt x="7" y="33"/>
                  </a:lnTo>
                  <a:lnTo>
                    <a:pt x="12" y="31"/>
                  </a:lnTo>
                  <a:lnTo>
                    <a:pt x="12" y="31"/>
                  </a:lnTo>
                  <a:lnTo>
                    <a:pt x="22" y="33"/>
                  </a:lnTo>
                  <a:lnTo>
                    <a:pt x="26" y="33"/>
                  </a:lnTo>
                  <a:lnTo>
                    <a:pt x="29" y="33"/>
                  </a:lnTo>
                  <a:lnTo>
                    <a:pt x="29" y="33"/>
                  </a:lnTo>
                  <a:lnTo>
                    <a:pt x="29" y="33"/>
                  </a:lnTo>
                  <a:lnTo>
                    <a:pt x="26" y="35"/>
                  </a:lnTo>
                  <a:lnTo>
                    <a:pt x="26" y="35"/>
                  </a:lnTo>
                  <a:lnTo>
                    <a:pt x="26" y="35"/>
                  </a:lnTo>
                  <a:lnTo>
                    <a:pt x="29" y="35"/>
                  </a:lnTo>
                  <a:lnTo>
                    <a:pt x="29" y="38"/>
                  </a:lnTo>
                  <a:lnTo>
                    <a:pt x="29" y="38"/>
                  </a:lnTo>
                  <a:lnTo>
                    <a:pt x="31" y="35"/>
                  </a:lnTo>
                  <a:lnTo>
                    <a:pt x="36" y="35"/>
                  </a:lnTo>
                  <a:lnTo>
                    <a:pt x="36" y="35"/>
                  </a:lnTo>
                  <a:lnTo>
                    <a:pt x="38" y="35"/>
                  </a:lnTo>
                  <a:lnTo>
                    <a:pt x="36" y="35"/>
                  </a:lnTo>
                  <a:lnTo>
                    <a:pt x="36" y="35"/>
                  </a:lnTo>
                  <a:lnTo>
                    <a:pt x="31" y="38"/>
                  </a:lnTo>
                  <a:lnTo>
                    <a:pt x="31" y="38"/>
                  </a:lnTo>
                  <a:lnTo>
                    <a:pt x="31" y="40"/>
                  </a:lnTo>
                  <a:lnTo>
                    <a:pt x="31" y="40"/>
                  </a:lnTo>
                  <a:lnTo>
                    <a:pt x="31" y="40"/>
                  </a:lnTo>
                  <a:lnTo>
                    <a:pt x="31" y="40"/>
                  </a:lnTo>
                  <a:lnTo>
                    <a:pt x="29" y="40"/>
                  </a:lnTo>
                  <a:lnTo>
                    <a:pt x="29" y="40"/>
                  </a:lnTo>
                  <a:lnTo>
                    <a:pt x="31" y="40"/>
                  </a:lnTo>
                  <a:lnTo>
                    <a:pt x="36" y="40"/>
                  </a:lnTo>
                  <a:lnTo>
                    <a:pt x="36" y="40"/>
                  </a:lnTo>
                  <a:lnTo>
                    <a:pt x="38" y="40"/>
                  </a:lnTo>
                  <a:lnTo>
                    <a:pt x="36" y="40"/>
                  </a:lnTo>
                  <a:lnTo>
                    <a:pt x="36" y="40"/>
                  </a:lnTo>
                  <a:lnTo>
                    <a:pt x="33" y="40"/>
                  </a:lnTo>
                  <a:lnTo>
                    <a:pt x="33" y="42"/>
                  </a:lnTo>
                  <a:lnTo>
                    <a:pt x="31" y="42"/>
                  </a:lnTo>
                  <a:lnTo>
                    <a:pt x="31" y="42"/>
                  </a:lnTo>
                  <a:lnTo>
                    <a:pt x="31" y="45"/>
                  </a:lnTo>
                  <a:lnTo>
                    <a:pt x="29" y="45"/>
                  </a:lnTo>
                  <a:lnTo>
                    <a:pt x="29" y="45"/>
                  </a:lnTo>
                  <a:lnTo>
                    <a:pt x="26" y="47"/>
                  </a:lnTo>
                  <a:lnTo>
                    <a:pt x="22" y="47"/>
                  </a:lnTo>
                  <a:lnTo>
                    <a:pt x="22" y="47"/>
                  </a:lnTo>
                  <a:lnTo>
                    <a:pt x="19" y="45"/>
                  </a:lnTo>
                  <a:lnTo>
                    <a:pt x="19" y="45"/>
                  </a:lnTo>
                  <a:lnTo>
                    <a:pt x="19" y="45"/>
                  </a:lnTo>
                  <a:lnTo>
                    <a:pt x="19" y="47"/>
                  </a:lnTo>
                  <a:lnTo>
                    <a:pt x="17" y="47"/>
                  </a:lnTo>
                  <a:lnTo>
                    <a:pt x="17" y="47"/>
                  </a:lnTo>
                  <a:lnTo>
                    <a:pt x="17" y="50"/>
                  </a:lnTo>
                  <a:lnTo>
                    <a:pt x="19" y="50"/>
                  </a:lnTo>
                  <a:lnTo>
                    <a:pt x="19" y="50"/>
                  </a:lnTo>
                  <a:lnTo>
                    <a:pt x="22" y="50"/>
                  </a:lnTo>
                  <a:lnTo>
                    <a:pt x="36" y="50"/>
                  </a:lnTo>
                  <a:lnTo>
                    <a:pt x="36" y="50"/>
                  </a:lnTo>
                  <a:lnTo>
                    <a:pt x="38" y="47"/>
                  </a:lnTo>
                  <a:lnTo>
                    <a:pt x="40" y="47"/>
                  </a:lnTo>
                  <a:lnTo>
                    <a:pt x="40" y="47"/>
                  </a:lnTo>
                  <a:lnTo>
                    <a:pt x="40" y="47"/>
                  </a:lnTo>
                  <a:lnTo>
                    <a:pt x="40" y="50"/>
                  </a:lnTo>
                  <a:lnTo>
                    <a:pt x="40" y="50"/>
                  </a:lnTo>
                  <a:lnTo>
                    <a:pt x="43" y="50"/>
                  </a:lnTo>
                  <a:lnTo>
                    <a:pt x="43" y="50"/>
                  </a:lnTo>
                  <a:lnTo>
                    <a:pt x="45" y="52"/>
                  </a:lnTo>
                  <a:lnTo>
                    <a:pt x="45" y="52"/>
                  </a:lnTo>
                  <a:lnTo>
                    <a:pt x="47" y="52"/>
                  </a:lnTo>
                  <a:lnTo>
                    <a:pt x="47" y="52"/>
                  </a:lnTo>
                  <a:lnTo>
                    <a:pt x="50" y="52"/>
                  </a:lnTo>
                  <a:lnTo>
                    <a:pt x="50" y="50"/>
                  </a:lnTo>
                  <a:lnTo>
                    <a:pt x="50" y="52"/>
                  </a:lnTo>
                  <a:lnTo>
                    <a:pt x="50" y="52"/>
                  </a:lnTo>
                  <a:lnTo>
                    <a:pt x="50" y="52"/>
                  </a:lnTo>
                  <a:lnTo>
                    <a:pt x="50" y="52"/>
                  </a:lnTo>
                  <a:lnTo>
                    <a:pt x="47" y="52"/>
                  </a:lnTo>
                  <a:lnTo>
                    <a:pt x="47" y="52"/>
                  </a:lnTo>
                  <a:lnTo>
                    <a:pt x="47" y="52"/>
                  </a:lnTo>
                  <a:lnTo>
                    <a:pt x="50" y="54"/>
                  </a:lnTo>
                  <a:lnTo>
                    <a:pt x="52" y="54"/>
                  </a:lnTo>
                  <a:lnTo>
                    <a:pt x="55" y="54"/>
                  </a:lnTo>
                  <a:lnTo>
                    <a:pt x="57" y="57"/>
                  </a:lnTo>
                  <a:lnTo>
                    <a:pt x="62" y="57"/>
                  </a:lnTo>
                  <a:lnTo>
                    <a:pt x="64" y="57"/>
                  </a:lnTo>
                  <a:lnTo>
                    <a:pt x="73" y="59"/>
                  </a:lnTo>
                  <a:lnTo>
                    <a:pt x="78" y="57"/>
                  </a:lnTo>
                  <a:lnTo>
                    <a:pt x="80" y="57"/>
                  </a:lnTo>
                  <a:lnTo>
                    <a:pt x="80" y="57"/>
                  </a:lnTo>
                  <a:lnTo>
                    <a:pt x="80" y="57"/>
                  </a:lnTo>
                  <a:lnTo>
                    <a:pt x="80" y="57"/>
                  </a:lnTo>
                  <a:lnTo>
                    <a:pt x="80" y="57"/>
                  </a:lnTo>
                  <a:lnTo>
                    <a:pt x="80" y="57"/>
                  </a:lnTo>
                  <a:lnTo>
                    <a:pt x="83" y="57"/>
                  </a:lnTo>
                  <a:lnTo>
                    <a:pt x="85" y="57"/>
                  </a:lnTo>
                  <a:lnTo>
                    <a:pt x="85" y="54"/>
                  </a:lnTo>
                  <a:lnTo>
                    <a:pt x="85" y="54"/>
                  </a:lnTo>
                  <a:lnTo>
                    <a:pt x="85" y="54"/>
                  </a:lnTo>
                  <a:lnTo>
                    <a:pt x="85" y="54"/>
                  </a:lnTo>
                  <a:lnTo>
                    <a:pt x="85" y="52"/>
                  </a:lnTo>
                  <a:lnTo>
                    <a:pt x="88" y="52"/>
                  </a:lnTo>
                  <a:lnTo>
                    <a:pt x="90" y="52"/>
                  </a:lnTo>
                  <a:lnTo>
                    <a:pt x="97" y="50"/>
                  </a:lnTo>
                  <a:lnTo>
                    <a:pt x="99" y="50"/>
                  </a:lnTo>
                  <a:lnTo>
                    <a:pt x="102" y="50"/>
                  </a:lnTo>
                  <a:lnTo>
                    <a:pt x="104" y="50"/>
                  </a:lnTo>
                  <a:lnTo>
                    <a:pt x="106" y="50"/>
                  </a:lnTo>
                  <a:lnTo>
                    <a:pt x="111" y="47"/>
                  </a:lnTo>
                  <a:lnTo>
                    <a:pt x="113" y="45"/>
                  </a:lnTo>
                  <a:lnTo>
                    <a:pt x="118" y="42"/>
                  </a:lnTo>
                  <a:lnTo>
                    <a:pt x="123" y="42"/>
                  </a:lnTo>
                  <a:lnTo>
                    <a:pt x="125" y="42"/>
                  </a:lnTo>
                  <a:lnTo>
                    <a:pt x="130" y="42"/>
                  </a:lnTo>
                  <a:lnTo>
                    <a:pt x="130" y="40"/>
                  </a:lnTo>
                  <a:lnTo>
                    <a:pt x="132" y="40"/>
                  </a:lnTo>
                  <a:lnTo>
                    <a:pt x="135" y="40"/>
                  </a:lnTo>
                  <a:lnTo>
                    <a:pt x="137" y="38"/>
                  </a:lnTo>
                  <a:lnTo>
                    <a:pt x="137" y="38"/>
                  </a:lnTo>
                  <a:lnTo>
                    <a:pt x="139" y="38"/>
                  </a:lnTo>
                  <a:lnTo>
                    <a:pt x="139" y="35"/>
                  </a:lnTo>
                  <a:lnTo>
                    <a:pt x="139" y="35"/>
                  </a:lnTo>
                  <a:lnTo>
                    <a:pt x="139" y="35"/>
                  </a:lnTo>
                  <a:lnTo>
                    <a:pt x="139" y="35"/>
                  </a:lnTo>
                  <a:lnTo>
                    <a:pt x="139" y="33"/>
                  </a:lnTo>
                  <a:lnTo>
                    <a:pt x="142" y="33"/>
                  </a:lnTo>
                  <a:lnTo>
                    <a:pt x="144" y="33"/>
                  </a:lnTo>
                  <a:lnTo>
                    <a:pt x="144" y="33"/>
                  </a:lnTo>
                  <a:lnTo>
                    <a:pt x="146" y="33"/>
                  </a:lnTo>
                  <a:lnTo>
                    <a:pt x="149" y="31"/>
                  </a:lnTo>
                  <a:lnTo>
                    <a:pt x="149" y="31"/>
                  </a:lnTo>
                  <a:lnTo>
                    <a:pt x="149" y="28"/>
                  </a:lnTo>
                  <a:lnTo>
                    <a:pt x="149" y="28"/>
                  </a:lnTo>
                  <a:lnTo>
                    <a:pt x="149" y="28"/>
                  </a:lnTo>
                  <a:lnTo>
                    <a:pt x="151" y="28"/>
                  </a:lnTo>
                  <a:lnTo>
                    <a:pt x="151" y="28"/>
                  </a:lnTo>
                  <a:lnTo>
                    <a:pt x="154" y="26"/>
                  </a:lnTo>
                  <a:lnTo>
                    <a:pt x="154" y="26"/>
                  </a:lnTo>
                  <a:lnTo>
                    <a:pt x="154" y="26"/>
                  </a:lnTo>
                  <a:lnTo>
                    <a:pt x="154" y="26"/>
                  </a:lnTo>
                  <a:lnTo>
                    <a:pt x="151" y="24"/>
                  </a:lnTo>
                  <a:lnTo>
                    <a:pt x="151" y="24"/>
                  </a:lnTo>
                  <a:lnTo>
                    <a:pt x="151" y="24"/>
                  </a:lnTo>
                  <a:lnTo>
                    <a:pt x="151" y="24"/>
                  </a:lnTo>
                  <a:lnTo>
                    <a:pt x="151" y="24"/>
                  </a:lnTo>
                  <a:lnTo>
                    <a:pt x="151" y="24"/>
                  </a:lnTo>
                  <a:lnTo>
                    <a:pt x="151" y="24"/>
                  </a:lnTo>
                  <a:lnTo>
                    <a:pt x="151" y="24"/>
                  </a:lnTo>
                  <a:lnTo>
                    <a:pt x="151" y="21"/>
                  </a:lnTo>
                  <a:lnTo>
                    <a:pt x="151" y="21"/>
                  </a:lnTo>
                  <a:lnTo>
                    <a:pt x="151" y="21"/>
                  </a:lnTo>
                  <a:lnTo>
                    <a:pt x="151"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9" name="Freeform 325"/>
            <p:cNvSpPr>
              <a:spLocks/>
            </p:cNvSpPr>
            <p:nvPr userDrawn="1"/>
          </p:nvSpPr>
          <p:spPr bwMode="auto">
            <a:xfrm>
              <a:off x="3940" y="1786"/>
              <a:ext cx="111" cy="57"/>
            </a:xfrm>
            <a:custGeom>
              <a:avLst/>
              <a:gdLst>
                <a:gd name="T0" fmla="*/ 111 w 111"/>
                <a:gd name="T1" fmla="*/ 10 h 57"/>
                <a:gd name="T2" fmla="*/ 109 w 111"/>
                <a:gd name="T3" fmla="*/ 10 h 57"/>
                <a:gd name="T4" fmla="*/ 104 w 111"/>
                <a:gd name="T5" fmla="*/ 7 h 57"/>
                <a:gd name="T6" fmla="*/ 102 w 111"/>
                <a:gd name="T7" fmla="*/ 5 h 57"/>
                <a:gd name="T8" fmla="*/ 99 w 111"/>
                <a:gd name="T9" fmla="*/ 3 h 57"/>
                <a:gd name="T10" fmla="*/ 92 w 111"/>
                <a:gd name="T11" fmla="*/ 5 h 57"/>
                <a:gd name="T12" fmla="*/ 90 w 111"/>
                <a:gd name="T13" fmla="*/ 3 h 57"/>
                <a:gd name="T14" fmla="*/ 88 w 111"/>
                <a:gd name="T15" fmla="*/ 0 h 57"/>
                <a:gd name="T16" fmla="*/ 78 w 111"/>
                <a:gd name="T17" fmla="*/ 0 h 57"/>
                <a:gd name="T18" fmla="*/ 69 w 111"/>
                <a:gd name="T19" fmla="*/ 5 h 57"/>
                <a:gd name="T20" fmla="*/ 62 w 111"/>
                <a:gd name="T21" fmla="*/ 7 h 57"/>
                <a:gd name="T22" fmla="*/ 57 w 111"/>
                <a:gd name="T23" fmla="*/ 7 h 57"/>
                <a:gd name="T24" fmla="*/ 45 w 111"/>
                <a:gd name="T25" fmla="*/ 12 h 57"/>
                <a:gd name="T26" fmla="*/ 45 w 111"/>
                <a:gd name="T27" fmla="*/ 14 h 57"/>
                <a:gd name="T28" fmla="*/ 31 w 111"/>
                <a:gd name="T29" fmla="*/ 17 h 57"/>
                <a:gd name="T30" fmla="*/ 22 w 111"/>
                <a:gd name="T31" fmla="*/ 12 h 57"/>
                <a:gd name="T32" fmla="*/ 17 w 111"/>
                <a:gd name="T33" fmla="*/ 12 h 57"/>
                <a:gd name="T34" fmla="*/ 17 w 111"/>
                <a:gd name="T35" fmla="*/ 14 h 57"/>
                <a:gd name="T36" fmla="*/ 15 w 111"/>
                <a:gd name="T37" fmla="*/ 17 h 57"/>
                <a:gd name="T38" fmla="*/ 12 w 111"/>
                <a:gd name="T39" fmla="*/ 17 h 57"/>
                <a:gd name="T40" fmla="*/ 8 w 111"/>
                <a:gd name="T41" fmla="*/ 17 h 57"/>
                <a:gd name="T42" fmla="*/ 10 w 111"/>
                <a:gd name="T43" fmla="*/ 19 h 57"/>
                <a:gd name="T44" fmla="*/ 10 w 111"/>
                <a:gd name="T45" fmla="*/ 24 h 57"/>
                <a:gd name="T46" fmla="*/ 8 w 111"/>
                <a:gd name="T47" fmla="*/ 26 h 57"/>
                <a:gd name="T48" fmla="*/ 8 w 111"/>
                <a:gd name="T49" fmla="*/ 29 h 57"/>
                <a:gd name="T50" fmla="*/ 8 w 111"/>
                <a:gd name="T51" fmla="*/ 31 h 57"/>
                <a:gd name="T52" fmla="*/ 3 w 111"/>
                <a:gd name="T53" fmla="*/ 33 h 57"/>
                <a:gd name="T54" fmla="*/ 5 w 111"/>
                <a:gd name="T55" fmla="*/ 36 h 57"/>
                <a:gd name="T56" fmla="*/ 5 w 111"/>
                <a:gd name="T57" fmla="*/ 40 h 57"/>
                <a:gd name="T58" fmla="*/ 10 w 111"/>
                <a:gd name="T59" fmla="*/ 43 h 57"/>
                <a:gd name="T60" fmla="*/ 17 w 111"/>
                <a:gd name="T61" fmla="*/ 50 h 57"/>
                <a:gd name="T62" fmla="*/ 24 w 111"/>
                <a:gd name="T63" fmla="*/ 55 h 57"/>
                <a:gd name="T64" fmla="*/ 29 w 111"/>
                <a:gd name="T65" fmla="*/ 57 h 57"/>
                <a:gd name="T66" fmla="*/ 38 w 111"/>
                <a:gd name="T67" fmla="*/ 57 h 57"/>
                <a:gd name="T68" fmla="*/ 43 w 111"/>
                <a:gd name="T69" fmla="*/ 57 h 57"/>
                <a:gd name="T70" fmla="*/ 48 w 111"/>
                <a:gd name="T71" fmla="*/ 55 h 57"/>
                <a:gd name="T72" fmla="*/ 50 w 111"/>
                <a:gd name="T73" fmla="*/ 52 h 57"/>
                <a:gd name="T74" fmla="*/ 52 w 111"/>
                <a:gd name="T75" fmla="*/ 52 h 57"/>
                <a:gd name="T76" fmla="*/ 57 w 111"/>
                <a:gd name="T77" fmla="*/ 52 h 57"/>
                <a:gd name="T78" fmla="*/ 62 w 111"/>
                <a:gd name="T79" fmla="*/ 50 h 57"/>
                <a:gd name="T80" fmla="*/ 69 w 111"/>
                <a:gd name="T81" fmla="*/ 50 h 57"/>
                <a:gd name="T82" fmla="*/ 76 w 111"/>
                <a:gd name="T83" fmla="*/ 50 h 57"/>
                <a:gd name="T84" fmla="*/ 78 w 111"/>
                <a:gd name="T85" fmla="*/ 48 h 57"/>
                <a:gd name="T86" fmla="*/ 85 w 111"/>
                <a:gd name="T87" fmla="*/ 48 h 57"/>
                <a:gd name="T88" fmla="*/ 88 w 111"/>
                <a:gd name="T89" fmla="*/ 45 h 57"/>
                <a:gd name="T90" fmla="*/ 88 w 111"/>
                <a:gd name="T91" fmla="*/ 40 h 57"/>
                <a:gd name="T92" fmla="*/ 90 w 111"/>
                <a:gd name="T93" fmla="*/ 38 h 57"/>
                <a:gd name="T94" fmla="*/ 92 w 111"/>
                <a:gd name="T95" fmla="*/ 31 h 57"/>
                <a:gd name="T96" fmla="*/ 95 w 111"/>
                <a:gd name="T97" fmla="*/ 26 h 57"/>
                <a:gd name="T98" fmla="*/ 97 w 111"/>
                <a:gd name="T99" fmla="*/ 22 h 57"/>
                <a:gd name="T100" fmla="*/ 102 w 111"/>
                <a:gd name="T101" fmla="*/ 17 h 57"/>
                <a:gd name="T102" fmla="*/ 107 w 111"/>
                <a:gd name="T103" fmla="*/ 17 h 57"/>
                <a:gd name="T104" fmla="*/ 111 w 111"/>
                <a:gd name="T105"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57">
                  <a:moveTo>
                    <a:pt x="111" y="12"/>
                  </a:moveTo>
                  <a:lnTo>
                    <a:pt x="111" y="12"/>
                  </a:lnTo>
                  <a:lnTo>
                    <a:pt x="111" y="12"/>
                  </a:lnTo>
                  <a:lnTo>
                    <a:pt x="111" y="10"/>
                  </a:lnTo>
                  <a:lnTo>
                    <a:pt x="109" y="10"/>
                  </a:lnTo>
                  <a:lnTo>
                    <a:pt x="109" y="10"/>
                  </a:lnTo>
                  <a:lnTo>
                    <a:pt x="109" y="10"/>
                  </a:lnTo>
                  <a:lnTo>
                    <a:pt x="109" y="10"/>
                  </a:lnTo>
                  <a:lnTo>
                    <a:pt x="109" y="10"/>
                  </a:lnTo>
                  <a:lnTo>
                    <a:pt x="107" y="10"/>
                  </a:lnTo>
                  <a:lnTo>
                    <a:pt x="107" y="7"/>
                  </a:lnTo>
                  <a:lnTo>
                    <a:pt x="104" y="7"/>
                  </a:lnTo>
                  <a:lnTo>
                    <a:pt x="102" y="7"/>
                  </a:lnTo>
                  <a:lnTo>
                    <a:pt x="102" y="5"/>
                  </a:lnTo>
                  <a:lnTo>
                    <a:pt x="102" y="5"/>
                  </a:lnTo>
                  <a:lnTo>
                    <a:pt x="102" y="5"/>
                  </a:lnTo>
                  <a:lnTo>
                    <a:pt x="102" y="5"/>
                  </a:lnTo>
                  <a:lnTo>
                    <a:pt x="102" y="3"/>
                  </a:lnTo>
                  <a:lnTo>
                    <a:pt x="99" y="3"/>
                  </a:lnTo>
                  <a:lnTo>
                    <a:pt x="99" y="3"/>
                  </a:lnTo>
                  <a:lnTo>
                    <a:pt x="99" y="3"/>
                  </a:lnTo>
                  <a:lnTo>
                    <a:pt x="99" y="3"/>
                  </a:lnTo>
                  <a:lnTo>
                    <a:pt x="92" y="5"/>
                  </a:lnTo>
                  <a:lnTo>
                    <a:pt x="92" y="5"/>
                  </a:lnTo>
                  <a:lnTo>
                    <a:pt x="92" y="3"/>
                  </a:lnTo>
                  <a:lnTo>
                    <a:pt x="90" y="3"/>
                  </a:lnTo>
                  <a:lnTo>
                    <a:pt x="90" y="3"/>
                  </a:lnTo>
                  <a:lnTo>
                    <a:pt x="90" y="3"/>
                  </a:lnTo>
                  <a:lnTo>
                    <a:pt x="90" y="0"/>
                  </a:lnTo>
                  <a:lnTo>
                    <a:pt x="88" y="0"/>
                  </a:lnTo>
                  <a:lnTo>
                    <a:pt x="88" y="0"/>
                  </a:lnTo>
                  <a:lnTo>
                    <a:pt x="88" y="0"/>
                  </a:lnTo>
                  <a:lnTo>
                    <a:pt x="83" y="0"/>
                  </a:lnTo>
                  <a:lnTo>
                    <a:pt x="81" y="0"/>
                  </a:lnTo>
                  <a:lnTo>
                    <a:pt x="81" y="0"/>
                  </a:lnTo>
                  <a:lnTo>
                    <a:pt x="78" y="0"/>
                  </a:lnTo>
                  <a:lnTo>
                    <a:pt x="74" y="0"/>
                  </a:lnTo>
                  <a:lnTo>
                    <a:pt x="71" y="0"/>
                  </a:lnTo>
                  <a:lnTo>
                    <a:pt x="71" y="0"/>
                  </a:lnTo>
                  <a:lnTo>
                    <a:pt x="69" y="5"/>
                  </a:lnTo>
                  <a:lnTo>
                    <a:pt x="66" y="7"/>
                  </a:lnTo>
                  <a:lnTo>
                    <a:pt x="64" y="7"/>
                  </a:lnTo>
                  <a:lnTo>
                    <a:pt x="62" y="10"/>
                  </a:lnTo>
                  <a:lnTo>
                    <a:pt x="62" y="7"/>
                  </a:lnTo>
                  <a:lnTo>
                    <a:pt x="59" y="7"/>
                  </a:lnTo>
                  <a:lnTo>
                    <a:pt x="57" y="7"/>
                  </a:lnTo>
                  <a:lnTo>
                    <a:pt x="57" y="7"/>
                  </a:lnTo>
                  <a:lnTo>
                    <a:pt x="57" y="7"/>
                  </a:lnTo>
                  <a:lnTo>
                    <a:pt x="55" y="10"/>
                  </a:lnTo>
                  <a:lnTo>
                    <a:pt x="52" y="10"/>
                  </a:lnTo>
                  <a:lnTo>
                    <a:pt x="48" y="10"/>
                  </a:lnTo>
                  <a:lnTo>
                    <a:pt x="45" y="12"/>
                  </a:lnTo>
                  <a:lnTo>
                    <a:pt x="45" y="12"/>
                  </a:lnTo>
                  <a:lnTo>
                    <a:pt x="45" y="14"/>
                  </a:lnTo>
                  <a:lnTo>
                    <a:pt x="45" y="14"/>
                  </a:lnTo>
                  <a:lnTo>
                    <a:pt x="45" y="14"/>
                  </a:lnTo>
                  <a:lnTo>
                    <a:pt x="43" y="17"/>
                  </a:lnTo>
                  <a:lnTo>
                    <a:pt x="41" y="17"/>
                  </a:lnTo>
                  <a:lnTo>
                    <a:pt x="33" y="17"/>
                  </a:lnTo>
                  <a:lnTo>
                    <a:pt x="31" y="17"/>
                  </a:lnTo>
                  <a:lnTo>
                    <a:pt x="29" y="17"/>
                  </a:lnTo>
                  <a:lnTo>
                    <a:pt x="26" y="14"/>
                  </a:lnTo>
                  <a:lnTo>
                    <a:pt x="24" y="14"/>
                  </a:lnTo>
                  <a:lnTo>
                    <a:pt x="22" y="12"/>
                  </a:lnTo>
                  <a:lnTo>
                    <a:pt x="19" y="12"/>
                  </a:lnTo>
                  <a:lnTo>
                    <a:pt x="19" y="12"/>
                  </a:lnTo>
                  <a:lnTo>
                    <a:pt x="19" y="12"/>
                  </a:lnTo>
                  <a:lnTo>
                    <a:pt x="17" y="12"/>
                  </a:lnTo>
                  <a:lnTo>
                    <a:pt x="17" y="12"/>
                  </a:lnTo>
                  <a:lnTo>
                    <a:pt x="17" y="14"/>
                  </a:lnTo>
                  <a:lnTo>
                    <a:pt x="17" y="14"/>
                  </a:lnTo>
                  <a:lnTo>
                    <a:pt x="17" y="14"/>
                  </a:lnTo>
                  <a:lnTo>
                    <a:pt x="17" y="14"/>
                  </a:lnTo>
                  <a:lnTo>
                    <a:pt x="17" y="17"/>
                  </a:lnTo>
                  <a:lnTo>
                    <a:pt x="17" y="17"/>
                  </a:lnTo>
                  <a:lnTo>
                    <a:pt x="15" y="17"/>
                  </a:lnTo>
                  <a:lnTo>
                    <a:pt x="12" y="17"/>
                  </a:lnTo>
                  <a:lnTo>
                    <a:pt x="12" y="17"/>
                  </a:lnTo>
                  <a:lnTo>
                    <a:pt x="12" y="19"/>
                  </a:lnTo>
                  <a:lnTo>
                    <a:pt x="12" y="17"/>
                  </a:lnTo>
                  <a:lnTo>
                    <a:pt x="10" y="17"/>
                  </a:lnTo>
                  <a:lnTo>
                    <a:pt x="10" y="17"/>
                  </a:lnTo>
                  <a:lnTo>
                    <a:pt x="8" y="17"/>
                  </a:lnTo>
                  <a:lnTo>
                    <a:pt x="8" y="17"/>
                  </a:lnTo>
                  <a:lnTo>
                    <a:pt x="8" y="17"/>
                  </a:lnTo>
                  <a:lnTo>
                    <a:pt x="5" y="19"/>
                  </a:lnTo>
                  <a:lnTo>
                    <a:pt x="5" y="19"/>
                  </a:lnTo>
                  <a:lnTo>
                    <a:pt x="10" y="19"/>
                  </a:lnTo>
                  <a:lnTo>
                    <a:pt x="10" y="22"/>
                  </a:lnTo>
                  <a:lnTo>
                    <a:pt x="10" y="22"/>
                  </a:lnTo>
                  <a:lnTo>
                    <a:pt x="10" y="24"/>
                  </a:lnTo>
                  <a:lnTo>
                    <a:pt x="10" y="24"/>
                  </a:lnTo>
                  <a:lnTo>
                    <a:pt x="8" y="24"/>
                  </a:lnTo>
                  <a:lnTo>
                    <a:pt x="8" y="24"/>
                  </a:lnTo>
                  <a:lnTo>
                    <a:pt x="8" y="24"/>
                  </a:lnTo>
                  <a:lnTo>
                    <a:pt x="8" y="26"/>
                  </a:lnTo>
                  <a:lnTo>
                    <a:pt x="8" y="26"/>
                  </a:lnTo>
                  <a:lnTo>
                    <a:pt x="5" y="29"/>
                  </a:lnTo>
                  <a:lnTo>
                    <a:pt x="8" y="29"/>
                  </a:lnTo>
                  <a:lnTo>
                    <a:pt x="8" y="29"/>
                  </a:lnTo>
                  <a:lnTo>
                    <a:pt x="8" y="29"/>
                  </a:lnTo>
                  <a:lnTo>
                    <a:pt x="8" y="31"/>
                  </a:lnTo>
                  <a:lnTo>
                    <a:pt x="8" y="31"/>
                  </a:lnTo>
                  <a:lnTo>
                    <a:pt x="8" y="31"/>
                  </a:lnTo>
                  <a:lnTo>
                    <a:pt x="8" y="31"/>
                  </a:lnTo>
                  <a:lnTo>
                    <a:pt x="8" y="33"/>
                  </a:lnTo>
                  <a:lnTo>
                    <a:pt x="5" y="31"/>
                  </a:lnTo>
                  <a:lnTo>
                    <a:pt x="3" y="33"/>
                  </a:lnTo>
                  <a:lnTo>
                    <a:pt x="0" y="36"/>
                  </a:lnTo>
                  <a:lnTo>
                    <a:pt x="5" y="36"/>
                  </a:lnTo>
                  <a:lnTo>
                    <a:pt x="5" y="36"/>
                  </a:lnTo>
                  <a:lnTo>
                    <a:pt x="5" y="36"/>
                  </a:lnTo>
                  <a:lnTo>
                    <a:pt x="5" y="38"/>
                  </a:lnTo>
                  <a:lnTo>
                    <a:pt x="5" y="38"/>
                  </a:lnTo>
                  <a:lnTo>
                    <a:pt x="5" y="38"/>
                  </a:lnTo>
                  <a:lnTo>
                    <a:pt x="5" y="40"/>
                  </a:lnTo>
                  <a:lnTo>
                    <a:pt x="8" y="40"/>
                  </a:lnTo>
                  <a:lnTo>
                    <a:pt x="8" y="43"/>
                  </a:lnTo>
                  <a:lnTo>
                    <a:pt x="8" y="43"/>
                  </a:lnTo>
                  <a:lnTo>
                    <a:pt x="10" y="43"/>
                  </a:lnTo>
                  <a:lnTo>
                    <a:pt x="12" y="45"/>
                  </a:lnTo>
                  <a:lnTo>
                    <a:pt x="15" y="45"/>
                  </a:lnTo>
                  <a:lnTo>
                    <a:pt x="15" y="48"/>
                  </a:lnTo>
                  <a:lnTo>
                    <a:pt x="17" y="50"/>
                  </a:lnTo>
                  <a:lnTo>
                    <a:pt x="19" y="50"/>
                  </a:lnTo>
                  <a:lnTo>
                    <a:pt x="22" y="52"/>
                  </a:lnTo>
                  <a:lnTo>
                    <a:pt x="22" y="52"/>
                  </a:lnTo>
                  <a:lnTo>
                    <a:pt x="24" y="55"/>
                  </a:lnTo>
                  <a:lnTo>
                    <a:pt x="26" y="55"/>
                  </a:lnTo>
                  <a:lnTo>
                    <a:pt x="26" y="55"/>
                  </a:lnTo>
                  <a:lnTo>
                    <a:pt x="26" y="55"/>
                  </a:lnTo>
                  <a:lnTo>
                    <a:pt x="29" y="57"/>
                  </a:lnTo>
                  <a:lnTo>
                    <a:pt x="31" y="57"/>
                  </a:lnTo>
                  <a:lnTo>
                    <a:pt x="33" y="57"/>
                  </a:lnTo>
                  <a:lnTo>
                    <a:pt x="38" y="57"/>
                  </a:lnTo>
                  <a:lnTo>
                    <a:pt x="38" y="57"/>
                  </a:lnTo>
                  <a:lnTo>
                    <a:pt x="41" y="57"/>
                  </a:lnTo>
                  <a:lnTo>
                    <a:pt x="41" y="57"/>
                  </a:lnTo>
                  <a:lnTo>
                    <a:pt x="43" y="57"/>
                  </a:lnTo>
                  <a:lnTo>
                    <a:pt x="43" y="57"/>
                  </a:lnTo>
                  <a:lnTo>
                    <a:pt x="45" y="55"/>
                  </a:lnTo>
                  <a:lnTo>
                    <a:pt x="45" y="55"/>
                  </a:lnTo>
                  <a:lnTo>
                    <a:pt x="48" y="55"/>
                  </a:lnTo>
                  <a:lnTo>
                    <a:pt x="48" y="55"/>
                  </a:lnTo>
                  <a:lnTo>
                    <a:pt x="48" y="55"/>
                  </a:lnTo>
                  <a:lnTo>
                    <a:pt x="48" y="55"/>
                  </a:lnTo>
                  <a:lnTo>
                    <a:pt x="50" y="55"/>
                  </a:lnTo>
                  <a:lnTo>
                    <a:pt x="50" y="52"/>
                  </a:lnTo>
                  <a:lnTo>
                    <a:pt x="50" y="52"/>
                  </a:lnTo>
                  <a:lnTo>
                    <a:pt x="52" y="52"/>
                  </a:lnTo>
                  <a:lnTo>
                    <a:pt x="52" y="52"/>
                  </a:lnTo>
                  <a:lnTo>
                    <a:pt x="52" y="52"/>
                  </a:lnTo>
                  <a:lnTo>
                    <a:pt x="55" y="52"/>
                  </a:lnTo>
                  <a:lnTo>
                    <a:pt x="55" y="52"/>
                  </a:lnTo>
                  <a:lnTo>
                    <a:pt x="57" y="52"/>
                  </a:lnTo>
                  <a:lnTo>
                    <a:pt x="57" y="52"/>
                  </a:lnTo>
                  <a:lnTo>
                    <a:pt x="57" y="50"/>
                  </a:lnTo>
                  <a:lnTo>
                    <a:pt x="59" y="50"/>
                  </a:lnTo>
                  <a:lnTo>
                    <a:pt x="59" y="50"/>
                  </a:lnTo>
                  <a:lnTo>
                    <a:pt x="62" y="50"/>
                  </a:lnTo>
                  <a:lnTo>
                    <a:pt x="64" y="50"/>
                  </a:lnTo>
                  <a:lnTo>
                    <a:pt x="64" y="50"/>
                  </a:lnTo>
                  <a:lnTo>
                    <a:pt x="69" y="50"/>
                  </a:lnTo>
                  <a:lnTo>
                    <a:pt x="69" y="50"/>
                  </a:lnTo>
                  <a:lnTo>
                    <a:pt x="71" y="50"/>
                  </a:lnTo>
                  <a:lnTo>
                    <a:pt x="71" y="50"/>
                  </a:lnTo>
                  <a:lnTo>
                    <a:pt x="74" y="50"/>
                  </a:lnTo>
                  <a:lnTo>
                    <a:pt x="76" y="50"/>
                  </a:lnTo>
                  <a:lnTo>
                    <a:pt x="78" y="50"/>
                  </a:lnTo>
                  <a:lnTo>
                    <a:pt x="78" y="50"/>
                  </a:lnTo>
                  <a:lnTo>
                    <a:pt x="78" y="50"/>
                  </a:lnTo>
                  <a:lnTo>
                    <a:pt x="78" y="48"/>
                  </a:lnTo>
                  <a:lnTo>
                    <a:pt x="78" y="48"/>
                  </a:lnTo>
                  <a:lnTo>
                    <a:pt x="81" y="48"/>
                  </a:lnTo>
                  <a:lnTo>
                    <a:pt x="83" y="48"/>
                  </a:lnTo>
                  <a:lnTo>
                    <a:pt x="85" y="48"/>
                  </a:lnTo>
                  <a:lnTo>
                    <a:pt x="85" y="48"/>
                  </a:lnTo>
                  <a:lnTo>
                    <a:pt x="85" y="45"/>
                  </a:lnTo>
                  <a:lnTo>
                    <a:pt x="85" y="45"/>
                  </a:lnTo>
                  <a:lnTo>
                    <a:pt x="88" y="45"/>
                  </a:lnTo>
                  <a:lnTo>
                    <a:pt x="88" y="43"/>
                  </a:lnTo>
                  <a:lnTo>
                    <a:pt x="88" y="43"/>
                  </a:lnTo>
                  <a:lnTo>
                    <a:pt x="88" y="40"/>
                  </a:lnTo>
                  <a:lnTo>
                    <a:pt x="88" y="40"/>
                  </a:lnTo>
                  <a:lnTo>
                    <a:pt x="88" y="40"/>
                  </a:lnTo>
                  <a:lnTo>
                    <a:pt x="90" y="40"/>
                  </a:lnTo>
                  <a:lnTo>
                    <a:pt x="90" y="38"/>
                  </a:lnTo>
                  <a:lnTo>
                    <a:pt x="90" y="38"/>
                  </a:lnTo>
                  <a:lnTo>
                    <a:pt x="90" y="36"/>
                  </a:lnTo>
                  <a:lnTo>
                    <a:pt x="92" y="36"/>
                  </a:lnTo>
                  <a:lnTo>
                    <a:pt x="92" y="33"/>
                  </a:lnTo>
                  <a:lnTo>
                    <a:pt x="92" y="31"/>
                  </a:lnTo>
                  <a:lnTo>
                    <a:pt x="92" y="31"/>
                  </a:lnTo>
                  <a:lnTo>
                    <a:pt x="95" y="31"/>
                  </a:lnTo>
                  <a:lnTo>
                    <a:pt x="95" y="29"/>
                  </a:lnTo>
                  <a:lnTo>
                    <a:pt x="95" y="26"/>
                  </a:lnTo>
                  <a:lnTo>
                    <a:pt x="97" y="26"/>
                  </a:lnTo>
                  <a:lnTo>
                    <a:pt x="97" y="24"/>
                  </a:lnTo>
                  <a:lnTo>
                    <a:pt x="97" y="24"/>
                  </a:lnTo>
                  <a:lnTo>
                    <a:pt x="97" y="22"/>
                  </a:lnTo>
                  <a:lnTo>
                    <a:pt x="99" y="22"/>
                  </a:lnTo>
                  <a:lnTo>
                    <a:pt x="99" y="19"/>
                  </a:lnTo>
                  <a:lnTo>
                    <a:pt x="102" y="19"/>
                  </a:lnTo>
                  <a:lnTo>
                    <a:pt x="102" y="17"/>
                  </a:lnTo>
                  <a:lnTo>
                    <a:pt x="102" y="17"/>
                  </a:lnTo>
                  <a:lnTo>
                    <a:pt x="104" y="17"/>
                  </a:lnTo>
                  <a:lnTo>
                    <a:pt x="104" y="17"/>
                  </a:lnTo>
                  <a:lnTo>
                    <a:pt x="107" y="17"/>
                  </a:lnTo>
                  <a:lnTo>
                    <a:pt x="107" y="17"/>
                  </a:lnTo>
                  <a:lnTo>
                    <a:pt x="107" y="17"/>
                  </a:lnTo>
                  <a:lnTo>
                    <a:pt x="109" y="17"/>
                  </a:lnTo>
                  <a:lnTo>
                    <a:pt x="111" y="12"/>
                  </a:lnTo>
                  <a:lnTo>
                    <a:pt x="111" y="12"/>
                  </a:lnTo>
                  <a:lnTo>
                    <a:pt x="111" y="1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0" name="Freeform 326"/>
            <p:cNvSpPr>
              <a:spLocks/>
            </p:cNvSpPr>
            <p:nvPr userDrawn="1"/>
          </p:nvSpPr>
          <p:spPr bwMode="auto">
            <a:xfrm>
              <a:off x="2008" y="2470"/>
              <a:ext cx="115" cy="63"/>
            </a:xfrm>
            <a:custGeom>
              <a:avLst/>
              <a:gdLst>
                <a:gd name="T0" fmla="*/ 113 w 115"/>
                <a:gd name="T1" fmla="*/ 16 h 63"/>
                <a:gd name="T2" fmla="*/ 111 w 115"/>
                <a:gd name="T3" fmla="*/ 14 h 63"/>
                <a:gd name="T4" fmla="*/ 108 w 115"/>
                <a:gd name="T5" fmla="*/ 16 h 63"/>
                <a:gd name="T6" fmla="*/ 106 w 115"/>
                <a:gd name="T7" fmla="*/ 16 h 63"/>
                <a:gd name="T8" fmla="*/ 104 w 115"/>
                <a:gd name="T9" fmla="*/ 14 h 63"/>
                <a:gd name="T10" fmla="*/ 99 w 115"/>
                <a:gd name="T11" fmla="*/ 14 h 63"/>
                <a:gd name="T12" fmla="*/ 101 w 115"/>
                <a:gd name="T13" fmla="*/ 11 h 63"/>
                <a:gd name="T14" fmla="*/ 106 w 115"/>
                <a:gd name="T15" fmla="*/ 11 h 63"/>
                <a:gd name="T16" fmla="*/ 94 w 115"/>
                <a:gd name="T17" fmla="*/ 4 h 63"/>
                <a:gd name="T18" fmla="*/ 94 w 115"/>
                <a:gd name="T19" fmla="*/ 4 h 63"/>
                <a:gd name="T20" fmla="*/ 85 w 115"/>
                <a:gd name="T21" fmla="*/ 0 h 63"/>
                <a:gd name="T22" fmla="*/ 75 w 115"/>
                <a:gd name="T23" fmla="*/ 2 h 63"/>
                <a:gd name="T24" fmla="*/ 68 w 115"/>
                <a:gd name="T25" fmla="*/ 0 h 63"/>
                <a:gd name="T26" fmla="*/ 64 w 115"/>
                <a:gd name="T27" fmla="*/ 2 h 63"/>
                <a:gd name="T28" fmla="*/ 52 w 115"/>
                <a:gd name="T29" fmla="*/ 4 h 63"/>
                <a:gd name="T30" fmla="*/ 40 w 115"/>
                <a:gd name="T31" fmla="*/ 4 h 63"/>
                <a:gd name="T32" fmla="*/ 35 w 115"/>
                <a:gd name="T33" fmla="*/ 2 h 63"/>
                <a:gd name="T34" fmla="*/ 31 w 115"/>
                <a:gd name="T35" fmla="*/ 2 h 63"/>
                <a:gd name="T36" fmla="*/ 26 w 115"/>
                <a:gd name="T37" fmla="*/ 7 h 63"/>
                <a:gd name="T38" fmla="*/ 21 w 115"/>
                <a:gd name="T39" fmla="*/ 9 h 63"/>
                <a:gd name="T40" fmla="*/ 12 w 115"/>
                <a:gd name="T41" fmla="*/ 16 h 63"/>
                <a:gd name="T42" fmla="*/ 7 w 115"/>
                <a:gd name="T43" fmla="*/ 18 h 63"/>
                <a:gd name="T44" fmla="*/ 5 w 115"/>
                <a:gd name="T45" fmla="*/ 23 h 63"/>
                <a:gd name="T46" fmla="*/ 5 w 115"/>
                <a:gd name="T47" fmla="*/ 30 h 63"/>
                <a:gd name="T48" fmla="*/ 0 w 115"/>
                <a:gd name="T49" fmla="*/ 33 h 63"/>
                <a:gd name="T50" fmla="*/ 5 w 115"/>
                <a:gd name="T51" fmla="*/ 35 h 63"/>
                <a:gd name="T52" fmla="*/ 7 w 115"/>
                <a:gd name="T53" fmla="*/ 37 h 63"/>
                <a:gd name="T54" fmla="*/ 12 w 115"/>
                <a:gd name="T55" fmla="*/ 40 h 63"/>
                <a:gd name="T56" fmla="*/ 14 w 115"/>
                <a:gd name="T57" fmla="*/ 42 h 63"/>
                <a:gd name="T58" fmla="*/ 16 w 115"/>
                <a:gd name="T59" fmla="*/ 44 h 63"/>
                <a:gd name="T60" fmla="*/ 16 w 115"/>
                <a:gd name="T61" fmla="*/ 44 h 63"/>
                <a:gd name="T62" fmla="*/ 23 w 115"/>
                <a:gd name="T63" fmla="*/ 42 h 63"/>
                <a:gd name="T64" fmla="*/ 26 w 115"/>
                <a:gd name="T65" fmla="*/ 44 h 63"/>
                <a:gd name="T66" fmla="*/ 31 w 115"/>
                <a:gd name="T67" fmla="*/ 47 h 63"/>
                <a:gd name="T68" fmla="*/ 28 w 115"/>
                <a:gd name="T69" fmla="*/ 52 h 63"/>
                <a:gd name="T70" fmla="*/ 28 w 115"/>
                <a:gd name="T71" fmla="*/ 54 h 63"/>
                <a:gd name="T72" fmla="*/ 28 w 115"/>
                <a:gd name="T73" fmla="*/ 56 h 63"/>
                <a:gd name="T74" fmla="*/ 33 w 115"/>
                <a:gd name="T75" fmla="*/ 56 h 63"/>
                <a:gd name="T76" fmla="*/ 33 w 115"/>
                <a:gd name="T77" fmla="*/ 61 h 63"/>
                <a:gd name="T78" fmla="*/ 40 w 115"/>
                <a:gd name="T79" fmla="*/ 63 h 63"/>
                <a:gd name="T80" fmla="*/ 42 w 115"/>
                <a:gd name="T81" fmla="*/ 61 h 63"/>
                <a:gd name="T82" fmla="*/ 45 w 115"/>
                <a:gd name="T83" fmla="*/ 59 h 63"/>
                <a:gd name="T84" fmla="*/ 47 w 115"/>
                <a:gd name="T85" fmla="*/ 56 h 63"/>
                <a:gd name="T86" fmla="*/ 47 w 115"/>
                <a:gd name="T87" fmla="*/ 49 h 63"/>
                <a:gd name="T88" fmla="*/ 49 w 115"/>
                <a:gd name="T89" fmla="*/ 47 h 63"/>
                <a:gd name="T90" fmla="*/ 56 w 115"/>
                <a:gd name="T91" fmla="*/ 44 h 63"/>
                <a:gd name="T92" fmla="*/ 61 w 115"/>
                <a:gd name="T93" fmla="*/ 42 h 63"/>
                <a:gd name="T94" fmla="*/ 66 w 115"/>
                <a:gd name="T95" fmla="*/ 44 h 63"/>
                <a:gd name="T96" fmla="*/ 66 w 115"/>
                <a:gd name="T97" fmla="*/ 44 h 63"/>
                <a:gd name="T98" fmla="*/ 71 w 115"/>
                <a:gd name="T99" fmla="*/ 40 h 63"/>
                <a:gd name="T100" fmla="*/ 78 w 115"/>
                <a:gd name="T101" fmla="*/ 35 h 63"/>
                <a:gd name="T102" fmla="*/ 78 w 115"/>
                <a:gd name="T103" fmla="*/ 33 h 63"/>
                <a:gd name="T104" fmla="*/ 80 w 115"/>
                <a:gd name="T105" fmla="*/ 30 h 63"/>
                <a:gd name="T106" fmla="*/ 80 w 115"/>
                <a:gd name="T107" fmla="*/ 28 h 63"/>
                <a:gd name="T108" fmla="*/ 85 w 115"/>
                <a:gd name="T109" fmla="*/ 26 h 63"/>
                <a:gd name="T110" fmla="*/ 89 w 115"/>
                <a:gd name="T111" fmla="*/ 28 h 63"/>
                <a:gd name="T112" fmla="*/ 94 w 115"/>
                <a:gd name="T113" fmla="*/ 28 h 63"/>
                <a:gd name="T114" fmla="*/ 94 w 115"/>
                <a:gd name="T115" fmla="*/ 26 h 63"/>
                <a:gd name="T116" fmla="*/ 97 w 115"/>
                <a:gd name="T117" fmla="*/ 28 h 63"/>
                <a:gd name="T118" fmla="*/ 99 w 115"/>
                <a:gd name="T119" fmla="*/ 26 h 63"/>
                <a:gd name="T120" fmla="*/ 104 w 115"/>
                <a:gd name="T121" fmla="*/ 26 h 63"/>
                <a:gd name="T122" fmla="*/ 106 w 115"/>
                <a:gd name="T123" fmla="*/ 23 h 63"/>
                <a:gd name="T124" fmla="*/ 111 w 115"/>
                <a:gd name="T125"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63">
                  <a:moveTo>
                    <a:pt x="115" y="21"/>
                  </a:moveTo>
                  <a:lnTo>
                    <a:pt x="113" y="18"/>
                  </a:lnTo>
                  <a:lnTo>
                    <a:pt x="113" y="16"/>
                  </a:lnTo>
                  <a:lnTo>
                    <a:pt x="108" y="14"/>
                  </a:lnTo>
                  <a:lnTo>
                    <a:pt x="108" y="14"/>
                  </a:lnTo>
                  <a:lnTo>
                    <a:pt x="111" y="14"/>
                  </a:lnTo>
                  <a:lnTo>
                    <a:pt x="111" y="16"/>
                  </a:lnTo>
                  <a:lnTo>
                    <a:pt x="111" y="16"/>
                  </a:lnTo>
                  <a:lnTo>
                    <a:pt x="108" y="16"/>
                  </a:lnTo>
                  <a:lnTo>
                    <a:pt x="108" y="16"/>
                  </a:lnTo>
                  <a:lnTo>
                    <a:pt x="106" y="16"/>
                  </a:lnTo>
                  <a:lnTo>
                    <a:pt x="106" y="16"/>
                  </a:lnTo>
                  <a:lnTo>
                    <a:pt x="106" y="16"/>
                  </a:lnTo>
                  <a:lnTo>
                    <a:pt x="104" y="14"/>
                  </a:lnTo>
                  <a:lnTo>
                    <a:pt x="104" y="14"/>
                  </a:lnTo>
                  <a:lnTo>
                    <a:pt x="101" y="11"/>
                  </a:lnTo>
                  <a:lnTo>
                    <a:pt x="101" y="14"/>
                  </a:lnTo>
                  <a:lnTo>
                    <a:pt x="99" y="14"/>
                  </a:lnTo>
                  <a:lnTo>
                    <a:pt x="99" y="11"/>
                  </a:lnTo>
                  <a:lnTo>
                    <a:pt x="99" y="11"/>
                  </a:lnTo>
                  <a:lnTo>
                    <a:pt x="101" y="11"/>
                  </a:lnTo>
                  <a:lnTo>
                    <a:pt x="104" y="9"/>
                  </a:lnTo>
                  <a:lnTo>
                    <a:pt x="106" y="11"/>
                  </a:lnTo>
                  <a:lnTo>
                    <a:pt x="106" y="11"/>
                  </a:lnTo>
                  <a:lnTo>
                    <a:pt x="99" y="4"/>
                  </a:lnTo>
                  <a:lnTo>
                    <a:pt x="94" y="2"/>
                  </a:lnTo>
                  <a:lnTo>
                    <a:pt x="94" y="4"/>
                  </a:lnTo>
                  <a:lnTo>
                    <a:pt x="94" y="4"/>
                  </a:lnTo>
                  <a:lnTo>
                    <a:pt x="94" y="4"/>
                  </a:lnTo>
                  <a:lnTo>
                    <a:pt x="94" y="4"/>
                  </a:lnTo>
                  <a:lnTo>
                    <a:pt x="92" y="4"/>
                  </a:lnTo>
                  <a:lnTo>
                    <a:pt x="92" y="2"/>
                  </a:lnTo>
                  <a:lnTo>
                    <a:pt x="85" y="0"/>
                  </a:lnTo>
                  <a:lnTo>
                    <a:pt x="85" y="0"/>
                  </a:lnTo>
                  <a:lnTo>
                    <a:pt x="82" y="2"/>
                  </a:lnTo>
                  <a:lnTo>
                    <a:pt x="75" y="2"/>
                  </a:lnTo>
                  <a:lnTo>
                    <a:pt x="71" y="0"/>
                  </a:lnTo>
                  <a:lnTo>
                    <a:pt x="66" y="0"/>
                  </a:lnTo>
                  <a:lnTo>
                    <a:pt x="68" y="0"/>
                  </a:lnTo>
                  <a:lnTo>
                    <a:pt x="68" y="2"/>
                  </a:lnTo>
                  <a:lnTo>
                    <a:pt x="66" y="2"/>
                  </a:lnTo>
                  <a:lnTo>
                    <a:pt x="64" y="2"/>
                  </a:lnTo>
                  <a:lnTo>
                    <a:pt x="59" y="4"/>
                  </a:lnTo>
                  <a:lnTo>
                    <a:pt x="56" y="4"/>
                  </a:lnTo>
                  <a:lnTo>
                    <a:pt x="52" y="4"/>
                  </a:lnTo>
                  <a:lnTo>
                    <a:pt x="49" y="4"/>
                  </a:lnTo>
                  <a:lnTo>
                    <a:pt x="42" y="4"/>
                  </a:lnTo>
                  <a:lnTo>
                    <a:pt x="40" y="4"/>
                  </a:lnTo>
                  <a:lnTo>
                    <a:pt x="38" y="4"/>
                  </a:lnTo>
                  <a:lnTo>
                    <a:pt x="38" y="4"/>
                  </a:lnTo>
                  <a:lnTo>
                    <a:pt x="35" y="2"/>
                  </a:lnTo>
                  <a:lnTo>
                    <a:pt x="35" y="2"/>
                  </a:lnTo>
                  <a:lnTo>
                    <a:pt x="31" y="2"/>
                  </a:lnTo>
                  <a:lnTo>
                    <a:pt x="31" y="2"/>
                  </a:lnTo>
                  <a:lnTo>
                    <a:pt x="28" y="4"/>
                  </a:lnTo>
                  <a:lnTo>
                    <a:pt x="28" y="4"/>
                  </a:lnTo>
                  <a:lnTo>
                    <a:pt x="26" y="7"/>
                  </a:lnTo>
                  <a:lnTo>
                    <a:pt x="26" y="7"/>
                  </a:lnTo>
                  <a:lnTo>
                    <a:pt x="23" y="7"/>
                  </a:lnTo>
                  <a:lnTo>
                    <a:pt x="21" y="9"/>
                  </a:lnTo>
                  <a:lnTo>
                    <a:pt x="19" y="11"/>
                  </a:lnTo>
                  <a:lnTo>
                    <a:pt x="16" y="14"/>
                  </a:lnTo>
                  <a:lnTo>
                    <a:pt x="12" y="16"/>
                  </a:lnTo>
                  <a:lnTo>
                    <a:pt x="9" y="18"/>
                  </a:lnTo>
                  <a:lnTo>
                    <a:pt x="9" y="18"/>
                  </a:lnTo>
                  <a:lnTo>
                    <a:pt x="7" y="18"/>
                  </a:lnTo>
                  <a:lnTo>
                    <a:pt x="5" y="21"/>
                  </a:lnTo>
                  <a:lnTo>
                    <a:pt x="5" y="23"/>
                  </a:lnTo>
                  <a:lnTo>
                    <a:pt x="5" y="23"/>
                  </a:lnTo>
                  <a:lnTo>
                    <a:pt x="5" y="26"/>
                  </a:lnTo>
                  <a:lnTo>
                    <a:pt x="5" y="28"/>
                  </a:lnTo>
                  <a:lnTo>
                    <a:pt x="5" y="30"/>
                  </a:lnTo>
                  <a:lnTo>
                    <a:pt x="2" y="30"/>
                  </a:lnTo>
                  <a:lnTo>
                    <a:pt x="0" y="33"/>
                  </a:lnTo>
                  <a:lnTo>
                    <a:pt x="0" y="33"/>
                  </a:lnTo>
                  <a:lnTo>
                    <a:pt x="0" y="33"/>
                  </a:lnTo>
                  <a:lnTo>
                    <a:pt x="5" y="35"/>
                  </a:lnTo>
                  <a:lnTo>
                    <a:pt x="5" y="35"/>
                  </a:lnTo>
                  <a:lnTo>
                    <a:pt x="7" y="35"/>
                  </a:lnTo>
                  <a:lnTo>
                    <a:pt x="7" y="35"/>
                  </a:lnTo>
                  <a:lnTo>
                    <a:pt x="7" y="37"/>
                  </a:lnTo>
                  <a:lnTo>
                    <a:pt x="9" y="40"/>
                  </a:lnTo>
                  <a:lnTo>
                    <a:pt x="9" y="40"/>
                  </a:lnTo>
                  <a:lnTo>
                    <a:pt x="12" y="40"/>
                  </a:lnTo>
                  <a:lnTo>
                    <a:pt x="12" y="42"/>
                  </a:lnTo>
                  <a:lnTo>
                    <a:pt x="12" y="42"/>
                  </a:lnTo>
                  <a:lnTo>
                    <a:pt x="14" y="42"/>
                  </a:lnTo>
                  <a:lnTo>
                    <a:pt x="14" y="42"/>
                  </a:lnTo>
                  <a:lnTo>
                    <a:pt x="16" y="42"/>
                  </a:lnTo>
                  <a:lnTo>
                    <a:pt x="16" y="44"/>
                  </a:lnTo>
                  <a:lnTo>
                    <a:pt x="16" y="44"/>
                  </a:lnTo>
                  <a:lnTo>
                    <a:pt x="16" y="44"/>
                  </a:lnTo>
                  <a:lnTo>
                    <a:pt x="16" y="44"/>
                  </a:lnTo>
                  <a:lnTo>
                    <a:pt x="19" y="44"/>
                  </a:lnTo>
                  <a:lnTo>
                    <a:pt x="21" y="42"/>
                  </a:lnTo>
                  <a:lnTo>
                    <a:pt x="23" y="42"/>
                  </a:lnTo>
                  <a:lnTo>
                    <a:pt x="23" y="44"/>
                  </a:lnTo>
                  <a:lnTo>
                    <a:pt x="23" y="44"/>
                  </a:lnTo>
                  <a:lnTo>
                    <a:pt x="26" y="44"/>
                  </a:lnTo>
                  <a:lnTo>
                    <a:pt x="28" y="44"/>
                  </a:lnTo>
                  <a:lnTo>
                    <a:pt x="28" y="44"/>
                  </a:lnTo>
                  <a:lnTo>
                    <a:pt x="31" y="47"/>
                  </a:lnTo>
                  <a:lnTo>
                    <a:pt x="28" y="49"/>
                  </a:lnTo>
                  <a:lnTo>
                    <a:pt x="28" y="52"/>
                  </a:lnTo>
                  <a:lnTo>
                    <a:pt x="28" y="52"/>
                  </a:lnTo>
                  <a:lnTo>
                    <a:pt x="28" y="52"/>
                  </a:lnTo>
                  <a:lnTo>
                    <a:pt x="28" y="54"/>
                  </a:lnTo>
                  <a:lnTo>
                    <a:pt x="28" y="54"/>
                  </a:lnTo>
                  <a:lnTo>
                    <a:pt x="26" y="54"/>
                  </a:lnTo>
                  <a:lnTo>
                    <a:pt x="28" y="56"/>
                  </a:lnTo>
                  <a:lnTo>
                    <a:pt x="28" y="56"/>
                  </a:lnTo>
                  <a:lnTo>
                    <a:pt x="31" y="56"/>
                  </a:lnTo>
                  <a:lnTo>
                    <a:pt x="33" y="56"/>
                  </a:lnTo>
                  <a:lnTo>
                    <a:pt x="33" y="56"/>
                  </a:lnTo>
                  <a:lnTo>
                    <a:pt x="33" y="59"/>
                  </a:lnTo>
                  <a:lnTo>
                    <a:pt x="33" y="59"/>
                  </a:lnTo>
                  <a:lnTo>
                    <a:pt x="33" y="61"/>
                  </a:lnTo>
                  <a:lnTo>
                    <a:pt x="35" y="61"/>
                  </a:lnTo>
                  <a:lnTo>
                    <a:pt x="35" y="63"/>
                  </a:lnTo>
                  <a:lnTo>
                    <a:pt x="40" y="63"/>
                  </a:lnTo>
                  <a:lnTo>
                    <a:pt x="40" y="63"/>
                  </a:lnTo>
                  <a:lnTo>
                    <a:pt x="42" y="61"/>
                  </a:lnTo>
                  <a:lnTo>
                    <a:pt x="42" y="61"/>
                  </a:lnTo>
                  <a:lnTo>
                    <a:pt x="42" y="59"/>
                  </a:lnTo>
                  <a:lnTo>
                    <a:pt x="42" y="59"/>
                  </a:lnTo>
                  <a:lnTo>
                    <a:pt x="45" y="59"/>
                  </a:lnTo>
                  <a:lnTo>
                    <a:pt x="45" y="56"/>
                  </a:lnTo>
                  <a:lnTo>
                    <a:pt x="47" y="56"/>
                  </a:lnTo>
                  <a:lnTo>
                    <a:pt x="47" y="56"/>
                  </a:lnTo>
                  <a:lnTo>
                    <a:pt x="47" y="54"/>
                  </a:lnTo>
                  <a:lnTo>
                    <a:pt x="47" y="49"/>
                  </a:lnTo>
                  <a:lnTo>
                    <a:pt x="47" y="49"/>
                  </a:lnTo>
                  <a:lnTo>
                    <a:pt x="47" y="47"/>
                  </a:lnTo>
                  <a:lnTo>
                    <a:pt x="47" y="47"/>
                  </a:lnTo>
                  <a:lnTo>
                    <a:pt x="49" y="47"/>
                  </a:lnTo>
                  <a:lnTo>
                    <a:pt x="54" y="47"/>
                  </a:lnTo>
                  <a:lnTo>
                    <a:pt x="54" y="47"/>
                  </a:lnTo>
                  <a:lnTo>
                    <a:pt x="56" y="44"/>
                  </a:lnTo>
                  <a:lnTo>
                    <a:pt x="59" y="42"/>
                  </a:lnTo>
                  <a:lnTo>
                    <a:pt x="59" y="42"/>
                  </a:lnTo>
                  <a:lnTo>
                    <a:pt x="61" y="42"/>
                  </a:lnTo>
                  <a:lnTo>
                    <a:pt x="61" y="42"/>
                  </a:lnTo>
                  <a:lnTo>
                    <a:pt x="66" y="44"/>
                  </a:lnTo>
                  <a:lnTo>
                    <a:pt x="66" y="44"/>
                  </a:lnTo>
                  <a:lnTo>
                    <a:pt x="66" y="44"/>
                  </a:lnTo>
                  <a:lnTo>
                    <a:pt x="66" y="44"/>
                  </a:lnTo>
                  <a:lnTo>
                    <a:pt x="66" y="44"/>
                  </a:lnTo>
                  <a:lnTo>
                    <a:pt x="68" y="42"/>
                  </a:lnTo>
                  <a:lnTo>
                    <a:pt x="68" y="42"/>
                  </a:lnTo>
                  <a:lnTo>
                    <a:pt x="71" y="40"/>
                  </a:lnTo>
                  <a:lnTo>
                    <a:pt x="73" y="37"/>
                  </a:lnTo>
                  <a:lnTo>
                    <a:pt x="75" y="35"/>
                  </a:lnTo>
                  <a:lnTo>
                    <a:pt x="78" y="35"/>
                  </a:lnTo>
                  <a:lnTo>
                    <a:pt x="78" y="35"/>
                  </a:lnTo>
                  <a:lnTo>
                    <a:pt x="78" y="35"/>
                  </a:lnTo>
                  <a:lnTo>
                    <a:pt x="78" y="33"/>
                  </a:lnTo>
                  <a:lnTo>
                    <a:pt x="78" y="30"/>
                  </a:lnTo>
                  <a:lnTo>
                    <a:pt x="80" y="30"/>
                  </a:lnTo>
                  <a:lnTo>
                    <a:pt x="80" y="30"/>
                  </a:lnTo>
                  <a:lnTo>
                    <a:pt x="80" y="30"/>
                  </a:lnTo>
                  <a:lnTo>
                    <a:pt x="80" y="28"/>
                  </a:lnTo>
                  <a:lnTo>
                    <a:pt x="80" y="28"/>
                  </a:lnTo>
                  <a:lnTo>
                    <a:pt x="82" y="26"/>
                  </a:lnTo>
                  <a:lnTo>
                    <a:pt x="85" y="26"/>
                  </a:lnTo>
                  <a:lnTo>
                    <a:pt x="85" y="26"/>
                  </a:lnTo>
                  <a:lnTo>
                    <a:pt x="87" y="28"/>
                  </a:lnTo>
                  <a:lnTo>
                    <a:pt x="87" y="28"/>
                  </a:lnTo>
                  <a:lnTo>
                    <a:pt x="89" y="28"/>
                  </a:lnTo>
                  <a:lnTo>
                    <a:pt x="92" y="28"/>
                  </a:lnTo>
                  <a:lnTo>
                    <a:pt x="92" y="28"/>
                  </a:lnTo>
                  <a:lnTo>
                    <a:pt x="94" y="28"/>
                  </a:lnTo>
                  <a:lnTo>
                    <a:pt x="94" y="28"/>
                  </a:lnTo>
                  <a:lnTo>
                    <a:pt x="94" y="28"/>
                  </a:lnTo>
                  <a:lnTo>
                    <a:pt x="94" y="26"/>
                  </a:lnTo>
                  <a:lnTo>
                    <a:pt x="97" y="26"/>
                  </a:lnTo>
                  <a:lnTo>
                    <a:pt x="97" y="28"/>
                  </a:lnTo>
                  <a:lnTo>
                    <a:pt x="97" y="28"/>
                  </a:lnTo>
                  <a:lnTo>
                    <a:pt x="99" y="28"/>
                  </a:lnTo>
                  <a:lnTo>
                    <a:pt x="99" y="26"/>
                  </a:lnTo>
                  <a:lnTo>
                    <a:pt x="99" y="26"/>
                  </a:lnTo>
                  <a:lnTo>
                    <a:pt x="99" y="26"/>
                  </a:lnTo>
                  <a:lnTo>
                    <a:pt x="101" y="26"/>
                  </a:lnTo>
                  <a:lnTo>
                    <a:pt x="104" y="26"/>
                  </a:lnTo>
                  <a:lnTo>
                    <a:pt x="106" y="23"/>
                  </a:lnTo>
                  <a:lnTo>
                    <a:pt x="106" y="23"/>
                  </a:lnTo>
                  <a:lnTo>
                    <a:pt x="106" y="23"/>
                  </a:lnTo>
                  <a:lnTo>
                    <a:pt x="108" y="23"/>
                  </a:lnTo>
                  <a:lnTo>
                    <a:pt x="108" y="21"/>
                  </a:lnTo>
                  <a:lnTo>
                    <a:pt x="111" y="21"/>
                  </a:lnTo>
                  <a:lnTo>
                    <a:pt x="115" y="21"/>
                  </a:lnTo>
                  <a:lnTo>
                    <a:pt x="115" y="2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1" name="Freeform 327"/>
            <p:cNvSpPr>
              <a:spLocks noEditPoints="1"/>
            </p:cNvSpPr>
            <p:nvPr userDrawn="1"/>
          </p:nvSpPr>
          <p:spPr bwMode="auto">
            <a:xfrm>
              <a:off x="2293" y="2387"/>
              <a:ext cx="52" cy="40"/>
            </a:xfrm>
            <a:custGeom>
              <a:avLst/>
              <a:gdLst>
                <a:gd name="T0" fmla="*/ 28 w 52"/>
                <a:gd name="T1" fmla="*/ 23 h 40"/>
                <a:gd name="T2" fmla="*/ 24 w 52"/>
                <a:gd name="T3" fmla="*/ 21 h 40"/>
                <a:gd name="T4" fmla="*/ 21 w 52"/>
                <a:gd name="T5" fmla="*/ 21 h 40"/>
                <a:gd name="T6" fmla="*/ 31 w 52"/>
                <a:gd name="T7" fmla="*/ 26 h 40"/>
                <a:gd name="T8" fmla="*/ 52 w 52"/>
                <a:gd name="T9" fmla="*/ 14 h 40"/>
                <a:gd name="T10" fmla="*/ 52 w 52"/>
                <a:gd name="T11" fmla="*/ 12 h 40"/>
                <a:gd name="T12" fmla="*/ 52 w 52"/>
                <a:gd name="T13" fmla="*/ 5 h 40"/>
                <a:gd name="T14" fmla="*/ 52 w 52"/>
                <a:gd name="T15" fmla="*/ 5 h 40"/>
                <a:gd name="T16" fmla="*/ 45 w 52"/>
                <a:gd name="T17" fmla="*/ 5 h 40"/>
                <a:gd name="T18" fmla="*/ 38 w 52"/>
                <a:gd name="T19" fmla="*/ 0 h 40"/>
                <a:gd name="T20" fmla="*/ 28 w 52"/>
                <a:gd name="T21" fmla="*/ 0 h 40"/>
                <a:gd name="T22" fmla="*/ 24 w 52"/>
                <a:gd name="T23" fmla="*/ 2 h 40"/>
                <a:gd name="T24" fmla="*/ 21 w 52"/>
                <a:gd name="T25" fmla="*/ 5 h 40"/>
                <a:gd name="T26" fmla="*/ 24 w 52"/>
                <a:gd name="T27" fmla="*/ 7 h 40"/>
                <a:gd name="T28" fmla="*/ 31 w 52"/>
                <a:gd name="T29" fmla="*/ 9 h 40"/>
                <a:gd name="T30" fmla="*/ 33 w 52"/>
                <a:gd name="T31" fmla="*/ 12 h 40"/>
                <a:gd name="T32" fmla="*/ 33 w 52"/>
                <a:gd name="T33" fmla="*/ 16 h 40"/>
                <a:gd name="T34" fmla="*/ 33 w 52"/>
                <a:gd name="T35" fmla="*/ 21 h 40"/>
                <a:gd name="T36" fmla="*/ 38 w 52"/>
                <a:gd name="T37" fmla="*/ 26 h 40"/>
                <a:gd name="T38" fmla="*/ 38 w 52"/>
                <a:gd name="T39" fmla="*/ 28 h 40"/>
                <a:gd name="T40" fmla="*/ 33 w 52"/>
                <a:gd name="T41" fmla="*/ 28 h 40"/>
                <a:gd name="T42" fmla="*/ 33 w 52"/>
                <a:gd name="T43" fmla="*/ 31 h 40"/>
                <a:gd name="T44" fmla="*/ 31 w 52"/>
                <a:gd name="T45" fmla="*/ 31 h 40"/>
                <a:gd name="T46" fmla="*/ 17 w 52"/>
                <a:gd name="T47" fmla="*/ 31 h 40"/>
                <a:gd name="T48" fmla="*/ 12 w 52"/>
                <a:gd name="T49" fmla="*/ 28 h 40"/>
                <a:gd name="T50" fmla="*/ 7 w 52"/>
                <a:gd name="T51" fmla="*/ 28 h 40"/>
                <a:gd name="T52" fmla="*/ 2 w 52"/>
                <a:gd name="T53" fmla="*/ 26 h 40"/>
                <a:gd name="T54" fmla="*/ 0 w 52"/>
                <a:gd name="T55" fmla="*/ 31 h 40"/>
                <a:gd name="T56" fmla="*/ 0 w 52"/>
                <a:gd name="T57" fmla="*/ 33 h 40"/>
                <a:gd name="T58" fmla="*/ 5 w 52"/>
                <a:gd name="T59" fmla="*/ 35 h 40"/>
                <a:gd name="T60" fmla="*/ 9 w 52"/>
                <a:gd name="T61" fmla="*/ 40 h 40"/>
                <a:gd name="T62" fmla="*/ 9 w 52"/>
                <a:gd name="T63" fmla="*/ 38 h 40"/>
                <a:gd name="T64" fmla="*/ 14 w 52"/>
                <a:gd name="T65" fmla="*/ 35 h 40"/>
                <a:gd name="T66" fmla="*/ 19 w 52"/>
                <a:gd name="T67" fmla="*/ 35 h 40"/>
                <a:gd name="T68" fmla="*/ 24 w 52"/>
                <a:gd name="T69" fmla="*/ 35 h 40"/>
                <a:gd name="T70" fmla="*/ 31 w 52"/>
                <a:gd name="T71" fmla="*/ 38 h 40"/>
                <a:gd name="T72" fmla="*/ 33 w 52"/>
                <a:gd name="T73" fmla="*/ 38 h 40"/>
                <a:gd name="T74" fmla="*/ 35 w 52"/>
                <a:gd name="T75" fmla="*/ 35 h 40"/>
                <a:gd name="T76" fmla="*/ 45 w 52"/>
                <a:gd name="T77" fmla="*/ 35 h 40"/>
                <a:gd name="T78" fmla="*/ 47 w 52"/>
                <a:gd name="T79" fmla="*/ 38 h 40"/>
                <a:gd name="T80" fmla="*/ 47 w 52"/>
                <a:gd name="T81" fmla="*/ 35 h 40"/>
                <a:gd name="T82" fmla="*/ 50 w 52"/>
                <a:gd name="T83" fmla="*/ 33 h 40"/>
                <a:gd name="T84" fmla="*/ 45 w 52"/>
                <a:gd name="T85" fmla="*/ 31 h 40"/>
                <a:gd name="T86" fmla="*/ 45 w 52"/>
                <a:gd name="T87" fmla="*/ 28 h 40"/>
                <a:gd name="T88" fmla="*/ 47 w 52"/>
                <a:gd name="T89" fmla="*/ 28 h 40"/>
                <a:gd name="T90" fmla="*/ 50 w 52"/>
                <a:gd name="T91" fmla="*/ 23 h 40"/>
                <a:gd name="T92" fmla="*/ 50 w 52"/>
                <a:gd name="T93" fmla="*/ 21 h 40"/>
                <a:gd name="T94" fmla="*/ 52 w 52"/>
                <a:gd name="T95" fmla="*/ 19 h 40"/>
                <a:gd name="T96" fmla="*/ 52 w 52"/>
                <a:gd name="T97" fmla="*/ 16 h 40"/>
                <a:gd name="T98" fmla="*/ 52 w 52"/>
                <a:gd name="T99"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40">
                  <a:moveTo>
                    <a:pt x="31" y="23"/>
                  </a:moveTo>
                  <a:lnTo>
                    <a:pt x="28" y="23"/>
                  </a:lnTo>
                  <a:lnTo>
                    <a:pt x="26" y="21"/>
                  </a:lnTo>
                  <a:lnTo>
                    <a:pt x="24" y="21"/>
                  </a:lnTo>
                  <a:lnTo>
                    <a:pt x="24" y="21"/>
                  </a:lnTo>
                  <a:lnTo>
                    <a:pt x="21" y="21"/>
                  </a:lnTo>
                  <a:lnTo>
                    <a:pt x="26" y="23"/>
                  </a:lnTo>
                  <a:lnTo>
                    <a:pt x="31" y="26"/>
                  </a:lnTo>
                  <a:lnTo>
                    <a:pt x="31" y="23"/>
                  </a:lnTo>
                  <a:close/>
                  <a:moveTo>
                    <a:pt x="52" y="14"/>
                  </a:moveTo>
                  <a:lnTo>
                    <a:pt x="52" y="12"/>
                  </a:lnTo>
                  <a:lnTo>
                    <a:pt x="52" y="12"/>
                  </a:lnTo>
                  <a:lnTo>
                    <a:pt x="52" y="9"/>
                  </a:lnTo>
                  <a:lnTo>
                    <a:pt x="52" y="5"/>
                  </a:lnTo>
                  <a:lnTo>
                    <a:pt x="52" y="5"/>
                  </a:lnTo>
                  <a:lnTo>
                    <a:pt x="52" y="5"/>
                  </a:lnTo>
                  <a:lnTo>
                    <a:pt x="50" y="5"/>
                  </a:lnTo>
                  <a:lnTo>
                    <a:pt x="45" y="5"/>
                  </a:lnTo>
                  <a:lnTo>
                    <a:pt x="40" y="2"/>
                  </a:lnTo>
                  <a:lnTo>
                    <a:pt x="38" y="0"/>
                  </a:lnTo>
                  <a:lnTo>
                    <a:pt x="33" y="0"/>
                  </a:lnTo>
                  <a:lnTo>
                    <a:pt x="28" y="0"/>
                  </a:lnTo>
                  <a:lnTo>
                    <a:pt x="26" y="2"/>
                  </a:lnTo>
                  <a:lnTo>
                    <a:pt x="24" y="2"/>
                  </a:lnTo>
                  <a:lnTo>
                    <a:pt x="24" y="2"/>
                  </a:lnTo>
                  <a:lnTo>
                    <a:pt x="21" y="5"/>
                  </a:lnTo>
                  <a:lnTo>
                    <a:pt x="21" y="7"/>
                  </a:lnTo>
                  <a:lnTo>
                    <a:pt x="24" y="7"/>
                  </a:lnTo>
                  <a:lnTo>
                    <a:pt x="28" y="7"/>
                  </a:lnTo>
                  <a:lnTo>
                    <a:pt x="31" y="9"/>
                  </a:lnTo>
                  <a:lnTo>
                    <a:pt x="35" y="9"/>
                  </a:lnTo>
                  <a:lnTo>
                    <a:pt x="33" y="12"/>
                  </a:lnTo>
                  <a:lnTo>
                    <a:pt x="33" y="14"/>
                  </a:lnTo>
                  <a:lnTo>
                    <a:pt x="33" y="16"/>
                  </a:lnTo>
                  <a:lnTo>
                    <a:pt x="31" y="19"/>
                  </a:lnTo>
                  <a:lnTo>
                    <a:pt x="33" y="21"/>
                  </a:lnTo>
                  <a:lnTo>
                    <a:pt x="38" y="26"/>
                  </a:lnTo>
                  <a:lnTo>
                    <a:pt x="38" y="26"/>
                  </a:lnTo>
                  <a:lnTo>
                    <a:pt x="38" y="28"/>
                  </a:lnTo>
                  <a:lnTo>
                    <a:pt x="38" y="28"/>
                  </a:lnTo>
                  <a:lnTo>
                    <a:pt x="38" y="28"/>
                  </a:lnTo>
                  <a:lnTo>
                    <a:pt x="33" y="28"/>
                  </a:lnTo>
                  <a:lnTo>
                    <a:pt x="33" y="31"/>
                  </a:lnTo>
                  <a:lnTo>
                    <a:pt x="33" y="31"/>
                  </a:lnTo>
                  <a:lnTo>
                    <a:pt x="31" y="31"/>
                  </a:lnTo>
                  <a:lnTo>
                    <a:pt x="31" y="31"/>
                  </a:lnTo>
                  <a:lnTo>
                    <a:pt x="28" y="31"/>
                  </a:lnTo>
                  <a:lnTo>
                    <a:pt x="17" y="31"/>
                  </a:lnTo>
                  <a:lnTo>
                    <a:pt x="14" y="28"/>
                  </a:lnTo>
                  <a:lnTo>
                    <a:pt x="12" y="28"/>
                  </a:lnTo>
                  <a:lnTo>
                    <a:pt x="9" y="28"/>
                  </a:lnTo>
                  <a:lnTo>
                    <a:pt x="7" y="28"/>
                  </a:lnTo>
                  <a:lnTo>
                    <a:pt x="5" y="26"/>
                  </a:lnTo>
                  <a:lnTo>
                    <a:pt x="2" y="26"/>
                  </a:lnTo>
                  <a:lnTo>
                    <a:pt x="2" y="28"/>
                  </a:lnTo>
                  <a:lnTo>
                    <a:pt x="0" y="31"/>
                  </a:lnTo>
                  <a:lnTo>
                    <a:pt x="0" y="33"/>
                  </a:lnTo>
                  <a:lnTo>
                    <a:pt x="0" y="33"/>
                  </a:lnTo>
                  <a:lnTo>
                    <a:pt x="5" y="35"/>
                  </a:lnTo>
                  <a:lnTo>
                    <a:pt x="5" y="35"/>
                  </a:lnTo>
                  <a:lnTo>
                    <a:pt x="7" y="38"/>
                  </a:lnTo>
                  <a:lnTo>
                    <a:pt x="9" y="40"/>
                  </a:lnTo>
                  <a:lnTo>
                    <a:pt x="9" y="40"/>
                  </a:lnTo>
                  <a:lnTo>
                    <a:pt x="9" y="38"/>
                  </a:lnTo>
                  <a:lnTo>
                    <a:pt x="12" y="38"/>
                  </a:lnTo>
                  <a:lnTo>
                    <a:pt x="14" y="35"/>
                  </a:lnTo>
                  <a:lnTo>
                    <a:pt x="17" y="35"/>
                  </a:lnTo>
                  <a:lnTo>
                    <a:pt x="19" y="35"/>
                  </a:lnTo>
                  <a:lnTo>
                    <a:pt x="21" y="35"/>
                  </a:lnTo>
                  <a:lnTo>
                    <a:pt x="24" y="35"/>
                  </a:lnTo>
                  <a:lnTo>
                    <a:pt x="28" y="38"/>
                  </a:lnTo>
                  <a:lnTo>
                    <a:pt x="31" y="38"/>
                  </a:lnTo>
                  <a:lnTo>
                    <a:pt x="33" y="38"/>
                  </a:lnTo>
                  <a:lnTo>
                    <a:pt x="33" y="38"/>
                  </a:lnTo>
                  <a:lnTo>
                    <a:pt x="33" y="35"/>
                  </a:lnTo>
                  <a:lnTo>
                    <a:pt x="35" y="35"/>
                  </a:lnTo>
                  <a:lnTo>
                    <a:pt x="42" y="35"/>
                  </a:lnTo>
                  <a:lnTo>
                    <a:pt x="45" y="35"/>
                  </a:lnTo>
                  <a:lnTo>
                    <a:pt x="45" y="38"/>
                  </a:lnTo>
                  <a:lnTo>
                    <a:pt x="47" y="38"/>
                  </a:lnTo>
                  <a:lnTo>
                    <a:pt x="47" y="40"/>
                  </a:lnTo>
                  <a:lnTo>
                    <a:pt x="47" y="35"/>
                  </a:lnTo>
                  <a:lnTo>
                    <a:pt x="50" y="35"/>
                  </a:lnTo>
                  <a:lnTo>
                    <a:pt x="50" y="33"/>
                  </a:lnTo>
                  <a:lnTo>
                    <a:pt x="47" y="33"/>
                  </a:lnTo>
                  <a:lnTo>
                    <a:pt x="45" y="31"/>
                  </a:lnTo>
                  <a:lnTo>
                    <a:pt x="45" y="28"/>
                  </a:lnTo>
                  <a:lnTo>
                    <a:pt x="45" y="28"/>
                  </a:lnTo>
                  <a:lnTo>
                    <a:pt x="47" y="28"/>
                  </a:lnTo>
                  <a:lnTo>
                    <a:pt x="47" y="28"/>
                  </a:lnTo>
                  <a:lnTo>
                    <a:pt x="50" y="26"/>
                  </a:lnTo>
                  <a:lnTo>
                    <a:pt x="50" y="23"/>
                  </a:lnTo>
                  <a:lnTo>
                    <a:pt x="50" y="23"/>
                  </a:lnTo>
                  <a:lnTo>
                    <a:pt x="50" y="21"/>
                  </a:lnTo>
                  <a:lnTo>
                    <a:pt x="50" y="21"/>
                  </a:lnTo>
                  <a:lnTo>
                    <a:pt x="52" y="19"/>
                  </a:lnTo>
                  <a:lnTo>
                    <a:pt x="52" y="16"/>
                  </a:lnTo>
                  <a:lnTo>
                    <a:pt x="52" y="16"/>
                  </a:lnTo>
                  <a:lnTo>
                    <a:pt x="52" y="16"/>
                  </a:lnTo>
                  <a:lnTo>
                    <a:pt x="52"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2" name="Freeform 328"/>
            <p:cNvSpPr>
              <a:spLocks/>
            </p:cNvSpPr>
            <p:nvPr userDrawn="1"/>
          </p:nvSpPr>
          <p:spPr bwMode="auto">
            <a:xfrm>
              <a:off x="2515" y="2628"/>
              <a:ext cx="87" cy="154"/>
            </a:xfrm>
            <a:custGeom>
              <a:avLst/>
              <a:gdLst>
                <a:gd name="T0" fmla="*/ 82 w 87"/>
                <a:gd name="T1" fmla="*/ 135 h 154"/>
                <a:gd name="T2" fmla="*/ 80 w 87"/>
                <a:gd name="T3" fmla="*/ 128 h 154"/>
                <a:gd name="T4" fmla="*/ 77 w 87"/>
                <a:gd name="T5" fmla="*/ 123 h 154"/>
                <a:gd name="T6" fmla="*/ 75 w 87"/>
                <a:gd name="T7" fmla="*/ 121 h 154"/>
                <a:gd name="T8" fmla="*/ 75 w 87"/>
                <a:gd name="T9" fmla="*/ 116 h 154"/>
                <a:gd name="T10" fmla="*/ 73 w 87"/>
                <a:gd name="T11" fmla="*/ 109 h 154"/>
                <a:gd name="T12" fmla="*/ 68 w 87"/>
                <a:gd name="T13" fmla="*/ 109 h 154"/>
                <a:gd name="T14" fmla="*/ 66 w 87"/>
                <a:gd name="T15" fmla="*/ 104 h 154"/>
                <a:gd name="T16" fmla="*/ 59 w 87"/>
                <a:gd name="T17" fmla="*/ 92 h 154"/>
                <a:gd name="T18" fmla="*/ 63 w 87"/>
                <a:gd name="T19" fmla="*/ 85 h 154"/>
                <a:gd name="T20" fmla="*/ 63 w 87"/>
                <a:gd name="T21" fmla="*/ 78 h 154"/>
                <a:gd name="T22" fmla="*/ 66 w 87"/>
                <a:gd name="T23" fmla="*/ 73 h 154"/>
                <a:gd name="T24" fmla="*/ 75 w 87"/>
                <a:gd name="T25" fmla="*/ 73 h 154"/>
                <a:gd name="T26" fmla="*/ 75 w 87"/>
                <a:gd name="T27" fmla="*/ 69 h 154"/>
                <a:gd name="T28" fmla="*/ 75 w 87"/>
                <a:gd name="T29" fmla="*/ 66 h 154"/>
                <a:gd name="T30" fmla="*/ 77 w 87"/>
                <a:gd name="T31" fmla="*/ 54 h 154"/>
                <a:gd name="T32" fmla="*/ 70 w 87"/>
                <a:gd name="T33" fmla="*/ 43 h 154"/>
                <a:gd name="T34" fmla="*/ 56 w 87"/>
                <a:gd name="T35" fmla="*/ 35 h 154"/>
                <a:gd name="T36" fmla="*/ 49 w 87"/>
                <a:gd name="T37" fmla="*/ 45 h 154"/>
                <a:gd name="T38" fmla="*/ 54 w 87"/>
                <a:gd name="T39" fmla="*/ 26 h 154"/>
                <a:gd name="T40" fmla="*/ 42 w 87"/>
                <a:gd name="T41" fmla="*/ 9 h 154"/>
                <a:gd name="T42" fmla="*/ 30 w 87"/>
                <a:gd name="T43" fmla="*/ 5 h 154"/>
                <a:gd name="T44" fmla="*/ 30 w 87"/>
                <a:gd name="T45" fmla="*/ 5 h 154"/>
                <a:gd name="T46" fmla="*/ 23 w 87"/>
                <a:gd name="T47" fmla="*/ 12 h 154"/>
                <a:gd name="T48" fmla="*/ 16 w 87"/>
                <a:gd name="T49" fmla="*/ 17 h 154"/>
                <a:gd name="T50" fmla="*/ 14 w 87"/>
                <a:gd name="T51" fmla="*/ 24 h 154"/>
                <a:gd name="T52" fmla="*/ 16 w 87"/>
                <a:gd name="T53" fmla="*/ 28 h 154"/>
                <a:gd name="T54" fmla="*/ 18 w 87"/>
                <a:gd name="T55" fmla="*/ 31 h 154"/>
                <a:gd name="T56" fmla="*/ 11 w 87"/>
                <a:gd name="T57" fmla="*/ 38 h 154"/>
                <a:gd name="T58" fmla="*/ 7 w 87"/>
                <a:gd name="T59" fmla="*/ 38 h 154"/>
                <a:gd name="T60" fmla="*/ 4 w 87"/>
                <a:gd name="T61" fmla="*/ 43 h 154"/>
                <a:gd name="T62" fmla="*/ 2 w 87"/>
                <a:gd name="T63" fmla="*/ 50 h 154"/>
                <a:gd name="T64" fmla="*/ 7 w 87"/>
                <a:gd name="T65" fmla="*/ 64 h 154"/>
                <a:gd name="T66" fmla="*/ 16 w 87"/>
                <a:gd name="T67" fmla="*/ 71 h 154"/>
                <a:gd name="T68" fmla="*/ 23 w 87"/>
                <a:gd name="T69" fmla="*/ 71 h 154"/>
                <a:gd name="T70" fmla="*/ 23 w 87"/>
                <a:gd name="T71" fmla="*/ 78 h 154"/>
                <a:gd name="T72" fmla="*/ 21 w 87"/>
                <a:gd name="T73" fmla="*/ 85 h 154"/>
                <a:gd name="T74" fmla="*/ 28 w 87"/>
                <a:gd name="T75" fmla="*/ 85 h 154"/>
                <a:gd name="T76" fmla="*/ 28 w 87"/>
                <a:gd name="T77" fmla="*/ 90 h 154"/>
                <a:gd name="T78" fmla="*/ 33 w 87"/>
                <a:gd name="T79" fmla="*/ 97 h 154"/>
                <a:gd name="T80" fmla="*/ 30 w 87"/>
                <a:gd name="T81" fmla="*/ 102 h 154"/>
                <a:gd name="T82" fmla="*/ 26 w 87"/>
                <a:gd name="T83" fmla="*/ 109 h 154"/>
                <a:gd name="T84" fmla="*/ 23 w 87"/>
                <a:gd name="T85" fmla="*/ 123 h 154"/>
                <a:gd name="T86" fmla="*/ 28 w 87"/>
                <a:gd name="T87" fmla="*/ 135 h 154"/>
                <a:gd name="T88" fmla="*/ 28 w 87"/>
                <a:gd name="T89" fmla="*/ 142 h 154"/>
                <a:gd name="T90" fmla="*/ 33 w 87"/>
                <a:gd name="T91" fmla="*/ 144 h 154"/>
                <a:gd name="T92" fmla="*/ 40 w 87"/>
                <a:gd name="T93" fmla="*/ 151 h 154"/>
                <a:gd name="T94" fmla="*/ 44 w 87"/>
                <a:gd name="T95" fmla="*/ 154 h 154"/>
                <a:gd name="T96" fmla="*/ 51 w 87"/>
                <a:gd name="T97" fmla="*/ 151 h 154"/>
                <a:gd name="T98" fmla="*/ 51 w 87"/>
                <a:gd name="T99" fmla="*/ 147 h 154"/>
                <a:gd name="T100" fmla="*/ 56 w 87"/>
                <a:gd name="T101" fmla="*/ 147 h 154"/>
                <a:gd name="T102" fmla="*/ 59 w 87"/>
                <a:gd name="T103" fmla="*/ 147 h 154"/>
                <a:gd name="T104" fmla="*/ 63 w 87"/>
                <a:gd name="T105" fmla="*/ 144 h 154"/>
                <a:gd name="T106" fmla="*/ 70 w 87"/>
                <a:gd name="T107" fmla="*/ 139 h 154"/>
                <a:gd name="T108" fmla="*/ 75 w 87"/>
                <a:gd name="T109" fmla="*/ 137 h 154"/>
                <a:gd name="T110" fmla="*/ 82 w 87"/>
                <a:gd name="T111" fmla="*/ 139 h 154"/>
                <a:gd name="T112" fmla="*/ 87 w 87"/>
                <a:gd name="T113" fmla="*/ 13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4">
                  <a:moveTo>
                    <a:pt x="87" y="137"/>
                  </a:moveTo>
                  <a:lnTo>
                    <a:pt x="87" y="137"/>
                  </a:lnTo>
                  <a:lnTo>
                    <a:pt x="84" y="137"/>
                  </a:lnTo>
                  <a:lnTo>
                    <a:pt x="84" y="137"/>
                  </a:lnTo>
                  <a:lnTo>
                    <a:pt x="82" y="135"/>
                  </a:lnTo>
                  <a:lnTo>
                    <a:pt x="82" y="132"/>
                  </a:lnTo>
                  <a:lnTo>
                    <a:pt x="82" y="132"/>
                  </a:lnTo>
                  <a:lnTo>
                    <a:pt x="80" y="130"/>
                  </a:lnTo>
                  <a:lnTo>
                    <a:pt x="80" y="130"/>
                  </a:lnTo>
                  <a:lnTo>
                    <a:pt x="80" y="128"/>
                  </a:lnTo>
                  <a:lnTo>
                    <a:pt x="80" y="128"/>
                  </a:lnTo>
                  <a:lnTo>
                    <a:pt x="80" y="125"/>
                  </a:lnTo>
                  <a:lnTo>
                    <a:pt x="77" y="125"/>
                  </a:lnTo>
                  <a:lnTo>
                    <a:pt x="77" y="123"/>
                  </a:lnTo>
                  <a:lnTo>
                    <a:pt x="77" y="123"/>
                  </a:lnTo>
                  <a:lnTo>
                    <a:pt x="77" y="123"/>
                  </a:lnTo>
                  <a:lnTo>
                    <a:pt x="77" y="121"/>
                  </a:lnTo>
                  <a:lnTo>
                    <a:pt x="77" y="121"/>
                  </a:lnTo>
                  <a:lnTo>
                    <a:pt x="77" y="121"/>
                  </a:lnTo>
                  <a:lnTo>
                    <a:pt x="75" y="121"/>
                  </a:lnTo>
                  <a:lnTo>
                    <a:pt x="75" y="121"/>
                  </a:lnTo>
                  <a:lnTo>
                    <a:pt x="75" y="118"/>
                  </a:lnTo>
                  <a:lnTo>
                    <a:pt x="75" y="118"/>
                  </a:lnTo>
                  <a:lnTo>
                    <a:pt x="75" y="116"/>
                  </a:lnTo>
                  <a:lnTo>
                    <a:pt x="75" y="116"/>
                  </a:lnTo>
                  <a:lnTo>
                    <a:pt x="75" y="113"/>
                  </a:lnTo>
                  <a:lnTo>
                    <a:pt x="75" y="113"/>
                  </a:lnTo>
                  <a:lnTo>
                    <a:pt x="73" y="113"/>
                  </a:lnTo>
                  <a:lnTo>
                    <a:pt x="73" y="111"/>
                  </a:lnTo>
                  <a:lnTo>
                    <a:pt x="73" y="109"/>
                  </a:lnTo>
                  <a:lnTo>
                    <a:pt x="73" y="109"/>
                  </a:lnTo>
                  <a:lnTo>
                    <a:pt x="70" y="109"/>
                  </a:lnTo>
                  <a:lnTo>
                    <a:pt x="70" y="109"/>
                  </a:lnTo>
                  <a:lnTo>
                    <a:pt x="70" y="109"/>
                  </a:lnTo>
                  <a:lnTo>
                    <a:pt x="68" y="109"/>
                  </a:lnTo>
                  <a:lnTo>
                    <a:pt x="68" y="109"/>
                  </a:lnTo>
                  <a:lnTo>
                    <a:pt x="68" y="109"/>
                  </a:lnTo>
                  <a:lnTo>
                    <a:pt x="66" y="106"/>
                  </a:lnTo>
                  <a:lnTo>
                    <a:pt x="68" y="106"/>
                  </a:lnTo>
                  <a:lnTo>
                    <a:pt x="66" y="104"/>
                  </a:lnTo>
                  <a:lnTo>
                    <a:pt x="63" y="102"/>
                  </a:lnTo>
                  <a:lnTo>
                    <a:pt x="63" y="99"/>
                  </a:lnTo>
                  <a:lnTo>
                    <a:pt x="63" y="99"/>
                  </a:lnTo>
                  <a:lnTo>
                    <a:pt x="61" y="95"/>
                  </a:lnTo>
                  <a:lnTo>
                    <a:pt x="59" y="92"/>
                  </a:lnTo>
                  <a:lnTo>
                    <a:pt x="61" y="92"/>
                  </a:lnTo>
                  <a:lnTo>
                    <a:pt x="61" y="90"/>
                  </a:lnTo>
                  <a:lnTo>
                    <a:pt x="61" y="87"/>
                  </a:lnTo>
                  <a:lnTo>
                    <a:pt x="63" y="85"/>
                  </a:lnTo>
                  <a:lnTo>
                    <a:pt x="63" y="85"/>
                  </a:lnTo>
                  <a:lnTo>
                    <a:pt x="63" y="83"/>
                  </a:lnTo>
                  <a:lnTo>
                    <a:pt x="63" y="80"/>
                  </a:lnTo>
                  <a:lnTo>
                    <a:pt x="63" y="80"/>
                  </a:lnTo>
                  <a:lnTo>
                    <a:pt x="63" y="78"/>
                  </a:lnTo>
                  <a:lnTo>
                    <a:pt x="63" y="78"/>
                  </a:lnTo>
                  <a:lnTo>
                    <a:pt x="63" y="76"/>
                  </a:lnTo>
                  <a:lnTo>
                    <a:pt x="63" y="76"/>
                  </a:lnTo>
                  <a:lnTo>
                    <a:pt x="66" y="76"/>
                  </a:lnTo>
                  <a:lnTo>
                    <a:pt x="66" y="76"/>
                  </a:lnTo>
                  <a:lnTo>
                    <a:pt x="66" y="73"/>
                  </a:lnTo>
                  <a:lnTo>
                    <a:pt x="68" y="73"/>
                  </a:lnTo>
                  <a:lnTo>
                    <a:pt x="70" y="73"/>
                  </a:lnTo>
                  <a:lnTo>
                    <a:pt x="73" y="73"/>
                  </a:lnTo>
                  <a:lnTo>
                    <a:pt x="73" y="73"/>
                  </a:lnTo>
                  <a:lnTo>
                    <a:pt x="75" y="73"/>
                  </a:lnTo>
                  <a:lnTo>
                    <a:pt x="75" y="71"/>
                  </a:lnTo>
                  <a:lnTo>
                    <a:pt x="75" y="71"/>
                  </a:lnTo>
                  <a:lnTo>
                    <a:pt x="75" y="71"/>
                  </a:lnTo>
                  <a:lnTo>
                    <a:pt x="75" y="71"/>
                  </a:lnTo>
                  <a:lnTo>
                    <a:pt x="75" y="69"/>
                  </a:lnTo>
                  <a:lnTo>
                    <a:pt x="75" y="69"/>
                  </a:lnTo>
                  <a:lnTo>
                    <a:pt x="75" y="69"/>
                  </a:lnTo>
                  <a:lnTo>
                    <a:pt x="75" y="69"/>
                  </a:lnTo>
                  <a:lnTo>
                    <a:pt x="75" y="66"/>
                  </a:lnTo>
                  <a:lnTo>
                    <a:pt x="75" y="66"/>
                  </a:lnTo>
                  <a:lnTo>
                    <a:pt x="75" y="64"/>
                  </a:lnTo>
                  <a:lnTo>
                    <a:pt x="75" y="64"/>
                  </a:lnTo>
                  <a:lnTo>
                    <a:pt x="77" y="61"/>
                  </a:lnTo>
                  <a:lnTo>
                    <a:pt x="77" y="61"/>
                  </a:lnTo>
                  <a:lnTo>
                    <a:pt x="77" y="54"/>
                  </a:lnTo>
                  <a:lnTo>
                    <a:pt x="77" y="52"/>
                  </a:lnTo>
                  <a:lnTo>
                    <a:pt x="77" y="50"/>
                  </a:lnTo>
                  <a:lnTo>
                    <a:pt x="75" y="47"/>
                  </a:lnTo>
                  <a:lnTo>
                    <a:pt x="70" y="47"/>
                  </a:lnTo>
                  <a:lnTo>
                    <a:pt x="70" y="43"/>
                  </a:lnTo>
                  <a:lnTo>
                    <a:pt x="66" y="40"/>
                  </a:lnTo>
                  <a:lnTo>
                    <a:pt x="63" y="35"/>
                  </a:lnTo>
                  <a:lnTo>
                    <a:pt x="61" y="35"/>
                  </a:lnTo>
                  <a:lnTo>
                    <a:pt x="59" y="35"/>
                  </a:lnTo>
                  <a:lnTo>
                    <a:pt x="56" y="35"/>
                  </a:lnTo>
                  <a:lnTo>
                    <a:pt x="54" y="35"/>
                  </a:lnTo>
                  <a:lnTo>
                    <a:pt x="54" y="38"/>
                  </a:lnTo>
                  <a:lnTo>
                    <a:pt x="51" y="40"/>
                  </a:lnTo>
                  <a:lnTo>
                    <a:pt x="51" y="43"/>
                  </a:lnTo>
                  <a:lnTo>
                    <a:pt x="49" y="45"/>
                  </a:lnTo>
                  <a:lnTo>
                    <a:pt x="51" y="43"/>
                  </a:lnTo>
                  <a:lnTo>
                    <a:pt x="51" y="38"/>
                  </a:lnTo>
                  <a:lnTo>
                    <a:pt x="51" y="35"/>
                  </a:lnTo>
                  <a:lnTo>
                    <a:pt x="54" y="31"/>
                  </a:lnTo>
                  <a:lnTo>
                    <a:pt x="54" y="26"/>
                  </a:lnTo>
                  <a:lnTo>
                    <a:pt x="54" y="24"/>
                  </a:lnTo>
                  <a:lnTo>
                    <a:pt x="51" y="21"/>
                  </a:lnTo>
                  <a:lnTo>
                    <a:pt x="49" y="19"/>
                  </a:lnTo>
                  <a:lnTo>
                    <a:pt x="49" y="17"/>
                  </a:lnTo>
                  <a:lnTo>
                    <a:pt x="42" y="9"/>
                  </a:lnTo>
                  <a:lnTo>
                    <a:pt x="37" y="5"/>
                  </a:lnTo>
                  <a:lnTo>
                    <a:pt x="33" y="2"/>
                  </a:lnTo>
                  <a:lnTo>
                    <a:pt x="33" y="2"/>
                  </a:lnTo>
                  <a:lnTo>
                    <a:pt x="33" y="5"/>
                  </a:lnTo>
                  <a:lnTo>
                    <a:pt x="30" y="5"/>
                  </a:lnTo>
                  <a:lnTo>
                    <a:pt x="30" y="2"/>
                  </a:lnTo>
                  <a:lnTo>
                    <a:pt x="28" y="0"/>
                  </a:lnTo>
                  <a:lnTo>
                    <a:pt x="26" y="0"/>
                  </a:lnTo>
                  <a:lnTo>
                    <a:pt x="30" y="5"/>
                  </a:lnTo>
                  <a:lnTo>
                    <a:pt x="30" y="5"/>
                  </a:lnTo>
                  <a:lnTo>
                    <a:pt x="30" y="5"/>
                  </a:lnTo>
                  <a:lnTo>
                    <a:pt x="28" y="7"/>
                  </a:lnTo>
                  <a:lnTo>
                    <a:pt x="26" y="7"/>
                  </a:lnTo>
                  <a:lnTo>
                    <a:pt x="26" y="9"/>
                  </a:lnTo>
                  <a:lnTo>
                    <a:pt x="23" y="12"/>
                  </a:lnTo>
                  <a:lnTo>
                    <a:pt x="21" y="12"/>
                  </a:lnTo>
                  <a:lnTo>
                    <a:pt x="21" y="14"/>
                  </a:lnTo>
                  <a:lnTo>
                    <a:pt x="18" y="14"/>
                  </a:lnTo>
                  <a:lnTo>
                    <a:pt x="16" y="14"/>
                  </a:lnTo>
                  <a:lnTo>
                    <a:pt x="16" y="17"/>
                  </a:lnTo>
                  <a:lnTo>
                    <a:pt x="14" y="19"/>
                  </a:lnTo>
                  <a:lnTo>
                    <a:pt x="14" y="19"/>
                  </a:lnTo>
                  <a:lnTo>
                    <a:pt x="14" y="21"/>
                  </a:lnTo>
                  <a:lnTo>
                    <a:pt x="14" y="21"/>
                  </a:lnTo>
                  <a:lnTo>
                    <a:pt x="14" y="24"/>
                  </a:lnTo>
                  <a:lnTo>
                    <a:pt x="14" y="26"/>
                  </a:lnTo>
                  <a:lnTo>
                    <a:pt x="14" y="26"/>
                  </a:lnTo>
                  <a:lnTo>
                    <a:pt x="14" y="28"/>
                  </a:lnTo>
                  <a:lnTo>
                    <a:pt x="14" y="28"/>
                  </a:lnTo>
                  <a:lnTo>
                    <a:pt x="16" y="28"/>
                  </a:lnTo>
                  <a:lnTo>
                    <a:pt x="16" y="28"/>
                  </a:lnTo>
                  <a:lnTo>
                    <a:pt x="18" y="28"/>
                  </a:lnTo>
                  <a:lnTo>
                    <a:pt x="18" y="28"/>
                  </a:lnTo>
                  <a:lnTo>
                    <a:pt x="18" y="28"/>
                  </a:lnTo>
                  <a:lnTo>
                    <a:pt x="18" y="31"/>
                  </a:lnTo>
                  <a:lnTo>
                    <a:pt x="18" y="33"/>
                  </a:lnTo>
                  <a:lnTo>
                    <a:pt x="18" y="33"/>
                  </a:lnTo>
                  <a:lnTo>
                    <a:pt x="14" y="35"/>
                  </a:lnTo>
                  <a:lnTo>
                    <a:pt x="14" y="35"/>
                  </a:lnTo>
                  <a:lnTo>
                    <a:pt x="11" y="38"/>
                  </a:lnTo>
                  <a:lnTo>
                    <a:pt x="9" y="35"/>
                  </a:lnTo>
                  <a:lnTo>
                    <a:pt x="9" y="35"/>
                  </a:lnTo>
                  <a:lnTo>
                    <a:pt x="9" y="38"/>
                  </a:lnTo>
                  <a:lnTo>
                    <a:pt x="9" y="38"/>
                  </a:lnTo>
                  <a:lnTo>
                    <a:pt x="7" y="38"/>
                  </a:lnTo>
                  <a:lnTo>
                    <a:pt x="4" y="38"/>
                  </a:lnTo>
                  <a:lnTo>
                    <a:pt x="4" y="38"/>
                  </a:lnTo>
                  <a:lnTo>
                    <a:pt x="4" y="40"/>
                  </a:lnTo>
                  <a:lnTo>
                    <a:pt x="2" y="40"/>
                  </a:lnTo>
                  <a:lnTo>
                    <a:pt x="4" y="43"/>
                  </a:lnTo>
                  <a:lnTo>
                    <a:pt x="4" y="43"/>
                  </a:lnTo>
                  <a:lnTo>
                    <a:pt x="4" y="45"/>
                  </a:lnTo>
                  <a:lnTo>
                    <a:pt x="4" y="50"/>
                  </a:lnTo>
                  <a:lnTo>
                    <a:pt x="4" y="50"/>
                  </a:lnTo>
                  <a:lnTo>
                    <a:pt x="2" y="50"/>
                  </a:lnTo>
                  <a:lnTo>
                    <a:pt x="0" y="52"/>
                  </a:lnTo>
                  <a:lnTo>
                    <a:pt x="0" y="54"/>
                  </a:lnTo>
                  <a:lnTo>
                    <a:pt x="0" y="54"/>
                  </a:lnTo>
                  <a:lnTo>
                    <a:pt x="2" y="59"/>
                  </a:lnTo>
                  <a:lnTo>
                    <a:pt x="7" y="64"/>
                  </a:lnTo>
                  <a:lnTo>
                    <a:pt x="11" y="71"/>
                  </a:lnTo>
                  <a:lnTo>
                    <a:pt x="11" y="69"/>
                  </a:lnTo>
                  <a:lnTo>
                    <a:pt x="14" y="71"/>
                  </a:lnTo>
                  <a:lnTo>
                    <a:pt x="16" y="71"/>
                  </a:lnTo>
                  <a:lnTo>
                    <a:pt x="16" y="71"/>
                  </a:lnTo>
                  <a:lnTo>
                    <a:pt x="18" y="71"/>
                  </a:lnTo>
                  <a:lnTo>
                    <a:pt x="21" y="69"/>
                  </a:lnTo>
                  <a:lnTo>
                    <a:pt x="21" y="69"/>
                  </a:lnTo>
                  <a:lnTo>
                    <a:pt x="21" y="69"/>
                  </a:lnTo>
                  <a:lnTo>
                    <a:pt x="23" y="71"/>
                  </a:lnTo>
                  <a:lnTo>
                    <a:pt x="23" y="71"/>
                  </a:lnTo>
                  <a:lnTo>
                    <a:pt x="23" y="73"/>
                  </a:lnTo>
                  <a:lnTo>
                    <a:pt x="23" y="73"/>
                  </a:lnTo>
                  <a:lnTo>
                    <a:pt x="23" y="76"/>
                  </a:lnTo>
                  <a:lnTo>
                    <a:pt x="23" y="78"/>
                  </a:lnTo>
                  <a:lnTo>
                    <a:pt x="23" y="80"/>
                  </a:lnTo>
                  <a:lnTo>
                    <a:pt x="23" y="80"/>
                  </a:lnTo>
                  <a:lnTo>
                    <a:pt x="21" y="83"/>
                  </a:lnTo>
                  <a:lnTo>
                    <a:pt x="21" y="83"/>
                  </a:lnTo>
                  <a:lnTo>
                    <a:pt x="21" y="85"/>
                  </a:lnTo>
                  <a:lnTo>
                    <a:pt x="21" y="85"/>
                  </a:lnTo>
                  <a:lnTo>
                    <a:pt x="23" y="85"/>
                  </a:lnTo>
                  <a:lnTo>
                    <a:pt x="26" y="85"/>
                  </a:lnTo>
                  <a:lnTo>
                    <a:pt x="26" y="85"/>
                  </a:lnTo>
                  <a:lnTo>
                    <a:pt x="28" y="85"/>
                  </a:lnTo>
                  <a:lnTo>
                    <a:pt x="28" y="87"/>
                  </a:lnTo>
                  <a:lnTo>
                    <a:pt x="30" y="87"/>
                  </a:lnTo>
                  <a:lnTo>
                    <a:pt x="30" y="87"/>
                  </a:lnTo>
                  <a:lnTo>
                    <a:pt x="28" y="90"/>
                  </a:lnTo>
                  <a:lnTo>
                    <a:pt x="28" y="90"/>
                  </a:lnTo>
                  <a:lnTo>
                    <a:pt x="28" y="92"/>
                  </a:lnTo>
                  <a:lnTo>
                    <a:pt x="30" y="92"/>
                  </a:lnTo>
                  <a:lnTo>
                    <a:pt x="30" y="95"/>
                  </a:lnTo>
                  <a:lnTo>
                    <a:pt x="30" y="97"/>
                  </a:lnTo>
                  <a:lnTo>
                    <a:pt x="33" y="97"/>
                  </a:lnTo>
                  <a:lnTo>
                    <a:pt x="33" y="97"/>
                  </a:lnTo>
                  <a:lnTo>
                    <a:pt x="30" y="97"/>
                  </a:lnTo>
                  <a:lnTo>
                    <a:pt x="30" y="99"/>
                  </a:lnTo>
                  <a:lnTo>
                    <a:pt x="30" y="102"/>
                  </a:lnTo>
                  <a:lnTo>
                    <a:pt x="30" y="102"/>
                  </a:lnTo>
                  <a:lnTo>
                    <a:pt x="28" y="102"/>
                  </a:lnTo>
                  <a:lnTo>
                    <a:pt x="26" y="104"/>
                  </a:lnTo>
                  <a:lnTo>
                    <a:pt x="26" y="106"/>
                  </a:lnTo>
                  <a:lnTo>
                    <a:pt x="26" y="109"/>
                  </a:lnTo>
                  <a:lnTo>
                    <a:pt x="26" y="109"/>
                  </a:lnTo>
                  <a:lnTo>
                    <a:pt x="26" y="111"/>
                  </a:lnTo>
                  <a:lnTo>
                    <a:pt x="23" y="113"/>
                  </a:lnTo>
                  <a:lnTo>
                    <a:pt x="23" y="116"/>
                  </a:lnTo>
                  <a:lnTo>
                    <a:pt x="23" y="121"/>
                  </a:lnTo>
                  <a:lnTo>
                    <a:pt x="23" y="123"/>
                  </a:lnTo>
                  <a:lnTo>
                    <a:pt x="23" y="125"/>
                  </a:lnTo>
                  <a:lnTo>
                    <a:pt x="26" y="130"/>
                  </a:lnTo>
                  <a:lnTo>
                    <a:pt x="26" y="130"/>
                  </a:lnTo>
                  <a:lnTo>
                    <a:pt x="28" y="132"/>
                  </a:lnTo>
                  <a:lnTo>
                    <a:pt x="28" y="135"/>
                  </a:lnTo>
                  <a:lnTo>
                    <a:pt x="28" y="139"/>
                  </a:lnTo>
                  <a:lnTo>
                    <a:pt x="28" y="139"/>
                  </a:lnTo>
                  <a:lnTo>
                    <a:pt x="28" y="139"/>
                  </a:lnTo>
                  <a:lnTo>
                    <a:pt x="28" y="139"/>
                  </a:lnTo>
                  <a:lnTo>
                    <a:pt x="28" y="142"/>
                  </a:lnTo>
                  <a:lnTo>
                    <a:pt x="28" y="142"/>
                  </a:lnTo>
                  <a:lnTo>
                    <a:pt x="28" y="142"/>
                  </a:lnTo>
                  <a:lnTo>
                    <a:pt x="30" y="144"/>
                  </a:lnTo>
                  <a:lnTo>
                    <a:pt x="30" y="144"/>
                  </a:lnTo>
                  <a:lnTo>
                    <a:pt x="33" y="144"/>
                  </a:lnTo>
                  <a:lnTo>
                    <a:pt x="35" y="147"/>
                  </a:lnTo>
                  <a:lnTo>
                    <a:pt x="35" y="149"/>
                  </a:lnTo>
                  <a:lnTo>
                    <a:pt x="35" y="149"/>
                  </a:lnTo>
                  <a:lnTo>
                    <a:pt x="37" y="151"/>
                  </a:lnTo>
                  <a:lnTo>
                    <a:pt x="40" y="151"/>
                  </a:lnTo>
                  <a:lnTo>
                    <a:pt x="42" y="151"/>
                  </a:lnTo>
                  <a:lnTo>
                    <a:pt x="42" y="154"/>
                  </a:lnTo>
                  <a:lnTo>
                    <a:pt x="44" y="154"/>
                  </a:lnTo>
                  <a:lnTo>
                    <a:pt x="44" y="154"/>
                  </a:lnTo>
                  <a:lnTo>
                    <a:pt x="44" y="154"/>
                  </a:lnTo>
                  <a:lnTo>
                    <a:pt x="47" y="154"/>
                  </a:lnTo>
                  <a:lnTo>
                    <a:pt x="47" y="154"/>
                  </a:lnTo>
                  <a:lnTo>
                    <a:pt x="49" y="154"/>
                  </a:lnTo>
                  <a:lnTo>
                    <a:pt x="49" y="154"/>
                  </a:lnTo>
                  <a:lnTo>
                    <a:pt x="51" y="151"/>
                  </a:lnTo>
                  <a:lnTo>
                    <a:pt x="51" y="151"/>
                  </a:lnTo>
                  <a:lnTo>
                    <a:pt x="49" y="149"/>
                  </a:lnTo>
                  <a:lnTo>
                    <a:pt x="51" y="149"/>
                  </a:lnTo>
                  <a:lnTo>
                    <a:pt x="51" y="149"/>
                  </a:lnTo>
                  <a:lnTo>
                    <a:pt x="51" y="147"/>
                  </a:lnTo>
                  <a:lnTo>
                    <a:pt x="54" y="147"/>
                  </a:lnTo>
                  <a:lnTo>
                    <a:pt x="54" y="147"/>
                  </a:lnTo>
                  <a:lnTo>
                    <a:pt x="54" y="147"/>
                  </a:lnTo>
                  <a:lnTo>
                    <a:pt x="54" y="147"/>
                  </a:lnTo>
                  <a:lnTo>
                    <a:pt x="56" y="147"/>
                  </a:lnTo>
                  <a:lnTo>
                    <a:pt x="56" y="147"/>
                  </a:lnTo>
                  <a:lnTo>
                    <a:pt x="56" y="147"/>
                  </a:lnTo>
                  <a:lnTo>
                    <a:pt x="59" y="149"/>
                  </a:lnTo>
                  <a:lnTo>
                    <a:pt x="59" y="147"/>
                  </a:lnTo>
                  <a:lnTo>
                    <a:pt x="59" y="147"/>
                  </a:lnTo>
                  <a:lnTo>
                    <a:pt x="61" y="147"/>
                  </a:lnTo>
                  <a:lnTo>
                    <a:pt x="61" y="144"/>
                  </a:lnTo>
                  <a:lnTo>
                    <a:pt x="61" y="144"/>
                  </a:lnTo>
                  <a:lnTo>
                    <a:pt x="61" y="144"/>
                  </a:lnTo>
                  <a:lnTo>
                    <a:pt x="63" y="144"/>
                  </a:lnTo>
                  <a:lnTo>
                    <a:pt x="66" y="144"/>
                  </a:lnTo>
                  <a:lnTo>
                    <a:pt x="68" y="144"/>
                  </a:lnTo>
                  <a:lnTo>
                    <a:pt x="68" y="144"/>
                  </a:lnTo>
                  <a:lnTo>
                    <a:pt x="68" y="142"/>
                  </a:lnTo>
                  <a:lnTo>
                    <a:pt x="70" y="139"/>
                  </a:lnTo>
                  <a:lnTo>
                    <a:pt x="73" y="139"/>
                  </a:lnTo>
                  <a:lnTo>
                    <a:pt x="73" y="137"/>
                  </a:lnTo>
                  <a:lnTo>
                    <a:pt x="73" y="139"/>
                  </a:lnTo>
                  <a:lnTo>
                    <a:pt x="75" y="137"/>
                  </a:lnTo>
                  <a:lnTo>
                    <a:pt x="75" y="137"/>
                  </a:lnTo>
                  <a:lnTo>
                    <a:pt x="77" y="137"/>
                  </a:lnTo>
                  <a:lnTo>
                    <a:pt x="77" y="139"/>
                  </a:lnTo>
                  <a:lnTo>
                    <a:pt x="77" y="139"/>
                  </a:lnTo>
                  <a:lnTo>
                    <a:pt x="80" y="139"/>
                  </a:lnTo>
                  <a:lnTo>
                    <a:pt x="82" y="139"/>
                  </a:lnTo>
                  <a:lnTo>
                    <a:pt x="82" y="139"/>
                  </a:lnTo>
                  <a:lnTo>
                    <a:pt x="84" y="139"/>
                  </a:lnTo>
                  <a:lnTo>
                    <a:pt x="84" y="139"/>
                  </a:lnTo>
                  <a:lnTo>
                    <a:pt x="87" y="139"/>
                  </a:lnTo>
                  <a:lnTo>
                    <a:pt x="87" y="139"/>
                  </a:lnTo>
                  <a:lnTo>
                    <a:pt x="87" y="139"/>
                  </a:lnTo>
                  <a:lnTo>
                    <a:pt x="87" y="13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3" name="Freeform 329"/>
            <p:cNvSpPr>
              <a:spLocks noEditPoints="1"/>
            </p:cNvSpPr>
            <p:nvPr userDrawn="1"/>
          </p:nvSpPr>
          <p:spPr bwMode="auto">
            <a:xfrm>
              <a:off x="3347" y="2540"/>
              <a:ext cx="54" cy="36"/>
            </a:xfrm>
            <a:custGeom>
              <a:avLst/>
              <a:gdLst>
                <a:gd name="T0" fmla="*/ 11 w 54"/>
                <a:gd name="T1" fmla="*/ 31 h 36"/>
                <a:gd name="T2" fmla="*/ 11 w 54"/>
                <a:gd name="T3" fmla="*/ 34 h 36"/>
                <a:gd name="T4" fmla="*/ 14 w 54"/>
                <a:gd name="T5" fmla="*/ 31 h 36"/>
                <a:gd name="T6" fmla="*/ 9 w 54"/>
                <a:gd name="T7" fmla="*/ 31 h 36"/>
                <a:gd name="T8" fmla="*/ 7 w 54"/>
                <a:gd name="T9" fmla="*/ 34 h 36"/>
                <a:gd name="T10" fmla="*/ 7 w 54"/>
                <a:gd name="T11" fmla="*/ 34 h 36"/>
                <a:gd name="T12" fmla="*/ 9 w 54"/>
                <a:gd name="T13" fmla="*/ 34 h 36"/>
                <a:gd name="T14" fmla="*/ 16 w 54"/>
                <a:gd name="T15" fmla="*/ 29 h 36"/>
                <a:gd name="T16" fmla="*/ 16 w 54"/>
                <a:gd name="T17" fmla="*/ 31 h 36"/>
                <a:gd name="T18" fmla="*/ 16 w 54"/>
                <a:gd name="T19" fmla="*/ 31 h 36"/>
                <a:gd name="T20" fmla="*/ 18 w 54"/>
                <a:gd name="T21" fmla="*/ 29 h 36"/>
                <a:gd name="T22" fmla="*/ 11 w 54"/>
                <a:gd name="T23" fmla="*/ 24 h 36"/>
                <a:gd name="T24" fmla="*/ 11 w 54"/>
                <a:gd name="T25" fmla="*/ 26 h 36"/>
                <a:gd name="T26" fmla="*/ 11 w 54"/>
                <a:gd name="T27" fmla="*/ 22 h 36"/>
                <a:gd name="T28" fmla="*/ 18 w 54"/>
                <a:gd name="T29" fmla="*/ 24 h 36"/>
                <a:gd name="T30" fmla="*/ 21 w 54"/>
                <a:gd name="T31" fmla="*/ 24 h 36"/>
                <a:gd name="T32" fmla="*/ 11 w 54"/>
                <a:gd name="T33" fmla="*/ 17 h 36"/>
                <a:gd name="T34" fmla="*/ 9 w 54"/>
                <a:gd name="T35" fmla="*/ 19 h 36"/>
                <a:gd name="T36" fmla="*/ 11 w 54"/>
                <a:gd name="T37" fmla="*/ 17 h 36"/>
                <a:gd name="T38" fmla="*/ 47 w 54"/>
                <a:gd name="T39" fmla="*/ 0 h 36"/>
                <a:gd name="T40" fmla="*/ 30 w 54"/>
                <a:gd name="T41" fmla="*/ 0 h 36"/>
                <a:gd name="T42" fmla="*/ 21 w 54"/>
                <a:gd name="T43" fmla="*/ 5 h 36"/>
                <a:gd name="T44" fmla="*/ 7 w 54"/>
                <a:gd name="T45" fmla="*/ 5 h 36"/>
                <a:gd name="T46" fmla="*/ 2 w 54"/>
                <a:gd name="T47" fmla="*/ 8 h 36"/>
                <a:gd name="T48" fmla="*/ 4 w 54"/>
                <a:gd name="T49" fmla="*/ 10 h 36"/>
                <a:gd name="T50" fmla="*/ 7 w 54"/>
                <a:gd name="T51" fmla="*/ 10 h 36"/>
                <a:gd name="T52" fmla="*/ 7 w 54"/>
                <a:gd name="T53" fmla="*/ 15 h 36"/>
                <a:gd name="T54" fmla="*/ 14 w 54"/>
                <a:gd name="T55" fmla="*/ 15 h 36"/>
                <a:gd name="T56" fmla="*/ 14 w 54"/>
                <a:gd name="T57" fmla="*/ 19 h 36"/>
                <a:gd name="T58" fmla="*/ 23 w 54"/>
                <a:gd name="T59" fmla="*/ 15 h 36"/>
                <a:gd name="T60" fmla="*/ 28 w 54"/>
                <a:gd name="T61" fmla="*/ 15 h 36"/>
                <a:gd name="T62" fmla="*/ 28 w 54"/>
                <a:gd name="T63" fmla="*/ 17 h 36"/>
                <a:gd name="T64" fmla="*/ 21 w 54"/>
                <a:gd name="T65" fmla="*/ 17 h 36"/>
                <a:gd name="T66" fmla="*/ 23 w 54"/>
                <a:gd name="T67" fmla="*/ 22 h 36"/>
                <a:gd name="T68" fmla="*/ 25 w 54"/>
                <a:gd name="T69" fmla="*/ 22 h 36"/>
                <a:gd name="T70" fmla="*/ 28 w 54"/>
                <a:gd name="T71" fmla="*/ 24 h 36"/>
                <a:gd name="T72" fmla="*/ 21 w 54"/>
                <a:gd name="T73" fmla="*/ 26 h 36"/>
                <a:gd name="T74" fmla="*/ 23 w 54"/>
                <a:gd name="T75" fmla="*/ 26 h 36"/>
                <a:gd name="T76" fmla="*/ 23 w 54"/>
                <a:gd name="T77" fmla="*/ 29 h 36"/>
                <a:gd name="T78" fmla="*/ 25 w 54"/>
                <a:gd name="T79" fmla="*/ 31 h 36"/>
                <a:gd name="T80" fmla="*/ 25 w 54"/>
                <a:gd name="T81" fmla="*/ 36 h 36"/>
                <a:gd name="T82" fmla="*/ 28 w 54"/>
                <a:gd name="T83" fmla="*/ 36 h 36"/>
                <a:gd name="T84" fmla="*/ 30 w 54"/>
                <a:gd name="T85" fmla="*/ 34 h 36"/>
                <a:gd name="T86" fmla="*/ 35 w 54"/>
                <a:gd name="T87" fmla="*/ 24 h 36"/>
                <a:gd name="T88" fmla="*/ 42 w 54"/>
                <a:gd name="T89" fmla="*/ 22 h 36"/>
                <a:gd name="T90" fmla="*/ 49 w 54"/>
                <a:gd name="T91" fmla="*/ 22 h 36"/>
                <a:gd name="T92" fmla="*/ 54 w 54"/>
                <a:gd name="T93" fmla="*/ 15 h 36"/>
                <a:gd name="T94" fmla="*/ 51 w 54"/>
                <a:gd name="T95" fmla="*/ 12 h 36"/>
                <a:gd name="T96" fmla="*/ 49 w 54"/>
                <a:gd name="T97" fmla="*/ 10 h 36"/>
                <a:gd name="T98" fmla="*/ 54 w 54"/>
                <a:gd name="T99" fmla="*/ 10 h 36"/>
                <a:gd name="T100" fmla="*/ 54 w 54"/>
                <a:gd name="T101"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 h="36">
                  <a:moveTo>
                    <a:pt x="14" y="31"/>
                  </a:moveTo>
                  <a:lnTo>
                    <a:pt x="11" y="31"/>
                  </a:lnTo>
                  <a:lnTo>
                    <a:pt x="11" y="31"/>
                  </a:lnTo>
                  <a:lnTo>
                    <a:pt x="11" y="34"/>
                  </a:lnTo>
                  <a:lnTo>
                    <a:pt x="11" y="34"/>
                  </a:lnTo>
                  <a:lnTo>
                    <a:pt x="11" y="34"/>
                  </a:lnTo>
                  <a:lnTo>
                    <a:pt x="14" y="34"/>
                  </a:lnTo>
                  <a:lnTo>
                    <a:pt x="14" y="34"/>
                  </a:lnTo>
                  <a:lnTo>
                    <a:pt x="14" y="31"/>
                  </a:lnTo>
                  <a:lnTo>
                    <a:pt x="14" y="31"/>
                  </a:lnTo>
                  <a:close/>
                  <a:moveTo>
                    <a:pt x="9" y="31"/>
                  </a:moveTo>
                  <a:lnTo>
                    <a:pt x="9" y="31"/>
                  </a:lnTo>
                  <a:lnTo>
                    <a:pt x="9" y="31"/>
                  </a:lnTo>
                  <a:lnTo>
                    <a:pt x="9" y="34"/>
                  </a:lnTo>
                  <a:lnTo>
                    <a:pt x="7" y="34"/>
                  </a:lnTo>
                  <a:lnTo>
                    <a:pt x="7" y="34"/>
                  </a:lnTo>
                  <a:lnTo>
                    <a:pt x="7" y="34"/>
                  </a:lnTo>
                  <a:lnTo>
                    <a:pt x="7" y="34"/>
                  </a:lnTo>
                  <a:lnTo>
                    <a:pt x="9" y="34"/>
                  </a:lnTo>
                  <a:lnTo>
                    <a:pt x="9" y="34"/>
                  </a:lnTo>
                  <a:lnTo>
                    <a:pt x="9" y="34"/>
                  </a:lnTo>
                  <a:lnTo>
                    <a:pt x="9" y="31"/>
                  </a:lnTo>
                  <a:lnTo>
                    <a:pt x="9" y="31"/>
                  </a:lnTo>
                  <a:close/>
                  <a:moveTo>
                    <a:pt x="16" y="29"/>
                  </a:moveTo>
                  <a:lnTo>
                    <a:pt x="16" y="29"/>
                  </a:lnTo>
                  <a:lnTo>
                    <a:pt x="16" y="31"/>
                  </a:lnTo>
                  <a:lnTo>
                    <a:pt x="16" y="31"/>
                  </a:lnTo>
                  <a:lnTo>
                    <a:pt x="16" y="31"/>
                  </a:lnTo>
                  <a:lnTo>
                    <a:pt x="16" y="31"/>
                  </a:lnTo>
                  <a:lnTo>
                    <a:pt x="16" y="31"/>
                  </a:lnTo>
                  <a:lnTo>
                    <a:pt x="18" y="31"/>
                  </a:lnTo>
                  <a:lnTo>
                    <a:pt x="18" y="29"/>
                  </a:lnTo>
                  <a:lnTo>
                    <a:pt x="18" y="29"/>
                  </a:lnTo>
                  <a:lnTo>
                    <a:pt x="16" y="29"/>
                  </a:lnTo>
                  <a:close/>
                  <a:moveTo>
                    <a:pt x="11" y="22"/>
                  </a:moveTo>
                  <a:lnTo>
                    <a:pt x="11" y="24"/>
                  </a:lnTo>
                  <a:lnTo>
                    <a:pt x="11" y="26"/>
                  </a:lnTo>
                  <a:lnTo>
                    <a:pt x="11" y="26"/>
                  </a:lnTo>
                  <a:lnTo>
                    <a:pt x="11" y="26"/>
                  </a:lnTo>
                  <a:lnTo>
                    <a:pt x="14" y="26"/>
                  </a:lnTo>
                  <a:lnTo>
                    <a:pt x="14" y="24"/>
                  </a:lnTo>
                  <a:lnTo>
                    <a:pt x="11" y="22"/>
                  </a:lnTo>
                  <a:close/>
                  <a:moveTo>
                    <a:pt x="21" y="22"/>
                  </a:moveTo>
                  <a:lnTo>
                    <a:pt x="18" y="24"/>
                  </a:lnTo>
                  <a:lnTo>
                    <a:pt x="18" y="24"/>
                  </a:lnTo>
                  <a:lnTo>
                    <a:pt x="18" y="24"/>
                  </a:lnTo>
                  <a:lnTo>
                    <a:pt x="21" y="24"/>
                  </a:lnTo>
                  <a:lnTo>
                    <a:pt x="21" y="24"/>
                  </a:lnTo>
                  <a:lnTo>
                    <a:pt x="21" y="22"/>
                  </a:lnTo>
                  <a:lnTo>
                    <a:pt x="21" y="22"/>
                  </a:lnTo>
                  <a:close/>
                  <a:moveTo>
                    <a:pt x="11" y="17"/>
                  </a:moveTo>
                  <a:lnTo>
                    <a:pt x="9" y="17"/>
                  </a:lnTo>
                  <a:lnTo>
                    <a:pt x="9" y="17"/>
                  </a:lnTo>
                  <a:lnTo>
                    <a:pt x="9" y="19"/>
                  </a:lnTo>
                  <a:lnTo>
                    <a:pt x="11" y="19"/>
                  </a:lnTo>
                  <a:lnTo>
                    <a:pt x="11" y="17"/>
                  </a:lnTo>
                  <a:lnTo>
                    <a:pt x="11" y="17"/>
                  </a:lnTo>
                  <a:close/>
                  <a:moveTo>
                    <a:pt x="54" y="3"/>
                  </a:moveTo>
                  <a:lnTo>
                    <a:pt x="54" y="0"/>
                  </a:lnTo>
                  <a:lnTo>
                    <a:pt x="47" y="0"/>
                  </a:lnTo>
                  <a:lnTo>
                    <a:pt x="42" y="0"/>
                  </a:lnTo>
                  <a:lnTo>
                    <a:pt x="35" y="0"/>
                  </a:lnTo>
                  <a:lnTo>
                    <a:pt x="30" y="0"/>
                  </a:lnTo>
                  <a:lnTo>
                    <a:pt x="28" y="0"/>
                  </a:lnTo>
                  <a:lnTo>
                    <a:pt x="23" y="3"/>
                  </a:lnTo>
                  <a:lnTo>
                    <a:pt x="21" y="5"/>
                  </a:lnTo>
                  <a:lnTo>
                    <a:pt x="14" y="5"/>
                  </a:lnTo>
                  <a:lnTo>
                    <a:pt x="9" y="5"/>
                  </a:lnTo>
                  <a:lnTo>
                    <a:pt x="7" y="5"/>
                  </a:lnTo>
                  <a:lnTo>
                    <a:pt x="4" y="5"/>
                  </a:lnTo>
                  <a:lnTo>
                    <a:pt x="4" y="8"/>
                  </a:lnTo>
                  <a:lnTo>
                    <a:pt x="2" y="8"/>
                  </a:lnTo>
                  <a:lnTo>
                    <a:pt x="0" y="8"/>
                  </a:lnTo>
                  <a:lnTo>
                    <a:pt x="0" y="8"/>
                  </a:lnTo>
                  <a:lnTo>
                    <a:pt x="4" y="10"/>
                  </a:lnTo>
                  <a:lnTo>
                    <a:pt x="7" y="10"/>
                  </a:lnTo>
                  <a:lnTo>
                    <a:pt x="7" y="10"/>
                  </a:lnTo>
                  <a:lnTo>
                    <a:pt x="7" y="10"/>
                  </a:lnTo>
                  <a:lnTo>
                    <a:pt x="7" y="12"/>
                  </a:lnTo>
                  <a:lnTo>
                    <a:pt x="7" y="12"/>
                  </a:lnTo>
                  <a:lnTo>
                    <a:pt x="7" y="15"/>
                  </a:lnTo>
                  <a:lnTo>
                    <a:pt x="9" y="17"/>
                  </a:lnTo>
                  <a:lnTo>
                    <a:pt x="11" y="15"/>
                  </a:lnTo>
                  <a:lnTo>
                    <a:pt x="14" y="15"/>
                  </a:lnTo>
                  <a:lnTo>
                    <a:pt x="14" y="17"/>
                  </a:lnTo>
                  <a:lnTo>
                    <a:pt x="14" y="19"/>
                  </a:lnTo>
                  <a:lnTo>
                    <a:pt x="14" y="19"/>
                  </a:lnTo>
                  <a:lnTo>
                    <a:pt x="18" y="19"/>
                  </a:lnTo>
                  <a:lnTo>
                    <a:pt x="21" y="17"/>
                  </a:lnTo>
                  <a:lnTo>
                    <a:pt x="23" y="15"/>
                  </a:lnTo>
                  <a:lnTo>
                    <a:pt x="25" y="17"/>
                  </a:lnTo>
                  <a:lnTo>
                    <a:pt x="28" y="15"/>
                  </a:lnTo>
                  <a:lnTo>
                    <a:pt x="28" y="15"/>
                  </a:lnTo>
                  <a:lnTo>
                    <a:pt x="28" y="15"/>
                  </a:lnTo>
                  <a:lnTo>
                    <a:pt x="28" y="17"/>
                  </a:lnTo>
                  <a:lnTo>
                    <a:pt x="28" y="17"/>
                  </a:lnTo>
                  <a:lnTo>
                    <a:pt x="25" y="17"/>
                  </a:lnTo>
                  <a:lnTo>
                    <a:pt x="23" y="17"/>
                  </a:lnTo>
                  <a:lnTo>
                    <a:pt x="21" y="17"/>
                  </a:lnTo>
                  <a:lnTo>
                    <a:pt x="21" y="19"/>
                  </a:lnTo>
                  <a:lnTo>
                    <a:pt x="21" y="19"/>
                  </a:lnTo>
                  <a:lnTo>
                    <a:pt x="23" y="22"/>
                  </a:lnTo>
                  <a:lnTo>
                    <a:pt x="23" y="22"/>
                  </a:lnTo>
                  <a:lnTo>
                    <a:pt x="23" y="22"/>
                  </a:lnTo>
                  <a:lnTo>
                    <a:pt x="25" y="22"/>
                  </a:lnTo>
                  <a:lnTo>
                    <a:pt x="28" y="22"/>
                  </a:lnTo>
                  <a:lnTo>
                    <a:pt x="28" y="22"/>
                  </a:lnTo>
                  <a:lnTo>
                    <a:pt x="28" y="24"/>
                  </a:lnTo>
                  <a:lnTo>
                    <a:pt x="25" y="24"/>
                  </a:lnTo>
                  <a:lnTo>
                    <a:pt x="21" y="24"/>
                  </a:lnTo>
                  <a:lnTo>
                    <a:pt x="21" y="26"/>
                  </a:lnTo>
                  <a:lnTo>
                    <a:pt x="21" y="26"/>
                  </a:lnTo>
                  <a:lnTo>
                    <a:pt x="23" y="26"/>
                  </a:lnTo>
                  <a:lnTo>
                    <a:pt x="23" y="26"/>
                  </a:lnTo>
                  <a:lnTo>
                    <a:pt x="23" y="26"/>
                  </a:lnTo>
                  <a:lnTo>
                    <a:pt x="23" y="29"/>
                  </a:lnTo>
                  <a:lnTo>
                    <a:pt x="23" y="29"/>
                  </a:lnTo>
                  <a:lnTo>
                    <a:pt x="23" y="31"/>
                  </a:lnTo>
                  <a:lnTo>
                    <a:pt x="23" y="31"/>
                  </a:lnTo>
                  <a:lnTo>
                    <a:pt x="25" y="31"/>
                  </a:lnTo>
                  <a:lnTo>
                    <a:pt x="25" y="31"/>
                  </a:lnTo>
                  <a:lnTo>
                    <a:pt x="25" y="36"/>
                  </a:lnTo>
                  <a:lnTo>
                    <a:pt x="25" y="36"/>
                  </a:lnTo>
                  <a:lnTo>
                    <a:pt x="28" y="34"/>
                  </a:lnTo>
                  <a:lnTo>
                    <a:pt x="28" y="34"/>
                  </a:lnTo>
                  <a:lnTo>
                    <a:pt x="28" y="36"/>
                  </a:lnTo>
                  <a:lnTo>
                    <a:pt x="28" y="36"/>
                  </a:lnTo>
                  <a:lnTo>
                    <a:pt x="30" y="36"/>
                  </a:lnTo>
                  <a:lnTo>
                    <a:pt x="30" y="34"/>
                  </a:lnTo>
                  <a:lnTo>
                    <a:pt x="35" y="26"/>
                  </a:lnTo>
                  <a:lnTo>
                    <a:pt x="35" y="26"/>
                  </a:lnTo>
                  <a:lnTo>
                    <a:pt x="35" y="24"/>
                  </a:lnTo>
                  <a:lnTo>
                    <a:pt x="37" y="24"/>
                  </a:lnTo>
                  <a:lnTo>
                    <a:pt x="40" y="24"/>
                  </a:lnTo>
                  <a:lnTo>
                    <a:pt x="42" y="22"/>
                  </a:lnTo>
                  <a:lnTo>
                    <a:pt x="44" y="22"/>
                  </a:lnTo>
                  <a:lnTo>
                    <a:pt x="47" y="22"/>
                  </a:lnTo>
                  <a:lnTo>
                    <a:pt x="49" y="22"/>
                  </a:lnTo>
                  <a:lnTo>
                    <a:pt x="54" y="19"/>
                  </a:lnTo>
                  <a:lnTo>
                    <a:pt x="54" y="17"/>
                  </a:lnTo>
                  <a:lnTo>
                    <a:pt x="54" y="15"/>
                  </a:lnTo>
                  <a:lnTo>
                    <a:pt x="54" y="15"/>
                  </a:lnTo>
                  <a:lnTo>
                    <a:pt x="51" y="12"/>
                  </a:lnTo>
                  <a:lnTo>
                    <a:pt x="51" y="12"/>
                  </a:lnTo>
                  <a:lnTo>
                    <a:pt x="51" y="12"/>
                  </a:lnTo>
                  <a:lnTo>
                    <a:pt x="49" y="10"/>
                  </a:lnTo>
                  <a:lnTo>
                    <a:pt x="49" y="10"/>
                  </a:lnTo>
                  <a:lnTo>
                    <a:pt x="51" y="10"/>
                  </a:lnTo>
                  <a:lnTo>
                    <a:pt x="51" y="10"/>
                  </a:lnTo>
                  <a:lnTo>
                    <a:pt x="54" y="10"/>
                  </a:lnTo>
                  <a:lnTo>
                    <a:pt x="54" y="8"/>
                  </a:lnTo>
                  <a:lnTo>
                    <a:pt x="54" y="8"/>
                  </a:lnTo>
                  <a:lnTo>
                    <a:pt x="54" y="5"/>
                  </a:lnTo>
                  <a:lnTo>
                    <a:pt x="54" y="5"/>
                  </a:lnTo>
                  <a:lnTo>
                    <a:pt x="54"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4" name="Freeform 330"/>
            <p:cNvSpPr>
              <a:spLocks/>
            </p:cNvSpPr>
            <p:nvPr userDrawn="1"/>
          </p:nvSpPr>
          <p:spPr bwMode="auto">
            <a:xfrm>
              <a:off x="3375" y="2540"/>
              <a:ext cx="137" cy="116"/>
            </a:xfrm>
            <a:custGeom>
              <a:avLst/>
              <a:gdLst>
                <a:gd name="T0" fmla="*/ 132 w 137"/>
                <a:gd name="T1" fmla="*/ 79 h 116"/>
                <a:gd name="T2" fmla="*/ 132 w 137"/>
                <a:gd name="T3" fmla="*/ 71 h 116"/>
                <a:gd name="T4" fmla="*/ 127 w 137"/>
                <a:gd name="T5" fmla="*/ 64 h 116"/>
                <a:gd name="T6" fmla="*/ 132 w 137"/>
                <a:gd name="T7" fmla="*/ 53 h 116"/>
                <a:gd name="T8" fmla="*/ 125 w 137"/>
                <a:gd name="T9" fmla="*/ 43 h 116"/>
                <a:gd name="T10" fmla="*/ 122 w 137"/>
                <a:gd name="T11" fmla="*/ 36 h 116"/>
                <a:gd name="T12" fmla="*/ 118 w 137"/>
                <a:gd name="T13" fmla="*/ 34 h 116"/>
                <a:gd name="T14" fmla="*/ 125 w 137"/>
                <a:gd name="T15" fmla="*/ 29 h 116"/>
                <a:gd name="T16" fmla="*/ 118 w 137"/>
                <a:gd name="T17" fmla="*/ 22 h 116"/>
                <a:gd name="T18" fmla="*/ 115 w 137"/>
                <a:gd name="T19" fmla="*/ 12 h 116"/>
                <a:gd name="T20" fmla="*/ 108 w 137"/>
                <a:gd name="T21" fmla="*/ 5 h 116"/>
                <a:gd name="T22" fmla="*/ 106 w 137"/>
                <a:gd name="T23" fmla="*/ 8 h 116"/>
                <a:gd name="T24" fmla="*/ 99 w 137"/>
                <a:gd name="T25" fmla="*/ 15 h 116"/>
                <a:gd name="T26" fmla="*/ 87 w 137"/>
                <a:gd name="T27" fmla="*/ 10 h 116"/>
                <a:gd name="T28" fmla="*/ 82 w 137"/>
                <a:gd name="T29" fmla="*/ 17 h 116"/>
                <a:gd name="T30" fmla="*/ 78 w 137"/>
                <a:gd name="T31" fmla="*/ 10 h 116"/>
                <a:gd name="T32" fmla="*/ 71 w 137"/>
                <a:gd name="T33" fmla="*/ 15 h 116"/>
                <a:gd name="T34" fmla="*/ 68 w 137"/>
                <a:gd name="T35" fmla="*/ 8 h 116"/>
                <a:gd name="T36" fmla="*/ 56 w 137"/>
                <a:gd name="T37" fmla="*/ 5 h 116"/>
                <a:gd name="T38" fmla="*/ 47 w 137"/>
                <a:gd name="T39" fmla="*/ 5 h 116"/>
                <a:gd name="T40" fmla="*/ 40 w 137"/>
                <a:gd name="T41" fmla="*/ 5 h 116"/>
                <a:gd name="T42" fmla="*/ 38 w 137"/>
                <a:gd name="T43" fmla="*/ 0 h 116"/>
                <a:gd name="T44" fmla="*/ 26 w 137"/>
                <a:gd name="T45" fmla="*/ 3 h 116"/>
                <a:gd name="T46" fmla="*/ 23 w 137"/>
                <a:gd name="T47" fmla="*/ 10 h 116"/>
                <a:gd name="T48" fmla="*/ 23 w 137"/>
                <a:gd name="T49" fmla="*/ 12 h 116"/>
                <a:gd name="T50" fmla="*/ 19 w 137"/>
                <a:gd name="T51" fmla="*/ 22 h 116"/>
                <a:gd name="T52" fmla="*/ 7 w 137"/>
                <a:gd name="T53" fmla="*/ 26 h 116"/>
                <a:gd name="T54" fmla="*/ 2 w 137"/>
                <a:gd name="T55" fmla="*/ 41 h 116"/>
                <a:gd name="T56" fmla="*/ 7 w 137"/>
                <a:gd name="T57" fmla="*/ 38 h 116"/>
                <a:gd name="T58" fmla="*/ 9 w 137"/>
                <a:gd name="T59" fmla="*/ 45 h 116"/>
                <a:gd name="T60" fmla="*/ 19 w 137"/>
                <a:gd name="T61" fmla="*/ 55 h 116"/>
                <a:gd name="T62" fmla="*/ 26 w 137"/>
                <a:gd name="T63" fmla="*/ 60 h 116"/>
                <a:gd name="T64" fmla="*/ 30 w 137"/>
                <a:gd name="T65" fmla="*/ 69 h 116"/>
                <a:gd name="T66" fmla="*/ 33 w 137"/>
                <a:gd name="T67" fmla="*/ 76 h 116"/>
                <a:gd name="T68" fmla="*/ 38 w 137"/>
                <a:gd name="T69" fmla="*/ 71 h 116"/>
                <a:gd name="T70" fmla="*/ 45 w 137"/>
                <a:gd name="T71" fmla="*/ 64 h 116"/>
                <a:gd name="T72" fmla="*/ 52 w 137"/>
                <a:gd name="T73" fmla="*/ 57 h 116"/>
                <a:gd name="T74" fmla="*/ 71 w 137"/>
                <a:gd name="T75" fmla="*/ 57 h 116"/>
                <a:gd name="T76" fmla="*/ 78 w 137"/>
                <a:gd name="T77" fmla="*/ 67 h 116"/>
                <a:gd name="T78" fmla="*/ 80 w 137"/>
                <a:gd name="T79" fmla="*/ 76 h 116"/>
                <a:gd name="T80" fmla="*/ 82 w 137"/>
                <a:gd name="T81" fmla="*/ 83 h 116"/>
                <a:gd name="T82" fmla="*/ 80 w 137"/>
                <a:gd name="T83" fmla="*/ 93 h 116"/>
                <a:gd name="T84" fmla="*/ 87 w 137"/>
                <a:gd name="T85" fmla="*/ 88 h 116"/>
                <a:gd name="T86" fmla="*/ 92 w 137"/>
                <a:gd name="T87" fmla="*/ 88 h 116"/>
                <a:gd name="T88" fmla="*/ 99 w 137"/>
                <a:gd name="T89" fmla="*/ 90 h 116"/>
                <a:gd name="T90" fmla="*/ 101 w 137"/>
                <a:gd name="T91" fmla="*/ 90 h 116"/>
                <a:gd name="T92" fmla="*/ 104 w 137"/>
                <a:gd name="T93" fmla="*/ 97 h 116"/>
                <a:gd name="T94" fmla="*/ 104 w 137"/>
                <a:gd name="T95" fmla="*/ 105 h 116"/>
                <a:gd name="T96" fmla="*/ 104 w 137"/>
                <a:gd name="T97" fmla="*/ 112 h 116"/>
                <a:gd name="T98" fmla="*/ 108 w 137"/>
                <a:gd name="T99" fmla="*/ 114 h 116"/>
                <a:gd name="T100" fmla="*/ 113 w 137"/>
                <a:gd name="T101" fmla="*/ 114 h 116"/>
                <a:gd name="T102" fmla="*/ 118 w 137"/>
                <a:gd name="T103" fmla="*/ 107 h 116"/>
                <a:gd name="T104" fmla="*/ 120 w 137"/>
                <a:gd name="T105" fmla="*/ 107 h 116"/>
                <a:gd name="T106" fmla="*/ 127 w 137"/>
                <a:gd name="T107" fmla="*/ 105 h 116"/>
                <a:gd name="T108" fmla="*/ 129 w 137"/>
                <a:gd name="T109" fmla="*/ 95 h 116"/>
                <a:gd name="T110" fmla="*/ 125 w 137"/>
                <a:gd name="T111" fmla="*/ 90 h 116"/>
                <a:gd name="T112" fmla="*/ 132 w 137"/>
                <a:gd name="T113" fmla="*/ 88 h 116"/>
                <a:gd name="T114" fmla="*/ 137 w 137"/>
                <a:gd name="T115"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16">
                  <a:moveTo>
                    <a:pt x="137" y="88"/>
                  </a:moveTo>
                  <a:lnTo>
                    <a:pt x="137" y="86"/>
                  </a:lnTo>
                  <a:lnTo>
                    <a:pt x="134" y="83"/>
                  </a:lnTo>
                  <a:lnTo>
                    <a:pt x="132" y="83"/>
                  </a:lnTo>
                  <a:lnTo>
                    <a:pt x="132" y="81"/>
                  </a:lnTo>
                  <a:lnTo>
                    <a:pt x="132" y="79"/>
                  </a:lnTo>
                  <a:lnTo>
                    <a:pt x="132" y="79"/>
                  </a:lnTo>
                  <a:lnTo>
                    <a:pt x="134" y="76"/>
                  </a:lnTo>
                  <a:lnTo>
                    <a:pt x="134" y="76"/>
                  </a:lnTo>
                  <a:lnTo>
                    <a:pt x="134" y="74"/>
                  </a:lnTo>
                  <a:lnTo>
                    <a:pt x="132" y="74"/>
                  </a:lnTo>
                  <a:lnTo>
                    <a:pt x="132" y="71"/>
                  </a:lnTo>
                  <a:lnTo>
                    <a:pt x="132" y="69"/>
                  </a:lnTo>
                  <a:lnTo>
                    <a:pt x="132" y="69"/>
                  </a:lnTo>
                  <a:lnTo>
                    <a:pt x="129" y="69"/>
                  </a:lnTo>
                  <a:lnTo>
                    <a:pt x="129" y="69"/>
                  </a:lnTo>
                  <a:lnTo>
                    <a:pt x="127" y="67"/>
                  </a:lnTo>
                  <a:lnTo>
                    <a:pt x="127" y="64"/>
                  </a:lnTo>
                  <a:lnTo>
                    <a:pt x="127" y="60"/>
                  </a:lnTo>
                  <a:lnTo>
                    <a:pt x="127" y="57"/>
                  </a:lnTo>
                  <a:lnTo>
                    <a:pt x="127" y="57"/>
                  </a:lnTo>
                  <a:lnTo>
                    <a:pt x="129" y="55"/>
                  </a:lnTo>
                  <a:lnTo>
                    <a:pt x="129" y="55"/>
                  </a:lnTo>
                  <a:lnTo>
                    <a:pt x="132" y="53"/>
                  </a:lnTo>
                  <a:lnTo>
                    <a:pt x="132" y="53"/>
                  </a:lnTo>
                  <a:lnTo>
                    <a:pt x="132" y="50"/>
                  </a:lnTo>
                  <a:lnTo>
                    <a:pt x="132" y="50"/>
                  </a:lnTo>
                  <a:lnTo>
                    <a:pt x="127" y="48"/>
                  </a:lnTo>
                  <a:lnTo>
                    <a:pt x="125" y="45"/>
                  </a:lnTo>
                  <a:lnTo>
                    <a:pt x="125" y="43"/>
                  </a:lnTo>
                  <a:lnTo>
                    <a:pt x="125" y="41"/>
                  </a:lnTo>
                  <a:lnTo>
                    <a:pt x="125" y="38"/>
                  </a:lnTo>
                  <a:lnTo>
                    <a:pt x="125" y="38"/>
                  </a:lnTo>
                  <a:lnTo>
                    <a:pt x="125" y="36"/>
                  </a:lnTo>
                  <a:lnTo>
                    <a:pt x="125" y="36"/>
                  </a:lnTo>
                  <a:lnTo>
                    <a:pt x="122" y="36"/>
                  </a:lnTo>
                  <a:lnTo>
                    <a:pt x="122" y="34"/>
                  </a:lnTo>
                  <a:lnTo>
                    <a:pt x="120" y="36"/>
                  </a:lnTo>
                  <a:lnTo>
                    <a:pt x="120" y="36"/>
                  </a:lnTo>
                  <a:lnTo>
                    <a:pt x="120" y="36"/>
                  </a:lnTo>
                  <a:lnTo>
                    <a:pt x="118" y="36"/>
                  </a:lnTo>
                  <a:lnTo>
                    <a:pt x="118" y="34"/>
                  </a:lnTo>
                  <a:lnTo>
                    <a:pt x="120" y="31"/>
                  </a:lnTo>
                  <a:lnTo>
                    <a:pt x="122" y="31"/>
                  </a:lnTo>
                  <a:lnTo>
                    <a:pt x="122" y="29"/>
                  </a:lnTo>
                  <a:lnTo>
                    <a:pt x="122" y="29"/>
                  </a:lnTo>
                  <a:lnTo>
                    <a:pt x="125" y="29"/>
                  </a:lnTo>
                  <a:lnTo>
                    <a:pt x="125" y="29"/>
                  </a:lnTo>
                  <a:lnTo>
                    <a:pt x="125" y="26"/>
                  </a:lnTo>
                  <a:lnTo>
                    <a:pt x="122" y="26"/>
                  </a:lnTo>
                  <a:lnTo>
                    <a:pt x="120" y="26"/>
                  </a:lnTo>
                  <a:lnTo>
                    <a:pt x="120" y="24"/>
                  </a:lnTo>
                  <a:lnTo>
                    <a:pt x="120" y="24"/>
                  </a:lnTo>
                  <a:lnTo>
                    <a:pt x="118" y="22"/>
                  </a:lnTo>
                  <a:lnTo>
                    <a:pt x="118" y="22"/>
                  </a:lnTo>
                  <a:lnTo>
                    <a:pt x="118" y="22"/>
                  </a:lnTo>
                  <a:lnTo>
                    <a:pt x="115" y="22"/>
                  </a:lnTo>
                  <a:lnTo>
                    <a:pt x="115" y="19"/>
                  </a:lnTo>
                  <a:lnTo>
                    <a:pt x="115" y="17"/>
                  </a:lnTo>
                  <a:lnTo>
                    <a:pt x="115" y="12"/>
                  </a:lnTo>
                  <a:lnTo>
                    <a:pt x="113" y="10"/>
                  </a:lnTo>
                  <a:lnTo>
                    <a:pt x="113" y="8"/>
                  </a:lnTo>
                  <a:lnTo>
                    <a:pt x="113" y="5"/>
                  </a:lnTo>
                  <a:lnTo>
                    <a:pt x="111" y="5"/>
                  </a:lnTo>
                  <a:lnTo>
                    <a:pt x="108" y="5"/>
                  </a:lnTo>
                  <a:lnTo>
                    <a:pt x="108" y="5"/>
                  </a:lnTo>
                  <a:lnTo>
                    <a:pt x="106" y="5"/>
                  </a:lnTo>
                  <a:lnTo>
                    <a:pt x="106" y="5"/>
                  </a:lnTo>
                  <a:lnTo>
                    <a:pt x="106" y="5"/>
                  </a:lnTo>
                  <a:lnTo>
                    <a:pt x="106" y="8"/>
                  </a:lnTo>
                  <a:lnTo>
                    <a:pt x="106" y="8"/>
                  </a:lnTo>
                  <a:lnTo>
                    <a:pt x="106" y="8"/>
                  </a:lnTo>
                  <a:lnTo>
                    <a:pt x="106" y="10"/>
                  </a:lnTo>
                  <a:lnTo>
                    <a:pt x="106" y="10"/>
                  </a:lnTo>
                  <a:lnTo>
                    <a:pt x="104" y="10"/>
                  </a:lnTo>
                  <a:lnTo>
                    <a:pt x="101" y="10"/>
                  </a:lnTo>
                  <a:lnTo>
                    <a:pt x="101" y="12"/>
                  </a:lnTo>
                  <a:lnTo>
                    <a:pt x="99" y="15"/>
                  </a:lnTo>
                  <a:lnTo>
                    <a:pt x="99" y="15"/>
                  </a:lnTo>
                  <a:lnTo>
                    <a:pt x="99" y="15"/>
                  </a:lnTo>
                  <a:lnTo>
                    <a:pt x="94" y="12"/>
                  </a:lnTo>
                  <a:lnTo>
                    <a:pt x="92" y="10"/>
                  </a:lnTo>
                  <a:lnTo>
                    <a:pt x="89" y="10"/>
                  </a:lnTo>
                  <a:lnTo>
                    <a:pt x="87" y="10"/>
                  </a:lnTo>
                  <a:lnTo>
                    <a:pt x="87" y="10"/>
                  </a:lnTo>
                  <a:lnTo>
                    <a:pt x="85" y="12"/>
                  </a:lnTo>
                  <a:lnTo>
                    <a:pt x="82" y="15"/>
                  </a:lnTo>
                  <a:lnTo>
                    <a:pt x="82" y="15"/>
                  </a:lnTo>
                  <a:lnTo>
                    <a:pt x="82" y="17"/>
                  </a:lnTo>
                  <a:lnTo>
                    <a:pt x="82" y="17"/>
                  </a:lnTo>
                  <a:lnTo>
                    <a:pt x="82" y="17"/>
                  </a:lnTo>
                  <a:lnTo>
                    <a:pt x="80" y="17"/>
                  </a:lnTo>
                  <a:lnTo>
                    <a:pt x="80" y="17"/>
                  </a:lnTo>
                  <a:lnTo>
                    <a:pt x="80" y="15"/>
                  </a:lnTo>
                  <a:lnTo>
                    <a:pt x="78" y="12"/>
                  </a:lnTo>
                  <a:lnTo>
                    <a:pt x="78" y="10"/>
                  </a:lnTo>
                  <a:lnTo>
                    <a:pt x="75" y="10"/>
                  </a:lnTo>
                  <a:lnTo>
                    <a:pt x="75" y="10"/>
                  </a:lnTo>
                  <a:lnTo>
                    <a:pt x="73" y="12"/>
                  </a:lnTo>
                  <a:lnTo>
                    <a:pt x="73" y="15"/>
                  </a:lnTo>
                  <a:lnTo>
                    <a:pt x="71" y="15"/>
                  </a:lnTo>
                  <a:lnTo>
                    <a:pt x="71" y="15"/>
                  </a:lnTo>
                  <a:lnTo>
                    <a:pt x="68" y="12"/>
                  </a:lnTo>
                  <a:lnTo>
                    <a:pt x="66" y="10"/>
                  </a:lnTo>
                  <a:lnTo>
                    <a:pt x="66" y="10"/>
                  </a:lnTo>
                  <a:lnTo>
                    <a:pt x="68" y="10"/>
                  </a:lnTo>
                  <a:lnTo>
                    <a:pt x="68" y="8"/>
                  </a:lnTo>
                  <a:lnTo>
                    <a:pt x="68" y="8"/>
                  </a:lnTo>
                  <a:lnTo>
                    <a:pt x="68" y="5"/>
                  </a:lnTo>
                  <a:lnTo>
                    <a:pt x="68" y="5"/>
                  </a:lnTo>
                  <a:lnTo>
                    <a:pt x="66" y="5"/>
                  </a:lnTo>
                  <a:lnTo>
                    <a:pt x="61" y="5"/>
                  </a:lnTo>
                  <a:lnTo>
                    <a:pt x="59" y="5"/>
                  </a:lnTo>
                  <a:lnTo>
                    <a:pt x="56" y="5"/>
                  </a:lnTo>
                  <a:lnTo>
                    <a:pt x="54" y="8"/>
                  </a:lnTo>
                  <a:lnTo>
                    <a:pt x="52" y="8"/>
                  </a:lnTo>
                  <a:lnTo>
                    <a:pt x="49" y="8"/>
                  </a:lnTo>
                  <a:lnTo>
                    <a:pt x="49" y="8"/>
                  </a:lnTo>
                  <a:lnTo>
                    <a:pt x="47" y="8"/>
                  </a:lnTo>
                  <a:lnTo>
                    <a:pt x="47" y="5"/>
                  </a:lnTo>
                  <a:lnTo>
                    <a:pt x="45" y="5"/>
                  </a:lnTo>
                  <a:lnTo>
                    <a:pt x="42" y="5"/>
                  </a:lnTo>
                  <a:lnTo>
                    <a:pt x="42" y="3"/>
                  </a:lnTo>
                  <a:lnTo>
                    <a:pt x="40" y="3"/>
                  </a:lnTo>
                  <a:lnTo>
                    <a:pt x="40" y="3"/>
                  </a:lnTo>
                  <a:lnTo>
                    <a:pt x="40" y="5"/>
                  </a:lnTo>
                  <a:lnTo>
                    <a:pt x="40" y="5"/>
                  </a:lnTo>
                  <a:lnTo>
                    <a:pt x="38" y="5"/>
                  </a:lnTo>
                  <a:lnTo>
                    <a:pt x="38" y="3"/>
                  </a:lnTo>
                  <a:lnTo>
                    <a:pt x="38" y="3"/>
                  </a:lnTo>
                  <a:lnTo>
                    <a:pt x="38" y="0"/>
                  </a:lnTo>
                  <a:lnTo>
                    <a:pt x="38" y="0"/>
                  </a:lnTo>
                  <a:lnTo>
                    <a:pt x="38" y="0"/>
                  </a:lnTo>
                  <a:lnTo>
                    <a:pt x="35" y="0"/>
                  </a:lnTo>
                  <a:lnTo>
                    <a:pt x="33" y="0"/>
                  </a:lnTo>
                  <a:lnTo>
                    <a:pt x="33" y="0"/>
                  </a:lnTo>
                  <a:lnTo>
                    <a:pt x="26" y="0"/>
                  </a:lnTo>
                  <a:lnTo>
                    <a:pt x="26" y="3"/>
                  </a:lnTo>
                  <a:lnTo>
                    <a:pt x="26" y="5"/>
                  </a:lnTo>
                  <a:lnTo>
                    <a:pt x="26" y="5"/>
                  </a:lnTo>
                  <a:lnTo>
                    <a:pt x="26" y="8"/>
                  </a:lnTo>
                  <a:lnTo>
                    <a:pt x="26" y="8"/>
                  </a:lnTo>
                  <a:lnTo>
                    <a:pt x="26" y="10"/>
                  </a:lnTo>
                  <a:lnTo>
                    <a:pt x="23" y="10"/>
                  </a:lnTo>
                  <a:lnTo>
                    <a:pt x="23" y="10"/>
                  </a:lnTo>
                  <a:lnTo>
                    <a:pt x="21" y="10"/>
                  </a:lnTo>
                  <a:lnTo>
                    <a:pt x="21" y="10"/>
                  </a:lnTo>
                  <a:lnTo>
                    <a:pt x="23" y="12"/>
                  </a:lnTo>
                  <a:lnTo>
                    <a:pt x="23" y="12"/>
                  </a:lnTo>
                  <a:lnTo>
                    <a:pt x="23" y="12"/>
                  </a:lnTo>
                  <a:lnTo>
                    <a:pt x="26" y="15"/>
                  </a:lnTo>
                  <a:lnTo>
                    <a:pt x="26" y="15"/>
                  </a:lnTo>
                  <a:lnTo>
                    <a:pt x="26" y="17"/>
                  </a:lnTo>
                  <a:lnTo>
                    <a:pt x="26" y="19"/>
                  </a:lnTo>
                  <a:lnTo>
                    <a:pt x="21" y="22"/>
                  </a:lnTo>
                  <a:lnTo>
                    <a:pt x="19" y="22"/>
                  </a:lnTo>
                  <a:lnTo>
                    <a:pt x="16" y="22"/>
                  </a:lnTo>
                  <a:lnTo>
                    <a:pt x="14" y="22"/>
                  </a:lnTo>
                  <a:lnTo>
                    <a:pt x="12" y="24"/>
                  </a:lnTo>
                  <a:lnTo>
                    <a:pt x="9" y="24"/>
                  </a:lnTo>
                  <a:lnTo>
                    <a:pt x="7" y="24"/>
                  </a:lnTo>
                  <a:lnTo>
                    <a:pt x="7" y="26"/>
                  </a:lnTo>
                  <a:lnTo>
                    <a:pt x="7" y="26"/>
                  </a:lnTo>
                  <a:lnTo>
                    <a:pt x="2" y="34"/>
                  </a:lnTo>
                  <a:lnTo>
                    <a:pt x="2" y="36"/>
                  </a:lnTo>
                  <a:lnTo>
                    <a:pt x="0" y="36"/>
                  </a:lnTo>
                  <a:lnTo>
                    <a:pt x="0" y="38"/>
                  </a:lnTo>
                  <a:lnTo>
                    <a:pt x="2" y="41"/>
                  </a:lnTo>
                  <a:lnTo>
                    <a:pt x="2" y="41"/>
                  </a:lnTo>
                  <a:lnTo>
                    <a:pt x="2" y="36"/>
                  </a:lnTo>
                  <a:lnTo>
                    <a:pt x="5" y="36"/>
                  </a:lnTo>
                  <a:lnTo>
                    <a:pt x="5" y="36"/>
                  </a:lnTo>
                  <a:lnTo>
                    <a:pt x="5" y="36"/>
                  </a:lnTo>
                  <a:lnTo>
                    <a:pt x="7" y="38"/>
                  </a:lnTo>
                  <a:lnTo>
                    <a:pt x="7" y="41"/>
                  </a:lnTo>
                  <a:lnTo>
                    <a:pt x="7" y="43"/>
                  </a:lnTo>
                  <a:lnTo>
                    <a:pt x="9" y="41"/>
                  </a:lnTo>
                  <a:lnTo>
                    <a:pt x="9" y="41"/>
                  </a:lnTo>
                  <a:lnTo>
                    <a:pt x="9" y="43"/>
                  </a:lnTo>
                  <a:lnTo>
                    <a:pt x="9" y="45"/>
                  </a:lnTo>
                  <a:lnTo>
                    <a:pt x="12" y="53"/>
                  </a:lnTo>
                  <a:lnTo>
                    <a:pt x="16" y="55"/>
                  </a:lnTo>
                  <a:lnTo>
                    <a:pt x="19" y="55"/>
                  </a:lnTo>
                  <a:lnTo>
                    <a:pt x="19" y="53"/>
                  </a:lnTo>
                  <a:lnTo>
                    <a:pt x="19" y="55"/>
                  </a:lnTo>
                  <a:lnTo>
                    <a:pt x="19" y="55"/>
                  </a:lnTo>
                  <a:lnTo>
                    <a:pt x="21" y="57"/>
                  </a:lnTo>
                  <a:lnTo>
                    <a:pt x="23" y="60"/>
                  </a:lnTo>
                  <a:lnTo>
                    <a:pt x="23" y="60"/>
                  </a:lnTo>
                  <a:lnTo>
                    <a:pt x="26" y="57"/>
                  </a:lnTo>
                  <a:lnTo>
                    <a:pt x="26" y="57"/>
                  </a:lnTo>
                  <a:lnTo>
                    <a:pt x="26" y="60"/>
                  </a:lnTo>
                  <a:lnTo>
                    <a:pt x="26" y="62"/>
                  </a:lnTo>
                  <a:lnTo>
                    <a:pt x="26" y="64"/>
                  </a:lnTo>
                  <a:lnTo>
                    <a:pt x="26" y="67"/>
                  </a:lnTo>
                  <a:lnTo>
                    <a:pt x="28" y="67"/>
                  </a:lnTo>
                  <a:lnTo>
                    <a:pt x="30" y="69"/>
                  </a:lnTo>
                  <a:lnTo>
                    <a:pt x="30" y="69"/>
                  </a:lnTo>
                  <a:lnTo>
                    <a:pt x="30" y="71"/>
                  </a:lnTo>
                  <a:lnTo>
                    <a:pt x="33" y="74"/>
                  </a:lnTo>
                  <a:lnTo>
                    <a:pt x="33" y="74"/>
                  </a:lnTo>
                  <a:lnTo>
                    <a:pt x="33" y="76"/>
                  </a:lnTo>
                  <a:lnTo>
                    <a:pt x="33" y="76"/>
                  </a:lnTo>
                  <a:lnTo>
                    <a:pt x="33" y="76"/>
                  </a:lnTo>
                  <a:lnTo>
                    <a:pt x="35" y="76"/>
                  </a:lnTo>
                  <a:lnTo>
                    <a:pt x="35" y="76"/>
                  </a:lnTo>
                  <a:lnTo>
                    <a:pt x="38" y="76"/>
                  </a:lnTo>
                  <a:lnTo>
                    <a:pt x="38" y="76"/>
                  </a:lnTo>
                  <a:lnTo>
                    <a:pt x="38" y="74"/>
                  </a:lnTo>
                  <a:lnTo>
                    <a:pt x="38" y="71"/>
                  </a:lnTo>
                  <a:lnTo>
                    <a:pt x="40" y="71"/>
                  </a:lnTo>
                  <a:lnTo>
                    <a:pt x="42" y="69"/>
                  </a:lnTo>
                  <a:lnTo>
                    <a:pt x="45" y="67"/>
                  </a:lnTo>
                  <a:lnTo>
                    <a:pt x="45" y="67"/>
                  </a:lnTo>
                  <a:lnTo>
                    <a:pt x="45" y="64"/>
                  </a:lnTo>
                  <a:lnTo>
                    <a:pt x="45" y="64"/>
                  </a:lnTo>
                  <a:lnTo>
                    <a:pt x="45" y="64"/>
                  </a:lnTo>
                  <a:lnTo>
                    <a:pt x="47" y="62"/>
                  </a:lnTo>
                  <a:lnTo>
                    <a:pt x="47" y="62"/>
                  </a:lnTo>
                  <a:lnTo>
                    <a:pt x="47" y="60"/>
                  </a:lnTo>
                  <a:lnTo>
                    <a:pt x="49" y="60"/>
                  </a:lnTo>
                  <a:lnTo>
                    <a:pt x="52" y="57"/>
                  </a:lnTo>
                  <a:lnTo>
                    <a:pt x="54" y="60"/>
                  </a:lnTo>
                  <a:lnTo>
                    <a:pt x="59" y="57"/>
                  </a:lnTo>
                  <a:lnTo>
                    <a:pt x="59" y="57"/>
                  </a:lnTo>
                  <a:lnTo>
                    <a:pt x="61" y="57"/>
                  </a:lnTo>
                  <a:lnTo>
                    <a:pt x="66" y="57"/>
                  </a:lnTo>
                  <a:lnTo>
                    <a:pt x="71" y="57"/>
                  </a:lnTo>
                  <a:lnTo>
                    <a:pt x="71" y="57"/>
                  </a:lnTo>
                  <a:lnTo>
                    <a:pt x="73" y="57"/>
                  </a:lnTo>
                  <a:lnTo>
                    <a:pt x="73" y="60"/>
                  </a:lnTo>
                  <a:lnTo>
                    <a:pt x="75" y="62"/>
                  </a:lnTo>
                  <a:lnTo>
                    <a:pt x="75" y="64"/>
                  </a:lnTo>
                  <a:lnTo>
                    <a:pt x="78" y="67"/>
                  </a:lnTo>
                  <a:lnTo>
                    <a:pt x="80" y="69"/>
                  </a:lnTo>
                  <a:lnTo>
                    <a:pt x="80" y="71"/>
                  </a:lnTo>
                  <a:lnTo>
                    <a:pt x="80" y="71"/>
                  </a:lnTo>
                  <a:lnTo>
                    <a:pt x="80" y="71"/>
                  </a:lnTo>
                  <a:lnTo>
                    <a:pt x="80" y="74"/>
                  </a:lnTo>
                  <a:lnTo>
                    <a:pt x="80" y="76"/>
                  </a:lnTo>
                  <a:lnTo>
                    <a:pt x="80" y="76"/>
                  </a:lnTo>
                  <a:lnTo>
                    <a:pt x="80" y="76"/>
                  </a:lnTo>
                  <a:lnTo>
                    <a:pt x="82" y="76"/>
                  </a:lnTo>
                  <a:lnTo>
                    <a:pt x="82" y="79"/>
                  </a:lnTo>
                  <a:lnTo>
                    <a:pt x="82" y="81"/>
                  </a:lnTo>
                  <a:lnTo>
                    <a:pt x="82" y="83"/>
                  </a:lnTo>
                  <a:lnTo>
                    <a:pt x="85" y="83"/>
                  </a:lnTo>
                  <a:lnTo>
                    <a:pt x="85" y="86"/>
                  </a:lnTo>
                  <a:lnTo>
                    <a:pt x="82" y="88"/>
                  </a:lnTo>
                  <a:lnTo>
                    <a:pt x="80" y="90"/>
                  </a:lnTo>
                  <a:lnTo>
                    <a:pt x="80" y="90"/>
                  </a:lnTo>
                  <a:lnTo>
                    <a:pt x="80" y="93"/>
                  </a:lnTo>
                  <a:lnTo>
                    <a:pt x="80" y="93"/>
                  </a:lnTo>
                  <a:lnTo>
                    <a:pt x="80" y="93"/>
                  </a:lnTo>
                  <a:lnTo>
                    <a:pt x="82" y="93"/>
                  </a:lnTo>
                  <a:lnTo>
                    <a:pt x="82" y="93"/>
                  </a:lnTo>
                  <a:lnTo>
                    <a:pt x="85" y="90"/>
                  </a:lnTo>
                  <a:lnTo>
                    <a:pt x="87" y="88"/>
                  </a:lnTo>
                  <a:lnTo>
                    <a:pt x="87" y="88"/>
                  </a:lnTo>
                  <a:lnTo>
                    <a:pt x="87" y="88"/>
                  </a:lnTo>
                  <a:lnTo>
                    <a:pt x="89" y="88"/>
                  </a:lnTo>
                  <a:lnTo>
                    <a:pt x="89" y="88"/>
                  </a:lnTo>
                  <a:lnTo>
                    <a:pt x="92" y="88"/>
                  </a:lnTo>
                  <a:lnTo>
                    <a:pt x="92" y="88"/>
                  </a:lnTo>
                  <a:lnTo>
                    <a:pt x="92" y="90"/>
                  </a:lnTo>
                  <a:lnTo>
                    <a:pt x="96" y="88"/>
                  </a:lnTo>
                  <a:lnTo>
                    <a:pt x="96" y="88"/>
                  </a:lnTo>
                  <a:lnTo>
                    <a:pt x="96" y="88"/>
                  </a:lnTo>
                  <a:lnTo>
                    <a:pt x="99" y="90"/>
                  </a:lnTo>
                  <a:lnTo>
                    <a:pt x="99" y="90"/>
                  </a:lnTo>
                  <a:lnTo>
                    <a:pt x="99" y="88"/>
                  </a:lnTo>
                  <a:lnTo>
                    <a:pt x="99" y="88"/>
                  </a:lnTo>
                  <a:lnTo>
                    <a:pt x="99" y="88"/>
                  </a:lnTo>
                  <a:lnTo>
                    <a:pt x="99" y="90"/>
                  </a:lnTo>
                  <a:lnTo>
                    <a:pt x="101" y="90"/>
                  </a:lnTo>
                  <a:lnTo>
                    <a:pt x="101" y="90"/>
                  </a:lnTo>
                  <a:lnTo>
                    <a:pt x="101" y="93"/>
                  </a:lnTo>
                  <a:lnTo>
                    <a:pt x="101" y="93"/>
                  </a:lnTo>
                  <a:lnTo>
                    <a:pt x="101" y="95"/>
                  </a:lnTo>
                  <a:lnTo>
                    <a:pt x="104" y="95"/>
                  </a:lnTo>
                  <a:lnTo>
                    <a:pt x="104" y="97"/>
                  </a:lnTo>
                  <a:lnTo>
                    <a:pt x="104" y="97"/>
                  </a:lnTo>
                  <a:lnTo>
                    <a:pt x="104" y="97"/>
                  </a:lnTo>
                  <a:lnTo>
                    <a:pt x="104" y="100"/>
                  </a:lnTo>
                  <a:lnTo>
                    <a:pt x="104" y="100"/>
                  </a:lnTo>
                  <a:lnTo>
                    <a:pt x="104" y="102"/>
                  </a:lnTo>
                  <a:lnTo>
                    <a:pt x="104" y="102"/>
                  </a:lnTo>
                  <a:lnTo>
                    <a:pt x="104" y="105"/>
                  </a:lnTo>
                  <a:lnTo>
                    <a:pt x="104" y="107"/>
                  </a:lnTo>
                  <a:lnTo>
                    <a:pt x="104" y="107"/>
                  </a:lnTo>
                  <a:lnTo>
                    <a:pt x="104" y="109"/>
                  </a:lnTo>
                  <a:lnTo>
                    <a:pt x="104" y="112"/>
                  </a:lnTo>
                  <a:lnTo>
                    <a:pt x="104" y="112"/>
                  </a:lnTo>
                  <a:lnTo>
                    <a:pt x="104" y="112"/>
                  </a:lnTo>
                  <a:lnTo>
                    <a:pt x="104" y="112"/>
                  </a:lnTo>
                  <a:lnTo>
                    <a:pt x="106" y="112"/>
                  </a:lnTo>
                  <a:lnTo>
                    <a:pt x="106" y="112"/>
                  </a:lnTo>
                  <a:lnTo>
                    <a:pt x="108" y="114"/>
                  </a:lnTo>
                  <a:lnTo>
                    <a:pt x="108" y="114"/>
                  </a:lnTo>
                  <a:lnTo>
                    <a:pt x="108" y="114"/>
                  </a:lnTo>
                  <a:lnTo>
                    <a:pt x="108" y="116"/>
                  </a:lnTo>
                  <a:lnTo>
                    <a:pt x="111" y="116"/>
                  </a:lnTo>
                  <a:lnTo>
                    <a:pt x="113" y="114"/>
                  </a:lnTo>
                  <a:lnTo>
                    <a:pt x="113" y="114"/>
                  </a:lnTo>
                  <a:lnTo>
                    <a:pt x="113" y="114"/>
                  </a:lnTo>
                  <a:lnTo>
                    <a:pt x="113" y="114"/>
                  </a:lnTo>
                  <a:lnTo>
                    <a:pt x="113" y="114"/>
                  </a:lnTo>
                  <a:lnTo>
                    <a:pt x="115" y="112"/>
                  </a:lnTo>
                  <a:lnTo>
                    <a:pt x="115" y="109"/>
                  </a:lnTo>
                  <a:lnTo>
                    <a:pt x="115" y="109"/>
                  </a:lnTo>
                  <a:lnTo>
                    <a:pt x="115" y="109"/>
                  </a:lnTo>
                  <a:lnTo>
                    <a:pt x="118" y="107"/>
                  </a:lnTo>
                  <a:lnTo>
                    <a:pt x="118" y="107"/>
                  </a:lnTo>
                  <a:lnTo>
                    <a:pt x="118" y="105"/>
                  </a:lnTo>
                  <a:lnTo>
                    <a:pt x="118" y="105"/>
                  </a:lnTo>
                  <a:lnTo>
                    <a:pt x="120" y="105"/>
                  </a:lnTo>
                  <a:lnTo>
                    <a:pt x="120" y="107"/>
                  </a:lnTo>
                  <a:lnTo>
                    <a:pt x="120" y="107"/>
                  </a:lnTo>
                  <a:lnTo>
                    <a:pt x="120" y="109"/>
                  </a:lnTo>
                  <a:lnTo>
                    <a:pt x="122" y="107"/>
                  </a:lnTo>
                  <a:lnTo>
                    <a:pt x="122" y="107"/>
                  </a:lnTo>
                  <a:lnTo>
                    <a:pt x="125" y="109"/>
                  </a:lnTo>
                  <a:lnTo>
                    <a:pt x="127" y="107"/>
                  </a:lnTo>
                  <a:lnTo>
                    <a:pt x="127" y="105"/>
                  </a:lnTo>
                  <a:lnTo>
                    <a:pt x="127" y="102"/>
                  </a:lnTo>
                  <a:lnTo>
                    <a:pt x="127" y="102"/>
                  </a:lnTo>
                  <a:lnTo>
                    <a:pt x="129" y="100"/>
                  </a:lnTo>
                  <a:lnTo>
                    <a:pt x="129" y="97"/>
                  </a:lnTo>
                  <a:lnTo>
                    <a:pt x="129" y="97"/>
                  </a:lnTo>
                  <a:lnTo>
                    <a:pt x="129" y="95"/>
                  </a:lnTo>
                  <a:lnTo>
                    <a:pt x="129" y="95"/>
                  </a:lnTo>
                  <a:lnTo>
                    <a:pt x="129" y="95"/>
                  </a:lnTo>
                  <a:lnTo>
                    <a:pt x="127" y="95"/>
                  </a:lnTo>
                  <a:lnTo>
                    <a:pt x="127" y="95"/>
                  </a:lnTo>
                  <a:lnTo>
                    <a:pt x="125" y="93"/>
                  </a:lnTo>
                  <a:lnTo>
                    <a:pt x="125" y="90"/>
                  </a:lnTo>
                  <a:lnTo>
                    <a:pt x="125" y="90"/>
                  </a:lnTo>
                  <a:lnTo>
                    <a:pt x="127" y="88"/>
                  </a:lnTo>
                  <a:lnTo>
                    <a:pt x="127" y="88"/>
                  </a:lnTo>
                  <a:lnTo>
                    <a:pt x="129" y="88"/>
                  </a:lnTo>
                  <a:lnTo>
                    <a:pt x="132" y="88"/>
                  </a:lnTo>
                  <a:lnTo>
                    <a:pt x="132" y="88"/>
                  </a:lnTo>
                  <a:lnTo>
                    <a:pt x="134" y="88"/>
                  </a:lnTo>
                  <a:lnTo>
                    <a:pt x="134" y="90"/>
                  </a:lnTo>
                  <a:lnTo>
                    <a:pt x="134" y="90"/>
                  </a:lnTo>
                  <a:lnTo>
                    <a:pt x="137" y="90"/>
                  </a:lnTo>
                  <a:lnTo>
                    <a:pt x="137" y="90"/>
                  </a:lnTo>
                  <a:lnTo>
                    <a:pt x="137" y="8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5" name="Freeform 331"/>
            <p:cNvSpPr>
              <a:spLocks/>
            </p:cNvSpPr>
            <p:nvPr userDrawn="1"/>
          </p:nvSpPr>
          <p:spPr bwMode="auto">
            <a:xfrm>
              <a:off x="3636" y="1767"/>
              <a:ext cx="3" cy="0"/>
            </a:xfrm>
            <a:custGeom>
              <a:avLst/>
              <a:gdLst>
                <a:gd name="T0" fmla="*/ 3 w 3"/>
                <a:gd name="T1" fmla="*/ 3 w 3"/>
                <a:gd name="T2" fmla="*/ 0 w 3"/>
                <a:gd name="T3" fmla="*/ 0 w 3"/>
                <a:gd name="T4" fmla="*/ 3 w 3"/>
                <a:gd name="T5" fmla="*/ 3 w 3"/>
                <a:gd name="T6" fmla="*/ 3 w 3"/>
              </a:gdLst>
              <a:ahLst/>
              <a:cxnLst>
                <a:cxn ang="0">
                  <a:pos x="T0" y="0"/>
                </a:cxn>
                <a:cxn ang="0">
                  <a:pos x="T1" y="0"/>
                </a:cxn>
                <a:cxn ang="0">
                  <a:pos x="T2" y="0"/>
                </a:cxn>
                <a:cxn ang="0">
                  <a:pos x="T3" y="0"/>
                </a:cxn>
                <a:cxn ang="0">
                  <a:pos x="T4" y="0"/>
                </a:cxn>
                <a:cxn ang="0">
                  <a:pos x="T5" y="0"/>
                </a:cxn>
                <a:cxn ang="0">
                  <a:pos x="T6" y="0"/>
                </a:cxn>
              </a:cxnLst>
              <a:rect l="0" t="0" r="r" b="b"/>
              <a:pathLst>
                <a:path w="3">
                  <a:moveTo>
                    <a:pt x="3" y="0"/>
                  </a:moveTo>
                  <a:lnTo>
                    <a:pt x="3" y="0"/>
                  </a:lnTo>
                  <a:lnTo>
                    <a:pt x="0" y="0"/>
                  </a:lnTo>
                  <a:lnTo>
                    <a:pt x="0" y="0"/>
                  </a:lnTo>
                  <a:lnTo>
                    <a:pt x="3" y="0"/>
                  </a:lnTo>
                  <a:lnTo>
                    <a:pt x="3"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6" name="Freeform 332"/>
            <p:cNvSpPr>
              <a:spLocks/>
            </p:cNvSpPr>
            <p:nvPr userDrawn="1"/>
          </p:nvSpPr>
          <p:spPr bwMode="auto">
            <a:xfrm>
              <a:off x="1956" y="2432"/>
              <a:ext cx="78" cy="85"/>
            </a:xfrm>
            <a:custGeom>
              <a:avLst/>
              <a:gdLst>
                <a:gd name="T0" fmla="*/ 71 w 78"/>
                <a:gd name="T1" fmla="*/ 40 h 85"/>
                <a:gd name="T2" fmla="*/ 71 w 78"/>
                <a:gd name="T3" fmla="*/ 42 h 85"/>
                <a:gd name="T4" fmla="*/ 68 w 78"/>
                <a:gd name="T5" fmla="*/ 42 h 85"/>
                <a:gd name="T6" fmla="*/ 66 w 78"/>
                <a:gd name="T7" fmla="*/ 40 h 85"/>
                <a:gd name="T8" fmla="*/ 64 w 78"/>
                <a:gd name="T9" fmla="*/ 40 h 85"/>
                <a:gd name="T10" fmla="*/ 59 w 78"/>
                <a:gd name="T11" fmla="*/ 40 h 85"/>
                <a:gd name="T12" fmla="*/ 59 w 78"/>
                <a:gd name="T13" fmla="*/ 35 h 85"/>
                <a:gd name="T14" fmla="*/ 61 w 78"/>
                <a:gd name="T15" fmla="*/ 21 h 85"/>
                <a:gd name="T16" fmla="*/ 64 w 78"/>
                <a:gd name="T17" fmla="*/ 12 h 85"/>
                <a:gd name="T18" fmla="*/ 66 w 78"/>
                <a:gd name="T19" fmla="*/ 0 h 85"/>
                <a:gd name="T20" fmla="*/ 54 w 78"/>
                <a:gd name="T21" fmla="*/ 0 h 85"/>
                <a:gd name="T22" fmla="*/ 38 w 78"/>
                <a:gd name="T23" fmla="*/ 0 h 85"/>
                <a:gd name="T24" fmla="*/ 31 w 78"/>
                <a:gd name="T25" fmla="*/ 4 h 85"/>
                <a:gd name="T26" fmla="*/ 31 w 78"/>
                <a:gd name="T27" fmla="*/ 12 h 85"/>
                <a:gd name="T28" fmla="*/ 24 w 78"/>
                <a:gd name="T29" fmla="*/ 12 h 85"/>
                <a:gd name="T30" fmla="*/ 24 w 78"/>
                <a:gd name="T31" fmla="*/ 12 h 85"/>
                <a:gd name="T32" fmla="*/ 28 w 78"/>
                <a:gd name="T33" fmla="*/ 16 h 85"/>
                <a:gd name="T34" fmla="*/ 33 w 78"/>
                <a:gd name="T35" fmla="*/ 21 h 85"/>
                <a:gd name="T36" fmla="*/ 35 w 78"/>
                <a:gd name="T37" fmla="*/ 26 h 85"/>
                <a:gd name="T38" fmla="*/ 35 w 78"/>
                <a:gd name="T39" fmla="*/ 28 h 85"/>
                <a:gd name="T40" fmla="*/ 38 w 78"/>
                <a:gd name="T41" fmla="*/ 28 h 85"/>
                <a:gd name="T42" fmla="*/ 38 w 78"/>
                <a:gd name="T43" fmla="*/ 30 h 85"/>
                <a:gd name="T44" fmla="*/ 38 w 78"/>
                <a:gd name="T45" fmla="*/ 35 h 85"/>
                <a:gd name="T46" fmla="*/ 35 w 78"/>
                <a:gd name="T47" fmla="*/ 38 h 85"/>
                <a:gd name="T48" fmla="*/ 26 w 78"/>
                <a:gd name="T49" fmla="*/ 38 h 85"/>
                <a:gd name="T50" fmla="*/ 19 w 78"/>
                <a:gd name="T51" fmla="*/ 38 h 85"/>
                <a:gd name="T52" fmla="*/ 12 w 78"/>
                <a:gd name="T53" fmla="*/ 40 h 85"/>
                <a:gd name="T54" fmla="*/ 5 w 78"/>
                <a:gd name="T55" fmla="*/ 49 h 85"/>
                <a:gd name="T56" fmla="*/ 2 w 78"/>
                <a:gd name="T57" fmla="*/ 54 h 85"/>
                <a:gd name="T58" fmla="*/ 5 w 78"/>
                <a:gd name="T59" fmla="*/ 56 h 85"/>
                <a:gd name="T60" fmla="*/ 2 w 78"/>
                <a:gd name="T61" fmla="*/ 59 h 85"/>
                <a:gd name="T62" fmla="*/ 2 w 78"/>
                <a:gd name="T63" fmla="*/ 61 h 85"/>
                <a:gd name="T64" fmla="*/ 2 w 78"/>
                <a:gd name="T65" fmla="*/ 64 h 85"/>
                <a:gd name="T66" fmla="*/ 0 w 78"/>
                <a:gd name="T67" fmla="*/ 66 h 85"/>
                <a:gd name="T68" fmla="*/ 0 w 78"/>
                <a:gd name="T69" fmla="*/ 68 h 85"/>
                <a:gd name="T70" fmla="*/ 9 w 78"/>
                <a:gd name="T71" fmla="*/ 78 h 85"/>
                <a:gd name="T72" fmla="*/ 19 w 78"/>
                <a:gd name="T73" fmla="*/ 82 h 85"/>
                <a:gd name="T74" fmla="*/ 31 w 78"/>
                <a:gd name="T75" fmla="*/ 82 h 85"/>
                <a:gd name="T76" fmla="*/ 38 w 78"/>
                <a:gd name="T77" fmla="*/ 85 h 85"/>
                <a:gd name="T78" fmla="*/ 38 w 78"/>
                <a:gd name="T79" fmla="*/ 82 h 85"/>
                <a:gd name="T80" fmla="*/ 42 w 78"/>
                <a:gd name="T81" fmla="*/ 80 h 85"/>
                <a:gd name="T82" fmla="*/ 45 w 78"/>
                <a:gd name="T83" fmla="*/ 80 h 85"/>
                <a:gd name="T84" fmla="*/ 45 w 78"/>
                <a:gd name="T85" fmla="*/ 78 h 85"/>
                <a:gd name="T86" fmla="*/ 47 w 78"/>
                <a:gd name="T87" fmla="*/ 75 h 85"/>
                <a:gd name="T88" fmla="*/ 50 w 78"/>
                <a:gd name="T89" fmla="*/ 75 h 85"/>
                <a:gd name="T90" fmla="*/ 50 w 78"/>
                <a:gd name="T91" fmla="*/ 73 h 85"/>
                <a:gd name="T92" fmla="*/ 50 w 78"/>
                <a:gd name="T93" fmla="*/ 71 h 85"/>
                <a:gd name="T94" fmla="*/ 52 w 78"/>
                <a:gd name="T95" fmla="*/ 71 h 85"/>
                <a:gd name="T96" fmla="*/ 52 w 78"/>
                <a:gd name="T97" fmla="*/ 71 h 85"/>
                <a:gd name="T98" fmla="*/ 57 w 78"/>
                <a:gd name="T99" fmla="*/ 68 h 85"/>
                <a:gd name="T100" fmla="*/ 57 w 78"/>
                <a:gd name="T101" fmla="*/ 64 h 85"/>
                <a:gd name="T102" fmla="*/ 57 w 78"/>
                <a:gd name="T103" fmla="*/ 61 h 85"/>
                <a:gd name="T104" fmla="*/ 59 w 78"/>
                <a:gd name="T105" fmla="*/ 56 h 85"/>
                <a:gd name="T106" fmla="*/ 61 w 78"/>
                <a:gd name="T107" fmla="*/ 56 h 85"/>
                <a:gd name="T108" fmla="*/ 68 w 78"/>
                <a:gd name="T109" fmla="*/ 52 h 85"/>
                <a:gd name="T110" fmla="*/ 73 w 78"/>
                <a:gd name="T111" fmla="*/ 47 h 85"/>
                <a:gd name="T112" fmla="*/ 78 w 78"/>
                <a:gd name="T113"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5">
                  <a:moveTo>
                    <a:pt x="71" y="40"/>
                  </a:moveTo>
                  <a:lnTo>
                    <a:pt x="71" y="40"/>
                  </a:lnTo>
                  <a:lnTo>
                    <a:pt x="71" y="40"/>
                  </a:lnTo>
                  <a:lnTo>
                    <a:pt x="71" y="42"/>
                  </a:lnTo>
                  <a:lnTo>
                    <a:pt x="71" y="42"/>
                  </a:lnTo>
                  <a:lnTo>
                    <a:pt x="68" y="42"/>
                  </a:lnTo>
                  <a:lnTo>
                    <a:pt x="66" y="40"/>
                  </a:lnTo>
                  <a:lnTo>
                    <a:pt x="66" y="40"/>
                  </a:lnTo>
                  <a:lnTo>
                    <a:pt x="66" y="40"/>
                  </a:lnTo>
                  <a:lnTo>
                    <a:pt x="64" y="40"/>
                  </a:lnTo>
                  <a:lnTo>
                    <a:pt x="61" y="40"/>
                  </a:lnTo>
                  <a:lnTo>
                    <a:pt x="59" y="40"/>
                  </a:lnTo>
                  <a:lnTo>
                    <a:pt x="59" y="40"/>
                  </a:lnTo>
                  <a:lnTo>
                    <a:pt x="59" y="35"/>
                  </a:lnTo>
                  <a:lnTo>
                    <a:pt x="61" y="26"/>
                  </a:lnTo>
                  <a:lnTo>
                    <a:pt x="61" y="21"/>
                  </a:lnTo>
                  <a:lnTo>
                    <a:pt x="64" y="14"/>
                  </a:lnTo>
                  <a:lnTo>
                    <a:pt x="64" y="12"/>
                  </a:lnTo>
                  <a:lnTo>
                    <a:pt x="64" y="4"/>
                  </a:lnTo>
                  <a:lnTo>
                    <a:pt x="66" y="0"/>
                  </a:lnTo>
                  <a:lnTo>
                    <a:pt x="61" y="0"/>
                  </a:lnTo>
                  <a:lnTo>
                    <a:pt x="54" y="0"/>
                  </a:lnTo>
                  <a:lnTo>
                    <a:pt x="47" y="0"/>
                  </a:lnTo>
                  <a:lnTo>
                    <a:pt x="38" y="0"/>
                  </a:lnTo>
                  <a:lnTo>
                    <a:pt x="33" y="0"/>
                  </a:lnTo>
                  <a:lnTo>
                    <a:pt x="31" y="4"/>
                  </a:lnTo>
                  <a:lnTo>
                    <a:pt x="31" y="7"/>
                  </a:lnTo>
                  <a:lnTo>
                    <a:pt x="31" y="12"/>
                  </a:lnTo>
                  <a:lnTo>
                    <a:pt x="26" y="12"/>
                  </a:lnTo>
                  <a:lnTo>
                    <a:pt x="24" y="12"/>
                  </a:lnTo>
                  <a:lnTo>
                    <a:pt x="24" y="12"/>
                  </a:lnTo>
                  <a:lnTo>
                    <a:pt x="24" y="12"/>
                  </a:lnTo>
                  <a:lnTo>
                    <a:pt x="26" y="14"/>
                  </a:lnTo>
                  <a:lnTo>
                    <a:pt x="28" y="16"/>
                  </a:lnTo>
                  <a:lnTo>
                    <a:pt x="28" y="19"/>
                  </a:lnTo>
                  <a:lnTo>
                    <a:pt x="33" y="21"/>
                  </a:lnTo>
                  <a:lnTo>
                    <a:pt x="33" y="23"/>
                  </a:lnTo>
                  <a:lnTo>
                    <a:pt x="35" y="26"/>
                  </a:lnTo>
                  <a:lnTo>
                    <a:pt x="35" y="26"/>
                  </a:lnTo>
                  <a:lnTo>
                    <a:pt x="35" y="28"/>
                  </a:lnTo>
                  <a:lnTo>
                    <a:pt x="35" y="28"/>
                  </a:lnTo>
                  <a:lnTo>
                    <a:pt x="38" y="28"/>
                  </a:lnTo>
                  <a:lnTo>
                    <a:pt x="38" y="30"/>
                  </a:lnTo>
                  <a:lnTo>
                    <a:pt x="38" y="30"/>
                  </a:lnTo>
                  <a:lnTo>
                    <a:pt x="38" y="33"/>
                  </a:lnTo>
                  <a:lnTo>
                    <a:pt x="38" y="35"/>
                  </a:lnTo>
                  <a:lnTo>
                    <a:pt x="38" y="38"/>
                  </a:lnTo>
                  <a:lnTo>
                    <a:pt x="35" y="38"/>
                  </a:lnTo>
                  <a:lnTo>
                    <a:pt x="33" y="38"/>
                  </a:lnTo>
                  <a:lnTo>
                    <a:pt x="26" y="38"/>
                  </a:lnTo>
                  <a:lnTo>
                    <a:pt x="21" y="38"/>
                  </a:lnTo>
                  <a:lnTo>
                    <a:pt x="19" y="38"/>
                  </a:lnTo>
                  <a:lnTo>
                    <a:pt x="14" y="38"/>
                  </a:lnTo>
                  <a:lnTo>
                    <a:pt x="12" y="40"/>
                  </a:lnTo>
                  <a:lnTo>
                    <a:pt x="7" y="45"/>
                  </a:lnTo>
                  <a:lnTo>
                    <a:pt x="5" y="49"/>
                  </a:lnTo>
                  <a:lnTo>
                    <a:pt x="2" y="52"/>
                  </a:lnTo>
                  <a:lnTo>
                    <a:pt x="2" y="54"/>
                  </a:lnTo>
                  <a:lnTo>
                    <a:pt x="2" y="54"/>
                  </a:lnTo>
                  <a:lnTo>
                    <a:pt x="5" y="56"/>
                  </a:lnTo>
                  <a:lnTo>
                    <a:pt x="5" y="59"/>
                  </a:lnTo>
                  <a:lnTo>
                    <a:pt x="2" y="59"/>
                  </a:lnTo>
                  <a:lnTo>
                    <a:pt x="2" y="59"/>
                  </a:lnTo>
                  <a:lnTo>
                    <a:pt x="2" y="61"/>
                  </a:lnTo>
                  <a:lnTo>
                    <a:pt x="2" y="64"/>
                  </a:lnTo>
                  <a:lnTo>
                    <a:pt x="2" y="64"/>
                  </a:lnTo>
                  <a:lnTo>
                    <a:pt x="2" y="66"/>
                  </a:lnTo>
                  <a:lnTo>
                    <a:pt x="0" y="66"/>
                  </a:lnTo>
                  <a:lnTo>
                    <a:pt x="0" y="68"/>
                  </a:lnTo>
                  <a:lnTo>
                    <a:pt x="0" y="68"/>
                  </a:lnTo>
                  <a:lnTo>
                    <a:pt x="7" y="75"/>
                  </a:lnTo>
                  <a:lnTo>
                    <a:pt x="9" y="78"/>
                  </a:lnTo>
                  <a:lnTo>
                    <a:pt x="14" y="80"/>
                  </a:lnTo>
                  <a:lnTo>
                    <a:pt x="19" y="82"/>
                  </a:lnTo>
                  <a:lnTo>
                    <a:pt x="28" y="82"/>
                  </a:lnTo>
                  <a:lnTo>
                    <a:pt x="31" y="82"/>
                  </a:lnTo>
                  <a:lnTo>
                    <a:pt x="38" y="85"/>
                  </a:lnTo>
                  <a:lnTo>
                    <a:pt x="38" y="85"/>
                  </a:lnTo>
                  <a:lnTo>
                    <a:pt x="38" y="85"/>
                  </a:lnTo>
                  <a:lnTo>
                    <a:pt x="38" y="82"/>
                  </a:lnTo>
                  <a:lnTo>
                    <a:pt x="40" y="80"/>
                  </a:lnTo>
                  <a:lnTo>
                    <a:pt x="42" y="80"/>
                  </a:lnTo>
                  <a:lnTo>
                    <a:pt x="42" y="80"/>
                  </a:lnTo>
                  <a:lnTo>
                    <a:pt x="45" y="80"/>
                  </a:lnTo>
                  <a:lnTo>
                    <a:pt x="45" y="78"/>
                  </a:lnTo>
                  <a:lnTo>
                    <a:pt x="45" y="78"/>
                  </a:lnTo>
                  <a:lnTo>
                    <a:pt x="47" y="75"/>
                  </a:lnTo>
                  <a:lnTo>
                    <a:pt x="47" y="75"/>
                  </a:lnTo>
                  <a:lnTo>
                    <a:pt x="50" y="75"/>
                  </a:lnTo>
                  <a:lnTo>
                    <a:pt x="50" y="75"/>
                  </a:lnTo>
                  <a:lnTo>
                    <a:pt x="50" y="73"/>
                  </a:lnTo>
                  <a:lnTo>
                    <a:pt x="50" y="73"/>
                  </a:lnTo>
                  <a:lnTo>
                    <a:pt x="50" y="71"/>
                  </a:lnTo>
                  <a:lnTo>
                    <a:pt x="50" y="71"/>
                  </a:lnTo>
                  <a:lnTo>
                    <a:pt x="52" y="71"/>
                  </a:lnTo>
                  <a:lnTo>
                    <a:pt x="52" y="71"/>
                  </a:lnTo>
                  <a:lnTo>
                    <a:pt x="52" y="71"/>
                  </a:lnTo>
                  <a:lnTo>
                    <a:pt x="52" y="71"/>
                  </a:lnTo>
                  <a:lnTo>
                    <a:pt x="54" y="68"/>
                  </a:lnTo>
                  <a:lnTo>
                    <a:pt x="57" y="68"/>
                  </a:lnTo>
                  <a:lnTo>
                    <a:pt x="57" y="66"/>
                  </a:lnTo>
                  <a:lnTo>
                    <a:pt x="57" y="64"/>
                  </a:lnTo>
                  <a:lnTo>
                    <a:pt x="57" y="61"/>
                  </a:lnTo>
                  <a:lnTo>
                    <a:pt x="57" y="61"/>
                  </a:lnTo>
                  <a:lnTo>
                    <a:pt x="57" y="59"/>
                  </a:lnTo>
                  <a:lnTo>
                    <a:pt x="59" y="56"/>
                  </a:lnTo>
                  <a:lnTo>
                    <a:pt x="61" y="56"/>
                  </a:lnTo>
                  <a:lnTo>
                    <a:pt x="61" y="56"/>
                  </a:lnTo>
                  <a:lnTo>
                    <a:pt x="64" y="54"/>
                  </a:lnTo>
                  <a:lnTo>
                    <a:pt x="68" y="52"/>
                  </a:lnTo>
                  <a:lnTo>
                    <a:pt x="71" y="49"/>
                  </a:lnTo>
                  <a:lnTo>
                    <a:pt x="73" y="47"/>
                  </a:lnTo>
                  <a:lnTo>
                    <a:pt x="75" y="45"/>
                  </a:lnTo>
                  <a:lnTo>
                    <a:pt x="78" y="45"/>
                  </a:lnTo>
                  <a:lnTo>
                    <a:pt x="71"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7" name="Freeform 333"/>
            <p:cNvSpPr>
              <a:spLocks noEditPoints="1"/>
            </p:cNvSpPr>
            <p:nvPr userDrawn="1"/>
          </p:nvSpPr>
          <p:spPr bwMode="auto">
            <a:xfrm>
              <a:off x="2519" y="2460"/>
              <a:ext cx="12" cy="12"/>
            </a:xfrm>
            <a:custGeom>
              <a:avLst/>
              <a:gdLst>
                <a:gd name="T0" fmla="*/ 3 w 12"/>
                <a:gd name="T1" fmla="*/ 2 h 12"/>
                <a:gd name="T2" fmla="*/ 3 w 12"/>
                <a:gd name="T3" fmla="*/ 2 h 12"/>
                <a:gd name="T4" fmla="*/ 0 w 12"/>
                <a:gd name="T5" fmla="*/ 2 h 12"/>
                <a:gd name="T6" fmla="*/ 0 w 12"/>
                <a:gd name="T7" fmla="*/ 2 h 12"/>
                <a:gd name="T8" fmla="*/ 0 w 12"/>
                <a:gd name="T9" fmla="*/ 10 h 12"/>
                <a:gd name="T10" fmla="*/ 3 w 12"/>
                <a:gd name="T11" fmla="*/ 10 h 12"/>
                <a:gd name="T12" fmla="*/ 3 w 12"/>
                <a:gd name="T13" fmla="*/ 12 h 12"/>
                <a:gd name="T14" fmla="*/ 5 w 12"/>
                <a:gd name="T15" fmla="*/ 10 h 12"/>
                <a:gd name="T16" fmla="*/ 5 w 12"/>
                <a:gd name="T17" fmla="*/ 10 h 12"/>
                <a:gd name="T18" fmla="*/ 5 w 12"/>
                <a:gd name="T19" fmla="*/ 5 h 12"/>
                <a:gd name="T20" fmla="*/ 5 w 12"/>
                <a:gd name="T21" fmla="*/ 5 h 12"/>
                <a:gd name="T22" fmla="*/ 5 w 12"/>
                <a:gd name="T23" fmla="*/ 5 h 12"/>
                <a:gd name="T24" fmla="*/ 3 w 12"/>
                <a:gd name="T25" fmla="*/ 2 h 12"/>
                <a:gd name="T26" fmla="*/ 12 w 12"/>
                <a:gd name="T27" fmla="*/ 5 h 12"/>
                <a:gd name="T28" fmla="*/ 10 w 12"/>
                <a:gd name="T29" fmla="*/ 2 h 12"/>
                <a:gd name="T30" fmla="*/ 7 w 12"/>
                <a:gd name="T31" fmla="*/ 0 h 12"/>
                <a:gd name="T32" fmla="*/ 7 w 12"/>
                <a:gd name="T33" fmla="*/ 0 h 12"/>
                <a:gd name="T34" fmla="*/ 7 w 12"/>
                <a:gd name="T35" fmla="*/ 0 h 12"/>
                <a:gd name="T36" fmla="*/ 7 w 12"/>
                <a:gd name="T37" fmla="*/ 0 h 12"/>
                <a:gd name="T38" fmla="*/ 5 w 12"/>
                <a:gd name="T39" fmla="*/ 0 h 12"/>
                <a:gd name="T40" fmla="*/ 7 w 12"/>
                <a:gd name="T41" fmla="*/ 2 h 12"/>
                <a:gd name="T42" fmla="*/ 5 w 12"/>
                <a:gd name="T43" fmla="*/ 5 h 12"/>
                <a:gd name="T44" fmla="*/ 5 w 12"/>
                <a:gd name="T45" fmla="*/ 5 h 12"/>
                <a:gd name="T46" fmla="*/ 7 w 12"/>
                <a:gd name="T47" fmla="*/ 5 h 12"/>
                <a:gd name="T48" fmla="*/ 10 w 12"/>
                <a:gd name="T49" fmla="*/ 5 h 12"/>
                <a:gd name="T50" fmla="*/ 12 w 12"/>
                <a:gd name="T5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12">
                  <a:moveTo>
                    <a:pt x="3" y="2"/>
                  </a:moveTo>
                  <a:lnTo>
                    <a:pt x="3" y="2"/>
                  </a:lnTo>
                  <a:lnTo>
                    <a:pt x="0" y="2"/>
                  </a:lnTo>
                  <a:lnTo>
                    <a:pt x="0" y="2"/>
                  </a:lnTo>
                  <a:lnTo>
                    <a:pt x="0" y="10"/>
                  </a:lnTo>
                  <a:lnTo>
                    <a:pt x="3" y="10"/>
                  </a:lnTo>
                  <a:lnTo>
                    <a:pt x="3" y="12"/>
                  </a:lnTo>
                  <a:lnTo>
                    <a:pt x="5" y="10"/>
                  </a:lnTo>
                  <a:lnTo>
                    <a:pt x="5" y="10"/>
                  </a:lnTo>
                  <a:lnTo>
                    <a:pt x="5" y="5"/>
                  </a:lnTo>
                  <a:lnTo>
                    <a:pt x="5" y="5"/>
                  </a:lnTo>
                  <a:lnTo>
                    <a:pt x="5" y="5"/>
                  </a:lnTo>
                  <a:lnTo>
                    <a:pt x="3" y="2"/>
                  </a:lnTo>
                  <a:close/>
                  <a:moveTo>
                    <a:pt x="12" y="5"/>
                  </a:moveTo>
                  <a:lnTo>
                    <a:pt x="10" y="2"/>
                  </a:lnTo>
                  <a:lnTo>
                    <a:pt x="7" y="0"/>
                  </a:lnTo>
                  <a:lnTo>
                    <a:pt x="7" y="0"/>
                  </a:lnTo>
                  <a:lnTo>
                    <a:pt x="7" y="0"/>
                  </a:lnTo>
                  <a:lnTo>
                    <a:pt x="7" y="0"/>
                  </a:lnTo>
                  <a:lnTo>
                    <a:pt x="5" y="0"/>
                  </a:lnTo>
                  <a:lnTo>
                    <a:pt x="7" y="2"/>
                  </a:lnTo>
                  <a:lnTo>
                    <a:pt x="5" y="5"/>
                  </a:lnTo>
                  <a:lnTo>
                    <a:pt x="5" y="5"/>
                  </a:lnTo>
                  <a:lnTo>
                    <a:pt x="7" y="5"/>
                  </a:lnTo>
                  <a:lnTo>
                    <a:pt x="10" y="5"/>
                  </a:lnTo>
                  <a:lnTo>
                    <a:pt x="12"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8" name="Freeform 334"/>
            <p:cNvSpPr>
              <a:spLocks noEditPoints="1"/>
            </p:cNvSpPr>
            <p:nvPr userDrawn="1"/>
          </p:nvSpPr>
          <p:spPr bwMode="auto">
            <a:xfrm>
              <a:off x="2849" y="1162"/>
              <a:ext cx="754" cy="400"/>
            </a:xfrm>
            <a:custGeom>
              <a:avLst/>
              <a:gdLst>
                <a:gd name="T0" fmla="*/ 172 w 754"/>
                <a:gd name="T1" fmla="*/ 218 h 400"/>
                <a:gd name="T2" fmla="*/ 163 w 754"/>
                <a:gd name="T3" fmla="*/ 215 h 400"/>
                <a:gd name="T4" fmla="*/ 526 w 754"/>
                <a:gd name="T5" fmla="*/ 196 h 400"/>
                <a:gd name="T6" fmla="*/ 526 w 754"/>
                <a:gd name="T7" fmla="*/ 196 h 400"/>
                <a:gd name="T8" fmla="*/ 142 w 754"/>
                <a:gd name="T9" fmla="*/ 163 h 400"/>
                <a:gd name="T10" fmla="*/ 12 w 754"/>
                <a:gd name="T11" fmla="*/ 85 h 400"/>
                <a:gd name="T12" fmla="*/ 663 w 754"/>
                <a:gd name="T13" fmla="*/ 47 h 400"/>
                <a:gd name="T14" fmla="*/ 752 w 754"/>
                <a:gd name="T15" fmla="*/ 24 h 400"/>
                <a:gd name="T16" fmla="*/ 620 w 754"/>
                <a:gd name="T17" fmla="*/ 35 h 400"/>
                <a:gd name="T18" fmla="*/ 556 w 754"/>
                <a:gd name="T19" fmla="*/ 17 h 400"/>
                <a:gd name="T20" fmla="*/ 604 w 754"/>
                <a:gd name="T21" fmla="*/ 2 h 400"/>
                <a:gd name="T22" fmla="*/ 472 w 754"/>
                <a:gd name="T23" fmla="*/ 5 h 400"/>
                <a:gd name="T24" fmla="*/ 432 w 754"/>
                <a:gd name="T25" fmla="*/ 9 h 400"/>
                <a:gd name="T26" fmla="*/ 330 w 754"/>
                <a:gd name="T27" fmla="*/ 21 h 400"/>
                <a:gd name="T28" fmla="*/ 229 w 754"/>
                <a:gd name="T29" fmla="*/ 21 h 400"/>
                <a:gd name="T30" fmla="*/ 172 w 754"/>
                <a:gd name="T31" fmla="*/ 28 h 400"/>
                <a:gd name="T32" fmla="*/ 132 w 754"/>
                <a:gd name="T33" fmla="*/ 45 h 400"/>
                <a:gd name="T34" fmla="*/ 45 w 754"/>
                <a:gd name="T35" fmla="*/ 66 h 400"/>
                <a:gd name="T36" fmla="*/ 33 w 754"/>
                <a:gd name="T37" fmla="*/ 83 h 400"/>
                <a:gd name="T38" fmla="*/ 17 w 754"/>
                <a:gd name="T39" fmla="*/ 90 h 400"/>
                <a:gd name="T40" fmla="*/ 31 w 754"/>
                <a:gd name="T41" fmla="*/ 106 h 400"/>
                <a:gd name="T42" fmla="*/ 102 w 754"/>
                <a:gd name="T43" fmla="*/ 104 h 400"/>
                <a:gd name="T44" fmla="*/ 158 w 754"/>
                <a:gd name="T45" fmla="*/ 132 h 400"/>
                <a:gd name="T46" fmla="*/ 156 w 754"/>
                <a:gd name="T47" fmla="*/ 151 h 400"/>
                <a:gd name="T48" fmla="*/ 144 w 754"/>
                <a:gd name="T49" fmla="*/ 170 h 400"/>
                <a:gd name="T50" fmla="*/ 168 w 754"/>
                <a:gd name="T51" fmla="*/ 177 h 400"/>
                <a:gd name="T52" fmla="*/ 184 w 754"/>
                <a:gd name="T53" fmla="*/ 180 h 400"/>
                <a:gd name="T54" fmla="*/ 186 w 754"/>
                <a:gd name="T55" fmla="*/ 201 h 400"/>
                <a:gd name="T56" fmla="*/ 179 w 754"/>
                <a:gd name="T57" fmla="*/ 208 h 400"/>
                <a:gd name="T58" fmla="*/ 168 w 754"/>
                <a:gd name="T59" fmla="*/ 234 h 400"/>
                <a:gd name="T60" fmla="*/ 151 w 754"/>
                <a:gd name="T61" fmla="*/ 244 h 400"/>
                <a:gd name="T62" fmla="*/ 144 w 754"/>
                <a:gd name="T63" fmla="*/ 251 h 400"/>
                <a:gd name="T64" fmla="*/ 113 w 754"/>
                <a:gd name="T65" fmla="*/ 279 h 400"/>
                <a:gd name="T66" fmla="*/ 125 w 754"/>
                <a:gd name="T67" fmla="*/ 288 h 400"/>
                <a:gd name="T68" fmla="*/ 125 w 754"/>
                <a:gd name="T69" fmla="*/ 307 h 400"/>
                <a:gd name="T70" fmla="*/ 116 w 754"/>
                <a:gd name="T71" fmla="*/ 317 h 400"/>
                <a:gd name="T72" fmla="*/ 132 w 754"/>
                <a:gd name="T73" fmla="*/ 336 h 400"/>
                <a:gd name="T74" fmla="*/ 128 w 754"/>
                <a:gd name="T75" fmla="*/ 364 h 400"/>
                <a:gd name="T76" fmla="*/ 158 w 754"/>
                <a:gd name="T77" fmla="*/ 378 h 400"/>
                <a:gd name="T78" fmla="*/ 191 w 754"/>
                <a:gd name="T79" fmla="*/ 390 h 400"/>
                <a:gd name="T80" fmla="*/ 203 w 754"/>
                <a:gd name="T81" fmla="*/ 383 h 400"/>
                <a:gd name="T82" fmla="*/ 243 w 754"/>
                <a:gd name="T83" fmla="*/ 343 h 400"/>
                <a:gd name="T84" fmla="*/ 271 w 754"/>
                <a:gd name="T85" fmla="*/ 314 h 400"/>
                <a:gd name="T86" fmla="*/ 318 w 754"/>
                <a:gd name="T87" fmla="*/ 281 h 400"/>
                <a:gd name="T88" fmla="*/ 344 w 754"/>
                <a:gd name="T89" fmla="*/ 281 h 400"/>
                <a:gd name="T90" fmla="*/ 399 w 754"/>
                <a:gd name="T91" fmla="*/ 255 h 400"/>
                <a:gd name="T92" fmla="*/ 453 w 754"/>
                <a:gd name="T93" fmla="*/ 239 h 400"/>
                <a:gd name="T94" fmla="*/ 540 w 754"/>
                <a:gd name="T95" fmla="*/ 218 h 400"/>
                <a:gd name="T96" fmla="*/ 493 w 754"/>
                <a:gd name="T97" fmla="*/ 208 h 400"/>
                <a:gd name="T98" fmla="*/ 521 w 754"/>
                <a:gd name="T99" fmla="*/ 192 h 400"/>
                <a:gd name="T100" fmla="*/ 566 w 754"/>
                <a:gd name="T101" fmla="*/ 194 h 400"/>
                <a:gd name="T102" fmla="*/ 566 w 754"/>
                <a:gd name="T103" fmla="*/ 175 h 400"/>
                <a:gd name="T104" fmla="*/ 552 w 754"/>
                <a:gd name="T105" fmla="*/ 163 h 400"/>
                <a:gd name="T106" fmla="*/ 514 w 754"/>
                <a:gd name="T107" fmla="*/ 156 h 400"/>
                <a:gd name="T108" fmla="*/ 556 w 754"/>
                <a:gd name="T109" fmla="*/ 147 h 400"/>
                <a:gd name="T110" fmla="*/ 592 w 754"/>
                <a:gd name="T111" fmla="*/ 137 h 400"/>
                <a:gd name="T112" fmla="*/ 601 w 754"/>
                <a:gd name="T113" fmla="*/ 125 h 400"/>
                <a:gd name="T114" fmla="*/ 618 w 754"/>
                <a:gd name="T115" fmla="*/ 104 h 400"/>
                <a:gd name="T116" fmla="*/ 653 w 754"/>
                <a:gd name="T117" fmla="*/ 87 h 400"/>
                <a:gd name="T118" fmla="*/ 627 w 754"/>
                <a:gd name="T119" fmla="*/ 71 h 400"/>
                <a:gd name="T120" fmla="*/ 648 w 754"/>
                <a:gd name="T121" fmla="*/ 50 h 400"/>
                <a:gd name="T122" fmla="*/ 726 w 754"/>
                <a:gd name="T123" fmla="*/ 3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 h="400">
                  <a:moveTo>
                    <a:pt x="163" y="378"/>
                  </a:moveTo>
                  <a:lnTo>
                    <a:pt x="156" y="381"/>
                  </a:lnTo>
                  <a:lnTo>
                    <a:pt x="156" y="381"/>
                  </a:lnTo>
                  <a:lnTo>
                    <a:pt x="158" y="381"/>
                  </a:lnTo>
                  <a:lnTo>
                    <a:pt x="161" y="381"/>
                  </a:lnTo>
                  <a:lnTo>
                    <a:pt x="161" y="381"/>
                  </a:lnTo>
                  <a:lnTo>
                    <a:pt x="161" y="383"/>
                  </a:lnTo>
                  <a:lnTo>
                    <a:pt x="165" y="381"/>
                  </a:lnTo>
                  <a:lnTo>
                    <a:pt x="165" y="378"/>
                  </a:lnTo>
                  <a:lnTo>
                    <a:pt x="165" y="378"/>
                  </a:lnTo>
                  <a:lnTo>
                    <a:pt x="168" y="376"/>
                  </a:lnTo>
                  <a:lnTo>
                    <a:pt x="163" y="378"/>
                  </a:lnTo>
                  <a:close/>
                  <a:moveTo>
                    <a:pt x="333" y="288"/>
                  </a:moveTo>
                  <a:lnTo>
                    <a:pt x="330" y="288"/>
                  </a:lnTo>
                  <a:lnTo>
                    <a:pt x="333" y="291"/>
                  </a:lnTo>
                  <a:lnTo>
                    <a:pt x="333" y="291"/>
                  </a:lnTo>
                  <a:lnTo>
                    <a:pt x="335" y="288"/>
                  </a:lnTo>
                  <a:lnTo>
                    <a:pt x="335" y="288"/>
                  </a:lnTo>
                  <a:lnTo>
                    <a:pt x="335" y="286"/>
                  </a:lnTo>
                  <a:lnTo>
                    <a:pt x="333" y="288"/>
                  </a:lnTo>
                  <a:close/>
                  <a:moveTo>
                    <a:pt x="175" y="218"/>
                  </a:moveTo>
                  <a:lnTo>
                    <a:pt x="177" y="218"/>
                  </a:lnTo>
                  <a:lnTo>
                    <a:pt x="177" y="218"/>
                  </a:lnTo>
                  <a:lnTo>
                    <a:pt x="177" y="215"/>
                  </a:lnTo>
                  <a:lnTo>
                    <a:pt x="179" y="215"/>
                  </a:lnTo>
                  <a:lnTo>
                    <a:pt x="182" y="213"/>
                  </a:lnTo>
                  <a:lnTo>
                    <a:pt x="182" y="213"/>
                  </a:lnTo>
                  <a:lnTo>
                    <a:pt x="182" y="213"/>
                  </a:lnTo>
                  <a:lnTo>
                    <a:pt x="179" y="210"/>
                  </a:lnTo>
                  <a:lnTo>
                    <a:pt x="177" y="210"/>
                  </a:lnTo>
                  <a:lnTo>
                    <a:pt x="177" y="210"/>
                  </a:lnTo>
                  <a:lnTo>
                    <a:pt x="175" y="213"/>
                  </a:lnTo>
                  <a:lnTo>
                    <a:pt x="175" y="213"/>
                  </a:lnTo>
                  <a:lnTo>
                    <a:pt x="172" y="215"/>
                  </a:lnTo>
                  <a:lnTo>
                    <a:pt x="172" y="215"/>
                  </a:lnTo>
                  <a:lnTo>
                    <a:pt x="172" y="218"/>
                  </a:lnTo>
                  <a:lnTo>
                    <a:pt x="172" y="218"/>
                  </a:lnTo>
                  <a:lnTo>
                    <a:pt x="172" y="218"/>
                  </a:lnTo>
                  <a:lnTo>
                    <a:pt x="175" y="218"/>
                  </a:lnTo>
                  <a:close/>
                  <a:moveTo>
                    <a:pt x="130" y="210"/>
                  </a:moveTo>
                  <a:lnTo>
                    <a:pt x="130" y="210"/>
                  </a:lnTo>
                  <a:lnTo>
                    <a:pt x="128" y="210"/>
                  </a:lnTo>
                  <a:lnTo>
                    <a:pt x="125" y="215"/>
                  </a:lnTo>
                  <a:lnTo>
                    <a:pt x="125" y="215"/>
                  </a:lnTo>
                  <a:lnTo>
                    <a:pt x="125" y="215"/>
                  </a:lnTo>
                  <a:lnTo>
                    <a:pt x="125" y="218"/>
                  </a:lnTo>
                  <a:lnTo>
                    <a:pt x="130" y="218"/>
                  </a:lnTo>
                  <a:lnTo>
                    <a:pt x="135" y="218"/>
                  </a:lnTo>
                  <a:lnTo>
                    <a:pt x="135" y="218"/>
                  </a:lnTo>
                  <a:lnTo>
                    <a:pt x="137" y="218"/>
                  </a:lnTo>
                  <a:lnTo>
                    <a:pt x="137" y="218"/>
                  </a:lnTo>
                  <a:lnTo>
                    <a:pt x="137" y="218"/>
                  </a:lnTo>
                  <a:lnTo>
                    <a:pt x="139" y="218"/>
                  </a:lnTo>
                  <a:lnTo>
                    <a:pt x="139" y="220"/>
                  </a:lnTo>
                  <a:lnTo>
                    <a:pt x="135" y="220"/>
                  </a:lnTo>
                  <a:lnTo>
                    <a:pt x="135" y="220"/>
                  </a:lnTo>
                  <a:lnTo>
                    <a:pt x="132" y="220"/>
                  </a:lnTo>
                  <a:lnTo>
                    <a:pt x="132" y="220"/>
                  </a:lnTo>
                  <a:lnTo>
                    <a:pt x="132" y="220"/>
                  </a:lnTo>
                  <a:lnTo>
                    <a:pt x="132" y="222"/>
                  </a:lnTo>
                  <a:lnTo>
                    <a:pt x="135" y="222"/>
                  </a:lnTo>
                  <a:lnTo>
                    <a:pt x="135" y="222"/>
                  </a:lnTo>
                  <a:lnTo>
                    <a:pt x="135" y="222"/>
                  </a:lnTo>
                  <a:lnTo>
                    <a:pt x="137" y="222"/>
                  </a:lnTo>
                  <a:lnTo>
                    <a:pt x="146" y="222"/>
                  </a:lnTo>
                  <a:lnTo>
                    <a:pt x="149" y="220"/>
                  </a:lnTo>
                  <a:lnTo>
                    <a:pt x="161" y="220"/>
                  </a:lnTo>
                  <a:lnTo>
                    <a:pt x="163" y="218"/>
                  </a:lnTo>
                  <a:lnTo>
                    <a:pt x="163" y="218"/>
                  </a:lnTo>
                  <a:lnTo>
                    <a:pt x="165" y="215"/>
                  </a:lnTo>
                  <a:lnTo>
                    <a:pt x="163" y="215"/>
                  </a:lnTo>
                  <a:lnTo>
                    <a:pt x="163" y="215"/>
                  </a:lnTo>
                  <a:lnTo>
                    <a:pt x="163" y="215"/>
                  </a:lnTo>
                  <a:lnTo>
                    <a:pt x="165" y="215"/>
                  </a:lnTo>
                  <a:lnTo>
                    <a:pt x="165" y="215"/>
                  </a:lnTo>
                  <a:lnTo>
                    <a:pt x="165" y="213"/>
                  </a:lnTo>
                  <a:lnTo>
                    <a:pt x="163" y="213"/>
                  </a:lnTo>
                  <a:lnTo>
                    <a:pt x="161" y="213"/>
                  </a:lnTo>
                  <a:lnTo>
                    <a:pt x="156" y="210"/>
                  </a:lnTo>
                  <a:lnTo>
                    <a:pt x="153" y="208"/>
                  </a:lnTo>
                  <a:lnTo>
                    <a:pt x="151" y="206"/>
                  </a:lnTo>
                  <a:lnTo>
                    <a:pt x="151" y="206"/>
                  </a:lnTo>
                  <a:lnTo>
                    <a:pt x="142" y="203"/>
                  </a:lnTo>
                  <a:lnTo>
                    <a:pt x="139" y="203"/>
                  </a:lnTo>
                  <a:lnTo>
                    <a:pt x="132" y="206"/>
                  </a:lnTo>
                  <a:lnTo>
                    <a:pt x="132" y="206"/>
                  </a:lnTo>
                  <a:lnTo>
                    <a:pt x="130" y="206"/>
                  </a:lnTo>
                  <a:lnTo>
                    <a:pt x="130" y="206"/>
                  </a:lnTo>
                  <a:lnTo>
                    <a:pt x="130" y="208"/>
                  </a:lnTo>
                  <a:lnTo>
                    <a:pt x="130" y="208"/>
                  </a:lnTo>
                  <a:lnTo>
                    <a:pt x="130" y="208"/>
                  </a:lnTo>
                  <a:lnTo>
                    <a:pt x="132" y="210"/>
                  </a:lnTo>
                  <a:lnTo>
                    <a:pt x="135" y="210"/>
                  </a:lnTo>
                  <a:lnTo>
                    <a:pt x="135" y="210"/>
                  </a:lnTo>
                  <a:lnTo>
                    <a:pt x="130" y="210"/>
                  </a:lnTo>
                  <a:close/>
                  <a:moveTo>
                    <a:pt x="179" y="194"/>
                  </a:moveTo>
                  <a:lnTo>
                    <a:pt x="179" y="194"/>
                  </a:lnTo>
                  <a:lnTo>
                    <a:pt x="179" y="194"/>
                  </a:lnTo>
                  <a:lnTo>
                    <a:pt x="179" y="194"/>
                  </a:lnTo>
                  <a:lnTo>
                    <a:pt x="177" y="192"/>
                  </a:lnTo>
                  <a:lnTo>
                    <a:pt x="175" y="194"/>
                  </a:lnTo>
                  <a:lnTo>
                    <a:pt x="175" y="194"/>
                  </a:lnTo>
                  <a:lnTo>
                    <a:pt x="175" y="194"/>
                  </a:lnTo>
                  <a:lnTo>
                    <a:pt x="175" y="194"/>
                  </a:lnTo>
                  <a:lnTo>
                    <a:pt x="177" y="194"/>
                  </a:lnTo>
                  <a:lnTo>
                    <a:pt x="179" y="194"/>
                  </a:lnTo>
                  <a:close/>
                  <a:moveTo>
                    <a:pt x="526" y="196"/>
                  </a:moveTo>
                  <a:lnTo>
                    <a:pt x="526" y="196"/>
                  </a:lnTo>
                  <a:lnTo>
                    <a:pt x="528" y="194"/>
                  </a:lnTo>
                  <a:lnTo>
                    <a:pt x="526" y="194"/>
                  </a:lnTo>
                  <a:lnTo>
                    <a:pt x="526" y="194"/>
                  </a:lnTo>
                  <a:lnTo>
                    <a:pt x="526" y="192"/>
                  </a:lnTo>
                  <a:lnTo>
                    <a:pt x="523" y="192"/>
                  </a:lnTo>
                  <a:lnTo>
                    <a:pt x="523" y="192"/>
                  </a:lnTo>
                  <a:lnTo>
                    <a:pt x="523" y="192"/>
                  </a:lnTo>
                  <a:lnTo>
                    <a:pt x="514" y="194"/>
                  </a:lnTo>
                  <a:lnTo>
                    <a:pt x="512" y="194"/>
                  </a:lnTo>
                  <a:lnTo>
                    <a:pt x="507" y="194"/>
                  </a:lnTo>
                  <a:lnTo>
                    <a:pt x="502" y="194"/>
                  </a:lnTo>
                  <a:lnTo>
                    <a:pt x="500" y="194"/>
                  </a:lnTo>
                  <a:lnTo>
                    <a:pt x="498" y="194"/>
                  </a:lnTo>
                  <a:lnTo>
                    <a:pt x="498" y="194"/>
                  </a:lnTo>
                  <a:lnTo>
                    <a:pt x="495" y="196"/>
                  </a:lnTo>
                  <a:lnTo>
                    <a:pt x="495" y="196"/>
                  </a:lnTo>
                  <a:lnTo>
                    <a:pt x="493" y="199"/>
                  </a:lnTo>
                  <a:lnTo>
                    <a:pt x="493" y="199"/>
                  </a:lnTo>
                  <a:lnTo>
                    <a:pt x="490" y="199"/>
                  </a:lnTo>
                  <a:lnTo>
                    <a:pt x="490" y="201"/>
                  </a:lnTo>
                  <a:lnTo>
                    <a:pt x="490" y="201"/>
                  </a:lnTo>
                  <a:lnTo>
                    <a:pt x="490" y="201"/>
                  </a:lnTo>
                  <a:lnTo>
                    <a:pt x="490" y="201"/>
                  </a:lnTo>
                  <a:lnTo>
                    <a:pt x="495" y="201"/>
                  </a:lnTo>
                  <a:lnTo>
                    <a:pt x="502" y="201"/>
                  </a:lnTo>
                  <a:lnTo>
                    <a:pt x="509" y="201"/>
                  </a:lnTo>
                  <a:lnTo>
                    <a:pt x="512" y="201"/>
                  </a:lnTo>
                  <a:lnTo>
                    <a:pt x="514" y="201"/>
                  </a:lnTo>
                  <a:lnTo>
                    <a:pt x="514" y="201"/>
                  </a:lnTo>
                  <a:lnTo>
                    <a:pt x="516" y="201"/>
                  </a:lnTo>
                  <a:lnTo>
                    <a:pt x="519" y="199"/>
                  </a:lnTo>
                  <a:lnTo>
                    <a:pt x="521" y="199"/>
                  </a:lnTo>
                  <a:lnTo>
                    <a:pt x="526" y="199"/>
                  </a:lnTo>
                  <a:lnTo>
                    <a:pt x="526" y="199"/>
                  </a:lnTo>
                  <a:lnTo>
                    <a:pt x="526" y="196"/>
                  </a:lnTo>
                  <a:lnTo>
                    <a:pt x="526" y="196"/>
                  </a:lnTo>
                  <a:lnTo>
                    <a:pt x="526" y="196"/>
                  </a:lnTo>
                  <a:lnTo>
                    <a:pt x="526" y="196"/>
                  </a:lnTo>
                  <a:lnTo>
                    <a:pt x="526" y="196"/>
                  </a:lnTo>
                  <a:close/>
                  <a:moveTo>
                    <a:pt x="156" y="192"/>
                  </a:moveTo>
                  <a:lnTo>
                    <a:pt x="156" y="192"/>
                  </a:lnTo>
                  <a:lnTo>
                    <a:pt x="158" y="192"/>
                  </a:lnTo>
                  <a:lnTo>
                    <a:pt x="158" y="192"/>
                  </a:lnTo>
                  <a:lnTo>
                    <a:pt x="158" y="189"/>
                  </a:lnTo>
                  <a:lnTo>
                    <a:pt x="158" y="189"/>
                  </a:lnTo>
                  <a:lnTo>
                    <a:pt x="161" y="189"/>
                  </a:lnTo>
                  <a:lnTo>
                    <a:pt x="158" y="187"/>
                  </a:lnTo>
                  <a:lnTo>
                    <a:pt x="158" y="187"/>
                  </a:lnTo>
                  <a:lnTo>
                    <a:pt x="158" y="187"/>
                  </a:lnTo>
                  <a:lnTo>
                    <a:pt x="153" y="189"/>
                  </a:lnTo>
                  <a:lnTo>
                    <a:pt x="153" y="189"/>
                  </a:lnTo>
                  <a:lnTo>
                    <a:pt x="151" y="189"/>
                  </a:lnTo>
                  <a:lnTo>
                    <a:pt x="151" y="192"/>
                  </a:lnTo>
                  <a:lnTo>
                    <a:pt x="153" y="192"/>
                  </a:lnTo>
                  <a:lnTo>
                    <a:pt x="156" y="192"/>
                  </a:lnTo>
                  <a:close/>
                  <a:moveTo>
                    <a:pt x="144" y="166"/>
                  </a:moveTo>
                  <a:lnTo>
                    <a:pt x="146" y="166"/>
                  </a:lnTo>
                  <a:lnTo>
                    <a:pt x="146" y="166"/>
                  </a:lnTo>
                  <a:lnTo>
                    <a:pt x="146" y="166"/>
                  </a:lnTo>
                  <a:lnTo>
                    <a:pt x="146" y="166"/>
                  </a:lnTo>
                  <a:lnTo>
                    <a:pt x="151" y="163"/>
                  </a:lnTo>
                  <a:lnTo>
                    <a:pt x="153" y="163"/>
                  </a:lnTo>
                  <a:lnTo>
                    <a:pt x="156" y="161"/>
                  </a:lnTo>
                  <a:lnTo>
                    <a:pt x="156" y="161"/>
                  </a:lnTo>
                  <a:lnTo>
                    <a:pt x="153" y="161"/>
                  </a:lnTo>
                  <a:lnTo>
                    <a:pt x="153" y="161"/>
                  </a:lnTo>
                  <a:lnTo>
                    <a:pt x="151" y="161"/>
                  </a:lnTo>
                  <a:lnTo>
                    <a:pt x="149" y="161"/>
                  </a:lnTo>
                  <a:lnTo>
                    <a:pt x="149" y="161"/>
                  </a:lnTo>
                  <a:lnTo>
                    <a:pt x="149" y="161"/>
                  </a:lnTo>
                  <a:lnTo>
                    <a:pt x="144" y="161"/>
                  </a:lnTo>
                  <a:lnTo>
                    <a:pt x="142" y="163"/>
                  </a:lnTo>
                  <a:lnTo>
                    <a:pt x="139" y="163"/>
                  </a:lnTo>
                  <a:lnTo>
                    <a:pt x="139" y="163"/>
                  </a:lnTo>
                  <a:lnTo>
                    <a:pt x="142" y="163"/>
                  </a:lnTo>
                  <a:lnTo>
                    <a:pt x="144" y="163"/>
                  </a:lnTo>
                  <a:lnTo>
                    <a:pt x="144" y="163"/>
                  </a:lnTo>
                  <a:lnTo>
                    <a:pt x="144" y="163"/>
                  </a:lnTo>
                  <a:lnTo>
                    <a:pt x="144" y="163"/>
                  </a:lnTo>
                  <a:lnTo>
                    <a:pt x="144" y="166"/>
                  </a:lnTo>
                  <a:close/>
                  <a:moveTo>
                    <a:pt x="648" y="123"/>
                  </a:moveTo>
                  <a:lnTo>
                    <a:pt x="648" y="121"/>
                  </a:lnTo>
                  <a:lnTo>
                    <a:pt x="648" y="121"/>
                  </a:lnTo>
                  <a:lnTo>
                    <a:pt x="648" y="118"/>
                  </a:lnTo>
                  <a:lnTo>
                    <a:pt x="644" y="118"/>
                  </a:lnTo>
                  <a:lnTo>
                    <a:pt x="641" y="118"/>
                  </a:lnTo>
                  <a:lnTo>
                    <a:pt x="639" y="118"/>
                  </a:lnTo>
                  <a:lnTo>
                    <a:pt x="637" y="118"/>
                  </a:lnTo>
                  <a:lnTo>
                    <a:pt x="634" y="121"/>
                  </a:lnTo>
                  <a:lnTo>
                    <a:pt x="634" y="123"/>
                  </a:lnTo>
                  <a:lnTo>
                    <a:pt x="637" y="125"/>
                  </a:lnTo>
                  <a:lnTo>
                    <a:pt x="641" y="125"/>
                  </a:lnTo>
                  <a:lnTo>
                    <a:pt x="651" y="125"/>
                  </a:lnTo>
                  <a:lnTo>
                    <a:pt x="653" y="123"/>
                  </a:lnTo>
                  <a:lnTo>
                    <a:pt x="653" y="123"/>
                  </a:lnTo>
                  <a:lnTo>
                    <a:pt x="648" y="123"/>
                  </a:lnTo>
                  <a:close/>
                  <a:moveTo>
                    <a:pt x="644" y="106"/>
                  </a:moveTo>
                  <a:lnTo>
                    <a:pt x="646" y="102"/>
                  </a:lnTo>
                  <a:lnTo>
                    <a:pt x="646" y="97"/>
                  </a:lnTo>
                  <a:lnTo>
                    <a:pt x="644" y="97"/>
                  </a:lnTo>
                  <a:lnTo>
                    <a:pt x="641" y="97"/>
                  </a:lnTo>
                  <a:lnTo>
                    <a:pt x="641" y="99"/>
                  </a:lnTo>
                  <a:lnTo>
                    <a:pt x="639" y="102"/>
                  </a:lnTo>
                  <a:lnTo>
                    <a:pt x="641" y="109"/>
                  </a:lnTo>
                  <a:lnTo>
                    <a:pt x="644" y="106"/>
                  </a:lnTo>
                  <a:close/>
                  <a:moveTo>
                    <a:pt x="14" y="85"/>
                  </a:moveTo>
                  <a:lnTo>
                    <a:pt x="12" y="85"/>
                  </a:lnTo>
                  <a:lnTo>
                    <a:pt x="12" y="85"/>
                  </a:lnTo>
                  <a:lnTo>
                    <a:pt x="7" y="85"/>
                  </a:lnTo>
                  <a:lnTo>
                    <a:pt x="7" y="85"/>
                  </a:lnTo>
                  <a:lnTo>
                    <a:pt x="5" y="85"/>
                  </a:lnTo>
                  <a:lnTo>
                    <a:pt x="3" y="85"/>
                  </a:lnTo>
                  <a:lnTo>
                    <a:pt x="3" y="85"/>
                  </a:lnTo>
                  <a:lnTo>
                    <a:pt x="0" y="85"/>
                  </a:lnTo>
                  <a:lnTo>
                    <a:pt x="3" y="87"/>
                  </a:lnTo>
                  <a:lnTo>
                    <a:pt x="5" y="87"/>
                  </a:lnTo>
                  <a:lnTo>
                    <a:pt x="10" y="87"/>
                  </a:lnTo>
                  <a:lnTo>
                    <a:pt x="12" y="87"/>
                  </a:lnTo>
                  <a:lnTo>
                    <a:pt x="14" y="85"/>
                  </a:lnTo>
                  <a:close/>
                  <a:moveTo>
                    <a:pt x="663" y="78"/>
                  </a:moveTo>
                  <a:lnTo>
                    <a:pt x="663" y="78"/>
                  </a:lnTo>
                  <a:lnTo>
                    <a:pt x="658" y="80"/>
                  </a:lnTo>
                  <a:lnTo>
                    <a:pt x="658" y="80"/>
                  </a:lnTo>
                  <a:lnTo>
                    <a:pt x="658" y="83"/>
                  </a:lnTo>
                  <a:lnTo>
                    <a:pt x="660" y="83"/>
                  </a:lnTo>
                  <a:lnTo>
                    <a:pt x="663" y="80"/>
                  </a:lnTo>
                  <a:lnTo>
                    <a:pt x="665" y="80"/>
                  </a:lnTo>
                  <a:lnTo>
                    <a:pt x="665" y="78"/>
                  </a:lnTo>
                  <a:lnTo>
                    <a:pt x="663" y="78"/>
                  </a:lnTo>
                  <a:close/>
                  <a:moveTo>
                    <a:pt x="653" y="71"/>
                  </a:moveTo>
                  <a:lnTo>
                    <a:pt x="653" y="69"/>
                  </a:lnTo>
                  <a:lnTo>
                    <a:pt x="651" y="71"/>
                  </a:lnTo>
                  <a:lnTo>
                    <a:pt x="648" y="71"/>
                  </a:lnTo>
                  <a:lnTo>
                    <a:pt x="648" y="73"/>
                  </a:lnTo>
                  <a:lnTo>
                    <a:pt x="648" y="76"/>
                  </a:lnTo>
                  <a:lnTo>
                    <a:pt x="648" y="78"/>
                  </a:lnTo>
                  <a:lnTo>
                    <a:pt x="651" y="76"/>
                  </a:lnTo>
                  <a:lnTo>
                    <a:pt x="653" y="76"/>
                  </a:lnTo>
                  <a:lnTo>
                    <a:pt x="651" y="73"/>
                  </a:lnTo>
                  <a:lnTo>
                    <a:pt x="653" y="71"/>
                  </a:lnTo>
                  <a:lnTo>
                    <a:pt x="653" y="71"/>
                  </a:lnTo>
                  <a:close/>
                  <a:moveTo>
                    <a:pt x="674" y="45"/>
                  </a:moveTo>
                  <a:lnTo>
                    <a:pt x="667" y="47"/>
                  </a:lnTo>
                  <a:lnTo>
                    <a:pt x="663" y="47"/>
                  </a:lnTo>
                  <a:lnTo>
                    <a:pt x="660" y="50"/>
                  </a:lnTo>
                  <a:lnTo>
                    <a:pt x="660" y="50"/>
                  </a:lnTo>
                  <a:lnTo>
                    <a:pt x="665" y="50"/>
                  </a:lnTo>
                  <a:lnTo>
                    <a:pt x="672" y="50"/>
                  </a:lnTo>
                  <a:lnTo>
                    <a:pt x="677" y="50"/>
                  </a:lnTo>
                  <a:lnTo>
                    <a:pt x="679" y="47"/>
                  </a:lnTo>
                  <a:lnTo>
                    <a:pt x="679" y="45"/>
                  </a:lnTo>
                  <a:lnTo>
                    <a:pt x="674" y="45"/>
                  </a:lnTo>
                  <a:close/>
                  <a:moveTo>
                    <a:pt x="672" y="21"/>
                  </a:moveTo>
                  <a:lnTo>
                    <a:pt x="674" y="21"/>
                  </a:lnTo>
                  <a:lnTo>
                    <a:pt x="677" y="21"/>
                  </a:lnTo>
                  <a:lnTo>
                    <a:pt x="674" y="19"/>
                  </a:lnTo>
                  <a:lnTo>
                    <a:pt x="672" y="19"/>
                  </a:lnTo>
                  <a:lnTo>
                    <a:pt x="670" y="17"/>
                  </a:lnTo>
                  <a:lnTo>
                    <a:pt x="667" y="17"/>
                  </a:lnTo>
                  <a:lnTo>
                    <a:pt x="667" y="19"/>
                  </a:lnTo>
                  <a:lnTo>
                    <a:pt x="667" y="19"/>
                  </a:lnTo>
                  <a:lnTo>
                    <a:pt x="670" y="21"/>
                  </a:lnTo>
                  <a:lnTo>
                    <a:pt x="672" y="21"/>
                  </a:lnTo>
                  <a:close/>
                  <a:moveTo>
                    <a:pt x="373" y="17"/>
                  </a:moveTo>
                  <a:lnTo>
                    <a:pt x="380" y="17"/>
                  </a:lnTo>
                  <a:lnTo>
                    <a:pt x="382" y="19"/>
                  </a:lnTo>
                  <a:lnTo>
                    <a:pt x="384" y="19"/>
                  </a:lnTo>
                  <a:lnTo>
                    <a:pt x="387" y="17"/>
                  </a:lnTo>
                  <a:lnTo>
                    <a:pt x="389" y="14"/>
                  </a:lnTo>
                  <a:lnTo>
                    <a:pt x="389" y="14"/>
                  </a:lnTo>
                  <a:lnTo>
                    <a:pt x="384" y="12"/>
                  </a:lnTo>
                  <a:lnTo>
                    <a:pt x="375" y="9"/>
                  </a:lnTo>
                  <a:lnTo>
                    <a:pt x="370" y="12"/>
                  </a:lnTo>
                  <a:lnTo>
                    <a:pt x="363" y="12"/>
                  </a:lnTo>
                  <a:lnTo>
                    <a:pt x="363" y="12"/>
                  </a:lnTo>
                  <a:lnTo>
                    <a:pt x="363" y="12"/>
                  </a:lnTo>
                  <a:lnTo>
                    <a:pt x="368" y="14"/>
                  </a:lnTo>
                  <a:lnTo>
                    <a:pt x="373" y="17"/>
                  </a:lnTo>
                  <a:close/>
                  <a:moveTo>
                    <a:pt x="754" y="26"/>
                  </a:moveTo>
                  <a:lnTo>
                    <a:pt x="752" y="24"/>
                  </a:lnTo>
                  <a:lnTo>
                    <a:pt x="747" y="24"/>
                  </a:lnTo>
                  <a:lnTo>
                    <a:pt x="745" y="24"/>
                  </a:lnTo>
                  <a:lnTo>
                    <a:pt x="740" y="24"/>
                  </a:lnTo>
                  <a:lnTo>
                    <a:pt x="731" y="21"/>
                  </a:lnTo>
                  <a:lnTo>
                    <a:pt x="726" y="21"/>
                  </a:lnTo>
                  <a:lnTo>
                    <a:pt x="714" y="21"/>
                  </a:lnTo>
                  <a:lnTo>
                    <a:pt x="712" y="21"/>
                  </a:lnTo>
                  <a:lnTo>
                    <a:pt x="710" y="21"/>
                  </a:lnTo>
                  <a:lnTo>
                    <a:pt x="705" y="21"/>
                  </a:lnTo>
                  <a:lnTo>
                    <a:pt x="705" y="21"/>
                  </a:lnTo>
                  <a:lnTo>
                    <a:pt x="703" y="21"/>
                  </a:lnTo>
                  <a:lnTo>
                    <a:pt x="700" y="24"/>
                  </a:lnTo>
                  <a:lnTo>
                    <a:pt x="698" y="24"/>
                  </a:lnTo>
                  <a:lnTo>
                    <a:pt x="693" y="26"/>
                  </a:lnTo>
                  <a:lnTo>
                    <a:pt x="691" y="26"/>
                  </a:lnTo>
                  <a:lnTo>
                    <a:pt x="691" y="26"/>
                  </a:lnTo>
                  <a:lnTo>
                    <a:pt x="686" y="26"/>
                  </a:lnTo>
                  <a:lnTo>
                    <a:pt x="684" y="26"/>
                  </a:lnTo>
                  <a:lnTo>
                    <a:pt x="681" y="26"/>
                  </a:lnTo>
                  <a:lnTo>
                    <a:pt x="679" y="26"/>
                  </a:lnTo>
                  <a:lnTo>
                    <a:pt x="677" y="26"/>
                  </a:lnTo>
                  <a:lnTo>
                    <a:pt x="674" y="26"/>
                  </a:lnTo>
                  <a:lnTo>
                    <a:pt x="670" y="26"/>
                  </a:lnTo>
                  <a:lnTo>
                    <a:pt x="670" y="24"/>
                  </a:lnTo>
                  <a:lnTo>
                    <a:pt x="665" y="24"/>
                  </a:lnTo>
                  <a:lnTo>
                    <a:pt x="660" y="26"/>
                  </a:lnTo>
                  <a:lnTo>
                    <a:pt x="648" y="28"/>
                  </a:lnTo>
                  <a:lnTo>
                    <a:pt x="648" y="28"/>
                  </a:lnTo>
                  <a:lnTo>
                    <a:pt x="644" y="28"/>
                  </a:lnTo>
                  <a:lnTo>
                    <a:pt x="641" y="31"/>
                  </a:lnTo>
                  <a:lnTo>
                    <a:pt x="634" y="31"/>
                  </a:lnTo>
                  <a:lnTo>
                    <a:pt x="632" y="33"/>
                  </a:lnTo>
                  <a:lnTo>
                    <a:pt x="622" y="33"/>
                  </a:lnTo>
                  <a:lnTo>
                    <a:pt x="622" y="33"/>
                  </a:lnTo>
                  <a:lnTo>
                    <a:pt x="622" y="35"/>
                  </a:lnTo>
                  <a:lnTo>
                    <a:pt x="620" y="35"/>
                  </a:lnTo>
                  <a:lnTo>
                    <a:pt x="618" y="35"/>
                  </a:lnTo>
                  <a:lnTo>
                    <a:pt x="618" y="35"/>
                  </a:lnTo>
                  <a:lnTo>
                    <a:pt x="620" y="33"/>
                  </a:lnTo>
                  <a:lnTo>
                    <a:pt x="627" y="31"/>
                  </a:lnTo>
                  <a:lnTo>
                    <a:pt x="630" y="31"/>
                  </a:lnTo>
                  <a:lnTo>
                    <a:pt x="637" y="28"/>
                  </a:lnTo>
                  <a:lnTo>
                    <a:pt x="639" y="28"/>
                  </a:lnTo>
                  <a:lnTo>
                    <a:pt x="641" y="26"/>
                  </a:lnTo>
                  <a:lnTo>
                    <a:pt x="646" y="24"/>
                  </a:lnTo>
                  <a:lnTo>
                    <a:pt x="648" y="24"/>
                  </a:lnTo>
                  <a:lnTo>
                    <a:pt x="648" y="21"/>
                  </a:lnTo>
                  <a:lnTo>
                    <a:pt x="648" y="21"/>
                  </a:lnTo>
                  <a:lnTo>
                    <a:pt x="648" y="19"/>
                  </a:lnTo>
                  <a:lnTo>
                    <a:pt x="648" y="19"/>
                  </a:lnTo>
                  <a:lnTo>
                    <a:pt x="648" y="19"/>
                  </a:lnTo>
                  <a:lnTo>
                    <a:pt x="644" y="19"/>
                  </a:lnTo>
                  <a:lnTo>
                    <a:pt x="634" y="19"/>
                  </a:lnTo>
                  <a:lnTo>
                    <a:pt x="630" y="19"/>
                  </a:lnTo>
                  <a:lnTo>
                    <a:pt x="627" y="19"/>
                  </a:lnTo>
                  <a:lnTo>
                    <a:pt x="627" y="19"/>
                  </a:lnTo>
                  <a:lnTo>
                    <a:pt x="625" y="19"/>
                  </a:lnTo>
                  <a:lnTo>
                    <a:pt x="625" y="21"/>
                  </a:lnTo>
                  <a:lnTo>
                    <a:pt x="622" y="21"/>
                  </a:lnTo>
                  <a:lnTo>
                    <a:pt x="622" y="21"/>
                  </a:lnTo>
                  <a:lnTo>
                    <a:pt x="620" y="24"/>
                  </a:lnTo>
                  <a:lnTo>
                    <a:pt x="613" y="24"/>
                  </a:lnTo>
                  <a:lnTo>
                    <a:pt x="611" y="21"/>
                  </a:lnTo>
                  <a:lnTo>
                    <a:pt x="604" y="19"/>
                  </a:lnTo>
                  <a:lnTo>
                    <a:pt x="585" y="19"/>
                  </a:lnTo>
                  <a:lnTo>
                    <a:pt x="575" y="19"/>
                  </a:lnTo>
                  <a:lnTo>
                    <a:pt x="561" y="19"/>
                  </a:lnTo>
                  <a:lnTo>
                    <a:pt x="554" y="19"/>
                  </a:lnTo>
                  <a:lnTo>
                    <a:pt x="552" y="19"/>
                  </a:lnTo>
                  <a:lnTo>
                    <a:pt x="552" y="19"/>
                  </a:lnTo>
                  <a:lnTo>
                    <a:pt x="554" y="17"/>
                  </a:lnTo>
                  <a:lnTo>
                    <a:pt x="556" y="17"/>
                  </a:lnTo>
                  <a:lnTo>
                    <a:pt x="620" y="17"/>
                  </a:lnTo>
                  <a:lnTo>
                    <a:pt x="630" y="14"/>
                  </a:lnTo>
                  <a:lnTo>
                    <a:pt x="637" y="14"/>
                  </a:lnTo>
                  <a:lnTo>
                    <a:pt x="644" y="14"/>
                  </a:lnTo>
                  <a:lnTo>
                    <a:pt x="648" y="12"/>
                  </a:lnTo>
                  <a:lnTo>
                    <a:pt x="648" y="12"/>
                  </a:lnTo>
                  <a:lnTo>
                    <a:pt x="648" y="12"/>
                  </a:lnTo>
                  <a:lnTo>
                    <a:pt x="646" y="9"/>
                  </a:lnTo>
                  <a:lnTo>
                    <a:pt x="646" y="9"/>
                  </a:lnTo>
                  <a:lnTo>
                    <a:pt x="639" y="9"/>
                  </a:lnTo>
                  <a:lnTo>
                    <a:pt x="630" y="9"/>
                  </a:lnTo>
                  <a:lnTo>
                    <a:pt x="625" y="9"/>
                  </a:lnTo>
                  <a:lnTo>
                    <a:pt x="625" y="9"/>
                  </a:lnTo>
                  <a:lnTo>
                    <a:pt x="625" y="7"/>
                  </a:lnTo>
                  <a:lnTo>
                    <a:pt x="620" y="7"/>
                  </a:lnTo>
                  <a:lnTo>
                    <a:pt x="618" y="7"/>
                  </a:lnTo>
                  <a:lnTo>
                    <a:pt x="615" y="7"/>
                  </a:lnTo>
                  <a:lnTo>
                    <a:pt x="613" y="5"/>
                  </a:lnTo>
                  <a:lnTo>
                    <a:pt x="601" y="5"/>
                  </a:lnTo>
                  <a:lnTo>
                    <a:pt x="592" y="5"/>
                  </a:lnTo>
                  <a:lnTo>
                    <a:pt x="582" y="5"/>
                  </a:lnTo>
                  <a:lnTo>
                    <a:pt x="578" y="5"/>
                  </a:lnTo>
                  <a:lnTo>
                    <a:pt x="568" y="5"/>
                  </a:lnTo>
                  <a:lnTo>
                    <a:pt x="559" y="5"/>
                  </a:lnTo>
                  <a:lnTo>
                    <a:pt x="554" y="5"/>
                  </a:lnTo>
                  <a:lnTo>
                    <a:pt x="540" y="7"/>
                  </a:lnTo>
                  <a:lnTo>
                    <a:pt x="538" y="7"/>
                  </a:lnTo>
                  <a:lnTo>
                    <a:pt x="535" y="7"/>
                  </a:lnTo>
                  <a:lnTo>
                    <a:pt x="538" y="5"/>
                  </a:lnTo>
                  <a:lnTo>
                    <a:pt x="542" y="5"/>
                  </a:lnTo>
                  <a:lnTo>
                    <a:pt x="559" y="5"/>
                  </a:lnTo>
                  <a:lnTo>
                    <a:pt x="585" y="5"/>
                  </a:lnTo>
                  <a:lnTo>
                    <a:pt x="601" y="5"/>
                  </a:lnTo>
                  <a:lnTo>
                    <a:pt x="604" y="5"/>
                  </a:lnTo>
                  <a:lnTo>
                    <a:pt x="606" y="2"/>
                  </a:lnTo>
                  <a:lnTo>
                    <a:pt x="604" y="2"/>
                  </a:lnTo>
                  <a:lnTo>
                    <a:pt x="592" y="2"/>
                  </a:lnTo>
                  <a:lnTo>
                    <a:pt x="587" y="2"/>
                  </a:lnTo>
                  <a:lnTo>
                    <a:pt x="578" y="2"/>
                  </a:lnTo>
                  <a:lnTo>
                    <a:pt x="578" y="2"/>
                  </a:lnTo>
                  <a:lnTo>
                    <a:pt x="573" y="0"/>
                  </a:lnTo>
                  <a:lnTo>
                    <a:pt x="564" y="0"/>
                  </a:lnTo>
                  <a:lnTo>
                    <a:pt x="554" y="0"/>
                  </a:lnTo>
                  <a:lnTo>
                    <a:pt x="531" y="0"/>
                  </a:lnTo>
                  <a:lnTo>
                    <a:pt x="526" y="0"/>
                  </a:lnTo>
                  <a:lnTo>
                    <a:pt x="519" y="0"/>
                  </a:lnTo>
                  <a:lnTo>
                    <a:pt x="516" y="0"/>
                  </a:lnTo>
                  <a:lnTo>
                    <a:pt x="514" y="0"/>
                  </a:lnTo>
                  <a:lnTo>
                    <a:pt x="512" y="0"/>
                  </a:lnTo>
                  <a:lnTo>
                    <a:pt x="509" y="0"/>
                  </a:lnTo>
                  <a:lnTo>
                    <a:pt x="505" y="0"/>
                  </a:lnTo>
                  <a:lnTo>
                    <a:pt x="502" y="0"/>
                  </a:lnTo>
                  <a:lnTo>
                    <a:pt x="490" y="0"/>
                  </a:lnTo>
                  <a:lnTo>
                    <a:pt x="488" y="0"/>
                  </a:lnTo>
                  <a:lnTo>
                    <a:pt x="488" y="0"/>
                  </a:lnTo>
                  <a:lnTo>
                    <a:pt x="488" y="0"/>
                  </a:lnTo>
                  <a:lnTo>
                    <a:pt x="488" y="0"/>
                  </a:lnTo>
                  <a:lnTo>
                    <a:pt x="483" y="0"/>
                  </a:lnTo>
                  <a:lnTo>
                    <a:pt x="479" y="0"/>
                  </a:lnTo>
                  <a:lnTo>
                    <a:pt x="476" y="0"/>
                  </a:lnTo>
                  <a:lnTo>
                    <a:pt x="476" y="0"/>
                  </a:lnTo>
                  <a:lnTo>
                    <a:pt x="474" y="2"/>
                  </a:lnTo>
                  <a:lnTo>
                    <a:pt x="472" y="2"/>
                  </a:lnTo>
                  <a:lnTo>
                    <a:pt x="472" y="2"/>
                  </a:lnTo>
                  <a:lnTo>
                    <a:pt x="467" y="2"/>
                  </a:lnTo>
                  <a:lnTo>
                    <a:pt x="467" y="2"/>
                  </a:lnTo>
                  <a:lnTo>
                    <a:pt x="465" y="2"/>
                  </a:lnTo>
                  <a:lnTo>
                    <a:pt x="465" y="2"/>
                  </a:lnTo>
                  <a:lnTo>
                    <a:pt x="465" y="2"/>
                  </a:lnTo>
                  <a:lnTo>
                    <a:pt x="467" y="2"/>
                  </a:lnTo>
                  <a:lnTo>
                    <a:pt x="472" y="5"/>
                  </a:lnTo>
                  <a:lnTo>
                    <a:pt x="472" y="5"/>
                  </a:lnTo>
                  <a:lnTo>
                    <a:pt x="472" y="5"/>
                  </a:lnTo>
                  <a:lnTo>
                    <a:pt x="469" y="7"/>
                  </a:lnTo>
                  <a:lnTo>
                    <a:pt x="469" y="7"/>
                  </a:lnTo>
                  <a:lnTo>
                    <a:pt x="469" y="7"/>
                  </a:lnTo>
                  <a:lnTo>
                    <a:pt x="467" y="7"/>
                  </a:lnTo>
                  <a:lnTo>
                    <a:pt x="462" y="5"/>
                  </a:lnTo>
                  <a:lnTo>
                    <a:pt x="457" y="5"/>
                  </a:lnTo>
                  <a:lnTo>
                    <a:pt x="455" y="5"/>
                  </a:lnTo>
                  <a:lnTo>
                    <a:pt x="453" y="2"/>
                  </a:lnTo>
                  <a:lnTo>
                    <a:pt x="448" y="2"/>
                  </a:lnTo>
                  <a:lnTo>
                    <a:pt x="443" y="2"/>
                  </a:lnTo>
                  <a:lnTo>
                    <a:pt x="439" y="5"/>
                  </a:lnTo>
                  <a:lnTo>
                    <a:pt x="434" y="5"/>
                  </a:lnTo>
                  <a:lnTo>
                    <a:pt x="432" y="5"/>
                  </a:lnTo>
                  <a:lnTo>
                    <a:pt x="432" y="5"/>
                  </a:lnTo>
                  <a:lnTo>
                    <a:pt x="429" y="5"/>
                  </a:lnTo>
                  <a:lnTo>
                    <a:pt x="427" y="5"/>
                  </a:lnTo>
                  <a:lnTo>
                    <a:pt x="424" y="5"/>
                  </a:lnTo>
                  <a:lnTo>
                    <a:pt x="420" y="2"/>
                  </a:lnTo>
                  <a:lnTo>
                    <a:pt x="417" y="2"/>
                  </a:lnTo>
                  <a:lnTo>
                    <a:pt x="415" y="5"/>
                  </a:lnTo>
                  <a:lnTo>
                    <a:pt x="403" y="5"/>
                  </a:lnTo>
                  <a:lnTo>
                    <a:pt x="399" y="5"/>
                  </a:lnTo>
                  <a:lnTo>
                    <a:pt x="391" y="5"/>
                  </a:lnTo>
                  <a:lnTo>
                    <a:pt x="389" y="7"/>
                  </a:lnTo>
                  <a:lnTo>
                    <a:pt x="384" y="5"/>
                  </a:lnTo>
                  <a:lnTo>
                    <a:pt x="380" y="5"/>
                  </a:lnTo>
                  <a:lnTo>
                    <a:pt x="377" y="7"/>
                  </a:lnTo>
                  <a:lnTo>
                    <a:pt x="380" y="9"/>
                  </a:lnTo>
                  <a:lnTo>
                    <a:pt x="382" y="9"/>
                  </a:lnTo>
                  <a:lnTo>
                    <a:pt x="389" y="9"/>
                  </a:lnTo>
                  <a:lnTo>
                    <a:pt x="391" y="7"/>
                  </a:lnTo>
                  <a:lnTo>
                    <a:pt x="394" y="7"/>
                  </a:lnTo>
                  <a:lnTo>
                    <a:pt x="401" y="9"/>
                  </a:lnTo>
                  <a:lnTo>
                    <a:pt x="429" y="9"/>
                  </a:lnTo>
                  <a:lnTo>
                    <a:pt x="432" y="9"/>
                  </a:lnTo>
                  <a:lnTo>
                    <a:pt x="429" y="9"/>
                  </a:lnTo>
                  <a:lnTo>
                    <a:pt x="424" y="9"/>
                  </a:lnTo>
                  <a:lnTo>
                    <a:pt x="422" y="9"/>
                  </a:lnTo>
                  <a:lnTo>
                    <a:pt x="422" y="9"/>
                  </a:lnTo>
                  <a:lnTo>
                    <a:pt x="420" y="9"/>
                  </a:lnTo>
                  <a:lnTo>
                    <a:pt x="417" y="9"/>
                  </a:lnTo>
                  <a:lnTo>
                    <a:pt x="389" y="9"/>
                  </a:lnTo>
                  <a:lnTo>
                    <a:pt x="387" y="9"/>
                  </a:lnTo>
                  <a:lnTo>
                    <a:pt x="384" y="9"/>
                  </a:lnTo>
                  <a:lnTo>
                    <a:pt x="384" y="9"/>
                  </a:lnTo>
                  <a:lnTo>
                    <a:pt x="394" y="12"/>
                  </a:lnTo>
                  <a:lnTo>
                    <a:pt x="396" y="14"/>
                  </a:lnTo>
                  <a:lnTo>
                    <a:pt x="394" y="14"/>
                  </a:lnTo>
                  <a:lnTo>
                    <a:pt x="394" y="14"/>
                  </a:lnTo>
                  <a:lnTo>
                    <a:pt x="391" y="17"/>
                  </a:lnTo>
                  <a:lnTo>
                    <a:pt x="387" y="19"/>
                  </a:lnTo>
                  <a:lnTo>
                    <a:pt x="387" y="19"/>
                  </a:lnTo>
                  <a:lnTo>
                    <a:pt x="387" y="19"/>
                  </a:lnTo>
                  <a:lnTo>
                    <a:pt x="387" y="21"/>
                  </a:lnTo>
                  <a:lnTo>
                    <a:pt x="387" y="21"/>
                  </a:lnTo>
                  <a:lnTo>
                    <a:pt x="384" y="21"/>
                  </a:lnTo>
                  <a:lnTo>
                    <a:pt x="384" y="21"/>
                  </a:lnTo>
                  <a:lnTo>
                    <a:pt x="382" y="21"/>
                  </a:lnTo>
                  <a:lnTo>
                    <a:pt x="377" y="21"/>
                  </a:lnTo>
                  <a:lnTo>
                    <a:pt x="366" y="19"/>
                  </a:lnTo>
                  <a:lnTo>
                    <a:pt x="358" y="17"/>
                  </a:lnTo>
                  <a:lnTo>
                    <a:pt x="344" y="14"/>
                  </a:lnTo>
                  <a:lnTo>
                    <a:pt x="333" y="14"/>
                  </a:lnTo>
                  <a:lnTo>
                    <a:pt x="323" y="14"/>
                  </a:lnTo>
                  <a:lnTo>
                    <a:pt x="321" y="14"/>
                  </a:lnTo>
                  <a:lnTo>
                    <a:pt x="321" y="14"/>
                  </a:lnTo>
                  <a:lnTo>
                    <a:pt x="321" y="17"/>
                  </a:lnTo>
                  <a:lnTo>
                    <a:pt x="323" y="17"/>
                  </a:lnTo>
                  <a:lnTo>
                    <a:pt x="330" y="19"/>
                  </a:lnTo>
                  <a:lnTo>
                    <a:pt x="330" y="21"/>
                  </a:lnTo>
                  <a:lnTo>
                    <a:pt x="330" y="21"/>
                  </a:lnTo>
                  <a:lnTo>
                    <a:pt x="328" y="21"/>
                  </a:lnTo>
                  <a:lnTo>
                    <a:pt x="321" y="21"/>
                  </a:lnTo>
                  <a:lnTo>
                    <a:pt x="316" y="21"/>
                  </a:lnTo>
                  <a:lnTo>
                    <a:pt x="311" y="19"/>
                  </a:lnTo>
                  <a:lnTo>
                    <a:pt x="309" y="19"/>
                  </a:lnTo>
                  <a:lnTo>
                    <a:pt x="300" y="14"/>
                  </a:lnTo>
                  <a:lnTo>
                    <a:pt x="297" y="14"/>
                  </a:lnTo>
                  <a:lnTo>
                    <a:pt x="295" y="17"/>
                  </a:lnTo>
                  <a:lnTo>
                    <a:pt x="292" y="17"/>
                  </a:lnTo>
                  <a:lnTo>
                    <a:pt x="295" y="19"/>
                  </a:lnTo>
                  <a:lnTo>
                    <a:pt x="292" y="19"/>
                  </a:lnTo>
                  <a:lnTo>
                    <a:pt x="290" y="21"/>
                  </a:lnTo>
                  <a:lnTo>
                    <a:pt x="290" y="21"/>
                  </a:lnTo>
                  <a:lnTo>
                    <a:pt x="288" y="21"/>
                  </a:lnTo>
                  <a:lnTo>
                    <a:pt x="285" y="24"/>
                  </a:lnTo>
                  <a:lnTo>
                    <a:pt x="283" y="24"/>
                  </a:lnTo>
                  <a:lnTo>
                    <a:pt x="283" y="24"/>
                  </a:lnTo>
                  <a:lnTo>
                    <a:pt x="283" y="24"/>
                  </a:lnTo>
                  <a:lnTo>
                    <a:pt x="288" y="19"/>
                  </a:lnTo>
                  <a:lnTo>
                    <a:pt x="288" y="17"/>
                  </a:lnTo>
                  <a:lnTo>
                    <a:pt x="288" y="17"/>
                  </a:lnTo>
                  <a:lnTo>
                    <a:pt x="285" y="17"/>
                  </a:lnTo>
                  <a:lnTo>
                    <a:pt x="283" y="14"/>
                  </a:lnTo>
                  <a:lnTo>
                    <a:pt x="281" y="14"/>
                  </a:lnTo>
                  <a:lnTo>
                    <a:pt x="278" y="14"/>
                  </a:lnTo>
                  <a:lnTo>
                    <a:pt x="271" y="14"/>
                  </a:lnTo>
                  <a:lnTo>
                    <a:pt x="269" y="17"/>
                  </a:lnTo>
                  <a:lnTo>
                    <a:pt x="269" y="17"/>
                  </a:lnTo>
                  <a:lnTo>
                    <a:pt x="260" y="17"/>
                  </a:lnTo>
                  <a:lnTo>
                    <a:pt x="257" y="17"/>
                  </a:lnTo>
                  <a:lnTo>
                    <a:pt x="243" y="17"/>
                  </a:lnTo>
                  <a:lnTo>
                    <a:pt x="231" y="19"/>
                  </a:lnTo>
                  <a:lnTo>
                    <a:pt x="224" y="19"/>
                  </a:lnTo>
                  <a:lnTo>
                    <a:pt x="224" y="19"/>
                  </a:lnTo>
                  <a:lnTo>
                    <a:pt x="227" y="21"/>
                  </a:lnTo>
                  <a:lnTo>
                    <a:pt x="229" y="21"/>
                  </a:lnTo>
                  <a:lnTo>
                    <a:pt x="231" y="21"/>
                  </a:lnTo>
                  <a:lnTo>
                    <a:pt x="234" y="24"/>
                  </a:lnTo>
                  <a:lnTo>
                    <a:pt x="241" y="26"/>
                  </a:lnTo>
                  <a:lnTo>
                    <a:pt x="243" y="26"/>
                  </a:lnTo>
                  <a:lnTo>
                    <a:pt x="245" y="26"/>
                  </a:lnTo>
                  <a:lnTo>
                    <a:pt x="245" y="28"/>
                  </a:lnTo>
                  <a:lnTo>
                    <a:pt x="243" y="28"/>
                  </a:lnTo>
                  <a:lnTo>
                    <a:pt x="243" y="28"/>
                  </a:lnTo>
                  <a:lnTo>
                    <a:pt x="241" y="26"/>
                  </a:lnTo>
                  <a:lnTo>
                    <a:pt x="236" y="26"/>
                  </a:lnTo>
                  <a:lnTo>
                    <a:pt x="234" y="24"/>
                  </a:lnTo>
                  <a:lnTo>
                    <a:pt x="231" y="24"/>
                  </a:lnTo>
                  <a:lnTo>
                    <a:pt x="229" y="24"/>
                  </a:lnTo>
                  <a:lnTo>
                    <a:pt x="224" y="21"/>
                  </a:lnTo>
                  <a:lnTo>
                    <a:pt x="222" y="21"/>
                  </a:lnTo>
                  <a:lnTo>
                    <a:pt x="217" y="21"/>
                  </a:lnTo>
                  <a:lnTo>
                    <a:pt x="215" y="19"/>
                  </a:lnTo>
                  <a:lnTo>
                    <a:pt x="212" y="19"/>
                  </a:lnTo>
                  <a:lnTo>
                    <a:pt x="210" y="21"/>
                  </a:lnTo>
                  <a:lnTo>
                    <a:pt x="203" y="21"/>
                  </a:lnTo>
                  <a:lnTo>
                    <a:pt x="201" y="21"/>
                  </a:lnTo>
                  <a:lnTo>
                    <a:pt x="198" y="24"/>
                  </a:lnTo>
                  <a:lnTo>
                    <a:pt x="198" y="24"/>
                  </a:lnTo>
                  <a:lnTo>
                    <a:pt x="196" y="24"/>
                  </a:lnTo>
                  <a:lnTo>
                    <a:pt x="196" y="26"/>
                  </a:lnTo>
                  <a:lnTo>
                    <a:pt x="194" y="26"/>
                  </a:lnTo>
                  <a:lnTo>
                    <a:pt x="194" y="28"/>
                  </a:lnTo>
                  <a:lnTo>
                    <a:pt x="189" y="31"/>
                  </a:lnTo>
                  <a:lnTo>
                    <a:pt x="186" y="31"/>
                  </a:lnTo>
                  <a:lnTo>
                    <a:pt x="186" y="31"/>
                  </a:lnTo>
                  <a:lnTo>
                    <a:pt x="184" y="31"/>
                  </a:lnTo>
                  <a:lnTo>
                    <a:pt x="182" y="31"/>
                  </a:lnTo>
                  <a:lnTo>
                    <a:pt x="182" y="31"/>
                  </a:lnTo>
                  <a:lnTo>
                    <a:pt x="179" y="31"/>
                  </a:lnTo>
                  <a:lnTo>
                    <a:pt x="175" y="28"/>
                  </a:lnTo>
                  <a:lnTo>
                    <a:pt x="172" y="28"/>
                  </a:lnTo>
                  <a:lnTo>
                    <a:pt x="170" y="31"/>
                  </a:lnTo>
                  <a:lnTo>
                    <a:pt x="168" y="31"/>
                  </a:lnTo>
                  <a:lnTo>
                    <a:pt x="165" y="31"/>
                  </a:lnTo>
                  <a:lnTo>
                    <a:pt x="165" y="33"/>
                  </a:lnTo>
                  <a:lnTo>
                    <a:pt x="165" y="33"/>
                  </a:lnTo>
                  <a:lnTo>
                    <a:pt x="165" y="33"/>
                  </a:lnTo>
                  <a:lnTo>
                    <a:pt x="163" y="33"/>
                  </a:lnTo>
                  <a:lnTo>
                    <a:pt x="163" y="31"/>
                  </a:lnTo>
                  <a:lnTo>
                    <a:pt x="161" y="31"/>
                  </a:lnTo>
                  <a:lnTo>
                    <a:pt x="158" y="31"/>
                  </a:lnTo>
                  <a:lnTo>
                    <a:pt x="151" y="33"/>
                  </a:lnTo>
                  <a:lnTo>
                    <a:pt x="149" y="33"/>
                  </a:lnTo>
                  <a:lnTo>
                    <a:pt x="142" y="35"/>
                  </a:lnTo>
                  <a:lnTo>
                    <a:pt x="137" y="35"/>
                  </a:lnTo>
                  <a:lnTo>
                    <a:pt x="132" y="38"/>
                  </a:lnTo>
                  <a:lnTo>
                    <a:pt x="130" y="38"/>
                  </a:lnTo>
                  <a:lnTo>
                    <a:pt x="130" y="38"/>
                  </a:lnTo>
                  <a:lnTo>
                    <a:pt x="128" y="38"/>
                  </a:lnTo>
                  <a:lnTo>
                    <a:pt x="123" y="38"/>
                  </a:lnTo>
                  <a:lnTo>
                    <a:pt x="120" y="38"/>
                  </a:lnTo>
                  <a:lnTo>
                    <a:pt x="113" y="40"/>
                  </a:lnTo>
                  <a:lnTo>
                    <a:pt x="113" y="40"/>
                  </a:lnTo>
                  <a:lnTo>
                    <a:pt x="109" y="43"/>
                  </a:lnTo>
                  <a:lnTo>
                    <a:pt x="109" y="43"/>
                  </a:lnTo>
                  <a:lnTo>
                    <a:pt x="109" y="45"/>
                  </a:lnTo>
                  <a:lnTo>
                    <a:pt x="109" y="45"/>
                  </a:lnTo>
                  <a:lnTo>
                    <a:pt x="109" y="45"/>
                  </a:lnTo>
                  <a:lnTo>
                    <a:pt x="111" y="45"/>
                  </a:lnTo>
                  <a:lnTo>
                    <a:pt x="116" y="45"/>
                  </a:lnTo>
                  <a:lnTo>
                    <a:pt x="116" y="45"/>
                  </a:lnTo>
                  <a:lnTo>
                    <a:pt x="120" y="45"/>
                  </a:lnTo>
                  <a:lnTo>
                    <a:pt x="120" y="45"/>
                  </a:lnTo>
                  <a:lnTo>
                    <a:pt x="125" y="45"/>
                  </a:lnTo>
                  <a:lnTo>
                    <a:pt x="128" y="45"/>
                  </a:lnTo>
                  <a:lnTo>
                    <a:pt x="130" y="45"/>
                  </a:lnTo>
                  <a:lnTo>
                    <a:pt x="132" y="45"/>
                  </a:lnTo>
                  <a:lnTo>
                    <a:pt x="135" y="45"/>
                  </a:lnTo>
                  <a:lnTo>
                    <a:pt x="137" y="45"/>
                  </a:lnTo>
                  <a:lnTo>
                    <a:pt x="139" y="45"/>
                  </a:lnTo>
                  <a:lnTo>
                    <a:pt x="139" y="45"/>
                  </a:lnTo>
                  <a:lnTo>
                    <a:pt x="142" y="45"/>
                  </a:lnTo>
                  <a:lnTo>
                    <a:pt x="142" y="45"/>
                  </a:lnTo>
                  <a:lnTo>
                    <a:pt x="137" y="45"/>
                  </a:lnTo>
                  <a:lnTo>
                    <a:pt x="135" y="45"/>
                  </a:lnTo>
                  <a:lnTo>
                    <a:pt x="132" y="47"/>
                  </a:lnTo>
                  <a:lnTo>
                    <a:pt x="132" y="47"/>
                  </a:lnTo>
                  <a:lnTo>
                    <a:pt x="130" y="47"/>
                  </a:lnTo>
                  <a:lnTo>
                    <a:pt x="128" y="50"/>
                  </a:lnTo>
                  <a:lnTo>
                    <a:pt x="123" y="52"/>
                  </a:lnTo>
                  <a:lnTo>
                    <a:pt x="118" y="54"/>
                  </a:lnTo>
                  <a:lnTo>
                    <a:pt x="116" y="57"/>
                  </a:lnTo>
                  <a:lnTo>
                    <a:pt x="113" y="57"/>
                  </a:lnTo>
                  <a:lnTo>
                    <a:pt x="109" y="59"/>
                  </a:lnTo>
                  <a:lnTo>
                    <a:pt x="106" y="59"/>
                  </a:lnTo>
                  <a:lnTo>
                    <a:pt x="104" y="59"/>
                  </a:lnTo>
                  <a:lnTo>
                    <a:pt x="102" y="59"/>
                  </a:lnTo>
                  <a:lnTo>
                    <a:pt x="99" y="59"/>
                  </a:lnTo>
                  <a:lnTo>
                    <a:pt x="90" y="59"/>
                  </a:lnTo>
                  <a:lnTo>
                    <a:pt x="87" y="59"/>
                  </a:lnTo>
                  <a:lnTo>
                    <a:pt x="85" y="59"/>
                  </a:lnTo>
                  <a:lnTo>
                    <a:pt x="83" y="59"/>
                  </a:lnTo>
                  <a:lnTo>
                    <a:pt x="80" y="59"/>
                  </a:lnTo>
                  <a:lnTo>
                    <a:pt x="76" y="61"/>
                  </a:lnTo>
                  <a:lnTo>
                    <a:pt x="71" y="61"/>
                  </a:lnTo>
                  <a:lnTo>
                    <a:pt x="66" y="61"/>
                  </a:lnTo>
                  <a:lnTo>
                    <a:pt x="66" y="61"/>
                  </a:lnTo>
                  <a:lnTo>
                    <a:pt x="69" y="64"/>
                  </a:lnTo>
                  <a:lnTo>
                    <a:pt x="66" y="64"/>
                  </a:lnTo>
                  <a:lnTo>
                    <a:pt x="66" y="64"/>
                  </a:lnTo>
                  <a:lnTo>
                    <a:pt x="54" y="64"/>
                  </a:lnTo>
                  <a:lnTo>
                    <a:pt x="47" y="66"/>
                  </a:lnTo>
                  <a:lnTo>
                    <a:pt x="45" y="66"/>
                  </a:lnTo>
                  <a:lnTo>
                    <a:pt x="43" y="66"/>
                  </a:lnTo>
                  <a:lnTo>
                    <a:pt x="40" y="66"/>
                  </a:lnTo>
                  <a:lnTo>
                    <a:pt x="36" y="66"/>
                  </a:lnTo>
                  <a:lnTo>
                    <a:pt x="33" y="66"/>
                  </a:lnTo>
                  <a:lnTo>
                    <a:pt x="31" y="66"/>
                  </a:lnTo>
                  <a:lnTo>
                    <a:pt x="26" y="69"/>
                  </a:lnTo>
                  <a:lnTo>
                    <a:pt x="21" y="69"/>
                  </a:lnTo>
                  <a:lnTo>
                    <a:pt x="19" y="69"/>
                  </a:lnTo>
                  <a:lnTo>
                    <a:pt x="14" y="71"/>
                  </a:lnTo>
                  <a:lnTo>
                    <a:pt x="14" y="71"/>
                  </a:lnTo>
                  <a:lnTo>
                    <a:pt x="14" y="71"/>
                  </a:lnTo>
                  <a:lnTo>
                    <a:pt x="14" y="71"/>
                  </a:lnTo>
                  <a:lnTo>
                    <a:pt x="14" y="71"/>
                  </a:lnTo>
                  <a:lnTo>
                    <a:pt x="10" y="73"/>
                  </a:lnTo>
                  <a:lnTo>
                    <a:pt x="10" y="73"/>
                  </a:lnTo>
                  <a:lnTo>
                    <a:pt x="12" y="76"/>
                  </a:lnTo>
                  <a:lnTo>
                    <a:pt x="14" y="76"/>
                  </a:lnTo>
                  <a:lnTo>
                    <a:pt x="14" y="78"/>
                  </a:lnTo>
                  <a:lnTo>
                    <a:pt x="14" y="78"/>
                  </a:lnTo>
                  <a:lnTo>
                    <a:pt x="19" y="78"/>
                  </a:lnTo>
                  <a:lnTo>
                    <a:pt x="21" y="78"/>
                  </a:lnTo>
                  <a:lnTo>
                    <a:pt x="21" y="78"/>
                  </a:lnTo>
                  <a:lnTo>
                    <a:pt x="24" y="78"/>
                  </a:lnTo>
                  <a:lnTo>
                    <a:pt x="26" y="80"/>
                  </a:lnTo>
                  <a:lnTo>
                    <a:pt x="29" y="80"/>
                  </a:lnTo>
                  <a:lnTo>
                    <a:pt x="31" y="80"/>
                  </a:lnTo>
                  <a:lnTo>
                    <a:pt x="33" y="78"/>
                  </a:lnTo>
                  <a:lnTo>
                    <a:pt x="38" y="78"/>
                  </a:lnTo>
                  <a:lnTo>
                    <a:pt x="38" y="78"/>
                  </a:lnTo>
                  <a:lnTo>
                    <a:pt x="33" y="80"/>
                  </a:lnTo>
                  <a:lnTo>
                    <a:pt x="29" y="80"/>
                  </a:lnTo>
                  <a:lnTo>
                    <a:pt x="31" y="80"/>
                  </a:lnTo>
                  <a:lnTo>
                    <a:pt x="33" y="80"/>
                  </a:lnTo>
                  <a:lnTo>
                    <a:pt x="33" y="83"/>
                  </a:lnTo>
                  <a:lnTo>
                    <a:pt x="33" y="83"/>
                  </a:lnTo>
                  <a:lnTo>
                    <a:pt x="33" y="83"/>
                  </a:lnTo>
                  <a:lnTo>
                    <a:pt x="40" y="85"/>
                  </a:lnTo>
                  <a:lnTo>
                    <a:pt x="43" y="85"/>
                  </a:lnTo>
                  <a:lnTo>
                    <a:pt x="43" y="85"/>
                  </a:lnTo>
                  <a:lnTo>
                    <a:pt x="45" y="85"/>
                  </a:lnTo>
                  <a:lnTo>
                    <a:pt x="47" y="83"/>
                  </a:lnTo>
                  <a:lnTo>
                    <a:pt x="50" y="83"/>
                  </a:lnTo>
                  <a:lnTo>
                    <a:pt x="52" y="83"/>
                  </a:lnTo>
                  <a:lnTo>
                    <a:pt x="52" y="83"/>
                  </a:lnTo>
                  <a:lnTo>
                    <a:pt x="54" y="83"/>
                  </a:lnTo>
                  <a:lnTo>
                    <a:pt x="57" y="83"/>
                  </a:lnTo>
                  <a:lnTo>
                    <a:pt x="57" y="83"/>
                  </a:lnTo>
                  <a:lnTo>
                    <a:pt x="62" y="83"/>
                  </a:lnTo>
                  <a:lnTo>
                    <a:pt x="64" y="83"/>
                  </a:lnTo>
                  <a:lnTo>
                    <a:pt x="69" y="83"/>
                  </a:lnTo>
                  <a:lnTo>
                    <a:pt x="71" y="80"/>
                  </a:lnTo>
                  <a:lnTo>
                    <a:pt x="73" y="80"/>
                  </a:lnTo>
                  <a:lnTo>
                    <a:pt x="76" y="80"/>
                  </a:lnTo>
                  <a:lnTo>
                    <a:pt x="78" y="83"/>
                  </a:lnTo>
                  <a:lnTo>
                    <a:pt x="78" y="83"/>
                  </a:lnTo>
                  <a:lnTo>
                    <a:pt x="78" y="83"/>
                  </a:lnTo>
                  <a:lnTo>
                    <a:pt x="76" y="85"/>
                  </a:lnTo>
                  <a:lnTo>
                    <a:pt x="73" y="85"/>
                  </a:lnTo>
                  <a:lnTo>
                    <a:pt x="73" y="87"/>
                  </a:lnTo>
                  <a:lnTo>
                    <a:pt x="73" y="87"/>
                  </a:lnTo>
                  <a:lnTo>
                    <a:pt x="73" y="87"/>
                  </a:lnTo>
                  <a:lnTo>
                    <a:pt x="71" y="87"/>
                  </a:lnTo>
                  <a:lnTo>
                    <a:pt x="69" y="85"/>
                  </a:lnTo>
                  <a:lnTo>
                    <a:pt x="62" y="85"/>
                  </a:lnTo>
                  <a:lnTo>
                    <a:pt x="54" y="85"/>
                  </a:lnTo>
                  <a:lnTo>
                    <a:pt x="47" y="87"/>
                  </a:lnTo>
                  <a:lnTo>
                    <a:pt x="45" y="87"/>
                  </a:lnTo>
                  <a:lnTo>
                    <a:pt x="40" y="90"/>
                  </a:lnTo>
                  <a:lnTo>
                    <a:pt x="33" y="87"/>
                  </a:lnTo>
                  <a:lnTo>
                    <a:pt x="21" y="90"/>
                  </a:lnTo>
                  <a:lnTo>
                    <a:pt x="17" y="90"/>
                  </a:lnTo>
                  <a:lnTo>
                    <a:pt x="17" y="90"/>
                  </a:lnTo>
                  <a:lnTo>
                    <a:pt x="14" y="90"/>
                  </a:lnTo>
                  <a:lnTo>
                    <a:pt x="12" y="90"/>
                  </a:lnTo>
                  <a:lnTo>
                    <a:pt x="12" y="92"/>
                  </a:lnTo>
                  <a:lnTo>
                    <a:pt x="12" y="92"/>
                  </a:lnTo>
                  <a:lnTo>
                    <a:pt x="14" y="92"/>
                  </a:lnTo>
                  <a:lnTo>
                    <a:pt x="14" y="92"/>
                  </a:lnTo>
                  <a:lnTo>
                    <a:pt x="14" y="95"/>
                  </a:lnTo>
                  <a:lnTo>
                    <a:pt x="14" y="95"/>
                  </a:lnTo>
                  <a:lnTo>
                    <a:pt x="14" y="95"/>
                  </a:lnTo>
                  <a:lnTo>
                    <a:pt x="14" y="95"/>
                  </a:lnTo>
                  <a:lnTo>
                    <a:pt x="17" y="95"/>
                  </a:lnTo>
                  <a:lnTo>
                    <a:pt x="19" y="95"/>
                  </a:lnTo>
                  <a:lnTo>
                    <a:pt x="29" y="92"/>
                  </a:lnTo>
                  <a:lnTo>
                    <a:pt x="29" y="92"/>
                  </a:lnTo>
                  <a:lnTo>
                    <a:pt x="26" y="92"/>
                  </a:lnTo>
                  <a:lnTo>
                    <a:pt x="24" y="95"/>
                  </a:lnTo>
                  <a:lnTo>
                    <a:pt x="24" y="95"/>
                  </a:lnTo>
                  <a:lnTo>
                    <a:pt x="24" y="95"/>
                  </a:lnTo>
                  <a:lnTo>
                    <a:pt x="24" y="97"/>
                  </a:lnTo>
                  <a:lnTo>
                    <a:pt x="24" y="97"/>
                  </a:lnTo>
                  <a:lnTo>
                    <a:pt x="29" y="97"/>
                  </a:lnTo>
                  <a:lnTo>
                    <a:pt x="36" y="97"/>
                  </a:lnTo>
                  <a:lnTo>
                    <a:pt x="43" y="97"/>
                  </a:lnTo>
                  <a:lnTo>
                    <a:pt x="43" y="97"/>
                  </a:lnTo>
                  <a:lnTo>
                    <a:pt x="43" y="97"/>
                  </a:lnTo>
                  <a:lnTo>
                    <a:pt x="40" y="97"/>
                  </a:lnTo>
                  <a:lnTo>
                    <a:pt x="36" y="99"/>
                  </a:lnTo>
                  <a:lnTo>
                    <a:pt x="33" y="99"/>
                  </a:lnTo>
                  <a:lnTo>
                    <a:pt x="24" y="102"/>
                  </a:lnTo>
                  <a:lnTo>
                    <a:pt x="21" y="102"/>
                  </a:lnTo>
                  <a:lnTo>
                    <a:pt x="21" y="102"/>
                  </a:lnTo>
                  <a:lnTo>
                    <a:pt x="21" y="102"/>
                  </a:lnTo>
                  <a:lnTo>
                    <a:pt x="24" y="104"/>
                  </a:lnTo>
                  <a:lnTo>
                    <a:pt x="29" y="104"/>
                  </a:lnTo>
                  <a:lnTo>
                    <a:pt x="29" y="106"/>
                  </a:lnTo>
                  <a:lnTo>
                    <a:pt x="31" y="106"/>
                  </a:lnTo>
                  <a:lnTo>
                    <a:pt x="33" y="106"/>
                  </a:lnTo>
                  <a:lnTo>
                    <a:pt x="47" y="109"/>
                  </a:lnTo>
                  <a:lnTo>
                    <a:pt x="50" y="109"/>
                  </a:lnTo>
                  <a:lnTo>
                    <a:pt x="50" y="106"/>
                  </a:lnTo>
                  <a:lnTo>
                    <a:pt x="47" y="106"/>
                  </a:lnTo>
                  <a:lnTo>
                    <a:pt x="47" y="104"/>
                  </a:lnTo>
                  <a:lnTo>
                    <a:pt x="50" y="104"/>
                  </a:lnTo>
                  <a:lnTo>
                    <a:pt x="52" y="104"/>
                  </a:lnTo>
                  <a:lnTo>
                    <a:pt x="52" y="106"/>
                  </a:lnTo>
                  <a:lnTo>
                    <a:pt x="54" y="106"/>
                  </a:lnTo>
                  <a:lnTo>
                    <a:pt x="54" y="106"/>
                  </a:lnTo>
                  <a:lnTo>
                    <a:pt x="57" y="106"/>
                  </a:lnTo>
                  <a:lnTo>
                    <a:pt x="62" y="104"/>
                  </a:lnTo>
                  <a:lnTo>
                    <a:pt x="64" y="104"/>
                  </a:lnTo>
                  <a:lnTo>
                    <a:pt x="64" y="104"/>
                  </a:lnTo>
                  <a:lnTo>
                    <a:pt x="64" y="104"/>
                  </a:lnTo>
                  <a:lnTo>
                    <a:pt x="66" y="106"/>
                  </a:lnTo>
                  <a:lnTo>
                    <a:pt x="66" y="106"/>
                  </a:lnTo>
                  <a:lnTo>
                    <a:pt x="69" y="106"/>
                  </a:lnTo>
                  <a:lnTo>
                    <a:pt x="69" y="106"/>
                  </a:lnTo>
                  <a:lnTo>
                    <a:pt x="69" y="106"/>
                  </a:lnTo>
                  <a:lnTo>
                    <a:pt x="73" y="106"/>
                  </a:lnTo>
                  <a:lnTo>
                    <a:pt x="76" y="106"/>
                  </a:lnTo>
                  <a:lnTo>
                    <a:pt x="78" y="104"/>
                  </a:lnTo>
                  <a:lnTo>
                    <a:pt x="80" y="104"/>
                  </a:lnTo>
                  <a:lnTo>
                    <a:pt x="83" y="104"/>
                  </a:lnTo>
                  <a:lnTo>
                    <a:pt x="85" y="104"/>
                  </a:lnTo>
                  <a:lnTo>
                    <a:pt x="85" y="104"/>
                  </a:lnTo>
                  <a:lnTo>
                    <a:pt x="85" y="104"/>
                  </a:lnTo>
                  <a:lnTo>
                    <a:pt x="87" y="104"/>
                  </a:lnTo>
                  <a:lnTo>
                    <a:pt x="87" y="104"/>
                  </a:lnTo>
                  <a:lnTo>
                    <a:pt x="92" y="104"/>
                  </a:lnTo>
                  <a:lnTo>
                    <a:pt x="95" y="102"/>
                  </a:lnTo>
                  <a:lnTo>
                    <a:pt x="97" y="102"/>
                  </a:lnTo>
                  <a:lnTo>
                    <a:pt x="99" y="104"/>
                  </a:lnTo>
                  <a:lnTo>
                    <a:pt x="102" y="104"/>
                  </a:lnTo>
                  <a:lnTo>
                    <a:pt x="102" y="104"/>
                  </a:lnTo>
                  <a:lnTo>
                    <a:pt x="106" y="104"/>
                  </a:lnTo>
                  <a:lnTo>
                    <a:pt x="111" y="104"/>
                  </a:lnTo>
                  <a:lnTo>
                    <a:pt x="116" y="104"/>
                  </a:lnTo>
                  <a:lnTo>
                    <a:pt x="118" y="104"/>
                  </a:lnTo>
                  <a:lnTo>
                    <a:pt x="120" y="106"/>
                  </a:lnTo>
                  <a:lnTo>
                    <a:pt x="123" y="106"/>
                  </a:lnTo>
                  <a:lnTo>
                    <a:pt x="130" y="109"/>
                  </a:lnTo>
                  <a:lnTo>
                    <a:pt x="135" y="109"/>
                  </a:lnTo>
                  <a:lnTo>
                    <a:pt x="137" y="111"/>
                  </a:lnTo>
                  <a:lnTo>
                    <a:pt x="139" y="111"/>
                  </a:lnTo>
                  <a:lnTo>
                    <a:pt x="142" y="111"/>
                  </a:lnTo>
                  <a:lnTo>
                    <a:pt x="144" y="113"/>
                  </a:lnTo>
                  <a:lnTo>
                    <a:pt x="146" y="113"/>
                  </a:lnTo>
                  <a:lnTo>
                    <a:pt x="146" y="113"/>
                  </a:lnTo>
                  <a:lnTo>
                    <a:pt x="149" y="113"/>
                  </a:lnTo>
                  <a:lnTo>
                    <a:pt x="149" y="116"/>
                  </a:lnTo>
                  <a:lnTo>
                    <a:pt x="146" y="116"/>
                  </a:lnTo>
                  <a:lnTo>
                    <a:pt x="142" y="118"/>
                  </a:lnTo>
                  <a:lnTo>
                    <a:pt x="142" y="118"/>
                  </a:lnTo>
                  <a:lnTo>
                    <a:pt x="144" y="121"/>
                  </a:lnTo>
                  <a:lnTo>
                    <a:pt x="146" y="121"/>
                  </a:lnTo>
                  <a:lnTo>
                    <a:pt x="146" y="121"/>
                  </a:lnTo>
                  <a:lnTo>
                    <a:pt x="146" y="123"/>
                  </a:lnTo>
                  <a:lnTo>
                    <a:pt x="146" y="123"/>
                  </a:lnTo>
                  <a:lnTo>
                    <a:pt x="151" y="125"/>
                  </a:lnTo>
                  <a:lnTo>
                    <a:pt x="153" y="125"/>
                  </a:lnTo>
                  <a:lnTo>
                    <a:pt x="153" y="128"/>
                  </a:lnTo>
                  <a:lnTo>
                    <a:pt x="156" y="128"/>
                  </a:lnTo>
                  <a:lnTo>
                    <a:pt x="156" y="128"/>
                  </a:lnTo>
                  <a:lnTo>
                    <a:pt x="156" y="130"/>
                  </a:lnTo>
                  <a:lnTo>
                    <a:pt x="156" y="130"/>
                  </a:lnTo>
                  <a:lnTo>
                    <a:pt x="158" y="130"/>
                  </a:lnTo>
                  <a:lnTo>
                    <a:pt x="161" y="132"/>
                  </a:lnTo>
                  <a:lnTo>
                    <a:pt x="158" y="132"/>
                  </a:lnTo>
                  <a:lnTo>
                    <a:pt x="158" y="132"/>
                  </a:lnTo>
                  <a:lnTo>
                    <a:pt x="156" y="132"/>
                  </a:lnTo>
                  <a:lnTo>
                    <a:pt x="153" y="135"/>
                  </a:lnTo>
                  <a:lnTo>
                    <a:pt x="153" y="135"/>
                  </a:lnTo>
                  <a:lnTo>
                    <a:pt x="153" y="135"/>
                  </a:lnTo>
                  <a:lnTo>
                    <a:pt x="153" y="137"/>
                  </a:lnTo>
                  <a:lnTo>
                    <a:pt x="151" y="137"/>
                  </a:lnTo>
                  <a:lnTo>
                    <a:pt x="149" y="137"/>
                  </a:lnTo>
                  <a:lnTo>
                    <a:pt x="146" y="140"/>
                  </a:lnTo>
                  <a:lnTo>
                    <a:pt x="144" y="140"/>
                  </a:lnTo>
                  <a:lnTo>
                    <a:pt x="144" y="140"/>
                  </a:lnTo>
                  <a:lnTo>
                    <a:pt x="146" y="140"/>
                  </a:lnTo>
                  <a:lnTo>
                    <a:pt x="151" y="140"/>
                  </a:lnTo>
                  <a:lnTo>
                    <a:pt x="153" y="137"/>
                  </a:lnTo>
                  <a:lnTo>
                    <a:pt x="156" y="137"/>
                  </a:lnTo>
                  <a:lnTo>
                    <a:pt x="156" y="137"/>
                  </a:lnTo>
                  <a:lnTo>
                    <a:pt x="156" y="140"/>
                  </a:lnTo>
                  <a:lnTo>
                    <a:pt x="156" y="140"/>
                  </a:lnTo>
                  <a:lnTo>
                    <a:pt x="156" y="142"/>
                  </a:lnTo>
                  <a:lnTo>
                    <a:pt x="158" y="142"/>
                  </a:lnTo>
                  <a:lnTo>
                    <a:pt x="158" y="142"/>
                  </a:lnTo>
                  <a:lnTo>
                    <a:pt x="156" y="142"/>
                  </a:lnTo>
                  <a:lnTo>
                    <a:pt x="158" y="142"/>
                  </a:lnTo>
                  <a:lnTo>
                    <a:pt x="158" y="144"/>
                  </a:lnTo>
                  <a:lnTo>
                    <a:pt x="156" y="144"/>
                  </a:lnTo>
                  <a:lnTo>
                    <a:pt x="156" y="144"/>
                  </a:lnTo>
                  <a:lnTo>
                    <a:pt x="156" y="144"/>
                  </a:lnTo>
                  <a:lnTo>
                    <a:pt x="153" y="147"/>
                  </a:lnTo>
                  <a:lnTo>
                    <a:pt x="151" y="147"/>
                  </a:lnTo>
                  <a:lnTo>
                    <a:pt x="151" y="149"/>
                  </a:lnTo>
                  <a:lnTo>
                    <a:pt x="151" y="149"/>
                  </a:lnTo>
                  <a:lnTo>
                    <a:pt x="153" y="149"/>
                  </a:lnTo>
                  <a:lnTo>
                    <a:pt x="153" y="149"/>
                  </a:lnTo>
                  <a:lnTo>
                    <a:pt x="153" y="149"/>
                  </a:lnTo>
                  <a:lnTo>
                    <a:pt x="153" y="151"/>
                  </a:lnTo>
                  <a:lnTo>
                    <a:pt x="153" y="151"/>
                  </a:lnTo>
                  <a:lnTo>
                    <a:pt x="156" y="151"/>
                  </a:lnTo>
                  <a:lnTo>
                    <a:pt x="158" y="149"/>
                  </a:lnTo>
                  <a:lnTo>
                    <a:pt x="158" y="151"/>
                  </a:lnTo>
                  <a:lnTo>
                    <a:pt x="158" y="151"/>
                  </a:lnTo>
                  <a:lnTo>
                    <a:pt x="158" y="154"/>
                  </a:lnTo>
                  <a:lnTo>
                    <a:pt x="156" y="154"/>
                  </a:lnTo>
                  <a:lnTo>
                    <a:pt x="156" y="156"/>
                  </a:lnTo>
                  <a:lnTo>
                    <a:pt x="153" y="156"/>
                  </a:lnTo>
                  <a:lnTo>
                    <a:pt x="151" y="156"/>
                  </a:lnTo>
                  <a:lnTo>
                    <a:pt x="151" y="156"/>
                  </a:lnTo>
                  <a:lnTo>
                    <a:pt x="151" y="158"/>
                  </a:lnTo>
                  <a:lnTo>
                    <a:pt x="151" y="158"/>
                  </a:lnTo>
                  <a:lnTo>
                    <a:pt x="151" y="158"/>
                  </a:lnTo>
                  <a:lnTo>
                    <a:pt x="153" y="158"/>
                  </a:lnTo>
                  <a:lnTo>
                    <a:pt x="153" y="158"/>
                  </a:lnTo>
                  <a:lnTo>
                    <a:pt x="153" y="158"/>
                  </a:lnTo>
                  <a:lnTo>
                    <a:pt x="156" y="158"/>
                  </a:lnTo>
                  <a:lnTo>
                    <a:pt x="156" y="158"/>
                  </a:lnTo>
                  <a:lnTo>
                    <a:pt x="158" y="158"/>
                  </a:lnTo>
                  <a:lnTo>
                    <a:pt x="161" y="158"/>
                  </a:lnTo>
                  <a:lnTo>
                    <a:pt x="161" y="158"/>
                  </a:lnTo>
                  <a:lnTo>
                    <a:pt x="161" y="161"/>
                  </a:lnTo>
                  <a:lnTo>
                    <a:pt x="161" y="161"/>
                  </a:lnTo>
                  <a:lnTo>
                    <a:pt x="161" y="161"/>
                  </a:lnTo>
                  <a:lnTo>
                    <a:pt x="161" y="163"/>
                  </a:lnTo>
                  <a:lnTo>
                    <a:pt x="158" y="163"/>
                  </a:lnTo>
                  <a:lnTo>
                    <a:pt x="158" y="163"/>
                  </a:lnTo>
                  <a:lnTo>
                    <a:pt x="156" y="166"/>
                  </a:lnTo>
                  <a:lnTo>
                    <a:pt x="153" y="166"/>
                  </a:lnTo>
                  <a:lnTo>
                    <a:pt x="151" y="166"/>
                  </a:lnTo>
                  <a:lnTo>
                    <a:pt x="146" y="166"/>
                  </a:lnTo>
                  <a:lnTo>
                    <a:pt x="144" y="168"/>
                  </a:lnTo>
                  <a:lnTo>
                    <a:pt x="146" y="168"/>
                  </a:lnTo>
                  <a:lnTo>
                    <a:pt x="146" y="168"/>
                  </a:lnTo>
                  <a:lnTo>
                    <a:pt x="149" y="168"/>
                  </a:lnTo>
                  <a:lnTo>
                    <a:pt x="146" y="170"/>
                  </a:lnTo>
                  <a:lnTo>
                    <a:pt x="144" y="170"/>
                  </a:lnTo>
                  <a:lnTo>
                    <a:pt x="144" y="170"/>
                  </a:lnTo>
                  <a:lnTo>
                    <a:pt x="142" y="170"/>
                  </a:lnTo>
                  <a:lnTo>
                    <a:pt x="142" y="173"/>
                  </a:lnTo>
                  <a:lnTo>
                    <a:pt x="146" y="173"/>
                  </a:lnTo>
                  <a:lnTo>
                    <a:pt x="153" y="168"/>
                  </a:lnTo>
                  <a:lnTo>
                    <a:pt x="153" y="168"/>
                  </a:lnTo>
                  <a:lnTo>
                    <a:pt x="153" y="168"/>
                  </a:lnTo>
                  <a:lnTo>
                    <a:pt x="153" y="170"/>
                  </a:lnTo>
                  <a:lnTo>
                    <a:pt x="151" y="170"/>
                  </a:lnTo>
                  <a:lnTo>
                    <a:pt x="144" y="173"/>
                  </a:lnTo>
                  <a:lnTo>
                    <a:pt x="142" y="175"/>
                  </a:lnTo>
                  <a:lnTo>
                    <a:pt x="137" y="180"/>
                  </a:lnTo>
                  <a:lnTo>
                    <a:pt x="137" y="180"/>
                  </a:lnTo>
                  <a:lnTo>
                    <a:pt x="135" y="180"/>
                  </a:lnTo>
                  <a:lnTo>
                    <a:pt x="135" y="182"/>
                  </a:lnTo>
                  <a:lnTo>
                    <a:pt x="135" y="182"/>
                  </a:lnTo>
                  <a:lnTo>
                    <a:pt x="137" y="184"/>
                  </a:lnTo>
                  <a:lnTo>
                    <a:pt x="137" y="184"/>
                  </a:lnTo>
                  <a:lnTo>
                    <a:pt x="142" y="184"/>
                  </a:lnTo>
                  <a:lnTo>
                    <a:pt x="144" y="187"/>
                  </a:lnTo>
                  <a:lnTo>
                    <a:pt x="144" y="187"/>
                  </a:lnTo>
                  <a:lnTo>
                    <a:pt x="151" y="184"/>
                  </a:lnTo>
                  <a:lnTo>
                    <a:pt x="153" y="184"/>
                  </a:lnTo>
                  <a:lnTo>
                    <a:pt x="153" y="184"/>
                  </a:lnTo>
                  <a:lnTo>
                    <a:pt x="156" y="184"/>
                  </a:lnTo>
                  <a:lnTo>
                    <a:pt x="156" y="182"/>
                  </a:lnTo>
                  <a:lnTo>
                    <a:pt x="158" y="182"/>
                  </a:lnTo>
                  <a:lnTo>
                    <a:pt x="156" y="180"/>
                  </a:lnTo>
                  <a:lnTo>
                    <a:pt x="158" y="180"/>
                  </a:lnTo>
                  <a:lnTo>
                    <a:pt x="158" y="182"/>
                  </a:lnTo>
                  <a:lnTo>
                    <a:pt x="161" y="180"/>
                  </a:lnTo>
                  <a:lnTo>
                    <a:pt x="161" y="180"/>
                  </a:lnTo>
                  <a:lnTo>
                    <a:pt x="163" y="180"/>
                  </a:lnTo>
                  <a:lnTo>
                    <a:pt x="165" y="177"/>
                  </a:lnTo>
                  <a:lnTo>
                    <a:pt x="165" y="177"/>
                  </a:lnTo>
                  <a:lnTo>
                    <a:pt x="168" y="177"/>
                  </a:lnTo>
                  <a:lnTo>
                    <a:pt x="168" y="175"/>
                  </a:lnTo>
                  <a:lnTo>
                    <a:pt x="165" y="175"/>
                  </a:lnTo>
                  <a:lnTo>
                    <a:pt x="165" y="173"/>
                  </a:lnTo>
                  <a:lnTo>
                    <a:pt x="165" y="173"/>
                  </a:lnTo>
                  <a:lnTo>
                    <a:pt x="165" y="173"/>
                  </a:lnTo>
                  <a:lnTo>
                    <a:pt x="165" y="170"/>
                  </a:lnTo>
                  <a:lnTo>
                    <a:pt x="165" y="170"/>
                  </a:lnTo>
                  <a:lnTo>
                    <a:pt x="165" y="170"/>
                  </a:lnTo>
                  <a:lnTo>
                    <a:pt x="165" y="170"/>
                  </a:lnTo>
                  <a:lnTo>
                    <a:pt x="170" y="168"/>
                  </a:lnTo>
                  <a:lnTo>
                    <a:pt x="170" y="168"/>
                  </a:lnTo>
                  <a:lnTo>
                    <a:pt x="168" y="170"/>
                  </a:lnTo>
                  <a:lnTo>
                    <a:pt x="168" y="170"/>
                  </a:lnTo>
                  <a:lnTo>
                    <a:pt x="168" y="173"/>
                  </a:lnTo>
                  <a:lnTo>
                    <a:pt x="168" y="173"/>
                  </a:lnTo>
                  <a:lnTo>
                    <a:pt x="168" y="173"/>
                  </a:lnTo>
                  <a:lnTo>
                    <a:pt x="168" y="175"/>
                  </a:lnTo>
                  <a:lnTo>
                    <a:pt x="168" y="175"/>
                  </a:lnTo>
                  <a:lnTo>
                    <a:pt x="168" y="177"/>
                  </a:lnTo>
                  <a:lnTo>
                    <a:pt x="168" y="177"/>
                  </a:lnTo>
                  <a:lnTo>
                    <a:pt x="168" y="180"/>
                  </a:lnTo>
                  <a:lnTo>
                    <a:pt x="170" y="177"/>
                  </a:lnTo>
                  <a:lnTo>
                    <a:pt x="170" y="180"/>
                  </a:lnTo>
                  <a:lnTo>
                    <a:pt x="168" y="180"/>
                  </a:lnTo>
                  <a:lnTo>
                    <a:pt x="168" y="180"/>
                  </a:lnTo>
                  <a:lnTo>
                    <a:pt x="163" y="182"/>
                  </a:lnTo>
                  <a:lnTo>
                    <a:pt x="163" y="182"/>
                  </a:lnTo>
                  <a:lnTo>
                    <a:pt x="163" y="182"/>
                  </a:lnTo>
                  <a:lnTo>
                    <a:pt x="165" y="182"/>
                  </a:lnTo>
                  <a:lnTo>
                    <a:pt x="168" y="182"/>
                  </a:lnTo>
                  <a:lnTo>
                    <a:pt x="170" y="182"/>
                  </a:lnTo>
                  <a:lnTo>
                    <a:pt x="175" y="180"/>
                  </a:lnTo>
                  <a:lnTo>
                    <a:pt x="175" y="180"/>
                  </a:lnTo>
                  <a:lnTo>
                    <a:pt x="179" y="182"/>
                  </a:lnTo>
                  <a:lnTo>
                    <a:pt x="182" y="182"/>
                  </a:lnTo>
                  <a:lnTo>
                    <a:pt x="184" y="180"/>
                  </a:lnTo>
                  <a:lnTo>
                    <a:pt x="186" y="180"/>
                  </a:lnTo>
                  <a:lnTo>
                    <a:pt x="186" y="180"/>
                  </a:lnTo>
                  <a:lnTo>
                    <a:pt x="184" y="182"/>
                  </a:lnTo>
                  <a:lnTo>
                    <a:pt x="172" y="184"/>
                  </a:lnTo>
                  <a:lnTo>
                    <a:pt x="170" y="184"/>
                  </a:lnTo>
                  <a:lnTo>
                    <a:pt x="168" y="184"/>
                  </a:lnTo>
                  <a:lnTo>
                    <a:pt x="168" y="187"/>
                  </a:lnTo>
                  <a:lnTo>
                    <a:pt x="165" y="187"/>
                  </a:lnTo>
                  <a:lnTo>
                    <a:pt x="165" y="187"/>
                  </a:lnTo>
                  <a:lnTo>
                    <a:pt x="165" y="189"/>
                  </a:lnTo>
                  <a:lnTo>
                    <a:pt x="168" y="189"/>
                  </a:lnTo>
                  <a:lnTo>
                    <a:pt x="168" y="189"/>
                  </a:lnTo>
                  <a:lnTo>
                    <a:pt x="172" y="189"/>
                  </a:lnTo>
                  <a:lnTo>
                    <a:pt x="172" y="189"/>
                  </a:lnTo>
                  <a:lnTo>
                    <a:pt x="175" y="189"/>
                  </a:lnTo>
                  <a:lnTo>
                    <a:pt x="177" y="189"/>
                  </a:lnTo>
                  <a:lnTo>
                    <a:pt x="182" y="189"/>
                  </a:lnTo>
                  <a:lnTo>
                    <a:pt x="186" y="189"/>
                  </a:lnTo>
                  <a:lnTo>
                    <a:pt x="189" y="192"/>
                  </a:lnTo>
                  <a:lnTo>
                    <a:pt x="189" y="192"/>
                  </a:lnTo>
                  <a:lnTo>
                    <a:pt x="189" y="192"/>
                  </a:lnTo>
                  <a:lnTo>
                    <a:pt x="189" y="192"/>
                  </a:lnTo>
                  <a:lnTo>
                    <a:pt x="186" y="192"/>
                  </a:lnTo>
                  <a:lnTo>
                    <a:pt x="184" y="192"/>
                  </a:lnTo>
                  <a:lnTo>
                    <a:pt x="182" y="192"/>
                  </a:lnTo>
                  <a:lnTo>
                    <a:pt x="179" y="192"/>
                  </a:lnTo>
                  <a:lnTo>
                    <a:pt x="179" y="192"/>
                  </a:lnTo>
                  <a:lnTo>
                    <a:pt x="182" y="194"/>
                  </a:lnTo>
                  <a:lnTo>
                    <a:pt x="184" y="194"/>
                  </a:lnTo>
                  <a:lnTo>
                    <a:pt x="184" y="194"/>
                  </a:lnTo>
                  <a:lnTo>
                    <a:pt x="184" y="196"/>
                  </a:lnTo>
                  <a:lnTo>
                    <a:pt x="184" y="196"/>
                  </a:lnTo>
                  <a:lnTo>
                    <a:pt x="182" y="199"/>
                  </a:lnTo>
                  <a:lnTo>
                    <a:pt x="182" y="199"/>
                  </a:lnTo>
                  <a:lnTo>
                    <a:pt x="182" y="201"/>
                  </a:lnTo>
                  <a:lnTo>
                    <a:pt x="186" y="201"/>
                  </a:lnTo>
                  <a:lnTo>
                    <a:pt x="189" y="201"/>
                  </a:lnTo>
                  <a:lnTo>
                    <a:pt x="189" y="203"/>
                  </a:lnTo>
                  <a:lnTo>
                    <a:pt x="189" y="203"/>
                  </a:lnTo>
                  <a:lnTo>
                    <a:pt x="184" y="203"/>
                  </a:lnTo>
                  <a:lnTo>
                    <a:pt x="184" y="203"/>
                  </a:lnTo>
                  <a:lnTo>
                    <a:pt x="179" y="201"/>
                  </a:lnTo>
                  <a:lnTo>
                    <a:pt x="177" y="201"/>
                  </a:lnTo>
                  <a:lnTo>
                    <a:pt x="175" y="201"/>
                  </a:lnTo>
                  <a:lnTo>
                    <a:pt x="168" y="199"/>
                  </a:lnTo>
                  <a:lnTo>
                    <a:pt x="165" y="196"/>
                  </a:lnTo>
                  <a:lnTo>
                    <a:pt x="163" y="196"/>
                  </a:lnTo>
                  <a:lnTo>
                    <a:pt x="161" y="196"/>
                  </a:lnTo>
                  <a:lnTo>
                    <a:pt x="156" y="196"/>
                  </a:lnTo>
                  <a:lnTo>
                    <a:pt x="153" y="196"/>
                  </a:lnTo>
                  <a:lnTo>
                    <a:pt x="151" y="196"/>
                  </a:lnTo>
                  <a:lnTo>
                    <a:pt x="151" y="196"/>
                  </a:lnTo>
                  <a:lnTo>
                    <a:pt x="146" y="196"/>
                  </a:lnTo>
                  <a:lnTo>
                    <a:pt x="144" y="196"/>
                  </a:lnTo>
                  <a:lnTo>
                    <a:pt x="142" y="196"/>
                  </a:lnTo>
                  <a:lnTo>
                    <a:pt x="139" y="199"/>
                  </a:lnTo>
                  <a:lnTo>
                    <a:pt x="139" y="199"/>
                  </a:lnTo>
                  <a:lnTo>
                    <a:pt x="142" y="199"/>
                  </a:lnTo>
                  <a:lnTo>
                    <a:pt x="144" y="201"/>
                  </a:lnTo>
                  <a:lnTo>
                    <a:pt x="144" y="203"/>
                  </a:lnTo>
                  <a:lnTo>
                    <a:pt x="146" y="203"/>
                  </a:lnTo>
                  <a:lnTo>
                    <a:pt x="151" y="203"/>
                  </a:lnTo>
                  <a:lnTo>
                    <a:pt x="156" y="203"/>
                  </a:lnTo>
                  <a:lnTo>
                    <a:pt x="158" y="206"/>
                  </a:lnTo>
                  <a:lnTo>
                    <a:pt x="161" y="206"/>
                  </a:lnTo>
                  <a:lnTo>
                    <a:pt x="163" y="208"/>
                  </a:lnTo>
                  <a:lnTo>
                    <a:pt x="163" y="208"/>
                  </a:lnTo>
                  <a:lnTo>
                    <a:pt x="172" y="210"/>
                  </a:lnTo>
                  <a:lnTo>
                    <a:pt x="172" y="210"/>
                  </a:lnTo>
                  <a:lnTo>
                    <a:pt x="175" y="210"/>
                  </a:lnTo>
                  <a:lnTo>
                    <a:pt x="177" y="208"/>
                  </a:lnTo>
                  <a:lnTo>
                    <a:pt x="179" y="208"/>
                  </a:lnTo>
                  <a:lnTo>
                    <a:pt x="182" y="208"/>
                  </a:lnTo>
                  <a:lnTo>
                    <a:pt x="182" y="210"/>
                  </a:lnTo>
                  <a:lnTo>
                    <a:pt x="186" y="210"/>
                  </a:lnTo>
                  <a:lnTo>
                    <a:pt x="189" y="208"/>
                  </a:lnTo>
                  <a:lnTo>
                    <a:pt x="189" y="208"/>
                  </a:lnTo>
                  <a:lnTo>
                    <a:pt x="189" y="210"/>
                  </a:lnTo>
                  <a:lnTo>
                    <a:pt x="189" y="210"/>
                  </a:lnTo>
                  <a:lnTo>
                    <a:pt x="186" y="210"/>
                  </a:lnTo>
                  <a:lnTo>
                    <a:pt x="186" y="210"/>
                  </a:lnTo>
                  <a:lnTo>
                    <a:pt x="186" y="213"/>
                  </a:lnTo>
                  <a:lnTo>
                    <a:pt x="186" y="213"/>
                  </a:lnTo>
                  <a:lnTo>
                    <a:pt x="184" y="213"/>
                  </a:lnTo>
                  <a:lnTo>
                    <a:pt x="182" y="215"/>
                  </a:lnTo>
                  <a:lnTo>
                    <a:pt x="179" y="215"/>
                  </a:lnTo>
                  <a:lnTo>
                    <a:pt x="179" y="218"/>
                  </a:lnTo>
                  <a:lnTo>
                    <a:pt x="177" y="220"/>
                  </a:lnTo>
                  <a:lnTo>
                    <a:pt x="175" y="220"/>
                  </a:lnTo>
                  <a:lnTo>
                    <a:pt x="172" y="222"/>
                  </a:lnTo>
                  <a:lnTo>
                    <a:pt x="172" y="225"/>
                  </a:lnTo>
                  <a:lnTo>
                    <a:pt x="175" y="225"/>
                  </a:lnTo>
                  <a:lnTo>
                    <a:pt x="177" y="222"/>
                  </a:lnTo>
                  <a:lnTo>
                    <a:pt x="179" y="222"/>
                  </a:lnTo>
                  <a:lnTo>
                    <a:pt x="179" y="225"/>
                  </a:lnTo>
                  <a:lnTo>
                    <a:pt x="182" y="225"/>
                  </a:lnTo>
                  <a:lnTo>
                    <a:pt x="182" y="225"/>
                  </a:lnTo>
                  <a:lnTo>
                    <a:pt x="179" y="225"/>
                  </a:lnTo>
                  <a:lnTo>
                    <a:pt x="175" y="225"/>
                  </a:lnTo>
                  <a:lnTo>
                    <a:pt x="170" y="225"/>
                  </a:lnTo>
                  <a:lnTo>
                    <a:pt x="170" y="225"/>
                  </a:lnTo>
                  <a:lnTo>
                    <a:pt x="168" y="229"/>
                  </a:lnTo>
                  <a:lnTo>
                    <a:pt x="165" y="232"/>
                  </a:lnTo>
                  <a:lnTo>
                    <a:pt x="165" y="232"/>
                  </a:lnTo>
                  <a:lnTo>
                    <a:pt x="168" y="232"/>
                  </a:lnTo>
                  <a:lnTo>
                    <a:pt x="170" y="232"/>
                  </a:lnTo>
                  <a:lnTo>
                    <a:pt x="170" y="232"/>
                  </a:lnTo>
                  <a:lnTo>
                    <a:pt x="168" y="234"/>
                  </a:lnTo>
                  <a:lnTo>
                    <a:pt x="165" y="234"/>
                  </a:lnTo>
                  <a:lnTo>
                    <a:pt x="165" y="234"/>
                  </a:lnTo>
                  <a:lnTo>
                    <a:pt x="158" y="236"/>
                  </a:lnTo>
                  <a:lnTo>
                    <a:pt x="158" y="236"/>
                  </a:lnTo>
                  <a:lnTo>
                    <a:pt x="156" y="236"/>
                  </a:lnTo>
                  <a:lnTo>
                    <a:pt x="149" y="232"/>
                  </a:lnTo>
                  <a:lnTo>
                    <a:pt x="146" y="232"/>
                  </a:lnTo>
                  <a:lnTo>
                    <a:pt x="142" y="234"/>
                  </a:lnTo>
                  <a:lnTo>
                    <a:pt x="139" y="234"/>
                  </a:lnTo>
                  <a:lnTo>
                    <a:pt x="135" y="239"/>
                  </a:lnTo>
                  <a:lnTo>
                    <a:pt x="132" y="239"/>
                  </a:lnTo>
                  <a:lnTo>
                    <a:pt x="130" y="241"/>
                  </a:lnTo>
                  <a:lnTo>
                    <a:pt x="132" y="241"/>
                  </a:lnTo>
                  <a:lnTo>
                    <a:pt x="135" y="239"/>
                  </a:lnTo>
                  <a:lnTo>
                    <a:pt x="139" y="239"/>
                  </a:lnTo>
                  <a:lnTo>
                    <a:pt x="139" y="241"/>
                  </a:lnTo>
                  <a:lnTo>
                    <a:pt x="139" y="241"/>
                  </a:lnTo>
                  <a:lnTo>
                    <a:pt x="144" y="241"/>
                  </a:lnTo>
                  <a:lnTo>
                    <a:pt x="146" y="241"/>
                  </a:lnTo>
                  <a:lnTo>
                    <a:pt x="151" y="241"/>
                  </a:lnTo>
                  <a:lnTo>
                    <a:pt x="153" y="241"/>
                  </a:lnTo>
                  <a:lnTo>
                    <a:pt x="158" y="239"/>
                  </a:lnTo>
                  <a:lnTo>
                    <a:pt x="158" y="239"/>
                  </a:lnTo>
                  <a:lnTo>
                    <a:pt x="158" y="239"/>
                  </a:lnTo>
                  <a:lnTo>
                    <a:pt x="161" y="239"/>
                  </a:lnTo>
                  <a:lnTo>
                    <a:pt x="163" y="239"/>
                  </a:lnTo>
                  <a:lnTo>
                    <a:pt x="163" y="239"/>
                  </a:lnTo>
                  <a:lnTo>
                    <a:pt x="161" y="239"/>
                  </a:lnTo>
                  <a:lnTo>
                    <a:pt x="158" y="241"/>
                  </a:lnTo>
                  <a:lnTo>
                    <a:pt x="158" y="241"/>
                  </a:lnTo>
                  <a:lnTo>
                    <a:pt x="156" y="241"/>
                  </a:lnTo>
                  <a:lnTo>
                    <a:pt x="156" y="244"/>
                  </a:lnTo>
                  <a:lnTo>
                    <a:pt x="156" y="244"/>
                  </a:lnTo>
                  <a:lnTo>
                    <a:pt x="153" y="244"/>
                  </a:lnTo>
                  <a:lnTo>
                    <a:pt x="153" y="244"/>
                  </a:lnTo>
                  <a:lnTo>
                    <a:pt x="151" y="244"/>
                  </a:lnTo>
                  <a:lnTo>
                    <a:pt x="146" y="244"/>
                  </a:lnTo>
                  <a:lnTo>
                    <a:pt x="142" y="244"/>
                  </a:lnTo>
                  <a:lnTo>
                    <a:pt x="137" y="241"/>
                  </a:lnTo>
                  <a:lnTo>
                    <a:pt x="135" y="241"/>
                  </a:lnTo>
                  <a:lnTo>
                    <a:pt x="132" y="241"/>
                  </a:lnTo>
                  <a:lnTo>
                    <a:pt x="132" y="244"/>
                  </a:lnTo>
                  <a:lnTo>
                    <a:pt x="128" y="246"/>
                  </a:lnTo>
                  <a:lnTo>
                    <a:pt x="123" y="248"/>
                  </a:lnTo>
                  <a:lnTo>
                    <a:pt x="123" y="251"/>
                  </a:lnTo>
                  <a:lnTo>
                    <a:pt x="123" y="251"/>
                  </a:lnTo>
                  <a:lnTo>
                    <a:pt x="120" y="251"/>
                  </a:lnTo>
                  <a:lnTo>
                    <a:pt x="118" y="253"/>
                  </a:lnTo>
                  <a:lnTo>
                    <a:pt x="120" y="253"/>
                  </a:lnTo>
                  <a:lnTo>
                    <a:pt x="123" y="253"/>
                  </a:lnTo>
                  <a:lnTo>
                    <a:pt x="132" y="251"/>
                  </a:lnTo>
                  <a:lnTo>
                    <a:pt x="132" y="248"/>
                  </a:lnTo>
                  <a:lnTo>
                    <a:pt x="135" y="248"/>
                  </a:lnTo>
                  <a:lnTo>
                    <a:pt x="137" y="248"/>
                  </a:lnTo>
                  <a:lnTo>
                    <a:pt x="142" y="248"/>
                  </a:lnTo>
                  <a:lnTo>
                    <a:pt x="144" y="248"/>
                  </a:lnTo>
                  <a:lnTo>
                    <a:pt x="146" y="251"/>
                  </a:lnTo>
                  <a:lnTo>
                    <a:pt x="149" y="251"/>
                  </a:lnTo>
                  <a:lnTo>
                    <a:pt x="153" y="251"/>
                  </a:lnTo>
                  <a:lnTo>
                    <a:pt x="153" y="248"/>
                  </a:lnTo>
                  <a:lnTo>
                    <a:pt x="158" y="248"/>
                  </a:lnTo>
                  <a:lnTo>
                    <a:pt x="161" y="248"/>
                  </a:lnTo>
                  <a:lnTo>
                    <a:pt x="158" y="251"/>
                  </a:lnTo>
                  <a:lnTo>
                    <a:pt x="156" y="251"/>
                  </a:lnTo>
                  <a:lnTo>
                    <a:pt x="156" y="251"/>
                  </a:lnTo>
                  <a:lnTo>
                    <a:pt x="161" y="253"/>
                  </a:lnTo>
                  <a:lnTo>
                    <a:pt x="161" y="253"/>
                  </a:lnTo>
                  <a:lnTo>
                    <a:pt x="161" y="255"/>
                  </a:lnTo>
                  <a:lnTo>
                    <a:pt x="156" y="253"/>
                  </a:lnTo>
                  <a:lnTo>
                    <a:pt x="151" y="251"/>
                  </a:lnTo>
                  <a:lnTo>
                    <a:pt x="149" y="251"/>
                  </a:lnTo>
                  <a:lnTo>
                    <a:pt x="144" y="251"/>
                  </a:lnTo>
                  <a:lnTo>
                    <a:pt x="139" y="251"/>
                  </a:lnTo>
                  <a:lnTo>
                    <a:pt x="137" y="251"/>
                  </a:lnTo>
                  <a:lnTo>
                    <a:pt x="135" y="251"/>
                  </a:lnTo>
                  <a:lnTo>
                    <a:pt x="130" y="251"/>
                  </a:lnTo>
                  <a:lnTo>
                    <a:pt x="125" y="253"/>
                  </a:lnTo>
                  <a:lnTo>
                    <a:pt x="123" y="253"/>
                  </a:lnTo>
                  <a:lnTo>
                    <a:pt x="120" y="255"/>
                  </a:lnTo>
                  <a:lnTo>
                    <a:pt x="116" y="255"/>
                  </a:lnTo>
                  <a:lnTo>
                    <a:pt x="116" y="258"/>
                  </a:lnTo>
                  <a:lnTo>
                    <a:pt x="113" y="260"/>
                  </a:lnTo>
                  <a:lnTo>
                    <a:pt x="113" y="265"/>
                  </a:lnTo>
                  <a:lnTo>
                    <a:pt x="116" y="265"/>
                  </a:lnTo>
                  <a:lnTo>
                    <a:pt x="116" y="265"/>
                  </a:lnTo>
                  <a:lnTo>
                    <a:pt x="118" y="265"/>
                  </a:lnTo>
                  <a:lnTo>
                    <a:pt x="120" y="265"/>
                  </a:lnTo>
                  <a:lnTo>
                    <a:pt x="123" y="265"/>
                  </a:lnTo>
                  <a:lnTo>
                    <a:pt x="130" y="265"/>
                  </a:lnTo>
                  <a:lnTo>
                    <a:pt x="130" y="265"/>
                  </a:lnTo>
                  <a:lnTo>
                    <a:pt x="130" y="265"/>
                  </a:lnTo>
                  <a:lnTo>
                    <a:pt x="130" y="267"/>
                  </a:lnTo>
                  <a:lnTo>
                    <a:pt x="130" y="267"/>
                  </a:lnTo>
                  <a:lnTo>
                    <a:pt x="128" y="267"/>
                  </a:lnTo>
                  <a:lnTo>
                    <a:pt x="120" y="267"/>
                  </a:lnTo>
                  <a:lnTo>
                    <a:pt x="120" y="267"/>
                  </a:lnTo>
                  <a:lnTo>
                    <a:pt x="118" y="270"/>
                  </a:lnTo>
                  <a:lnTo>
                    <a:pt x="113" y="270"/>
                  </a:lnTo>
                  <a:lnTo>
                    <a:pt x="113" y="270"/>
                  </a:lnTo>
                  <a:lnTo>
                    <a:pt x="113" y="272"/>
                  </a:lnTo>
                  <a:lnTo>
                    <a:pt x="111" y="272"/>
                  </a:lnTo>
                  <a:lnTo>
                    <a:pt x="109" y="274"/>
                  </a:lnTo>
                  <a:lnTo>
                    <a:pt x="109" y="277"/>
                  </a:lnTo>
                  <a:lnTo>
                    <a:pt x="106" y="277"/>
                  </a:lnTo>
                  <a:lnTo>
                    <a:pt x="106" y="279"/>
                  </a:lnTo>
                  <a:lnTo>
                    <a:pt x="109" y="279"/>
                  </a:lnTo>
                  <a:lnTo>
                    <a:pt x="109" y="279"/>
                  </a:lnTo>
                  <a:lnTo>
                    <a:pt x="113" y="279"/>
                  </a:lnTo>
                  <a:lnTo>
                    <a:pt x="116" y="279"/>
                  </a:lnTo>
                  <a:lnTo>
                    <a:pt x="118" y="277"/>
                  </a:lnTo>
                  <a:lnTo>
                    <a:pt x="120" y="277"/>
                  </a:lnTo>
                  <a:lnTo>
                    <a:pt x="123" y="274"/>
                  </a:lnTo>
                  <a:lnTo>
                    <a:pt x="125" y="274"/>
                  </a:lnTo>
                  <a:lnTo>
                    <a:pt x="137" y="270"/>
                  </a:lnTo>
                  <a:lnTo>
                    <a:pt x="139" y="267"/>
                  </a:lnTo>
                  <a:lnTo>
                    <a:pt x="144" y="267"/>
                  </a:lnTo>
                  <a:lnTo>
                    <a:pt x="146" y="265"/>
                  </a:lnTo>
                  <a:lnTo>
                    <a:pt x="146" y="265"/>
                  </a:lnTo>
                  <a:lnTo>
                    <a:pt x="146" y="267"/>
                  </a:lnTo>
                  <a:lnTo>
                    <a:pt x="142" y="267"/>
                  </a:lnTo>
                  <a:lnTo>
                    <a:pt x="139" y="270"/>
                  </a:lnTo>
                  <a:lnTo>
                    <a:pt x="137" y="270"/>
                  </a:lnTo>
                  <a:lnTo>
                    <a:pt x="135" y="270"/>
                  </a:lnTo>
                  <a:lnTo>
                    <a:pt x="135" y="272"/>
                  </a:lnTo>
                  <a:lnTo>
                    <a:pt x="132" y="272"/>
                  </a:lnTo>
                  <a:lnTo>
                    <a:pt x="130" y="274"/>
                  </a:lnTo>
                  <a:lnTo>
                    <a:pt x="128" y="274"/>
                  </a:lnTo>
                  <a:lnTo>
                    <a:pt x="125" y="274"/>
                  </a:lnTo>
                  <a:lnTo>
                    <a:pt x="116" y="279"/>
                  </a:lnTo>
                  <a:lnTo>
                    <a:pt x="109" y="281"/>
                  </a:lnTo>
                  <a:lnTo>
                    <a:pt x="109" y="281"/>
                  </a:lnTo>
                  <a:lnTo>
                    <a:pt x="109" y="281"/>
                  </a:lnTo>
                  <a:lnTo>
                    <a:pt x="111" y="281"/>
                  </a:lnTo>
                  <a:lnTo>
                    <a:pt x="111" y="281"/>
                  </a:lnTo>
                  <a:lnTo>
                    <a:pt x="111" y="281"/>
                  </a:lnTo>
                  <a:lnTo>
                    <a:pt x="109" y="286"/>
                  </a:lnTo>
                  <a:lnTo>
                    <a:pt x="106" y="288"/>
                  </a:lnTo>
                  <a:lnTo>
                    <a:pt x="109" y="288"/>
                  </a:lnTo>
                  <a:lnTo>
                    <a:pt x="109" y="291"/>
                  </a:lnTo>
                  <a:lnTo>
                    <a:pt x="113" y="288"/>
                  </a:lnTo>
                  <a:lnTo>
                    <a:pt x="116" y="291"/>
                  </a:lnTo>
                  <a:lnTo>
                    <a:pt x="118" y="291"/>
                  </a:lnTo>
                  <a:lnTo>
                    <a:pt x="123" y="291"/>
                  </a:lnTo>
                  <a:lnTo>
                    <a:pt x="125" y="288"/>
                  </a:lnTo>
                  <a:lnTo>
                    <a:pt x="128" y="286"/>
                  </a:lnTo>
                  <a:lnTo>
                    <a:pt x="130" y="286"/>
                  </a:lnTo>
                  <a:lnTo>
                    <a:pt x="135" y="286"/>
                  </a:lnTo>
                  <a:lnTo>
                    <a:pt x="137" y="286"/>
                  </a:lnTo>
                  <a:lnTo>
                    <a:pt x="139" y="286"/>
                  </a:lnTo>
                  <a:lnTo>
                    <a:pt x="139" y="286"/>
                  </a:lnTo>
                  <a:lnTo>
                    <a:pt x="137" y="286"/>
                  </a:lnTo>
                  <a:lnTo>
                    <a:pt x="130" y="286"/>
                  </a:lnTo>
                  <a:lnTo>
                    <a:pt x="128" y="288"/>
                  </a:lnTo>
                  <a:lnTo>
                    <a:pt x="123" y="291"/>
                  </a:lnTo>
                  <a:lnTo>
                    <a:pt x="120" y="293"/>
                  </a:lnTo>
                  <a:lnTo>
                    <a:pt x="116" y="293"/>
                  </a:lnTo>
                  <a:lnTo>
                    <a:pt x="116" y="293"/>
                  </a:lnTo>
                  <a:lnTo>
                    <a:pt x="113" y="293"/>
                  </a:lnTo>
                  <a:lnTo>
                    <a:pt x="113" y="296"/>
                  </a:lnTo>
                  <a:lnTo>
                    <a:pt x="113" y="296"/>
                  </a:lnTo>
                  <a:lnTo>
                    <a:pt x="113" y="296"/>
                  </a:lnTo>
                  <a:lnTo>
                    <a:pt x="116" y="298"/>
                  </a:lnTo>
                  <a:lnTo>
                    <a:pt x="116" y="300"/>
                  </a:lnTo>
                  <a:lnTo>
                    <a:pt x="116" y="305"/>
                  </a:lnTo>
                  <a:lnTo>
                    <a:pt x="113" y="305"/>
                  </a:lnTo>
                  <a:lnTo>
                    <a:pt x="113" y="307"/>
                  </a:lnTo>
                  <a:lnTo>
                    <a:pt x="111" y="312"/>
                  </a:lnTo>
                  <a:lnTo>
                    <a:pt x="111" y="312"/>
                  </a:lnTo>
                  <a:lnTo>
                    <a:pt x="111" y="314"/>
                  </a:lnTo>
                  <a:lnTo>
                    <a:pt x="113" y="314"/>
                  </a:lnTo>
                  <a:lnTo>
                    <a:pt x="113" y="314"/>
                  </a:lnTo>
                  <a:lnTo>
                    <a:pt x="116" y="314"/>
                  </a:lnTo>
                  <a:lnTo>
                    <a:pt x="118" y="312"/>
                  </a:lnTo>
                  <a:lnTo>
                    <a:pt x="123" y="310"/>
                  </a:lnTo>
                  <a:lnTo>
                    <a:pt x="123" y="307"/>
                  </a:lnTo>
                  <a:lnTo>
                    <a:pt x="125" y="305"/>
                  </a:lnTo>
                  <a:lnTo>
                    <a:pt x="128" y="305"/>
                  </a:lnTo>
                  <a:lnTo>
                    <a:pt x="128" y="305"/>
                  </a:lnTo>
                  <a:lnTo>
                    <a:pt x="128" y="305"/>
                  </a:lnTo>
                  <a:lnTo>
                    <a:pt x="125" y="307"/>
                  </a:lnTo>
                  <a:lnTo>
                    <a:pt x="130" y="307"/>
                  </a:lnTo>
                  <a:lnTo>
                    <a:pt x="132" y="305"/>
                  </a:lnTo>
                  <a:lnTo>
                    <a:pt x="132" y="305"/>
                  </a:lnTo>
                  <a:lnTo>
                    <a:pt x="135" y="305"/>
                  </a:lnTo>
                  <a:lnTo>
                    <a:pt x="135" y="303"/>
                  </a:lnTo>
                  <a:lnTo>
                    <a:pt x="135" y="300"/>
                  </a:lnTo>
                  <a:lnTo>
                    <a:pt x="135" y="298"/>
                  </a:lnTo>
                  <a:lnTo>
                    <a:pt x="135" y="296"/>
                  </a:lnTo>
                  <a:lnTo>
                    <a:pt x="135" y="296"/>
                  </a:lnTo>
                  <a:lnTo>
                    <a:pt x="135" y="298"/>
                  </a:lnTo>
                  <a:lnTo>
                    <a:pt x="135" y="300"/>
                  </a:lnTo>
                  <a:lnTo>
                    <a:pt x="137" y="303"/>
                  </a:lnTo>
                  <a:lnTo>
                    <a:pt x="137" y="303"/>
                  </a:lnTo>
                  <a:lnTo>
                    <a:pt x="137" y="303"/>
                  </a:lnTo>
                  <a:lnTo>
                    <a:pt x="137" y="305"/>
                  </a:lnTo>
                  <a:lnTo>
                    <a:pt x="139" y="305"/>
                  </a:lnTo>
                  <a:lnTo>
                    <a:pt x="142" y="305"/>
                  </a:lnTo>
                  <a:lnTo>
                    <a:pt x="142" y="305"/>
                  </a:lnTo>
                  <a:lnTo>
                    <a:pt x="142" y="307"/>
                  </a:lnTo>
                  <a:lnTo>
                    <a:pt x="142" y="310"/>
                  </a:lnTo>
                  <a:lnTo>
                    <a:pt x="142" y="310"/>
                  </a:lnTo>
                  <a:lnTo>
                    <a:pt x="139" y="310"/>
                  </a:lnTo>
                  <a:lnTo>
                    <a:pt x="139" y="307"/>
                  </a:lnTo>
                  <a:lnTo>
                    <a:pt x="139" y="305"/>
                  </a:lnTo>
                  <a:lnTo>
                    <a:pt x="137" y="305"/>
                  </a:lnTo>
                  <a:lnTo>
                    <a:pt x="135" y="307"/>
                  </a:lnTo>
                  <a:lnTo>
                    <a:pt x="132" y="307"/>
                  </a:lnTo>
                  <a:lnTo>
                    <a:pt x="130" y="307"/>
                  </a:lnTo>
                  <a:lnTo>
                    <a:pt x="130" y="307"/>
                  </a:lnTo>
                  <a:lnTo>
                    <a:pt x="130" y="307"/>
                  </a:lnTo>
                  <a:lnTo>
                    <a:pt x="128" y="307"/>
                  </a:lnTo>
                  <a:lnTo>
                    <a:pt x="125" y="307"/>
                  </a:lnTo>
                  <a:lnTo>
                    <a:pt x="123" y="310"/>
                  </a:lnTo>
                  <a:lnTo>
                    <a:pt x="118" y="312"/>
                  </a:lnTo>
                  <a:lnTo>
                    <a:pt x="116" y="314"/>
                  </a:lnTo>
                  <a:lnTo>
                    <a:pt x="116" y="317"/>
                  </a:lnTo>
                  <a:lnTo>
                    <a:pt x="116" y="317"/>
                  </a:lnTo>
                  <a:lnTo>
                    <a:pt x="116" y="317"/>
                  </a:lnTo>
                  <a:lnTo>
                    <a:pt x="118" y="317"/>
                  </a:lnTo>
                  <a:lnTo>
                    <a:pt x="118" y="317"/>
                  </a:lnTo>
                  <a:lnTo>
                    <a:pt x="120" y="317"/>
                  </a:lnTo>
                  <a:lnTo>
                    <a:pt x="123" y="317"/>
                  </a:lnTo>
                  <a:lnTo>
                    <a:pt x="130" y="314"/>
                  </a:lnTo>
                  <a:lnTo>
                    <a:pt x="135" y="312"/>
                  </a:lnTo>
                  <a:lnTo>
                    <a:pt x="135" y="312"/>
                  </a:lnTo>
                  <a:lnTo>
                    <a:pt x="135" y="314"/>
                  </a:lnTo>
                  <a:lnTo>
                    <a:pt x="132" y="314"/>
                  </a:lnTo>
                  <a:lnTo>
                    <a:pt x="132" y="314"/>
                  </a:lnTo>
                  <a:lnTo>
                    <a:pt x="135" y="314"/>
                  </a:lnTo>
                  <a:lnTo>
                    <a:pt x="137" y="314"/>
                  </a:lnTo>
                  <a:lnTo>
                    <a:pt x="135" y="317"/>
                  </a:lnTo>
                  <a:lnTo>
                    <a:pt x="130" y="317"/>
                  </a:lnTo>
                  <a:lnTo>
                    <a:pt x="130" y="317"/>
                  </a:lnTo>
                  <a:lnTo>
                    <a:pt x="125" y="317"/>
                  </a:lnTo>
                  <a:lnTo>
                    <a:pt x="120" y="317"/>
                  </a:lnTo>
                  <a:lnTo>
                    <a:pt x="116" y="319"/>
                  </a:lnTo>
                  <a:lnTo>
                    <a:pt x="116" y="322"/>
                  </a:lnTo>
                  <a:lnTo>
                    <a:pt x="113" y="324"/>
                  </a:lnTo>
                  <a:lnTo>
                    <a:pt x="113" y="326"/>
                  </a:lnTo>
                  <a:lnTo>
                    <a:pt x="116" y="329"/>
                  </a:lnTo>
                  <a:lnTo>
                    <a:pt x="116" y="333"/>
                  </a:lnTo>
                  <a:lnTo>
                    <a:pt x="118" y="336"/>
                  </a:lnTo>
                  <a:lnTo>
                    <a:pt x="118" y="336"/>
                  </a:lnTo>
                  <a:lnTo>
                    <a:pt x="118" y="336"/>
                  </a:lnTo>
                  <a:lnTo>
                    <a:pt x="120" y="338"/>
                  </a:lnTo>
                  <a:lnTo>
                    <a:pt x="120" y="338"/>
                  </a:lnTo>
                  <a:lnTo>
                    <a:pt x="120" y="338"/>
                  </a:lnTo>
                  <a:lnTo>
                    <a:pt x="120" y="340"/>
                  </a:lnTo>
                  <a:lnTo>
                    <a:pt x="120" y="340"/>
                  </a:lnTo>
                  <a:lnTo>
                    <a:pt x="123" y="340"/>
                  </a:lnTo>
                  <a:lnTo>
                    <a:pt x="128" y="338"/>
                  </a:lnTo>
                  <a:lnTo>
                    <a:pt x="132" y="336"/>
                  </a:lnTo>
                  <a:lnTo>
                    <a:pt x="128" y="340"/>
                  </a:lnTo>
                  <a:lnTo>
                    <a:pt x="125" y="340"/>
                  </a:lnTo>
                  <a:lnTo>
                    <a:pt x="123" y="343"/>
                  </a:lnTo>
                  <a:lnTo>
                    <a:pt x="123" y="343"/>
                  </a:lnTo>
                  <a:lnTo>
                    <a:pt x="120" y="345"/>
                  </a:lnTo>
                  <a:lnTo>
                    <a:pt x="120" y="348"/>
                  </a:lnTo>
                  <a:lnTo>
                    <a:pt x="120" y="348"/>
                  </a:lnTo>
                  <a:lnTo>
                    <a:pt x="120" y="348"/>
                  </a:lnTo>
                  <a:lnTo>
                    <a:pt x="120" y="350"/>
                  </a:lnTo>
                  <a:lnTo>
                    <a:pt x="123" y="350"/>
                  </a:lnTo>
                  <a:lnTo>
                    <a:pt x="123" y="350"/>
                  </a:lnTo>
                  <a:lnTo>
                    <a:pt x="125" y="352"/>
                  </a:lnTo>
                  <a:lnTo>
                    <a:pt x="128" y="352"/>
                  </a:lnTo>
                  <a:lnTo>
                    <a:pt x="128" y="352"/>
                  </a:lnTo>
                  <a:lnTo>
                    <a:pt x="125" y="355"/>
                  </a:lnTo>
                  <a:lnTo>
                    <a:pt x="125" y="355"/>
                  </a:lnTo>
                  <a:lnTo>
                    <a:pt x="125" y="357"/>
                  </a:lnTo>
                  <a:lnTo>
                    <a:pt x="125" y="357"/>
                  </a:lnTo>
                  <a:lnTo>
                    <a:pt x="130" y="357"/>
                  </a:lnTo>
                  <a:lnTo>
                    <a:pt x="130" y="355"/>
                  </a:lnTo>
                  <a:lnTo>
                    <a:pt x="132" y="355"/>
                  </a:lnTo>
                  <a:lnTo>
                    <a:pt x="135" y="355"/>
                  </a:lnTo>
                  <a:lnTo>
                    <a:pt x="135" y="355"/>
                  </a:lnTo>
                  <a:lnTo>
                    <a:pt x="137" y="355"/>
                  </a:lnTo>
                  <a:lnTo>
                    <a:pt x="135" y="357"/>
                  </a:lnTo>
                  <a:lnTo>
                    <a:pt x="135" y="357"/>
                  </a:lnTo>
                  <a:lnTo>
                    <a:pt x="132" y="357"/>
                  </a:lnTo>
                  <a:lnTo>
                    <a:pt x="130" y="357"/>
                  </a:lnTo>
                  <a:lnTo>
                    <a:pt x="128" y="359"/>
                  </a:lnTo>
                  <a:lnTo>
                    <a:pt x="128" y="359"/>
                  </a:lnTo>
                  <a:lnTo>
                    <a:pt x="128" y="362"/>
                  </a:lnTo>
                  <a:lnTo>
                    <a:pt x="128" y="362"/>
                  </a:lnTo>
                  <a:lnTo>
                    <a:pt x="128" y="362"/>
                  </a:lnTo>
                  <a:lnTo>
                    <a:pt x="130" y="362"/>
                  </a:lnTo>
                  <a:lnTo>
                    <a:pt x="128" y="364"/>
                  </a:lnTo>
                  <a:lnTo>
                    <a:pt x="128" y="364"/>
                  </a:lnTo>
                  <a:lnTo>
                    <a:pt x="128" y="366"/>
                  </a:lnTo>
                  <a:lnTo>
                    <a:pt x="130" y="366"/>
                  </a:lnTo>
                  <a:lnTo>
                    <a:pt x="130" y="366"/>
                  </a:lnTo>
                  <a:lnTo>
                    <a:pt x="130" y="369"/>
                  </a:lnTo>
                  <a:lnTo>
                    <a:pt x="130" y="371"/>
                  </a:lnTo>
                  <a:lnTo>
                    <a:pt x="135" y="371"/>
                  </a:lnTo>
                  <a:lnTo>
                    <a:pt x="135" y="371"/>
                  </a:lnTo>
                  <a:lnTo>
                    <a:pt x="135" y="371"/>
                  </a:lnTo>
                  <a:lnTo>
                    <a:pt x="137" y="371"/>
                  </a:lnTo>
                  <a:lnTo>
                    <a:pt x="137" y="374"/>
                  </a:lnTo>
                  <a:lnTo>
                    <a:pt x="137" y="374"/>
                  </a:lnTo>
                  <a:lnTo>
                    <a:pt x="135" y="376"/>
                  </a:lnTo>
                  <a:lnTo>
                    <a:pt x="137" y="376"/>
                  </a:lnTo>
                  <a:lnTo>
                    <a:pt x="139" y="376"/>
                  </a:lnTo>
                  <a:lnTo>
                    <a:pt x="142" y="376"/>
                  </a:lnTo>
                  <a:lnTo>
                    <a:pt x="144" y="376"/>
                  </a:lnTo>
                  <a:lnTo>
                    <a:pt x="142" y="376"/>
                  </a:lnTo>
                  <a:lnTo>
                    <a:pt x="137" y="378"/>
                  </a:lnTo>
                  <a:lnTo>
                    <a:pt x="135" y="381"/>
                  </a:lnTo>
                  <a:lnTo>
                    <a:pt x="137" y="381"/>
                  </a:lnTo>
                  <a:lnTo>
                    <a:pt x="137" y="381"/>
                  </a:lnTo>
                  <a:lnTo>
                    <a:pt x="137" y="381"/>
                  </a:lnTo>
                  <a:lnTo>
                    <a:pt x="142" y="381"/>
                  </a:lnTo>
                  <a:lnTo>
                    <a:pt x="142" y="381"/>
                  </a:lnTo>
                  <a:lnTo>
                    <a:pt x="142" y="381"/>
                  </a:lnTo>
                  <a:lnTo>
                    <a:pt x="142" y="378"/>
                  </a:lnTo>
                  <a:lnTo>
                    <a:pt x="144" y="378"/>
                  </a:lnTo>
                  <a:lnTo>
                    <a:pt x="146" y="378"/>
                  </a:lnTo>
                  <a:lnTo>
                    <a:pt x="146" y="378"/>
                  </a:lnTo>
                  <a:lnTo>
                    <a:pt x="149" y="381"/>
                  </a:lnTo>
                  <a:lnTo>
                    <a:pt x="151" y="381"/>
                  </a:lnTo>
                  <a:lnTo>
                    <a:pt x="151" y="378"/>
                  </a:lnTo>
                  <a:lnTo>
                    <a:pt x="153" y="378"/>
                  </a:lnTo>
                  <a:lnTo>
                    <a:pt x="156" y="378"/>
                  </a:lnTo>
                  <a:lnTo>
                    <a:pt x="158" y="378"/>
                  </a:lnTo>
                  <a:lnTo>
                    <a:pt x="158" y="378"/>
                  </a:lnTo>
                  <a:lnTo>
                    <a:pt x="161" y="376"/>
                  </a:lnTo>
                  <a:lnTo>
                    <a:pt x="165" y="376"/>
                  </a:lnTo>
                  <a:lnTo>
                    <a:pt x="170" y="374"/>
                  </a:lnTo>
                  <a:lnTo>
                    <a:pt x="172" y="374"/>
                  </a:lnTo>
                  <a:lnTo>
                    <a:pt x="172" y="374"/>
                  </a:lnTo>
                  <a:lnTo>
                    <a:pt x="172" y="371"/>
                  </a:lnTo>
                  <a:lnTo>
                    <a:pt x="175" y="371"/>
                  </a:lnTo>
                  <a:lnTo>
                    <a:pt x="175" y="371"/>
                  </a:lnTo>
                  <a:lnTo>
                    <a:pt x="172" y="374"/>
                  </a:lnTo>
                  <a:lnTo>
                    <a:pt x="172" y="376"/>
                  </a:lnTo>
                  <a:lnTo>
                    <a:pt x="170" y="376"/>
                  </a:lnTo>
                  <a:lnTo>
                    <a:pt x="165" y="381"/>
                  </a:lnTo>
                  <a:lnTo>
                    <a:pt x="165" y="383"/>
                  </a:lnTo>
                  <a:lnTo>
                    <a:pt x="168" y="383"/>
                  </a:lnTo>
                  <a:lnTo>
                    <a:pt x="168" y="383"/>
                  </a:lnTo>
                  <a:lnTo>
                    <a:pt x="170" y="385"/>
                  </a:lnTo>
                  <a:lnTo>
                    <a:pt x="172" y="385"/>
                  </a:lnTo>
                  <a:lnTo>
                    <a:pt x="175" y="385"/>
                  </a:lnTo>
                  <a:lnTo>
                    <a:pt x="175" y="385"/>
                  </a:lnTo>
                  <a:lnTo>
                    <a:pt x="177" y="385"/>
                  </a:lnTo>
                  <a:lnTo>
                    <a:pt x="179" y="385"/>
                  </a:lnTo>
                  <a:lnTo>
                    <a:pt x="186" y="383"/>
                  </a:lnTo>
                  <a:lnTo>
                    <a:pt x="186" y="383"/>
                  </a:lnTo>
                  <a:lnTo>
                    <a:pt x="184" y="385"/>
                  </a:lnTo>
                  <a:lnTo>
                    <a:pt x="182" y="385"/>
                  </a:lnTo>
                  <a:lnTo>
                    <a:pt x="179" y="388"/>
                  </a:lnTo>
                  <a:lnTo>
                    <a:pt x="177" y="388"/>
                  </a:lnTo>
                  <a:lnTo>
                    <a:pt x="175" y="388"/>
                  </a:lnTo>
                  <a:lnTo>
                    <a:pt x="175" y="390"/>
                  </a:lnTo>
                  <a:lnTo>
                    <a:pt x="172" y="390"/>
                  </a:lnTo>
                  <a:lnTo>
                    <a:pt x="179" y="395"/>
                  </a:lnTo>
                  <a:lnTo>
                    <a:pt x="182" y="395"/>
                  </a:lnTo>
                  <a:lnTo>
                    <a:pt x="184" y="395"/>
                  </a:lnTo>
                  <a:lnTo>
                    <a:pt x="186" y="393"/>
                  </a:lnTo>
                  <a:lnTo>
                    <a:pt x="189" y="390"/>
                  </a:lnTo>
                  <a:lnTo>
                    <a:pt x="191" y="390"/>
                  </a:lnTo>
                  <a:lnTo>
                    <a:pt x="191" y="390"/>
                  </a:lnTo>
                  <a:lnTo>
                    <a:pt x="189" y="393"/>
                  </a:lnTo>
                  <a:lnTo>
                    <a:pt x="186" y="395"/>
                  </a:lnTo>
                  <a:lnTo>
                    <a:pt x="184" y="395"/>
                  </a:lnTo>
                  <a:lnTo>
                    <a:pt x="184" y="397"/>
                  </a:lnTo>
                  <a:lnTo>
                    <a:pt x="184" y="397"/>
                  </a:lnTo>
                  <a:lnTo>
                    <a:pt x="186" y="397"/>
                  </a:lnTo>
                  <a:lnTo>
                    <a:pt x="186" y="397"/>
                  </a:lnTo>
                  <a:lnTo>
                    <a:pt x="189" y="397"/>
                  </a:lnTo>
                  <a:lnTo>
                    <a:pt x="191" y="397"/>
                  </a:lnTo>
                  <a:lnTo>
                    <a:pt x="189" y="397"/>
                  </a:lnTo>
                  <a:lnTo>
                    <a:pt x="189" y="397"/>
                  </a:lnTo>
                  <a:lnTo>
                    <a:pt x="191" y="400"/>
                  </a:lnTo>
                  <a:lnTo>
                    <a:pt x="194" y="397"/>
                  </a:lnTo>
                  <a:lnTo>
                    <a:pt x="196" y="397"/>
                  </a:lnTo>
                  <a:lnTo>
                    <a:pt x="196" y="397"/>
                  </a:lnTo>
                  <a:lnTo>
                    <a:pt x="196" y="397"/>
                  </a:lnTo>
                  <a:lnTo>
                    <a:pt x="194" y="395"/>
                  </a:lnTo>
                  <a:lnTo>
                    <a:pt x="194" y="395"/>
                  </a:lnTo>
                  <a:lnTo>
                    <a:pt x="196" y="395"/>
                  </a:lnTo>
                  <a:lnTo>
                    <a:pt x="196" y="397"/>
                  </a:lnTo>
                  <a:lnTo>
                    <a:pt x="201" y="397"/>
                  </a:lnTo>
                  <a:lnTo>
                    <a:pt x="203" y="395"/>
                  </a:lnTo>
                  <a:lnTo>
                    <a:pt x="205" y="395"/>
                  </a:lnTo>
                  <a:lnTo>
                    <a:pt x="205" y="390"/>
                  </a:lnTo>
                  <a:lnTo>
                    <a:pt x="205" y="390"/>
                  </a:lnTo>
                  <a:lnTo>
                    <a:pt x="208" y="388"/>
                  </a:lnTo>
                  <a:lnTo>
                    <a:pt x="205" y="388"/>
                  </a:lnTo>
                  <a:lnTo>
                    <a:pt x="205" y="385"/>
                  </a:lnTo>
                  <a:lnTo>
                    <a:pt x="203" y="385"/>
                  </a:lnTo>
                  <a:lnTo>
                    <a:pt x="201" y="385"/>
                  </a:lnTo>
                  <a:lnTo>
                    <a:pt x="198" y="385"/>
                  </a:lnTo>
                  <a:lnTo>
                    <a:pt x="196" y="383"/>
                  </a:lnTo>
                  <a:lnTo>
                    <a:pt x="198" y="383"/>
                  </a:lnTo>
                  <a:lnTo>
                    <a:pt x="198" y="383"/>
                  </a:lnTo>
                  <a:lnTo>
                    <a:pt x="203" y="383"/>
                  </a:lnTo>
                  <a:lnTo>
                    <a:pt x="205" y="385"/>
                  </a:lnTo>
                  <a:lnTo>
                    <a:pt x="208" y="385"/>
                  </a:lnTo>
                  <a:lnTo>
                    <a:pt x="208" y="385"/>
                  </a:lnTo>
                  <a:lnTo>
                    <a:pt x="210" y="385"/>
                  </a:lnTo>
                  <a:lnTo>
                    <a:pt x="217" y="381"/>
                  </a:lnTo>
                  <a:lnTo>
                    <a:pt x="219" y="374"/>
                  </a:lnTo>
                  <a:lnTo>
                    <a:pt x="224" y="369"/>
                  </a:lnTo>
                  <a:lnTo>
                    <a:pt x="227" y="366"/>
                  </a:lnTo>
                  <a:lnTo>
                    <a:pt x="229" y="364"/>
                  </a:lnTo>
                  <a:lnTo>
                    <a:pt x="229" y="362"/>
                  </a:lnTo>
                  <a:lnTo>
                    <a:pt x="227" y="362"/>
                  </a:lnTo>
                  <a:lnTo>
                    <a:pt x="227" y="362"/>
                  </a:lnTo>
                  <a:lnTo>
                    <a:pt x="229" y="362"/>
                  </a:lnTo>
                  <a:lnTo>
                    <a:pt x="231" y="362"/>
                  </a:lnTo>
                  <a:lnTo>
                    <a:pt x="234" y="359"/>
                  </a:lnTo>
                  <a:lnTo>
                    <a:pt x="234" y="357"/>
                  </a:lnTo>
                  <a:lnTo>
                    <a:pt x="234" y="357"/>
                  </a:lnTo>
                  <a:lnTo>
                    <a:pt x="234" y="355"/>
                  </a:lnTo>
                  <a:lnTo>
                    <a:pt x="234" y="355"/>
                  </a:lnTo>
                  <a:lnTo>
                    <a:pt x="236" y="352"/>
                  </a:lnTo>
                  <a:lnTo>
                    <a:pt x="236" y="350"/>
                  </a:lnTo>
                  <a:lnTo>
                    <a:pt x="236" y="350"/>
                  </a:lnTo>
                  <a:lnTo>
                    <a:pt x="236" y="348"/>
                  </a:lnTo>
                  <a:lnTo>
                    <a:pt x="238" y="348"/>
                  </a:lnTo>
                  <a:lnTo>
                    <a:pt x="238" y="345"/>
                  </a:lnTo>
                  <a:lnTo>
                    <a:pt x="234" y="345"/>
                  </a:lnTo>
                  <a:lnTo>
                    <a:pt x="231" y="345"/>
                  </a:lnTo>
                  <a:lnTo>
                    <a:pt x="229" y="343"/>
                  </a:lnTo>
                  <a:lnTo>
                    <a:pt x="229" y="343"/>
                  </a:lnTo>
                  <a:lnTo>
                    <a:pt x="229" y="343"/>
                  </a:lnTo>
                  <a:lnTo>
                    <a:pt x="231" y="343"/>
                  </a:lnTo>
                  <a:lnTo>
                    <a:pt x="236" y="343"/>
                  </a:lnTo>
                  <a:lnTo>
                    <a:pt x="238" y="343"/>
                  </a:lnTo>
                  <a:lnTo>
                    <a:pt x="241" y="343"/>
                  </a:lnTo>
                  <a:lnTo>
                    <a:pt x="243" y="343"/>
                  </a:lnTo>
                  <a:lnTo>
                    <a:pt x="243" y="343"/>
                  </a:lnTo>
                  <a:lnTo>
                    <a:pt x="248" y="340"/>
                  </a:lnTo>
                  <a:lnTo>
                    <a:pt x="248" y="340"/>
                  </a:lnTo>
                  <a:lnTo>
                    <a:pt x="250" y="338"/>
                  </a:lnTo>
                  <a:lnTo>
                    <a:pt x="245" y="336"/>
                  </a:lnTo>
                  <a:lnTo>
                    <a:pt x="243" y="336"/>
                  </a:lnTo>
                  <a:lnTo>
                    <a:pt x="243" y="336"/>
                  </a:lnTo>
                  <a:lnTo>
                    <a:pt x="243" y="333"/>
                  </a:lnTo>
                  <a:lnTo>
                    <a:pt x="245" y="333"/>
                  </a:lnTo>
                  <a:lnTo>
                    <a:pt x="245" y="336"/>
                  </a:lnTo>
                  <a:lnTo>
                    <a:pt x="248" y="336"/>
                  </a:lnTo>
                  <a:lnTo>
                    <a:pt x="250" y="336"/>
                  </a:lnTo>
                  <a:lnTo>
                    <a:pt x="252" y="336"/>
                  </a:lnTo>
                  <a:lnTo>
                    <a:pt x="252" y="336"/>
                  </a:lnTo>
                  <a:lnTo>
                    <a:pt x="255" y="336"/>
                  </a:lnTo>
                  <a:lnTo>
                    <a:pt x="257" y="333"/>
                  </a:lnTo>
                  <a:lnTo>
                    <a:pt x="260" y="333"/>
                  </a:lnTo>
                  <a:lnTo>
                    <a:pt x="260" y="331"/>
                  </a:lnTo>
                  <a:lnTo>
                    <a:pt x="260" y="331"/>
                  </a:lnTo>
                  <a:lnTo>
                    <a:pt x="262" y="331"/>
                  </a:lnTo>
                  <a:lnTo>
                    <a:pt x="262" y="329"/>
                  </a:lnTo>
                  <a:lnTo>
                    <a:pt x="264" y="329"/>
                  </a:lnTo>
                  <a:lnTo>
                    <a:pt x="267" y="329"/>
                  </a:lnTo>
                  <a:lnTo>
                    <a:pt x="267" y="326"/>
                  </a:lnTo>
                  <a:lnTo>
                    <a:pt x="271" y="324"/>
                  </a:lnTo>
                  <a:lnTo>
                    <a:pt x="271" y="324"/>
                  </a:lnTo>
                  <a:lnTo>
                    <a:pt x="271" y="319"/>
                  </a:lnTo>
                  <a:lnTo>
                    <a:pt x="274" y="317"/>
                  </a:lnTo>
                  <a:lnTo>
                    <a:pt x="269" y="317"/>
                  </a:lnTo>
                  <a:lnTo>
                    <a:pt x="269" y="317"/>
                  </a:lnTo>
                  <a:lnTo>
                    <a:pt x="267" y="317"/>
                  </a:lnTo>
                  <a:lnTo>
                    <a:pt x="264" y="314"/>
                  </a:lnTo>
                  <a:lnTo>
                    <a:pt x="260" y="314"/>
                  </a:lnTo>
                  <a:lnTo>
                    <a:pt x="267" y="314"/>
                  </a:lnTo>
                  <a:lnTo>
                    <a:pt x="267" y="314"/>
                  </a:lnTo>
                  <a:lnTo>
                    <a:pt x="269" y="314"/>
                  </a:lnTo>
                  <a:lnTo>
                    <a:pt x="271" y="314"/>
                  </a:lnTo>
                  <a:lnTo>
                    <a:pt x="274" y="314"/>
                  </a:lnTo>
                  <a:lnTo>
                    <a:pt x="274" y="312"/>
                  </a:lnTo>
                  <a:lnTo>
                    <a:pt x="276" y="312"/>
                  </a:lnTo>
                  <a:lnTo>
                    <a:pt x="281" y="312"/>
                  </a:lnTo>
                  <a:lnTo>
                    <a:pt x="281" y="310"/>
                  </a:lnTo>
                  <a:lnTo>
                    <a:pt x="281" y="310"/>
                  </a:lnTo>
                  <a:lnTo>
                    <a:pt x="281" y="307"/>
                  </a:lnTo>
                  <a:lnTo>
                    <a:pt x="278" y="307"/>
                  </a:lnTo>
                  <a:lnTo>
                    <a:pt x="278" y="303"/>
                  </a:lnTo>
                  <a:lnTo>
                    <a:pt x="278" y="303"/>
                  </a:lnTo>
                  <a:lnTo>
                    <a:pt x="276" y="303"/>
                  </a:lnTo>
                  <a:lnTo>
                    <a:pt x="274" y="303"/>
                  </a:lnTo>
                  <a:lnTo>
                    <a:pt x="274" y="300"/>
                  </a:lnTo>
                  <a:lnTo>
                    <a:pt x="274" y="300"/>
                  </a:lnTo>
                  <a:lnTo>
                    <a:pt x="274" y="298"/>
                  </a:lnTo>
                  <a:lnTo>
                    <a:pt x="276" y="298"/>
                  </a:lnTo>
                  <a:lnTo>
                    <a:pt x="278" y="298"/>
                  </a:lnTo>
                  <a:lnTo>
                    <a:pt x="285" y="300"/>
                  </a:lnTo>
                  <a:lnTo>
                    <a:pt x="288" y="298"/>
                  </a:lnTo>
                  <a:lnTo>
                    <a:pt x="290" y="298"/>
                  </a:lnTo>
                  <a:lnTo>
                    <a:pt x="292" y="296"/>
                  </a:lnTo>
                  <a:lnTo>
                    <a:pt x="295" y="296"/>
                  </a:lnTo>
                  <a:lnTo>
                    <a:pt x="297" y="293"/>
                  </a:lnTo>
                  <a:lnTo>
                    <a:pt x="295" y="293"/>
                  </a:lnTo>
                  <a:lnTo>
                    <a:pt x="290" y="291"/>
                  </a:lnTo>
                  <a:lnTo>
                    <a:pt x="290" y="291"/>
                  </a:lnTo>
                  <a:lnTo>
                    <a:pt x="292" y="291"/>
                  </a:lnTo>
                  <a:lnTo>
                    <a:pt x="300" y="288"/>
                  </a:lnTo>
                  <a:lnTo>
                    <a:pt x="304" y="288"/>
                  </a:lnTo>
                  <a:lnTo>
                    <a:pt x="311" y="288"/>
                  </a:lnTo>
                  <a:lnTo>
                    <a:pt x="318" y="286"/>
                  </a:lnTo>
                  <a:lnTo>
                    <a:pt x="318" y="286"/>
                  </a:lnTo>
                  <a:lnTo>
                    <a:pt x="318" y="284"/>
                  </a:lnTo>
                  <a:lnTo>
                    <a:pt x="316" y="284"/>
                  </a:lnTo>
                  <a:lnTo>
                    <a:pt x="316" y="281"/>
                  </a:lnTo>
                  <a:lnTo>
                    <a:pt x="318" y="281"/>
                  </a:lnTo>
                  <a:lnTo>
                    <a:pt x="321" y="284"/>
                  </a:lnTo>
                  <a:lnTo>
                    <a:pt x="323" y="281"/>
                  </a:lnTo>
                  <a:lnTo>
                    <a:pt x="325" y="279"/>
                  </a:lnTo>
                  <a:lnTo>
                    <a:pt x="328" y="279"/>
                  </a:lnTo>
                  <a:lnTo>
                    <a:pt x="328" y="277"/>
                  </a:lnTo>
                  <a:lnTo>
                    <a:pt x="325" y="277"/>
                  </a:lnTo>
                  <a:lnTo>
                    <a:pt x="323" y="274"/>
                  </a:lnTo>
                  <a:lnTo>
                    <a:pt x="325" y="274"/>
                  </a:lnTo>
                  <a:lnTo>
                    <a:pt x="328" y="274"/>
                  </a:lnTo>
                  <a:lnTo>
                    <a:pt x="333" y="274"/>
                  </a:lnTo>
                  <a:lnTo>
                    <a:pt x="335" y="277"/>
                  </a:lnTo>
                  <a:lnTo>
                    <a:pt x="335" y="277"/>
                  </a:lnTo>
                  <a:lnTo>
                    <a:pt x="333" y="279"/>
                  </a:lnTo>
                  <a:lnTo>
                    <a:pt x="325" y="281"/>
                  </a:lnTo>
                  <a:lnTo>
                    <a:pt x="325" y="284"/>
                  </a:lnTo>
                  <a:lnTo>
                    <a:pt x="325" y="284"/>
                  </a:lnTo>
                  <a:lnTo>
                    <a:pt x="325" y="286"/>
                  </a:lnTo>
                  <a:lnTo>
                    <a:pt x="321" y="286"/>
                  </a:lnTo>
                  <a:lnTo>
                    <a:pt x="321" y="288"/>
                  </a:lnTo>
                  <a:lnTo>
                    <a:pt x="323" y="288"/>
                  </a:lnTo>
                  <a:lnTo>
                    <a:pt x="325" y="288"/>
                  </a:lnTo>
                  <a:lnTo>
                    <a:pt x="328" y="288"/>
                  </a:lnTo>
                  <a:lnTo>
                    <a:pt x="330" y="288"/>
                  </a:lnTo>
                  <a:lnTo>
                    <a:pt x="330" y="286"/>
                  </a:lnTo>
                  <a:lnTo>
                    <a:pt x="333" y="286"/>
                  </a:lnTo>
                  <a:lnTo>
                    <a:pt x="333" y="286"/>
                  </a:lnTo>
                  <a:lnTo>
                    <a:pt x="335" y="284"/>
                  </a:lnTo>
                  <a:lnTo>
                    <a:pt x="335" y="284"/>
                  </a:lnTo>
                  <a:lnTo>
                    <a:pt x="337" y="286"/>
                  </a:lnTo>
                  <a:lnTo>
                    <a:pt x="337" y="286"/>
                  </a:lnTo>
                  <a:lnTo>
                    <a:pt x="340" y="286"/>
                  </a:lnTo>
                  <a:lnTo>
                    <a:pt x="340" y="286"/>
                  </a:lnTo>
                  <a:lnTo>
                    <a:pt x="342" y="286"/>
                  </a:lnTo>
                  <a:lnTo>
                    <a:pt x="344" y="284"/>
                  </a:lnTo>
                  <a:lnTo>
                    <a:pt x="344" y="281"/>
                  </a:lnTo>
                  <a:lnTo>
                    <a:pt x="344" y="281"/>
                  </a:lnTo>
                  <a:lnTo>
                    <a:pt x="347" y="281"/>
                  </a:lnTo>
                  <a:lnTo>
                    <a:pt x="344" y="284"/>
                  </a:lnTo>
                  <a:lnTo>
                    <a:pt x="344" y="284"/>
                  </a:lnTo>
                  <a:lnTo>
                    <a:pt x="347" y="284"/>
                  </a:lnTo>
                  <a:lnTo>
                    <a:pt x="351" y="281"/>
                  </a:lnTo>
                  <a:lnTo>
                    <a:pt x="354" y="281"/>
                  </a:lnTo>
                  <a:lnTo>
                    <a:pt x="356" y="279"/>
                  </a:lnTo>
                  <a:lnTo>
                    <a:pt x="358" y="279"/>
                  </a:lnTo>
                  <a:lnTo>
                    <a:pt x="356" y="277"/>
                  </a:lnTo>
                  <a:lnTo>
                    <a:pt x="356" y="274"/>
                  </a:lnTo>
                  <a:lnTo>
                    <a:pt x="356" y="274"/>
                  </a:lnTo>
                  <a:lnTo>
                    <a:pt x="356" y="274"/>
                  </a:lnTo>
                  <a:lnTo>
                    <a:pt x="356" y="274"/>
                  </a:lnTo>
                  <a:lnTo>
                    <a:pt x="358" y="274"/>
                  </a:lnTo>
                  <a:lnTo>
                    <a:pt x="358" y="277"/>
                  </a:lnTo>
                  <a:lnTo>
                    <a:pt x="361" y="277"/>
                  </a:lnTo>
                  <a:lnTo>
                    <a:pt x="363" y="277"/>
                  </a:lnTo>
                  <a:lnTo>
                    <a:pt x="366" y="277"/>
                  </a:lnTo>
                  <a:lnTo>
                    <a:pt x="366" y="277"/>
                  </a:lnTo>
                  <a:lnTo>
                    <a:pt x="373" y="274"/>
                  </a:lnTo>
                  <a:lnTo>
                    <a:pt x="375" y="274"/>
                  </a:lnTo>
                  <a:lnTo>
                    <a:pt x="375" y="272"/>
                  </a:lnTo>
                  <a:lnTo>
                    <a:pt x="377" y="272"/>
                  </a:lnTo>
                  <a:lnTo>
                    <a:pt x="377" y="270"/>
                  </a:lnTo>
                  <a:lnTo>
                    <a:pt x="380" y="270"/>
                  </a:lnTo>
                  <a:lnTo>
                    <a:pt x="380" y="270"/>
                  </a:lnTo>
                  <a:lnTo>
                    <a:pt x="382" y="270"/>
                  </a:lnTo>
                  <a:lnTo>
                    <a:pt x="382" y="270"/>
                  </a:lnTo>
                  <a:lnTo>
                    <a:pt x="387" y="265"/>
                  </a:lnTo>
                  <a:lnTo>
                    <a:pt x="394" y="260"/>
                  </a:lnTo>
                  <a:lnTo>
                    <a:pt x="394" y="258"/>
                  </a:lnTo>
                  <a:lnTo>
                    <a:pt x="396" y="258"/>
                  </a:lnTo>
                  <a:lnTo>
                    <a:pt x="396" y="258"/>
                  </a:lnTo>
                  <a:lnTo>
                    <a:pt x="396" y="258"/>
                  </a:lnTo>
                  <a:lnTo>
                    <a:pt x="396" y="255"/>
                  </a:lnTo>
                  <a:lnTo>
                    <a:pt x="399" y="255"/>
                  </a:lnTo>
                  <a:lnTo>
                    <a:pt x="399" y="255"/>
                  </a:lnTo>
                  <a:lnTo>
                    <a:pt x="401" y="253"/>
                  </a:lnTo>
                  <a:lnTo>
                    <a:pt x="403" y="251"/>
                  </a:lnTo>
                  <a:lnTo>
                    <a:pt x="403" y="251"/>
                  </a:lnTo>
                  <a:lnTo>
                    <a:pt x="406" y="251"/>
                  </a:lnTo>
                  <a:lnTo>
                    <a:pt x="413" y="248"/>
                  </a:lnTo>
                  <a:lnTo>
                    <a:pt x="415" y="248"/>
                  </a:lnTo>
                  <a:lnTo>
                    <a:pt x="415" y="246"/>
                  </a:lnTo>
                  <a:lnTo>
                    <a:pt x="417" y="246"/>
                  </a:lnTo>
                  <a:lnTo>
                    <a:pt x="420" y="244"/>
                  </a:lnTo>
                  <a:lnTo>
                    <a:pt x="417" y="244"/>
                  </a:lnTo>
                  <a:lnTo>
                    <a:pt x="417" y="241"/>
                  </a:lnTo>
                  <a:lnTo>
                    <a:pt x="417" y="241"/>
                  </a:lnTo>
                  <a:lnTo>
                    <a:pt x="417" y="241"/>
                  </a:lnTo>
                  <a:lnTo>
                    <a:pt x="420" y="241"/>
                  </a:lnTo>
                  <a:lnTo>
                    <a:pt x="420" y="241"/>
                  </a:lnTo>
                  <a:lnTo>
                    <a:pt x="420" y="241"/>
                  </a:lnTo>
                  <a:lnTo>
                    <a:pt x="420" y="239"/>
                  </a:lnTo>
                  <a:lnTo>
                    <a:pt x="420" y="239"/>
                  </a:lnTo>
                  <a:lnTo>
                    <a:pt x="420" y="236"/>
                  </a:lnTo>
                  <a:lnTo>
                    <a:pt x="422" y="239"/>
                  </a:lnTo>
                  <a:lnTo>
                    <a:pt x="424" y="241"/>
                  </a:lnTo>
                  <a:lnTo>
                    <a:pt x="429" y="244"/>
                  </a:lnTo>
                  <a:lnTo>
                    <a:pt x="432" y="244"/>
                  </a:lnTo>
                  <a:lnTo>
                    <a:pt x="434" y="244"/>
                  </a:lnTo>
                  <a:lnTo>
                    <a:pt x="436" y="244"/>
                  </a:lnTo>
                  <a:lnTo>
                    <a:pt x="441" y="244"/>
                  </a:lnTo>
                  <a:lnTo>
                    <a:pt x="441" y="244"/>
                  </a:lnTo>
                  <a:lnTo>
                    <a:pt x="439" y="241"/>
                  </a:lnTo>
                  <a:lnTo>
                    <a:pt x="439" y="241"/>
                  </a:lnTo>
                  <a:lnTo>
                    <a:pt x="446" y="241"/>
                  </a:lnTo>
                  <a:lnTo>
                    <a:pt x="446" y="241"/>
                  </a:lnTo>
                  <a:lnTo>
                    <a:pt x="448" y="241"/>
                  </a:lnTo>
                  <a:lnTo>
                    <a:pt x="450" y="239"/>
                  </a:lnTo>
                  <a:lnTo>
                    <a:pt x="450" y="239"/>
                  </a:lnTo>
                  <a:lnTo>
                    <a:pt x="453" y="239"/>
                  </a:lnTo>
                  <a:lnTo>
                    <a:pt x="457" y="241"/>
                  </a:lnTo>
                  <a:lnTo>
                    <a:pt x="460" y="239"/>
                  </a:lnTo>
                  <a:lnTo>
                    <a:pt x="462" y="239"/>
                  </a:lnTo>
                  <a:lnTo>
                    <a:pt x="465" y="239"/>
                  </a:lnTo>
                  <a:lnTo>
                    <a:pt x="474" y="236"/>
                  </a:lnTo>
                  <a:lnTo>
                    <a:pt x="476" y="236"/>
                  </a:lnTo>
                  <a:lnTo>
                    <a:pt x="481" y="236"/>
                  </a:lnTo>
                  <a:lnTo>
                    <a:pt x="488" y="234"/>
                  </a:lnTo>
                  <a:lnTo>
                    <a:pt x="490" y="234"/>
                  </a:lnTo>
                  <a:lnTo>
                    <a:pt x="495" y="234"/>
                  </a:lnTo>
                  <a:lnTo>
                    <a:pt x="498" y="234"/>
                  </a:lnTo>
                  <a:lnTo>
                    <a:pt x="500" y="234"/>
                  </a:lnTo>
                  <a:lnTo>
                    <a:pt x="502" y="232"/>
                  </a:lnTo>
                  <a:lnTo>
                    <a:pt x="505" y="232"/>
                  </a:lnTo>
                  <a:lnTo>
                    <a:pt x="505" y="232"/>
                  </a:lnTo>
                  <a:lnTo>
                    <a:pt x="507" y="232"/>
                  </a:lnTo>
                  <a:lnTo>
                    <a:pt x="512" y="229"/>
                  </a:lnTo>
                  <a:lnTo>
                    <a:pt x="512" y="229"/>
                  </a:lnTo>
                  <a:lnTo>
                    <a:pt x="514" y="229"/>
                  </a:lnTo>
                  <a:lnTo>
                    <a:pt x="514" y="227"/>
                  </a:lnTo>
                  <a:lnTo>
                    <a:pt x="514" y="227"/>
                  </a:lnTo>
                  <a:lnTo>
                    <a:pt x="519" y="225"/>
                  </a:lnTo>
                  <a:lnTo>
                    <a:pt x="521" y="225"/>
                  </a:lnTo>
                  <a:lnTo>
                    <a:pt x="521" y="225"/>
                  </a:lnTo>
                  <a:lnTo>
                    <a:pt x="521" y="222"/>
                  </a:lnTo>
                  <a:lnTo>
                    <a:pt x="521" y="222"/>
                  </a:lnTo>
                  <a:lnTo>
                    <a:pt x="526" y="222"/>
                  </a:lnTo>
                  <a:lnTo>
                    <a:pt x="526" y="222"/>
                  </a:lnTo>
                  <a:lnTo>
                    <a:pt x="531" y="220"/>
                  </a:lnTo>
                  <a:lnTo>
                    <a:pt x="533" y="220"/>
                  </a:lnTo>
                  <a:lnTo>
                    <a:pt x="535" y="220"/>
                  </a:lnTo>
                  <a:lnTo>
                    <a:pt x="535" y="218"/>
                  </a:lnTo>
                  <a:lnTo>
                    <a:pt x="535" y="218"/>
                  </a:lnTo>
                  <a:lnTo>
                    <a:pt x="535" y="218"/>
                  </a:lnTo>
                  <a:lnTo>
                    <a:pt x="535" y="218"/>
                  </a:lnTo>
                  <a:lnTo>
                    <a:pt x="540" y="218"/>
                  </a:lnTo>
                  <a:lnTo>
                    <a:pt x="540" y="218"/>
                  </a:lnTo>
                  <a:lnTo>
                    <a:pt x="542" y="218"/>
                  </a:lnTo>
                  <a:lnTo>
                    <a:pt x="542" y="215"/>
                  </a:lnTo>
                  <a:lnTo>
                    <a:pt x="542" y="215"/>
                  </a:lnTo>
                  <a:lnTo>
                    <a:pt x="542" y="215"/>
                  </a:lnTo>
                  <a:lnTo>
                    <a:pt x="540" y="215"/>
                  </a:lnTo>
                  <a:lnTo>
                    <a:pt x="542" y="215"/>
                  </a:lnTo>
                  <a:lnTo>
                    <a:pt x="545" y="215"/>
                  </a:lnTo>
                  <a:lnTo>
                    <a:pt x="549" y="213"/>
                  </a:lnTo>
                  <a:lnTo>
                    <a:pt x="552" y="213"/>
                  </a:lnTo>
                  <a:lnTo>
                    <a:pt x="552" y="213"/>
                  </a:lnTo>
                  <a:lnTo>
                    <a:pt x="552" y="213"/>
                  </a:lnTo>
                  <a:lnTo>
                    <a:pt x="554" y="210"/>
                  </a:lnTo>
                  <a:lnTo>
                    <a:pt x="556" y="210"/>
                  </a:lnTo>
                  <a:lnTo>
                    <a:pt x="556" y="210"/>
                  </a:lnTo>
                  <a:lnTo>
                    <a:pt x="559" y="210"/>
                  </a:lnTo>
                  <a:lnTo>
                    <a:pt x="561" y="210"/>
                  </a:lnTo>
                  <a:lnTo>
                    <a:pt x="564" y="208"/>
                  </a:lnTo>
                  <a:lnTo>
                    <a:pt x="564" y="208"/>
                  </a:lnTo>
                  <a:lnTo>
                    <a:pt x="566" y="208"/>
                  </a:lnTo>
                  <a:lnTo>
                    <a:pt x="564" y="208"/>
                  </a:lnTo>
                  <a:lnTo>
                    <a:pt x="552" y="208"/>
                  </a:lnTo>
                  <a:lnTo>
                    <a:pt x="547" y="208"/>
                  </a:lnTo>
                  <a:lnTo>
                    <a:pt x="540" y="206"/>
                  </a:lnTo>
                  <a:lnTo>
                    <a:pt x="533" y="203"/>
                  </a:lnTo>
                  <a:lnTo>
                    <a:pt x="521" y="203"/>
                  </a:lnTo>
                  <a:lnTo>
                    <a:pt x="521" y="203"/>
                  </a:lnTo>
                  <a:lnTo>
                    <a:pt x="514" y="206"/>
                  </a:lnTo>
                  <a:lnTo>
                    <a:pt x="509" y="206"/>
                  </a:lnTo>
                  <a:lnTo>
                    <a:pt x="505" y="206"/>
                  </a:lnTo>
                  <a:lnTo>
                    <a:pt x="502" y="206"/>
                  </a:lnTo>
                  <a:lnTo>
                    <a:pt x="500" y="208"/>
                  </a:lnTo>
                  <a:lnTo>
                    <a:pt x="498" y="208"/>
                  </a:lnTo>
                  <a:lnTo>
                    <a:pt x="495" y="210"/>
                  </a:lnTo>
                  <a:lnTo>
                    <a:pt x="493" y="208"/>
                  </a:lnTo>
                  <a:lnTo>
                    <a:pt x="493" y="208"/>
                  </a:lnTo>
                  <a:lnTo>
                    <a:pt x="498" y="206"/>
                  </a:lnTo>
                  <a:lnTo>
                    <a:pt x="500" y="206"/>
                  </a:lnTo>
                  <a:lnTo>
                    <a:pt x="502" y="206"/>
                  </a:lnTo>
                  <a:lnTo>
                    <a:pt x="505" y="203"/>
                  </a:lnTo>
                  <a:lnTo>
                    <a:pt x="509" y="203"/>
                  </a:lnTo>
                  <a:lnTo>
                    <a:pt x="509" y="203"/>
                  </a:lnTo>
                  <a:lnTo>
                    <a:pt x="509" y="201"/>
                  </a:lnTo>
                  <a:lnTo>
                    <a:pt x="509" y="201"/>
                  </a:lnTo>
                  <a:lnTo>
                    <a:pt x="507" y="201"/>
                  </a:lnTo>
                  <a:lnTo>
                    <a:pt x="507" y="201"/>
                  </a:lnTo>
                  <a:lnTo>
                    <a:pt x="495" y="203"/>
                  </a:lnTo>
                  <a:lnTo>
                    <a:pt x="490" y="203"/>
                  </a:lnTo>
                  <a:lnTo>
                    <a:pt x="483" y="201"/>
                  </a:lnTo>
                  <a:lnTo>
                    <a:pt x="481" y="201"/>
                  </a:lnTo>
                  <a:lnTo>
                    <a:pt x="476" y="201"/>
                  </a:lnTo>
                  <a:lnTo>
                    <a:pt x="476" y="201"/>
                  </a:lnTo>
                  <a:lnTo>
                    <a:pt x="476" y="201"/>
                  </a:lnTo>
                  <a:lnTo>
                    <a:pt x="483" y="201"/>
                  </a:lnTo>
                  <a:lnTo>
                    <a:pt x="486" y="199"/>
                  </a:lnTo>
                  <a:lnTo>
                    <a:pt x="490" y="199"/>
                  </a:lnTo>
                  <a:lnTo>
                    <a:pt x="490" y="199"/>
                  </a:lnTo>
                  <a:lnTo>
                    <a:pt x="490" y="196"/>
                  </a:lnTo>
                  <a:lnTo>
                    <a:pt x="493" y="194"/>
                  </a:lnTo>
                  <a:lnTo>
                    <a:pt x="493" y="194"/>
                  </a:lnTo>
                  <a:lnTo>
                    <a:pt x="490" y="194"/>
                  </a:lnTo>
                  <a:lnTo>
                    <a:pt x="490" y="194"/>
                  </a:lnTo>
                  <a:lnTo>
                    <a:pt x="488" y="192"/>
                  </a:lnTo>
                  <a:lnTo>
                    <a:pt x="490" y="192"/>
                  </a:lnTo>
                  <a:lnTo>
                    <a:pt x="495" y="192"/>
                  </a:lnTo>
                  <a:lnTo>
                    <a:pt x="498" y="192"/>
                  </a:lnTo>
                  <a:lnTo>
                    <a:pt x="502" y="194"/>
                  </a:lnTo>
                  <a:lnTo>
                    <a:pt x="505" y="194"/>
                  </a:lnTo>
                  <a:lnTo>
                    <a:pt x="509" y="194"/>
                  </a:lnTo>
                  <a:lnTo>
                    <a:pt x="512" y="194"/>
                  </a:lnTo>
                  <a:lnTo>
                    <a:pt x="519" y="192"/>
                  </a:lnTo>
                  <a:lnTo>
                    <a:pt x="521" y="192"/>
                  </a:lnTo>
                  <a:lnTo>
                    <a:pt x="523" y="189"/>
                  </a:lnTo>
                  <a:lnTo>
                    <a:pt x="526" y="187"/>
                  </a:lnTo>
                  <a:lnTo>
                    <a:pt x="526" y="187"/>
                  </a:lnTo>
                  <a:lnTo>
                    <a:pt x="526" y="184"/>
                  </a:lnTo>
                  <a:lnTo>
                    <a:pt x="526" y="184"/>
                  </a:lnTo>
                  <a:lnTo>
                    <a:pt x="521" y="184"/>
                  </a:lnTo>
                  <a:lnTo>
                    <a:pt x="516" y="184"/>
                  </a:lnTo>
                  <a:lnTo>
                    <a:pt x="514" y="184"/>
                  </a:lnTo>
                  <a:lnTo>
                    <a:pt x="509" y="182"/>
                  </a:lnTo>
                  <a:lnTo>
                    <a:pt x="509" y="182"/>
                  </a:lnTo>
                  <a:lnTo>
                    <a:pt x="509" y="182"/>
                  </a:lnTo>
                  <a:lnTo>
                    <a:pt x="509" y="182"/>
                  </a:lnTo>
                  <a:lnTo>
                    <a:pt x="514" y="182"/>
                  </a:lnTo>
                  <a:lnTo>
                    <a:pt x="521" y="182"/>
                  </a:lnTo>
                  <a:lnTo>
                    <a:pt x="526" y="182"/>
                  </a:lnTo>
                  <a:lnTo>
                    <a:pt x="528" y="182"/>
                  </a:lnTo>
                  <a:lnTo>
                    <a:pt x="531" y="184"/>
                  </a:lnTo>
                  <a:lnTo>
                    <a:pt x="533" y="184"/>
                  </a:lnTo>
                  <a:lnTo>
                    <a:pt x="535" y="187"/>
                  </a:lnTo>
                  <a:lnTo>
                    <a:pt x="538" y="187"/>
                  </a:lnTo>
                  <a:lnTo>
                    <a:pt x="540" y="189"/>
                  </a:lnTo>
                  <a:lnTo>
                    <a:pt x="542" y="189"/>
                  </a:lnTo>
                  <a:lnTo>
                    <a:pt x="542" y="192"/>
                  </a:lnTo>
                  <a:lnTo>
                    <a:pt x="542" y="194"/>
                  </a:lnTo>
                  <a:lnTo>
                    <a:pt x="542" y="196"/>
                  </a:lnTo>
                  <a:lnTo>
                    <a:pt x="545" y="199"/>
                  </a:lnTo>
                  <a:lnTo>
                    <a:pt x="547" y="201"/>
                  </a:lnTo>
                  <a:lnTo>
                    <a:pt x="552" y="201"/>
                  </a:lnTo>
                  <a:lnTo>
                    <a:pt x="554" y="201"/>
                  </a:lnTo>
                  <a:lnTo>
                    <a:pt x="556" y="201"/>
                  </a:lnTo>
                  <a:lnTo>
                    <a:pt x="561" y="201"/>
                  </a:lnTo>
                  <a:lnTo>
                    <a:pt x="561" y="201"/>
                  </a:lnTo>
                  <a:lnTo>
                    <a:pt x="564" y="196"/>
                  </a:lnTo>
                  <a:lnTo>
                    <a:pt x="564" y="196"/>
                  </a:lnTo>
                  <a:lnTo>
                    <a:pt x="564" y="196"/>
                  </a:lnTo>
                  <a:lnTo>
                    <a:pt x="566" y="194"/>
                  </a:lnTo>
                  <a:lnTo>
                    <a:pt x="566" y="199"/>
                  </a:lnTo>
                  <a:lnTo>
                    <a:pt x="566" y="199"/>
                  </a:lnTo>
                  <a:lnTo>
                    <a:pt x="566" y="199"/>
                  </a:lnTo>
                  <a:lnTo>
                    <a:pt x="566" y="201"/>
                  </a:lnTo>
                  <a:lnTo>
                    <a:pt x="566" y="201"/>
                  </a:lnTo>
                  <a:lnTo>
                    <a:pt x="568" y="201"/>
                  </a:lnTo>
                  <a:lnTo>
                    <a:pt x="571" y="201"/>
                  </a:lnTo>
                  <a:lnTo>
                    <a:pt x="575" y="201"/>
                  </a:lnTo>
                  <a:lnTo>
                    <a:pt x="578" y="201"/>
                  </a:lnTo>
                  <a:lnTo>
                    <a:pt x="575" y="199"/>
                  </a:lnTo>
                  <a:lnTo>
                    <a:pt x="578" y="196"/>
                  </a:lnTo>
                  <a:lnTo>
                    <a:pt x="575" y="194"/>
                  </a:lnTo>
                  <a:lnTo>
                    <a:pt x="578" y="194"/>
                  </a:lnTo>
                  <a:lnTo>
                    <a:pt x="578" y="192"/>
                  </a:lnTo>
                  <a:lnTo>
                    <a:pt x="578" y="189"/>
                  </a:lnTo>
                  <a:lnTo>
                    <a:pt x="578" y="187"/>
                  </a:lnTo>
                  <a:lnTo>
                    <a:pt x="578" y="184"/>
                  </a:lnTo>
                  <a:lnTo>
                    <a:pt x="575" y="184"/>
                  </a:lnTo>
                  <a:lnTo>
                    <a:pt x="573" y="184"/>
                  </a:lnTo>
                  <a:lnTo>
                    <a:pt x="573" y="184"/>
                  </a:lnTo>
                  <a:lnTo>
                    <a:pt x="571" y="184"/>
                  </a:lnTo>
                  <a:lnTo>
                    <a:pt x="571" y="187"/>
                  </a:lnTo>
                  <a:lnTo>
                    <a:pt x="568" y="187"/>
                  </a:lnTo>
                  <a:lnTo>
                    <a:pt x="568" y="184"/>
                  </a:lnTo>
                  <a:lnTo>
                    <a:pt x="568" y="184"/>
                  </a:lnTo>
                  <a:lnTo>
                    <a:pt x="568" y="184"/>
                  </a:lnTo>
                  <a:lnTo>
                    <a:pt x="568" y="182"/>
                  </a:lnTo>
                  <a:lnTo>
                    <a:pt x="571" y="182"/>
                  </a:lnTo>
                  <a:lnTo>
                    <a:pt x="575" y="180"/>
                  </a:lnTo>
                  <a:lnTo>
                    <a:pt x="578" y="180"/>
                  </a:lnTo>
                  <a:lnTo>
                    <a:pt x="573" y="180"/>
                  </a:lnTo>
                  <a:lnTo>
                    <a:pt x="573" y="180"/>
                  </a:lnTo>
                  <a:lnTo>
                    <a:pt x="571" y="177"/>
                  </a:lnTo>
                  <a:lnTo>
                    <a:pt x="571" y="177"/>
                  </a:lnTo>
                  <a:lnTo>
                    <a:pt x="566" y="175"/>
                  </a:lnTo>
                  <a:lnTo>
                    <a:pt x="566" y="175"/>
                  </a:lnTo>
                  <a:lnTo>
                    <a:pt x="561" y="173"/>
                  </a:lnTo>
                  <a:lnTo>
                    <a:pt x="559" y="173"/>
                  </a:lnTo>
                  <a:lnTo>
                    <a:pt x="556" y="173"/>
                  </a:lnTo>
                  <a:lnTo>
                    <a:pt x="552" y="170"/>
                  </a:lnTo>
                  <a:lnTo>
                    <a:pt x="549" y="168"/>
                  </a:lnTo>
                  <a:lnTo>
                    <a:pt x="547" y="168"/>
                  </a:lnTo>
                  <a:lnTo>
                    <a:pt x="547" y="168"/>
                  </a:lnTo>
                  <a:lnTo>
                    <a:pt x="542" y="168"/>
                  </a:lnTo>
                  <a:lnTo>
                    <a:pt x="540" y="168"/>
                  </a:lnTo>
                  <a:lnTo>
                    <a:pt x="538" y="168"/>
                  </a:lnTo>
                  <a:lnTo>
                    <a:pt x="540" y="168"/>
                  </a:lnTo>
                  <a:lnTo>
                    <a:pt x="545" y="168"/>
                  </a:lnTo>
                  <a:lnTo>
                    <a:pt x="547" y="166"/>
                  </a:lnTo>
                  <a:lnTo>
                    <a:pt x="547" y="166"/>
                  </a:lnTo>
                  <a:lnTo>
                    <a:pt x="547" y="161"/>
                  </a:lnTo>
                  <a:lnTo>
                    <a:pt x="547" y="161"/>
                  </a:lnTo>
                  <a:lnTo>
                    <a:pt x="547" y="158"/>
                  </a:lnTo>
                  <a:lnTo>
                    <a:pt x="545" y="161"/>
                  </a:lnTo>
                  <a:lnTo>
                    <a:pt x="540" y="161"/>
                  </a:lnTo>
                  <a:lnTo>
                    <a:pt x="540" y="161"/>
                  </a:lnTo>
                  <a:lnTo>
                    <a:pt x="535" y="161"/>
                  </a:lnTo>
                  <a:lnTo>
                    <a:pt x="528" y="163"/>
                  </a:lnTo>
                  <a:lnTo>
                    <a:pt x="528" y="163"/>
                  </a:lnTo>
                  <a:lnTo>
                    <a:pt x="526" y="163"/>
                  </a:lnTo>
                  <a:lnTo>
                    <a:pt x="523" y="163"/>
                  </a:lnTo>
                  <a:lnTo>
                    <a:pt x="521" y="163"/>
                  </a:lnTo>
                  <a:lnTo>
                    <a:pt x="528" y="161"/>
                  </a:lnTo>
                  <a:lnTo>
                    <a:pt x="531" y="161"/>
                  </a:lnTo>
                  <a:lnTo>
                    <a:pt x="533" y="161"/>
                  </a:lnTo>
                  <a:lnTo>
                    <a:pt x="542" y="158"/>
                  </a:lnTo>
                  <a:lnTo>
                    <a:pt x="542" y="158"/>
                  </a:lnTo>
                  <a:lnTo>
                    <a:pt x="545" y="158"/>
                  </a:lnTo>
                  <a:lnTo>
                    <a:pt x="547" y="156"/>
                  </a:lnTo>
                  <a:lnTo>
                    <a:pt x="549" y="156"/>
                  </a:lnTo>
                  <a:lnTo>
                    <a:pt x="549" y="158"/>
                  </a:lnTo>
                  <a:lnTo>
                    <a:pt x="552" y="163"/>
                  </a:lnTo>
                  <a:lnTo>
                    <a:pt x="554" y="166"/>
                  </a:lnTo>
                  <a:lnTo>
                    <a:pt x="556" y="168"/>
                  </a:lnTo>
                  <a:lnTo>
                    <a:pt x="559" y="168"/>
                  </a:lnTo>
                  <a:lnTo>
                    <a:pt x="564" y="170"/>
                  </a:lnTo>
                  <a:lnTo>
                    <a:pt x="571" y="170"/>
                  </a:lnTo>
                  <a:lnTo>
                    <a:pt x="573" y="173"/>
                  </a:lnTo>
                  <a:lnTo>
                    <a:pt x="575" y="173"/>
                  </a:lnTo>
                  <a:lnTo>
                    <a:pt x="575" y="170"/>
                  </a:lnTo>
                  <a:lnTo>
                    <a:pt x="575" y="168"/>
                  </a:lnTo>
                  <a:lnTo>
                    <a:pt x="580" y="168"/>
                  </a:lnTo>
                  <a:lnTo>
                    <a:pt x="582" y="163"/>
                  </a:lnTo>
                  <a:lnTo>
                    <a:pt x="582" y="163"/>
                  </a:lnTo>
                  <a:lnTo>
                    <a:pt x="582" y="158"/>
                  </a:lnTo>
                  <a:lnTo>
                    <a:pt x="580" y="158"/>
                  </a:lnTo>
                  <a:lnTo>
                    <a:pt x="578" y="158"/>
                  </a:lnTo>
                  <a:lnTo>
                    <a:pt x="573" y="156"/>
                  </a:lnTo>
                  <a:lnTo>
                    <a:pt x="571" y="156"/>
                  </a:lnTo>
                  <a:lnTo>
                    <a:pt x="568" y="154"/>
                  </a:lnTo>
                  <a:lnTo>
                    <a:pt x="566" y="154"/>
                  </a:lnTo>
                  <a:lnTo>
                    <a:pt x="564" y="151"/>
                  </a:lnTo>
                  <a:lnTo>
                    <a:pt x="561" y="151"/>
                  </a:lnTo>
                  <a:lnTo>
                    <a:pt x="559" y="151"/>
                  </a:lnTo>
                  <a:lnTo>
                    <a:pt x="552" y="151"/>
                  </a:lnTo>
                  <a:lnTo>
                    <a:pt x="547" y="151"/>
                  </a:lnTo>
                  <a:lnTo>
                    <a:pt x="545" y="151"/>
                  </a:lnTo>
                  <a:lnTo>
                    <a:pt x="542" y="154"/>
                  </a:lnTo>
                  <a:lnTo>
                    <a:pt x="533" y="154"/>
                  </a:lnTo>
                  <a:lnTo>
                    <a:pt x="531" y="154"/>
                  </a:lnTo>
                  <a:lnTo>
                    <a:pt x="528" y="156"/>
                  </a:lnTo>
                  <a:lnTo>
                    <a:pt x="523" y="156"/>
                  </a:lnTo>
                  <a:lnTo>
                    <a:pt x="519" y="156"/>
                  </a:lnTo>
                  <a:lnTo>
                    <a:pt x="519" y="156"/>
                  </a:lnTo>
                  <a:lnTo>
                    <a:pt x="514" y="156"/>
                  </a:lnTo>
                  <a:lnTo>
                    <a:pt x="514" y="156"/>
                  </a:lnTo>
                  <a:lnTo>
                    <a:pt x="514" y="156"/>
                  </a:lnTo>
                  <a:lnTo>
                    <a:pt x="514" y="156"/>
                  </a:lnTo>
                  <a:lnTo>
                    <a:pt x="514" y="156"/>
                  </a:lnTo>
                  <a:lnTo>
                    <a:pt x="514" y="156"/>
                  </a:lnTo>
                  <a:lnTo>
                    <a:pt x="516" y="156"/>
                  </a:lnTo>
                  <a:lnTo>
                    <a:pt x="519" y="154"/>
                  </a:lnTo>
                  <a:lnTo>
                    <a:pt x="521" y="156"/>
                  </a:lnTo>
                  <a:lnTo>
                    <a:pt x="523" y="156"/>
                  </a:lnTo>
                  <a:lnTo>
                    <a:pt x="526" y="154"/>
                  </a:lnTo>
                  <a:lnTo>
                    <a:pt x="526" y="154"/>
                  </a:lnTo>
                  <a:lnTo>
                    <a:pt x="526" y="154"/>
                  </a:lnTo>
                  <a:lnTo>
                    <a:pt x="519" y="151"/>
                  </a:lnTo>
                  <a:lnTo>
                    <a:pt x="519" y="151"/>
                  </a:lnTo>
                  <a:lnTo>
                    <a:pt x="521" y="151"/>
                  </a:lnTo>
                  <a:lnTo>
                    <a:pt x="523" y="151"/>
                  </a:lnTo>
                  <a:lnTo>
                    <a:pt x="528" y="154"/>
                  </a:lnTo>
                  <a:lnTo>
                    <a:pt x="531" y="154"/>
                  </a:lnTo>
                  <a:lnTo>
                    <a:pt x="533" y="154"/>
                  </a:lnTo>
                  <a:lnTo>
                    <a:pt x="538" y="154"/>
                  </a:lnTo>
                  <a:lnTo>
                    <a:pt x="538" y="154"/>
                  </a:lnTo>
                  <a:lnTo>
                    <a:pt x="542" y="151"/>
                  </a:lnTo>
                  <a:lnTo>
                    <a:pt x="545" y="151"/>
                  </a:lnTo>
                  <a:lnTo>
                    <a:pt x="547" y="149"/>
                  </a:lnTo>
                  <a:lnTo>
                    <a:pt x="552" y="149"/>
                  </a:lnTo>
                  <a:lnTo>
                    <a:pt x="552" y="149"/>
                  </a:lnTo>
                  <a:lnTo>
                    <a:pt x="549" y="149"/>
                  </a:lnTo>
                  <a:lnTo>
                    <a:pt x="547" y="144"/>
                  </a:lnTo>
                  <a:lnTo>
                    <a:pt x="545" y="144"/>
                  </a:lnTo>
                  <a:lnTo>
                    <a:pt x="545" y="144"/>
                  </a:lnTo>
                  <a:lnTo>
                    <a:pt x="545" y="144"/>
                  </a:lnTo>
                  <a:lnTo>
                    <a:pt x="545" y="144"/>
                  </a:lnTo>
                  <a:lnTo>
                    <a:pt x="547" y="147"/>
                  </a:lnTo>
                  <a:lnTo>
                    <a:pt x="549" y="147"/>
                  </a:lnTo>
                  <a:lnTo>
                    <a:pt x="552" y="147"/>
                  </a:lnTo>
                  <a:lnTo>
                    <a:pt x="552" y="147"/>
                  </a:lnTo>
                  <a:lnTo>
                    <a:pt x="554" y="147"/>
                  </a:lnTo>
                  <a:lnTo>
                    <a:pt x="556" y="147"/>
                  </a:lnTo>
                  <a:lnTo>
                    <a:pt x="556" y="147"/>
                  </a:lnTo>
                  <a:lnTo>
                    <a:pt x="561" y="144"/>
                  </a:lnTo>
                  <a:lnTo>
                    <a:pt x="564" y="149"/>
                  </a:lnTo>
                  <a:lnTo>
                    <a:pt x="571" y="151"/>
                  </a:lnTo>
                  <a:lnTo>
                    <a:pt x="573" y="151"/>
                  </a:lnTo>
                  <a:lnTo>
                    <a:pt x="580" y="154"/>
                  </a:lnTo>
                  <a:lnTo>
                    <a:pt x="582" y="154"/>
                  </a:lnTo>
                  <a:lnTo>
                    <a:pt x="587" y="151"/>
                  </a:lnTo>
                  <a:lnTo>
                    <a:pt x="592" y="151"/>
                  </a:lnTo>
                  <a:lnTo>
                    <a:pt x="594" y="151"/>
                  </a:lnTo>
                  <a:lnTo>
                    <a:pt x="604" y="149"/>
                  </a:lnTo>
                  <a:lnTo>
                    <a:pt x="606" y="149"/>
                  </a:lnTo>
                  <a:lnTo>
                    <a:pt x="606" y="147"/>
                  </a:lnTo>
                  <a:lnTo>
                    <a:pt x="608" y="144"/>
                  </a:lnTo>
                  <a:lnTo>
                    <a:pt x="608" y="144"/>
                  </a:lnTo>
                  <a:lnTo>
                    <a:pt x="601" y="142"/>
                  </a:lnTo>
                  <a:lnTo>
                    <a:pt x="599" y="142"/>
                  </a:lnTo>
                  <a:lnTo>
                    <a:pt x="589" y="142"/>
                  </a:lnTo>
                  <a:lnTo>
                    <a:pt x="587" y="142"/>
                  </a:lnTo>
                  <a:lnTo>
                    <a:pt x="587" y="140"/>
                  </a:lnTo>
                  <a:lnTo>
                    <a:pt x="585" y="140"/>
                  </a:lnTo>
                  <a:lnTo>
                    <a:pt x="585" y="140"/>
                  </a:lnTo>
                  <a:lnTo>
                    <a:pt x="587" y="140"/>
                  </a:lnTo>
                  <a:lnTo>
                    <a:pt x="587" y="137"/>
                  </a:lnTo>
                  <a:lnTo>
                    <a:pt x="587" y="137"/>
                  </a:lnTo>
                  <a:lnTo>
                    <a:pt x="587" y="137"/>
                  </a:lnTo>
                  <a:lnTo>
                    <a:pt x="587" y="137"/>
                  </a:lnTo>
                  <a:lnTo>
                    <a:pt x="587" y="137"/>
                  </a:lnTo>
                  <a:lnTo>
                    <a:pt x="587" y="137"/>
                  </a:lnTo>
                  <a:lnTo>
                    <a:pt x="589" y="135"/>
                  </a:lnTo>
                  <a:lnTo>
                    <a:pt x="592" y="135"/>
                  </a:lnTo>
                  <a:lnTo>
                    <a:pt x="592" y="135"/>
                  </a:lnTo>
                  <a:lnTo>
                    <a:pt x="592" y="132"/>
                  </a:lnTo>
                  <a:lnTo>
                    <a:pt x="594" y="132"/>
                  </a:lnTo>
                  <a:lnTo>
                    <a:pt x="594" y="132"/>
                  </a:lnTo>
                  <a:lnTo>
                    <a:pt x="594" y="135"/>
                  </a:lnTo>
                  <a:lnTo>
                    <a:pt x="592" y="137"/>
                  </a:lnTo>
                  <a:lnTo>
                    <a:pt x="597" y="137"/>
                  </a:lnTo>
                  <a:lnTo>
                    <a:pt x="601" y="140"/>
                  </a:lnTo>
                  <a:lnTo>
                    <a:pt x="608" y="140"/>
                  </a:lnTo>
                  <a:lnTo>
                    <a:pt x="613" y="137"/>
                  </a:lnTo>
                  <a:lnTo>
                    <a:pt x="613" y="137"/>
                  </a:lnTo>
                  <a:lnTo>
                    <a:pt x="615" y="137"/>
                  </a:lnTo>
                  <a:lnTo>
                    <a:pt x="620" y="137"/>
                  </a:lnTo>
                  <a:lnTo>
                    <a:pt x="622" y="137"/>
                  </a:lnTo>
                  <a:lnTo>
                    <a:pt x="625" y="137"/>
                  </a:lnTo>
                  <a:lnTo>
                    <a:pt x="625" y="135"/>
                  </a:lnTo>
                  <a:lnTo>
                    <a:pt x="625" y="135"/>
                  </a:lnTo>
                  <a:lnTo>
                    <a:pt x="627" y="135"/>
                  </a:lnTo>
                  <a:lnTo>
                    <a:pt x="627" y="132"/>
                  </a:lnTo>
                  <a:lnTo>
                    <a:pt x="627" y="132"/>
                  </a:lnTo>
                  <a:lnTo>
                    <a:pt x="625" y="130"/>
                  </a:lnTo>
                  <a:lnTo>
                    <a:pt x="625" y="130"/>
                  </a:lnTo>
                  <a:lnTo>
                    <a:pt x="622" y="128"/>
                  </a:lnTo>
                  <a:lnTo>
                    <a:pt x="620" y="125"/>
                  </a:lnTo>
                  <a:lnTo>
                    <a:pt x="618" y="123"/>
                  </a:lnTo>
                  <a:lnTo>
                    <a:pt x="615" y="125"/>
                  </a:lnTo>
                  <a:lnTo>
                    <a:pt x="613" y="128"/>
                  </a:lnTo>
                  <a:lnTo>
                    <a:pt x="611" y="130"/>
                  </a:lnTo>
                  <a:lnTo>
                    <a:pt x="608" y="130"/>
                  </a:lnTo>
                  <a:lnTo>
                    <a:pt x="606" y="130"/>
                  </a:lnTo>
                  <a:lnTo>
                    <a:pt x="606" y="130"/>
                  </a:lnTo>
                  <a:lnTo>
                    <a:pt x="606" y="130"/>
                  </a:lnTo>
                  <a:lnTo>
                    <a:pt x="608" y="128"/>
                  </a:lnTo>
                  <a:lnTo>
                    <a:pt x="608" y="128"/>
                  </a:lnTo>
                  <a:lnTo>
                    <a:pt x="611" y="125"/>
                  </a:lnTo>
                  <a:lnTo>
                    <a:pt x="608" y="125"/>
                  </a:lnTo>
                  <a:lnTo>
                    <a:pt x="608" y="123"/>
                  </a:lnTo>
                  <a:lnTo>
                    <a:pt x="608" y="123"/>
                  </a:lnTo>
                  <a:lnTo>
                    <a:pt x="608" y="123"/>
                  </a:lnTo>
                  <a:lnTo>
                    <a:pt x="606" y="123"/>
                  </a:lnTo>
                  <a:lnTo>
                    <a:pt x="601" y="125"/>
                  </a:lnTo>
                  <a:lnTo>
                    <a:pt x="601" y="125"/>
                  </a:lnTo>
                  <a:lnTo>
                    <a:pt x="599" y="125"/>
                  </a:lnTo>
                  <a:lnTo>
                    <a:pt x="599" y="125"/>
                  </a:lnTo>
                  <a:lnTo>
                    <a:pt x="597" y="125"/>
                  </a:lnTo>
                  <a:lnTo>
                    <a:pt x="594" y="123"/>
                  </a:lnTo>
                  <a:lnTo>
                    <a:pt x="594" y="123"/>
                  </a:lnTo>
                  <a:lnTo>
                    <a:pt x="597" y="123"/>
                  </a:lnTo>
                  <a:lnTo>
                    <a:pt x="599" y="123"/>
                  </a:lnTo>
                  <a:lnTo>
                    <a:pt x="604" y="123"/>
                  </a:lnTo>
                  <a:lnTo>
                    <a:pt x="606" y="123"/>
                  </a:lnTo>
                  <a:lnTo>
                    <a:pt x="608" y="123"/>
                  </a:lnTo>
                  <a:lnTo>
                    <a:pt x="611" y="123"/>
                  </a:lnTo>
                  <a:lnTo>
                    <a:pt x="615" y="118"/>
                  </a:lnTo>
                  <a:lnTo>
                    <a:pt x="620" y="118"/>
                  </a:lnTo>
                  <a:lnTo>
                    <a:pt x="622" y="121"/>
                  </a:lnTo>
                  <a:lnTo>
                    <a:pt x="622" y="121"/>
                  </a:lnTo>
                  <a:lnTo>
                    <a:pt x="625" y="123"/>
                  </a:lnTo>
                  <a:lnTo>
                    <a:pt x="625" y="123"/>
                  </a:lnTo>
                  <a:lnTo>
                    <a:pt x="627" y="121"/>
                  </a:lnTo>
                  <a:lnTo>
                    <a:pt x="630" y="121"/>
                  </a:lnTo>
                  <a:lnTo>
                    <a:pt x="630" y="121"/>
                  </a:lnTo>
                  <a:lnTo>
                    <a:pt x="630" y="118"/>
                  </a:lnTo>
                  <a:lnTo>
                    <a:pt x="630" y="116"/>
                  </a:lnTo>
                  <a:lnTo>
                    <a:pt x="630" y="116"/>
                  </a:lnTo>
                  <a:lnTo>
                    <a:pt x="630" y="113"/>
                  </a:lnTo>
                  <a:lnTo>
                    <a:pt x="630" y="113"/>
                  </a:lnTo>
                  <a:lnTo>
                    <a:pt x="630" y="113"/>
                  </a:lnTo>
                  <a:lnTo>
                    <a:pt x="632" y="111"/>
                  </a:lnTo>
                  <a:lnTo>
                    <a:pt x="630" y="111"/>
                  </a:lnTo>
                  <a:lnTo>
                    <a:pt x="627" y="109"/>
                  </a:lnTo>
                  <a:lnTo>
                    <a:pt x="627" y="109"/>
                  </a:lnTo>
                  <a:lnTo>
                    <a:pt x="630" y="106"/>
                  </a:lnTo>
                  <a:lnTo>
                    <a:pt x="627" y="104"/>
                  </a:lnTo>
                  <a:lnTo>
                    <a:pt x="625" y="104"/>
                  </a:lnTo>
                  <a:lnTo>
                    <a:pt x="622" y="104"/>
                  </a:lnTo>
                  <a:lnTo>
                    <a:pt x="620" y="104"/>
                  </a:lnTo>
                  <a:lnTo>
                    <a:pt x="618" y="104"/>
                  </a:lnTo>
                  <a:lnTo>
                    <a:pt x="618" y="104"/>
                  </a:lnTo>
                  <a:lnTo>
                    <a:pt x="613" y="104"/>
                  </a:lnTo>
                  <a:lnTo>
                    <a:pt x="611" y="104"/>
                  </a:lnTo>
                  <a:lnTo>
                    <a:pt x="608" y="104"/>
                  </a:lnTo>
                  <a:lnTo>
                    <a:pt x="608" y="104"/>
                  </a:lnTo>
                  <a:lnTo>
                    <a:pt x="606" y="102"/>
                  </a:lnTo>
                  <a:lnTo>
                    <a:pt x="606" y="99"/>
                  </a:lnTo>
                  <a:lnTo>
                    <a:pt x="606" y="99"/>
                  </a:lnTo>
                  <a:lnTo>
                    <a:pt x="601" y="99"/>
                  </a:lnTo>
                  <a:lnTo>
                    <a:pt x="601" y="99"/>
                  </a:lnTo>
                  <a:lnTo>
                    <a:pt x="599" y="97"/>
                  </a:lnTo>
                  <a:lnTo>
                    <a:pt x="599" y="97"/>
                  </a:lnTo>
                  <a:lnTo>
                    <a:pt x="599" y="97"/>
                  </a:lnTo>
                  <a:lnTo>
                    <a:pt x="599" y="97"/>
                  </a:lnTo>
                  <a:lnTo>
                    <a:pt x="601" y="95"/>
                  </a:lnTo>
                  <a:lnTo>
                    <a:pt x="604" y="95"/>
                  </a:lnTo>
                  <a:lnTo>
                    <a:pt x="606" y="97"/>
                  </a:lnTo>
                  <a:lnTo>
                    <a:pt x="608" y="97"/>
                  </a:lnTo>
                  <a:lnTo>
                    <a:pt x="611" y="97"/>
                  </a:lnTo>
                  <a:lnTo>
                    <a:pt x="620" y="95"/>
                  </a:lnTo>
                  <a:lnTo>
                    <a:pt x="620" y="95"/>
                  </a:lnTo>
                  <a:lnTo>
                    <a:pt x="625" y="92"/>
                  </a:lnTo>
                  <a:lnTo>
                    <a:pt x="632" y="92"/>
                  </a:lnTo>
                  <a:lnTo>
                    <a:pt x="634" y="92"/>
                  </a:lnTo>
                  <a:lnTo>
                    <a:pt x="637" y="95"/>
                  </a:lnTo>
                  <a:lnTo>
                    <a:pt x="641" y="95"/>
                  </a:lnTo>
                  <a:lnTo>
                    <a:pt x="644" y="95"/>
                  </a:lnTo>
                  <a:lnTo>
                    <a:pt x="644" y="95"/>
                  </a:lnTo>
                  <a:lnTo>
                    <a:pt x="646" y="95"/>
                  </a:lnTo>
                  <a:lnTo>
                    <a:pt x="648" y="95"/>
                  </a:lnTo>
                  <a:lnTo>
                    <a:pt x="648" y="95"/>
                  </a:lnTo>
                  <a:lnTo>
                    <a:pt x="651" y="95"/>
                  </a:lnTo>
                  <a:lnTo>
                    <a:pt x="651" y="92"/>
                  </a:lnTo>
                  <a:lnTo>
                    <a:pt x="653" y="92"/>
                  </a:lnTo>
                  <a:lnTo>
                    <a:pt x="653" y="90"/>
                  </a:lnTo>
                  <a:lnTo>
                    <a:pt x="653" y="87"/>
                  </a:lnTo>
                  <a:lnTo>
                    <a:pt x="653" y="87"/>
                  </a:lnTo>
                  <a:lnTo>
                    <a:pt x="651" y="87"/>
                  </a:lnTo>
                  <a:lnTo>
                    <a:pt x="646" y="87"/>
                  </a:lnTo>
                  <a:lnTo>
                    <a:pt x="644" y="87"/>
                  </a:lnTo>
                  <a:lnTo>
                    <a:pt x="641" y="87"/>
                  </a:lnTo>
                  <a:lnTo>
                    <a:pt x="641" y="87"/>
                  </a:lnTo>
                  <a:lnTo>
                    <a:pt x="639" y="87"/>
                  </a:lnTo>
                  <a:lnTo>
                    <a:pt x="637" y="87"/>
                  </a:lnTo>
                  <a:lnTo>
                    <a:pt x="632" y="85"/>
                  </a:lnTo>
                  <a:lnTo>
                    <a:pt x="630" y="85"/>
                  </a:lnTo>
                  <a:lnTo>
                    <a:pt x="627" y="83"/>
                  </a:lnTo>
                  <a:lnTo>
                    <a:pt x="632" y="80"/>
                  </a:lnTo>
                  <a:lnTo>
                    <a:pt x="634" y="80"/>
                  </a:lnTo>
                  <a:lnTo>
                    <a:pt x="637" y="80"/>
                  </a:lnTo>
                  <a:lnTo>
                    <a:pt x="641" y="83"/>
                  </a:lnTo>
                  <a:lnTo>
                    <a:pt x="641" y="83"/>
                  </a:lnTo>
                  <a:lnTo>
                    <a:pt x="644" y="83"/>
                  </a:lnTo>
                  <a:lnTo>
                    <a:pt x="644" y="83"/>
                  </a:lnTo>
                  <a:lnTo>
                    <a:pt x="644" y="80"/>
                  </a:lnTo>
                  <a:lnTo>
                    <a:pt x="641" y="80"/>
                  </a:lnTo>
                  <a:lnTo>
                    <a:pt x="639" y="80"/>
                  </a:lnTo>
                  <a:lnTo>
                    <a:pt x="637" y="80"/>
                  </a:lnTo>
                  <a:lnTo>
                    <a:pt x="634" y="78"/>
                  </a:lnTo>
                  <a:lnTo>
                    <a:pt x="630" y="78"/>
                  </a:lnTo>
                  <a:lnTo>
                    <a:pt x="627" y="78"/>
                  </a:lnTo>
                  <a:lnTo>
                    <a:pt x="622" y="78"/>
                  </a:lnTo>
                  <a:lnTo>
                    <a:pt x="620" y="80"/>
                  </a:lnTo>
                  <a:lnTo>
                    <a:pt x="618" y="83"/>
                  </a:lnTo>
                  <a:lnTo>
                    <a:pt x="615" y="80"/>
                  </a:lnTo>
                  <a:lnTo>
                    <a:pt x="615" y="80"/>
                  </a:lnTo>
                  <a:lnTo>
                    <a:pt x="618" y="78"/>
                  </a:lnTo>
                  <a:lnTo>
                    <a:pt x="620" y="76"/>
                  </a:lnTo>
                  <a:lnTo>
                    <a:pt x="622" y="76"/>
                  </a:lnTo>
                  <a:lnTo>
                    <a:pt x="622" y="73"/>
                  </a:lnTo>
                  <a:lnTo>
                    <a:pt x="625" y="71"/>
                  </a:lnTo>
                  <a:lnTo>
                    <a:pt x="627" y="71"/>
                  </a:lnTo>
                  <a:lnTo>
                    <a:pt x="630" y="69"/>
                  </a:lnTo>
                  <a:lnTo>
                    <a:pt x="630" y="66"/>
                  </a:lnTo>
                  <a:lnTo>
                    <a:pt x="630" y="66"/>
                  </a:lnTo>
                  <a:lnTo>
                    <a:pt x="630" y="66"/>
                  </a:lnTo>
                  <a:lnTo>
                    <a:pt x="637" y="64"/>
                  </a:lnTo>
                  <a:lnTo>
                    <a:pt x="639" y="64"/>
                  </a:lnTo>
                  <a:lnTo>
                    <a:pt x="641" y="64"/>
                  </a:lnTo>
                  <a:lnTo>
                    <a:pt x="644" y="64"/>
                  </a:lnTo>
                  <a:lnTo>
                    <a:pt x="644" y="64"/>
                  </a:lnTo>
                  <a:lnTo>
                    <a:pt x="646" y="61"/>
                  </a:lnTo>
                  <a:lnTo>
                    <a:pt x="646" y="61"/>
                  </a:lnTo>
                  <a:lnTo>
                    <a:pt x="646" y="61"/>
                  </a:lnTo>
                  <a:lnTo>
                    <a:pt x="646" y="61"/>
                  </a:lnTo>
                  <a:lnTo>
                    <a:pt x="648" y="59"/>
                  </a:lnTo>
                  <a:lnTo>
                    <a:pt x="653" y="59"/>
                  </a:lnTo>
                  <a:lnTo>
                    <a:pt x="655" y="59"/>
                  </a:lnTo>
                  <a:lnTo>
                    <a:pt x="658" y="59"/>
                  </a:lnTo>
                  <a:lnTo>
                    <a:pt x="658" y="57"/>
                  </a:lnTo>
                  <a:lnTo>
                    <a:pt x="658" y="57"/>
                  </a:lnTo>
                  <a:lnTo>
                    <a:pt x="658" y="57"/>
                  </a:lnTo>
                  <a:lnTo>
                    <a:pt x="655" y="57"/>
                  </a:lnTo>
                  <a:lnTo>
                    <a:pt x="655" y="57"/>
                  </a:lnTo>
                  <a:lnTo>
                    <a:pt x="655" y="57"/>
                  </a:lnTo>
                  <a:lnTo>
                    <a:pt x="653" y="57"/>
                  </a:lnTo>
                  <a:lnTo>
                    <a:pt x="653" y="54"/>
                  </a:lnTo>
                  <a:lnTo>
                    <a:pt x="653" y="54"/>
                  </a:lnTo>
                  <a:lnTo>
                    <a:pt x="655" y="52"/>
                  </a:lnTo>
                  <a:lnTo>
                    <a:pt x="655" y="52"/>
                  </a:lnTo>
                  <a:lnTo>
                    <a:pt x="655" y="52"/>
                  </a:lnTo>
                  <a:lnTo>
                    <a:pt x="655" y="50"/>
                  </a:lnTo>
                  <a:lnTo>
                    <a:pt x="655" y="50"/>
                  </a:lnTo>
                  <a:lnTo>
                    <a:pt x="655" y="50"/>
                  </a:lnTo>
                  <a:lnTo>
                    <a:pt x="651" y="50"/>
                  </a:lnTo>
                  <a:lnTo>
                    <a:pt x="648" y="50"/>
                  </a:lnTo>
                  <a:lnTo>
                    <a:pt x="648" y="50"/>
                  </a:lnTo>
                  <a:lnTo>
                    <a:pt x="648" y="50"/>
                  </a:lnTo>
                  <a:lnTo>
                    <a:pt x="648" y="50"/>
                  </a:lnTo>
                  <a:lnTo>
                    <a:pt x="648" y="47"/>
                  </a:lnTo>
                  <a:lnTo>
                    <a:pt x="648" y="47"/>
                  </a:lnTo>
                  <a:lnTo>
                    <a:pt x="651" y="45"/>
                  </a:lnTo>
                  <a:lnTo>
                    <a:pt x="653" y="45"/>
                  </a:lnTo>
                  <a:lnTo>
                    <a:pt x="658" y="43"/>
                  </a:lnTo>
                  <a:lnTo>
                    <a:pt x="658" y="43"/>
                  </a:lnTo>
                  <a:lnTo>
                    <a:pt x="660" y="43"/>
                  </a:lnTo>
                  <a:lnTo>
                    <a:pt x="663" y="43"/>
                  </a:lnTo>
                  <a:lnTo>
                    <a:pt x="667" y="43"/>
                  </a:lnTo>
                  <a:lnTo>
                    <a:pt x="674" y="45"/>
                  </a:lnTo>
                  <a:lnTo>
                    <a:pt x="677" y="45"/>
                  </a:lnTo>
                  <a:lnTo>
                    <a:pt x="681" y="43"/>
                  </a:lnTo>
                  <a:lnTo>
                    <a:pt x="684" y="43"/>
                  </a:lnTo>
                  <a:lnTo>
                    <a:pt x="686" y="43"/>
                  </a:lnTo>
                  <a:lnTo>
                    <a:pt x="688" y="43"/>
                  </a:lnTo>
                  <a:lnTo>
                    <a:pt x="693" y="43"/>
                  </a:lnTo>
                  <a:lnTo>
                    <a:pt x="696" y="43"/>
                  </a:lnTo>
                  <a:lnTo>
                    <a:pt x="700" y="40"/>
                  </a:lnTo>
                  <a:lnTo>
                    <a:pt x="700" y="40"/>
                  </a:lnTo>
                  <a:lnTo>
                    <a:pt x="693" y="40"/>
                  </a:lnTo>
                  <a:lnTo>
                    <a:pt x="693" y="40"/>
                  </a:lnTo>
                  <a:lnTo>
                    <a:pt x="691" y="38"/>
                  </a:lnTo>
                  <a:lnTo>
                    <a:pt x="696" y="38"/>
                  </a:lnTo>
                  <a:lnTo>
                    <a:pt x="700" y="38"/>
                  </a:lnTo>
                  <a:lnTo>
                    <a:pt x="705" y="38"/>
                  </a:lnTo>
                  <a:lnTo>
                    <a:pt x="710" y="35"/>
                  </a:lnTo>
                  <a:lnTo>
                    <a:pt x="717" y="35"/>
                  </a:lnTo>
                  <a:lnTo>
                    <a:pt x="719" y="35"/>
                  </a:lnTo>
                  <a:lnTo>
                    <a:pt x="721" y="35"/>
                  </a:lnTo>
                  <a:lnTo>
                    <a:pt x="721" y="33"/>
                  </a:lnTo>
                  <a:lnTo>
                    <a:pt x="721" y="33"/>
                  </a:lnTo>
                  <a:lnTo>
                    <a:pt x="719" y="33"/>
                  </a:lnTo>
                  <a:lnTo>
                    <a:pt x="719" y="33"/>
                  </a:lnTo>
                  <a:lnTo>
                    <a:pt x="721" y="33"/>
                  </a:lnTo>
                  <a:lnTo>
                    <a:pt x="726" y="33"/>
                  </a:lnTo>
                  <a:lnTo>
                    <a:pt x="731" y="33"/>
                  </a:lnTo>
                  <a:lnTo>
                    <a:pt x="736" y="31"/>
                  </a:lnTo>
                  <a:lnTo>
                    <a:pt x="743" y="28"/>
                  </a:lnTo>
                  <a:lnTo>
                    <a:pt x="745" y="28"/>
                  </a:lnTo>
                  <a:lnTo>
                    <a:pt x="754" y="26"/>
                  </a:lnTo>
                  <a:lnTo>
                    <a:pt x="754" y="26"/>
                  </a:lnTo>
                  <a:lnTo>
                    <a:pt x="754" y="26"/>
                  </a:lnTo>
                  <a:lnTo>
                    <a:pt x="754"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9" name="Freeform 335"/>
            <p:cNvSpPr>
              <a:spLocks noEditPoints="1"/>
            </p:cNvSpPr>
            <p:nvPr userDrawn="1"/>
          </p:nvSpPr>
          <p:spPr bwMode="auto">
            <a:xfrm>
              <a:off x="4006" y="1928"/>
              <a:ext cx="151" cy="142"/>
            </a:xfrm>
            <a:custGeom>
              <a:avLst/>
              <a:gdLst>
                <a:gd name="T0" fmla="*/ 104 w 151"/>
                <a:gd name="T1" fmla="*/ 135 h 142"/>
                <a:gd name="T2" fmla="*/ 83 w 151"/>
                <a:gd name="T3" fmla="*/ 132 h 142"/>
                <a:gd name="T4" fmla="*/ 78 w 151"/>
                <a:gd name="T5" fmla="*/ 130 h 142"/>
                <a:gd name="T6" fmla="*/ 71 w 151"/>
                <a:gd name="T7" fmla="*/ 132 h 142"/>
                <a:gd name="T8" fmla="*/ 92 w 151"/>
                <a:gd name="T9" fmla="*/ 140 h 142"/>
                <a:gd name="T10" fmla="*/ 118 w 151"/>
                <a:gd name="T11" fmla="*/ 135 h 142"/>
                <a:gd name="T12" fmla="*/ 62 w 151"/>
                <a:gd name="T13" fmla="*/ 114 h 142"/>
                <a:gd name="T14" fmla="*/ 144 w 151"/>
                <a:gd name="T15" fmla="*/ 118 h 142"/>
                <a:gd name="T16" fmla="*/ 130 w 151"/>
                <a:gd name="T17" fmla="*/ 80 h 142"/>
                <a:gd name="T18" fmla="*/ 128 w 151"/>
                <a:gd name="T19" fmla="*/ 83 h 142"/>
                <a:gd name="T20" fmla="*/ 22 w 151"/>
                <a:gd name="T21" fmla="*/ 80 h 142"/>
                <a:gd name="T22" fmla="*/ 69 w 151"/>
                <a:gd name="T23" fmla="*/ 76 h 142"/>
                <a:gd name="T24" fmla="*/ 15 w 151"/>
                <a:gd name="T25" fmla="*/ 69 h 142"/>
                <a:gd name="T26" fmla="*/ 17 w 151"/>
                <a:gd name="T27" fmla="*/ 73 h 142"/>
                <a:gd name="T28" fmla="*/ 19 w 151"/>
                <a:gd name="T29" fmla="*/ 69 h 142"/>
                <a:gd name="T30" fmla="*/ 109 w 151"/>
                <a:gd name="T31" fmla="*/ 71 h 142"/>
                <a:gd name="T32" fmla="*/ 19 w 151"/>
                <a:gd name="T33" fmla="*/ 59 h 142"/>
                <a:gd name="T34" fmla="*/ 19 w 151"/>
                <a:gd name="T35" fmla="*/ 59 h 142"/>
                <a:gd name="T36" fmla="*/ 62 w 151"/>
                <a:gd name="T37" fmla="*/ 59 h 142"/>
                <a:gd name="T38" fmla="*/ 76 w 151"/>
                <a:gd name="T39" fmla="*/ 69 h 142"/>
                <a:gd name="T40" fmla="*/ 85 w 151"/>
                <a:gd name="T41" fmla="*/ 76 h 142"/>
                <a:gd name="T42" fmla="*/ 78 w 151"/>
                <a:gd name="T43" fmla="*/ 66 h 142"/>
                <a:gd name="T44" fmla="*/ 116 w 151"/>
                <a:gd name="T45" fmla="*/ 47 h 142"/>
                <a:gd name="T46" fmla="*/ 114 w 151"/>
                <a:gd name="T47" fmla="*/ 50 h 142"/>
                <a:gd name="T48" fmla="*/ 121 w 151"/>
                <a:gd name="T49" fmla="*/ 54 h 142"/>
                <a:gd name="T50" fmla="*/ 3 w 151"/>
                <a:gd name="T51" fmla="*/ 40 h 142"/>
                <a:gd name="T52" fmla="*/ 8 w 151"/>
                <a:gd name="T53" fmla="*/ 47 h 142"/>
                <a:gd name="T54" fmla="*/ 85 w 151"/>
                <a:gd name="T55" fmla="*/ 19 h 142"/>
                <a:gd name="T56" fmla="*/ 76 w 151"/>
                <a:gd name="T57" fmla="*/ 83 h 142"/>
                <a:gd name="T58" fmla="*/ 69 w 151"/>
                <a:gd name="T59" fmla="*/ 66 h 142"/>
                <a:gd name="T60" fmla="*/ 55 w 151"/>
                <a:gd name="T61" fmla="*/ 57 h 142"/>
                <a:gd name="T62" fmla="*/ 59 w 151"/>
                <a:gd name="T63" fmla="*/ 52 h 142"/>
                <a:gd name="T64" fmla="*/ 50 w 151"/>
                <a:gd name="T65" fmla="*/ 33 h 142"/>
                <a:gd name="T66" fmla="*/ 59 w 151"/>
                <a:gd name="T67" fmla="*/ 28 h 142"/>
                <a:gd name="T68" fmla="*/ 69 w 151"/>
                <a:gd name="T69" fmla="*/ 31 h 142"/>
                <a:gd name="T70" fmla="*/ 74 w 151"/>
                <a:gd name="T71" fmla="*/ 28 h 142"/>
                <a:gd name="T72" fmla="*/ 69 w 151"/>
                <a:gd name="T73" fmla="*/ 21 h 142"/>
                <a:gd name="T74" fmla="*/ 90 w 151"/>
                <a:gd name="T75" fmla="*/ 17 h 142"/>
                <a:gd name="T76" fmla="*/ 111 w 151"/>
                <a:gd name="T77" fmla="*/ 17 h 142"/>
                <a:gd name="T78" fmla="*/ 116 w 151"/>
                <a:gd name="T79" fmla="*/ 5 h 142"/>
                <a:gd name="T80" fmla="*/ 107 w 151"/>
                <a:gd name="T81" fmla="*/ 2 h 142"/>
                <a:gd name="T82" fmla="*/ 97 w 151"/>
                <a:gd name="T83" fmla="*/ 10 h 142"/>
                <a:gd name="T84" fmla="*/ 81 w 151"/>
                <a:gd name="T85" fmla="*/ 2 h 142"/>
                <a:gd name="T86" fmla="*/ 64 w 151"/>
                <a:gd name="T87" fmla="*/ 7 h 142"/>
                <a:gd name="T88" fmla="*/ 50 w 151"/>
                <a:gd name="T89" fmla="*/ 12 h 142"/>
                <a:gd name="T90" fmla="*/ 29 w 151"/>
                <a:gd name="T91" fmla="*/ 17 h 142"/>
                <a:gd name="T92" fmla="*/ 22 w 151"/>
                <a:gd name="T93" fmla="*/ 26 h 142"/>
                <a:gd name="T94" fmla="*/ 12 w 151"/>
                <a:gd name="T95" fmla="*/ 33 h 142"/>
                <a:gd name="T96" fmla="*/ 10 w 151"/>
                <a:gd name="T97" fmla="*/ 38 h 142"/>
                <a:gd name="T98" fmla="*/ 12 w 151"/>
                <a:gd name="T99" fmla="*/ 47 h 142"/>
                <a:gd name="T100" fmla="*/ 26 w 151"/>
                <a:gd name="T101" fmla="*/ 57 h 142"/>
                <a:gd name="T102" fmla="*/ 26 w 151"/>
                <a:gd name="T103" fmla="*/ 69 h 142"/>
                <a:gd name="T104" fmla="*/ 41 w 151"/>
                <a:gd name="T105" fmla="*/ 69 h 142"/>
                <a:gd name="T106" fmla="*/ 59 w 151"/>
                <a:gd name="T107" fmla="*/ 71 h 142"/>
                <a:gd name="T108" fmla="*/ 55 w 151"/>
                <a:gd name="T109" fmla="*/ 76 h 142"/>
                <a:gd name="T110" fmla="*/ 29 w 151"/>
                <a:gd name="T111" fmla="*/ 76 h 142"/>
                <a:gd name="T112" fmla="*/ 36 w 151"/>
                <a:gd name="T113" fmla="*/ 95 h 142"/>
                <a:gd name="T114" fmla="*/ 48 w 151"/>
                <a:gd name="T115" fmla="*/ 99 h 142"/>
                <a:gd name="T116" fmla="*/ 59 w 151"/>
                <a:gd name="T117" fmla="*/ 109 h 142"/>
                <a:gd name="T118" fmla="*/ 55 w 151"/>
                <a:gd name="T119" fmla="*/ 85 h 142"/>
                <a:gd name="T120" fmla="*/ 69 w 151"/>
                <a:gd name="T121" fmla="*/ 88 h 142"/>
                <a:gd name="T122" fmla="*/ 59 w 151"/>
                <a:gd name="T123" fmla="*/ 78 h 142"/>
                <a:gd name="T124" fmla="*/ 74 w 151"/>
                <a:gd name="T125" fmla="*/ 3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42">
                  <a:moveTo>
                    <a:pt x="116" y="137"/>
                  </a:moveTo>
                  <a:lnTo>
                    <a:pt x="114" y="137"/>
                  </a:lnTo>
                  <a:lnTo>
                    <a:pt x="111" y="137"/>
                  </a:lnTo>
                  <a:lnTo>
                    <a:pt x="111" y="137"/>
                  </a:lnTo>
                  <a:lnTo>
                    <a:pt x="111" y="137"/>
                  </a:lnTo>
                  <a:lnTo>
                    <a:pt x="109" y="137"/>
                  </a:lnTo>
                  <a:lnTo>
                    <a:pt x="109" y="137"/>
                  </a:lnTo>
                  <a:lnTo>
                    <a:pt x="109" y="135"/>
                  </a:lnTo>
                  <a:lnTo>
                    <a:pt x="109" y="132"/>
                  </a:lnTo>
                  <a:lnTo>
                    <a:pt x="107" y="135"/>
                  </a:lnTo>
                  <a:lnTo>
                    <a:pt x="104" y="135"/>
                  </a:lnTo>
                  <a:lnTo>
                    <a:pt x="102" y="132"/>
                  </a:lnTo>
                  <a:lnTo>
                    <a:pt x="97" y="132"/>
                  </a:lnTo>
                  <a:lnTo>
                    <a:pt x="97" y="132"/>
                  </a:lnTo>
                  <a:lnTo>
                    <a:pt x="92" y="132"/>
                  </a:lnTo>
                  <a:lnTo>
                    <a:pt x="90" y="132"/>
                  </a:lnTo>
                  <a:lnTo>
                    <a:pt x="88" y="132"/>
                  </a:lnTo>
                  <a:lnTo>
                    <a:pt x="88" y="132"/>
                  </a:lnTo>
                  <a:lnTo>
                    <a:pt x="85" y="132"/>
                  </a:lnTo>
                  <a:lnTo>
                    <a:pt x="85" y="132"/>
                  </a:lnTo>
                  <a:lnTo>
                    <a:pt x="83" y="132"/>
                  </a:lnTo>
                  <a:lnTo>
                    <a:pt x="83" y="132"/>
                  </a:lnTo>
                  <a:lnTo>
                    <a:pt x="83" y="130"/>
                  </a:lnTo>
                  <a:lnTo>
                    <a:pt x="83" y="130"/>
                  </a:lnTo>
                  <a:lnTo>
                    <a:pt x="81" y="130"/>
                  </a:lnTo>
                  <a:lnTo>
                    <a:pt x="81" y="130"/>
                  </a:lnTo>
                  <a:lnTo>
                    <a:pt x="81" y="130"/>
                  </a:lnTo>
                  <a:lnTo>
                    <a:pt x="83" y="130"/>
                  </a:lnTo>
                  <a:lnTo>
                    <a:pt x="81" y="128"/>
                  </a:lnTo>
                  <a:lnTo>
                    <a:pt x="81" y="128"/>
                  </a:lnTo>
                  <a:lnTo>
                    <a:pt x="78" y="130"/>
                  </a:lnTo>
                  <a:lnTo>
                    <a:pt x="78" y="130"/>
                  </a:lnTo>
                  <a:lnTo>
                    <a:pt x="78" y="130"/>
                  </a:lnTo>
                  <a:lnTo>
                    <a:pt x="76" y="130"/>
                  </a:lnTo>
                  <a:lnTo>
                    <a:pt x="76" y="130"/>
                  </a:lnTo>
                  <a:lnTo>
                    <a:pt x="74" y="128"/>
                  </a:lnTo>
                  <a:lnTo>
                    <a:pt x="74" y="128"/>
                  </a:lnTo>
                  <a:lnTo>
                    <a:pt x="74" y="128"/>
                  </a:lnTo>
                  <a:lnTo>
                    <a:pt x="74" y="130"/>
                  </a:lnTo>
                  <a:lnTo>
                    <a:pt x="74" y="130"/>
                  </a:lnTo>
                  <a:lnTo>
                    <a:pt x="71" y="130"/>
                  </a:lnTo>
                  <a:lnTo>
                    <a:pt x="71" y="128"/>
                  </a:lnTo>
                  <a:lnTo>
                    <a:pt x="71" y="130"/>
                  </a:lnTo>
                  <a:lnTo>
                    <a:pt x="71" y="132"/>
                  </a:lnTo>
                  <a:lnTo>
                    <a:pt x="71" y="135"/>
                  </a:lnTo>
                  <a:lnTo>
                    <a:pt x="71" y="135"/>
                  </a:lnTo>
                  <a:lnTo>
                    <a:pt x="74" y="135"/>
                  </a:lnTo>
                  <a:lnTo>
                    <a:pt x="74" y="135"/>
                  </a:lnTo>
                  <a:lnTo>
                    <a:pt x="76" y="135"/>
                  </a:lnTo>
                  <a:lnTo>
                    <a:pt x="78" y="137"/>
                  </a:lnTo>
                  <a:lnTo>
                    <a:pt x="88" y="137"/>
                  </a:lnTo>
                  <a:lnTo>
                    <a:pt x="90" y="137"/>
                  </a:lnTo>
                  <a:lnTo>
                    <a:pt x="92" y="140"/>
                  </a:lnTo>
                  <a:lnTo>
                    <a:pt x="92" y="140"/>
                  </a:lnTo>
                  <a:lnTo>
                    <a:pt x="92" y="140"/>
                  </a:lnTo>
                  <a:lnTo>
                    <a:pt x="92" y="142"/>
                  </a:lnTo>
                  <a:lnTo>
                    <a:pt x="92" y="142"/>
                  </a:lnTo>
                  <a:lnTo>
                    <a:pt x="99" y="142"/>
                  </a:lnTo>
                  <a:lnTo>
                    <a:pt x="107" y="140"/>
                  </a:lnTo>
                  <a:lnTo>
                    <a:pt x="111" y="140"/>
                  </a:lnTo>
                  <a:lnTo>
                    <a:pt x="116" y="140"/>
                  </a:lnTo>
                  <a:lnTo>
                    <a:pt x="116" y="140"/>
                  </a:lnTo>
                  <a:lnTo>
                    <a:pt x="118" y="140"/>
                  </a:lnTo>
                  <a:lnTo>
                    <a:pt x="118" y="140"/>
                  </a:lnTo>
                  <a:lnTo>
                    <a:pt x="118" y="137"/>
                  </a:lnTo>
                  <a:lnTo>
                    <a:pt x="118" y="135"/>
                  </a:lnTo>
                  <a:lnTo>
                    <a:pt x="121" y="135"/>
                  </a:lnTo>
                  <a:lnTo>
                    <a:pt x="118" y="135"/>
                  </a:lnTo>
                  <a:lnTo>
                    <a:pt x="116" y="137"/>
                  </a:lnTo>
                  <a:close/>
                  <a:moveTo>
                    <a:pt x="59" y="111"/>
                  </a:moveTo>
                  <a:lnTo>
                    <a:pt x="59" y="111"/>
                  </a:lnTo>
                  <a:lnTo>
                    <a:pt x="59" y="114"/>
                  </a:lnTo>
                  <a:lnTo>
                    <a:pt x="59" y="114"/>
                  </a:lnTo>
                  <a:lnTo>
                    <a:pt x="59" y="116"/>
                  </a:lnTo>
                  <a:lnTo>
                    <a:pt x="62" y="116"/>
                  </a:lnTo>
                  <a:lnTo>
                    <a:pt x="62" y="116"/>
                  </a:lnTo>
                  <a:lnTo>
                    <a:pt x="62" y="114"/>
                  </a:lnTo>
                  <a:lnTo>
                    <a:pt x="59" y="111"/>
                  </a:lnTo>
                  <a:lnTo>
                    <a:pt x="59" y="111"/>
                  </a:lnTo>
                  <a:close/>
                  <a:moveTo>
                    <a:pt x="151" y="111"/>
                  </a:moveTo>
                  <a:lnTo>
                    <a:pt x="151" y="111"/>
                  </a:lnTo>
                  <a:lnTo>
                    <a:pt x="151" y="111"/>
                  </a:lnTo>
                  <a:lnTo>
                    <a:pt x="147" y="111"/>
                  </a:lnTo>
                  <a:lnTo>
                    <a:pt x="144" y="114"/>
                  </a:lnTo>
                  <a:lnTo>
                    <a:pt x="144" y="116"/>
                  </a:lnTo>
                  <a:lnTo>
                    <a:pt x="142" y="116"/>
                  </a:lnTo>
                  <a:lnTo>
                    <a:pt x="142" y="116"/>
                  </a:lnTo>
                  <a:lnTo>
                    <a:pt x="144" y="118"/>
                  </a:lnTo>
                  <a:lnTo>
                    <a:pt x="144" y="121"/>
                  </a:lnTo>
                  <a:lnTo>
                    <a:pt x="144" y="121"/>
                  </a:lnTo>
                  <a:lnTo>
                    <a:pt x="144" y="121"/>
                  </a:lnTo>
                  <a:lnTo>
                    <a:pt x="144" y="121"/>
                  </a:lnTo>
                  <a:lnTo>
                    <a:pt x="147" y="118"/>
                  </a:lnTo>
                  <a:lnTo>
                    <a:pt x="149" y="118"/>
                  </a:lnTo>
                  <a:lnTo>
                    <a:pt x="149" y="116"/>
                  </a:lnTo>
                  <a:lnTo>
                    <a:pt x="151" y="116"/>
                  </a:lnTo>
                  <a:lnTo>
                    <a:pt x="151" y="111"/>
                  </a:lnTo>
                  <a:close/>
                  <a:moveTo>
                    <a:pt x="130" y="83"/>
                  </a:moveTo>
                  <a:lnTo>
                    <a:pt x="130" y="80"/>
                  </a:lnTo>
                  <a:lnTo>
                    <a:pt x="128" y="80"/>
                  </a:lnTo>
                  <a:lnTo>
                    <a:pt x="128" y="80"/>
                  </a:lnTo>
                  <a:lnTo>
                    <a:pt x="125" y="80"/>
                  </a:lnTo>
                  <a:lnTo>
                    <a:pt x="123" y="80"/>
                  </a:lnTo>
                  <a:lnTo>
                    <a:pt x="123" y="80"/>
                  </a:lnTo>
                  <a:lnTo>
                    <a:pt x="121" y="83"/>
                  </a:lnTo>
                  <a:lnTo>
                    <a:pt x="121" y="83"/>
                  </a:lnTo>
                  <a:lnTo>
                    <a:pt x="123" y="83"/>
                  </a:lnTo>
                  <a:lnTo>
                    <a:pt x="125" y="83"/>
                  </a:lnTo>
                  <a:lnTo>
                    <a:pt x="125" y="85"/>
                  </a:lnTo>
                  <a:lnTo>
                    <a:pt x="128" y="83"/>
                  </a:lnTo>
                  <a:lnTo>
                    <a:pt x="130" y="83"/>
                  </a:lnTo>
                  <a:close/>
                  <a:moveTo>
                    <a:pt x="22" y="80"/>
                  </a:moveTo>
                  <a:lnTo>
                    <a:pt x="19" y="80"/>
                  </a:lnTo>
                  <a:lnTo>
                    <a:pt x="19" y="78"/>
                  </a:lnTo>
                  <a:lnTo>
                    <a:pt x="17" y="80"/>
                  </a:lnTo>
                  <a:lnTo>
                    <a:pt x="19" y="80"/>
                  </a:lnTo>
                  <a:lnTo>
                    <a:pt x="19" y="83"/>
                  </a:lnTo>
                  <a:lnTo>
                    <a:pt x="22" y="83"/>
                  </a:lnTo>
                  <a:lnTo>
                    <a:pt x="24" y="83"/>
                  </a:lnTo>
                  <a:lnTo>
                    <a:pt x="24" y="83"/>
                  </a:lnTo>
                  <a:lnTo>
                    <a:pt x="22" y="80"/>
                  </a:lnTo>
                  <a:lnTo>
                    <a:pt x="22" y="80"/>
                  </a:lnTo>
                  <a:close/>
                  <a:moveTo>
                    <a:pt x="66" y="76"/>
                  </a:moveTo>
                  <a:lnTo>
                    <a:pt x="66" y="76"/>
                  </a:lnTo>
                  <a:lnTo>
                    <a:pt x="66" y="78"/>
                  </a:lnTo>
                  <a:lnTo>
                    <a:pt x="66" y="78"/>
                  </a:lnTo>
                  <a:lnTo>
                    <a:pt x="66" y="78"/>
                  </a:lnTo>
                  <a:lnTo>
                    <a:pt x="66" y="78"/>
                  </a:lnTo>
                  <a:lnTo>
                    <a:pt x="69" y="78"/>
                  </a:lnTo>
                  <a:lnTo>
                    <a:pt x="69" y="78"/>
                  </a:lnTo>
                  <a:lnTo>
                    <a:pt x="69" y="78"/>
                  </a:lnTo>
                  <a:lnTo>
                    <a:pt x="69" y="76"/>
                  </a:lnTo>
                  <a:lnTo>
                    <a:pt x="66" y="76"/>
                  </a:lnTo>
                  <a:close/>
                  <a:moveTo>
                    <a:pt x="19" y="73"/>
                  </a:moveTo>
                  <a:lnTo>
                    <a:pt x="22" y="73"/>
                  </a:lnTo>
                  <a:lnTo>
                    <a:pt x="19" y="71"/>
                  </a:lnTo>
                  <a:lnTo>
                    <a:pt x="17" y="71"/>
                  </a:lnTo>
                  <a:lnTo>
                    <a:pt x="17" y="69"/>
                  </a:lnTo>
                  <a:lnTo>
                    <a:pt x="17" y="66"/>
                  </a:lnTo>
                  <a:lnTo>
                    <a:pt x="17" y="66"/>
                  </a:lnTo>
                  <a:lnTo>
                    <a:pt x="17" y="69"/>
                  </a:lnTo>
                  <a:lnTo>
                    <a:pt x="15" y="69"/>
                  </a:lnTo>
                  <a:lnTo>
                    <a:pt x="15" y="69"/>
                  </a:lnTo>
                  <a:lnTo>
                    <a:pt x="15" y="69"/>
                  </a:lnTo>
                  <a:lnTo>
                    <a:pt x="15" y="69"/>
                  </a:lnTo>
                  <a:lnTo>
                    <a:pt x="12" y="71"/>
                  </a:lnTo>
                  <a:lnTo>
                    <a:pt x="12" y="73"/>
                  </a:lnTo>
                  <a:lnTo>
                    <a:pt x="15" y="73"/>
                  </a:lnTo>
                  <a:lnTo>
                    <a:pt x="15" y="71"/>
                  </a:lnTo>
                  <a:lnTo>
                    <a:pt x="15" y="71"/>
                  </a:lnTo>
                  <a:lnTo>
                    <a:pt x="15" y="73"/>
                  </a:lnTo>
                  <a:lnTo>
                    <a:pt x="15" y="73"/>
                  </a:lnTo>
                  <a:lnTo>
                    <a:pt x="17" y="73"/>
                  </a:lnTo>
                  <a:lnTo>
                    <a:pt x="17" y="73"/>
                  </a:lnTo>
                  <a:lnTo>
                    <a:pt x="17" y="73"/>
                  </a:lnTo>
                  <a:lnTo>
                    <a:pt x="19" y="76"/>
                  </a:lnTo>
                  <a:lnTo>
                    <a:pt x="19" y="73"/>
                  </a:lnTo>
                  <a:close/>
                  <a:moveTo>
                    <a:pt x="19" y="66"/>
                  </a:moveTo>
                  <a:lnTo>
                    <a:pt x="17" y="66"/>
                  </a:lnTo>
                  <a:lnTo>
                    <a:pt x="17" y="66"/>
                  </a:lnTo>
                  <a:lnTo>
                    <a:pt x="17" y="69"/>
                  </a:lnTo>
                  <a:lnTo>
                    <a:pt x="19" y="69"/>
                  </a:lnTo>
                  <a:lnTo>
                    <a:pt x="19" y="69"/>
                  </a:lnTo>
                  <a:lnTo>
                    <a:pt x="19" y="69"/>
                  </a:lnTo>
                  <a:lnTo>
                    <a:pt x="19" y="69"/>
                  </a:lnTo>
                  <a:lnTo>
                    <a:pt x="19" y="66"/>
                  </a:lnTo>
                  <a:lnTo>
                    <a:pt x="19" y="66"/>
                  </a:lnTo>
                  <a:lnTo>
                    <a:pt x="19" y="66"/>
                  </a:lnTo>
                  <a:close/>
                  <a:moveTo>
                    <a:pt x="111" y="64"/>
                  </a:moveTo>
                  <a:lnTo>
                    <a:pt x="111" y="64"/>
                  </a:lnTo>
                  <a:lnTo>
                    <a:pt x="107" y="64"/>
                  </a:lnTo>
                  <a:lnTo>
                    <a:pt x="107" y="66"/>
                  </a:lnTo>
                  <a:lnTo>
                    <a:pt x="109" y="69"/>
                  </a:lnTo>
                  <a:lnTo>
                    <a:pt x="111" y="69"/>
                  </a:lnTo>
                  <a:lnTo>
                    <a:pt x="109" y="71"/>
                  </a:lnTo>
                  <a:lnTo>
                    <a:pt x="109" y="71"/>
                  </a:lnTo>
                  <a:lnTo>
                    <a:pt x="109" y="71"/>
                  </a:lnTo>
                  <a:lnTo>
                    <a:pt x="111" y="73"/>
                  </a:lnTo>
                  <a:lnTo>
                    <a:pt x="111" y="71"/>
                  </a:lnTo>
                  <a:lnTo>
                    <a:pt x="111" y="71"/>
                  </a:lnTo>
                  <a:lnTo>
                    <a:pt x="114" y="71"/>
                  </a:lnTo>
                  <a:lnTo>
                    <a:pt x="114" y="71"/>
                  </a:lnTo>
                  <a:lnTo>
                    <a:pt x="114" y="66"/>
                  </a:lnTo>
                  <a:lnTo>
                    <a:pt x="114" y="66"/>
                  </a:lnTo>
                  <a:lnTo>
                    <a:pt x="114" y="64"/>
                  </a:lnTo>
                  <a:lnTo>
                    <a:pt x="111" y="64"/>
                  </a:lnTo>
                  <a:close/>
                  <a:moveTo>
                    <a:pt x="19" y="59"/>
                  </a:moveTo>
                  <a:lnTo>
                    <a:pt x="17" y="59"/>
                  </a:lnTo>
                  <a:lnTo>
                    <a:pt x="17" y="59"/>
                  </a:lnTo>
                  <a:lnTo>
                    <a:pt x="17" y="62"/>
                  </a:lnTo>
                  <a:lnTo>
                    <a:pt x="17" y="64"/>
                  </a:lnTo>
                  <a:lnTo>
                    <a:pt x="17" y="64"/>
                  </a:lnTo>
                  <a:lnTo>
                    <a:pt x="17" y="64"/>
                  </a:lnTo>
                  <a:lnTo>
                    <a:pt x="17" y="64"/>
                  </a:lnTo>
                  <a:lnTo>
                    <a:pt x="19" y="64"/>
                  </a:lnTo>
                  <a:lnTo>
                    <a:pt x="19" y="64"/>
                  </a:lnTo>
                  <a:lnTo>
                    <a:pt x="19" y="59"/>
                  </a:lnTo>
                  <a:lnTo>
                    <a:pt x="19" y="59"/>
                  </a:lnTo>
                  <a:close/>
                  <a:moveTo>
                    <a:pt x="66" y="59"/>
                  </a:moveTo>
                  <a:lnTo>
                    <a:pt x="64" y="57"/>
                  </a:lnTo>
                  <a:lnTo>
                    <a:pt x="64" y="54"/>
                  </a:lnTo>
                  <a:lnTo>
                    <a:pt x="62" y="54"/>
                  </a:lnTo>
                  <a:lnTo>
                    <a:pt x="59" y="54"/>
                  </a:lnTo>
                  <a:lnTo>
                    <a:pt x="57" y="57"/>
                  </a:lnTo>
                  <a:lnTo>
                    <a:pt x="57" y="57"/>
                  </a:lnTo>
                  <a:lnTo>
                    <a:pt x="57" y="59"/>
                  </a:lnTo>
                  <a:lnTo>
                    <a:pt x="57" y="59"/>
                  </a:lnTo>
                  <a:lnTo>
                    <a:pt x="59" y="57"/>
                  </a:lnTo>
                  <a:lnTo>
                    <a:pt x="62" y="59"/>
                  </a:lnTo>
                  <a:lnTo>
                    <a:pt x="62" y="59"/>
                  </a:lnTo>
                  <a:lnTo>
                    <a:pt x="64" y="62"/>
                  </a:lnTo>
                  <a:lnTo>
                    <a:pt x="66" y="62"/>
                  </a:lnTo>
                  <a:lnTo>
                    <a:pt x="66" y="64"/>
                  </a:lnTo>
                  <a:lnTo>
                    <a:pt x="69" y="64"/>
                  </a:lnTo>
                  <a:lnTo>
                    <a:pt x="69" y="64"/>
                  </a:lnTo>
                  <a:lnTo>
                    <a:pt x="69" y="66"/>
                  </a:lnTo>
                  <a:lnTo>
                    <a:pt x="71" y="69"/>
                  </a:lnTo>
                  <a:lnTo>
                    <a:pt x="74" y="69"/>
                  </a:lnTo>
                  <a:lnTo>
                    <a:pt x="76" y="69"/>
                  </a:lnTo>
                  <a:lnTo>
                    <a:pt x="76" y="69"/>
                  </a:lnTo>
                  <a:lnTo>
                    <a:pt x="76" y="69"/>
                  </a:lnTo>
                  <a:lnTo>
                    <a:pt x="78" y="69"/>
                  </a:lnTo>
                  <a:lnTo>
                    <a:pt x="78" y="71"/>
                  </a:lnTo>
                  <a:lnTo>
                    <a:pt x="78" y="71"/>
                  </a:lnTo>
                  <a:lnTo>
                    <a:pt x="78" y="73"/>
                  </a:lnTo>
                  <a:lnTo>
                    <a:pt x="81" y="73"/>
                  </a:lnTo>
                  <a:lnTo>
                    <a:pt x="81" y="76"/>
                  </a:lnTo>
                  <a:lnTo>
                    <a:pt x="83" y="76"/>
                  </a:lnTo>
                  <a:lnTo>
                    <a:pt x="83" y="76"/>
                  </a:lnTo>
                  <a:lnTo>
                    <a:pt x="83" y="76"/>
                  </a:lnTo>
                  <a:lnTo>
                    <a:pt x="85" y="76"/>
                  </a:lnTo>
                  <a:lnTo>
                    <a:pt x="85" y="78"/>
                  </a:lnTo>
                  <a:lnTo>
                    <a:pt x="85" y="76"/>
                  </a:lnTo>
                  <a:lnTo>
                    <a:pt x="85" y="76"/>
                  </a:lnTo>
                  <a:lnTo>
                    <a:pt x="85" y="73"/>
                  </a:lnTo>
                  <a:lnTo>
                    <a:pt x="85" y="73"/>
                  </a:lnTo>
                  <a:lnTo>
                    <a:pt x="83" y="73"/>
                  </a:lnTo>
                  <a:lnTo>
                    <a:pt x="83" y="73"/>
                  </a:lnTo>
                  <a:lnTo>
                    <a:pt x="81" y="71"/>
                  </a:lnTo>
                  <a:lnTo>
                    <a:pt x="81" y="69"/>
                  </a:lnTo>
                  <a:lnTo>
                    <a:pt x="78" y="66"/>
                  </a:lnTo>
                  <a:lnTo>
                    <a:pt x="78" y="66"/>
                  </a:lnTo>
                  <a:lnTo>
                    <a:pt x="78" y="64"/>
                  </a:lnTo>
                  <a:lnTo>
                    <a:pt x="78" y="64"/>
                  </a:lnTo>
                  <a:lnTo>
                    <a:pt x="78" y="62"/>
                  </a:lnTo>
                  <a:lnTo>
                    <a:pt x="78" y="62"/>
                  </a:lnTo>
                  <a:lnTo>
                    <a:pt x="74" y="62"/>
                  </a:lnTo>
                  <a:lnTo>
                    <a:pt x="71" y="59"/>
                  </a:lnTo>
                  <a:lnTo>
                    <a:pt x="69" y="59"/>
                  </a:lnTo>
                  <a:lnTo>
                    <a:pt x="66" y="59"/>
                  </a:lnTo>
                  <a:lnTo>
                    <a:pt x="66" y="59"/>
                  </a:lnTo>
                  <a:close/>
                  <a:moveTo>
                    <a:pt x="116" y="47"/>
                  </a:moveTo>
                  <a:lnTo>
                    <a:pt x="116" y="47"/>
                  </a:lnTo>
                  <a:lnTo>
                    <a:pt x="111" y="47"/>
                  </a:lnTo>
                  <a:lnTo>
                    <a:pt x="111" y="47"/>
                  </a:lnTo>
                  <a:lnTo>
                    <a:pt x="111" y="50"/>
                  </a:lnTo>
                  <a:lnTo>
                    <a:pt x="109" y="50"/>
                  </a:lnTo>
                  <a:lnTo>
                    <a:pt x="109" y="50"/>
                  </a:lnTo>
                  <a:lnTo>
                    <a:pt x="107" y="50"/>
                  </a:lnTo>
                  <a:lnTo>
                    <a:pt x="107" y="52"/>
                  </a:lnTo>
                  <a:lnTo>
                    <a:pt x="109" y="52"/>
                  </a:lnTo>
                  <a:lnTo>
                    <a:pt x="111" y="52"/>
                  </a:lnTo>
                  <a:lnTo>
                    <a:pt x="111" y="52"/>
                  </a:lnTo>
                  <a:lnTo>
                    <a:pt x="114" y="50"/>
                  </a:lnTo>
                  <a:lnTo>
                    <a:pt x="114" y="52"/>
                  </a:lnTo>
                  <a:lnTo>
                    <a:pt x="111" y="54"/>
                  </a:lnTo>
                  <a:lnTo>
                    <a:pt x="111" y="54"/>
                  </a:lnTo>
                  <a:lnTo>
                    <a:pt x="116" y="54"/>
                  </a:lnTo>
                  <a:lnTo>
                    <a:pt x="118" y="57"/>
                  </a:lnTo>
                  <a:lnTo>
                    <a:pt x="118" y="54"/>
                  </a:lnTo>
                  <a:lnTo>
                    <a:pt x="118" y="54"/>
                  </a:lnTo>
                  <a:lnTo>
                    <a:pt x="118" y="54"/>
                  </a:lnTo>
                  <a:lnTo>
                    <a:pt x="118" y="54"/>
                  </a:lnTo>
                  <a:lnTo>
                    <a:pt x="121" y="54"/>
                  </a:lnTo>
                  <a:lnTo>
                    <a:pt x="121" y="54"/>
                  </a:lnTo>
                  <a:lnTo>
                    <a:pt x="118" y="52"/>
                  </a:lnTo>
                  <a:lnTo>
                    <a:pt x="118" y="52"/>
                  </a:lnTo>
                  <a:lnTo>
                    <a:pt x="116" y="50"/>
                  </a:lnTo>
                  <a:lnTo>
                    <a:pt x="116" y="47"/>
                  </a:lnTo>
                  <a:close/>
                  <a:moveTo>
                    <a:pt x="8" y="45"/>
                  </a:moveTo>
                  <a:lnTo>
                    <a:pt x="5" y="45"/>
                  </a:lnTo>
                  <a:lnTo>
                    <a:pt x="5" y="45"/>
                  </a:lnTo>
                  <a:lnTo>
                    <a:pt x="5" y="43"/>
                  </a:lnTo>
                  <a:lnTo>
                    <a:pt x="5" y="43"/>
                  </a:lnTo>
                  <a:lnTo>
                    <a:pt x="3" y="40"/>
                  </a:lnTo>
                  <a:lnTo>
                    <a:pt x="3" y="40"/>
                  </a:lnTo>
                  <a:lnTo>
                    <a:pt x="5" y="40"/>
                  </a:lnTo>
                  <a:lnTo>
                    <a:pt x="5" y="38"/>
                  </a:lnTo>
                  <a:lnTo>
                    <a:pt x="3" y="38"/>
                  </a:lnTo>
                  <a:lnTo>
                    <a:pt x="3" y="38"/>
                  </a:lnTo>
                  <a:lnTo>
                    <a:pt x="0" y="38"/>
                  </a:lnTo>
                  <a:lnTo>
                    <a:pt x="0" y="38"/>
                  </a:lnTo>
                  <a:lnTo>
                    <a:pt x="0" y="40"/>
                  </a:lnTo>
                  <a:lnTo>
                    <a:pt x="3" y="43"/>
                  </a:lnTo>
                  <a:lnTo>
                    <a:pt x="3" y="45"/>
                  </a:lnTo>
                  <a:lnTo>
                    <a:pt x="5" y="47"/>
                  </a:lnTo>
                  <a:lnTo>
                    <a:pt x="8" y="47"/>
                  </a:lnTo>
                  <a:lnTo>
                    <a:pt x="8" y="45"/>
                  </a:lnTo>
                  <a:lnTo>
                    <a:pt x="8" y="45"/>
                  </a:lnTo>
                  <a:close/>
                  <a:moveTo>
                    <a:pt x="102" y="26"/>
                  </a:moveTo>
                  <a:lnTo>
                    <a:pt x="102" y="26"/>
                  </a:lnTo>
                  <a:lnTo>
                    <a:pt x="102" y="26"/>
                  </a:lnTo>
                  <a:lnTo>
                    <a:pt x="99" y="24"/>
                  </a:lnTo>
                  <a:lnTo>
                    <a:pt x="99" y="26"/>
                  </a:lnTo>
                  <a:lnTo>
                    <a:pt x="99" y="28"/>
                  </a:lnTo>
                  <a:lnTo>
                    <a:pt x="102" y="26"/>
                  </a:lnTo>
                  <a:close/>
                  <a:moveTo>
                    <a:pt x="85" y="21"/>
                  </a:moveTo>
                  <a:lnTo>
                    <a:pt x="85" y="19"/>
                  </a:lnTo>
                  <a:lnTo>
                    <a:pt x="83" y="19"/>
                  </a:lnTo>
                  <a:lnTo>
                    <a:pt x="83" y="19"/>
                  </a:lnTo>
                  <a:lnTo>
                    <a:pt x="83" y="21"/>
                  </a:lnTo>
                  <a:lnTo>
                    <a:pt x="83" y="21"/>
                  </a:lnTo>
                  <a:lnTo>
                    <a:pt x="85" y="24"/>
                  </a:lnTo>
                  <a:lnTo>
                    <a:pt x="88" y="24"/>
                  </a:lnTo>
                  <a:lnTo>
                    <a:pt x="85" y="21"/>
                  </a:lnTo>
                  <a:lnTo>
                    <a:pt x="88" y="21"/>
                  </a:lnTo>
                  <a:lnTo>
                    <a:pt x="85" y="21"/>
                  </a:lnTo>
                  <a:close/>
                  <a:moveTo>
                    <a:pt x="74" y="80"/>
                  </a:moveTo>
                  <a:lnTo>
                    <a:pt x="76" y="83"/>
                  </a:lnTo>
                  <a:lnTo>
                    <a:pt x="76" y="83"/>
                  </a:lnTo>
                  <a:lnTo>
                    <a:pt x="78" y="83"/>
                  </a:lnTo>
                  <a:lnTo>
                    <a:pt x="78" y="80"/>
                  </a:lnTo>
                  <a:lnTo>
                    <a:pt x="78" y="80"/>
                  </a:lnTo>
                  <a:lnTo>
                    <a:pt x="76" y="78"/>
                  </a:lnTo>
                  <a:lnTo>
                    <a:pt x="76" y="73"/>
                  </a:lnTo>
                  <a:lnTo>
                    <a:pt x="76" y="71"/>
                  </a:lnTo>
                  <a:lnTo>
                    <a:pt x="76" y="71"/>
                  </a:lnTo>
                  <a:lnTo>
                    <a:pt x="74" y="69"/>
                  </a:lnTo>
                  <a:lnTo>
                    <a:pt x="71" y="69"/>
                  </a:lnTo>
                  <a:lnTo>
                    <a:pt x="69" y="66"/>
                  </a:lnTo>
                  <a:lnTo>
                    <a:pt x="64" y="66"/>
                  </a:lnTo>
                  <a:lnTo>
                    <a:pt x="62" y="62"/>
                  </a:lnTo>
                  <a:lnTo>
                    <a:pt x="62" y="62"/>
                  </a:lnTo>
                  <a:lnTo>
                    <a:pt x="59" y="62"/>
                  </a:lnTo>
                  <a:lnTo>
                    <a:pt x="55" y="59"/>
                  </a:lnTo>
                  <a:lnTo>
                    <a:pt x="52" y="59"/>
                  </a:lnTo>
                  <a:lnTo>
                    <a:pt x="52" y="59"/>
                  </a:lnTo>
                  <a:lnTo>
                    <a:pt x="50" y="57"/>
                  </a:lnTo>
                  <a:lnTo>
                    <a:pt x="50" y="57"/>
                  </a:lnTo>
                  <a:lnTo>
                    <a:pt x="52" y="57"/>
                  </a:lnTo>
                  <a:lnTo>
                    <a:pt x="55" y="57"/>
                  </a:lnTo>
                  <a:lnTo>
                    <a:pt x="57" y="57"/>
                  </a:lnTo>
                  <a:lnTo>
                    <a:pt x="59" y="54"/>
                  </a:lnTo>
                  <a:lnTo>
                    <a:pt x="57" y="54"/>
                  </a:lnTo>
                  <a:lnTo>
                    <a:pt x="57" y="52"/>
                  </a:lnTo>
                  <a:lnTo>
                    <a:pt x="55" y="52"/>
                  </a:lnTo>
                  <a:lnTo>
                    <a:pt x="55" y="50"/>
                  </a:lnTo>
                  <a:lnTo>
                    <a:pt x="57" y="50"/>
                  </a:lnTo>
                  <a:lnTo>
                    <a:pt x="57" y="47"/>
                  </a:lnTo>
                  <a:lnTo>
                    <a:pt x="59" y="50"/>
                  </a:lnTo>
                  <a:lnTo>
                    <a:pt x="62" y="50"/>
                  </a:lnTo>
                  <a:lnTo>
                    <a:pt x="59" y="52"/>
                  </a:lnTo>
                  <a:lnTo>
                    <a:pt x="59" y="52"/>
                  </a:lnTo>
                  <a:lnTo>
                    <a:pt x="62" y="52"/>
                  </a:lnTo>
                  <a:lnTo>
                    <a:pt x="64" y="52"/>
                  </a:lnTo>
                  <a:lnTo>
                    <a:pt x="62" y="50"/>
                  </a:lnTo>
                  <a:lnTo>
                    <a:pt x="62" y="47"/>
                  </a:lnTo>
                  <a:lnTo>
                    <a:pt x="59" y="45"/>
                  </a:lnTo>
                  <a:lnTo>
                    <a:pt x="57" y="43"/>
                  </a:lnTo>
                  <a:lnTo>
                    <a:pt x="57" y="43"/>
                  </a:lnTo>
                  <a:lnTo>
                    <a:pt x="55" y="38"/>
                  </a:lnTo>
                  <a:lnTo>
                    <a:pt x="50" y="36"/>
                  </a:lnTo>
                  <a:lnTo>
                    <a:pt x="50" y="33"/>
                  </a:lnTo>
                  <a:lnTo>
                    <a:pt x="50" y="31"/>
                  </a:lnTo>
                  <a:lnTo>
                    <a:pt x="50" y="28"/>
                  </a:lnTo>
                  <a:lnTo>
                    <a:pt x="50" y="26"/>
                  </a:lnTo>
                  <a:lnTo>
                    <a:pt x="50" y="26"/>
                  </a:lnTo>
                  <a:lnTo>
                    <a:pt x="52" y="24"/>
                  </a:lnTo>
                  <a:lnTo>
                    <a:pt x="52" y="24"/>
                  </a:lnTo>
                  <a:lnTo>
                    <a:pt x="55" y="24"/>
                  </a:lnTo>
                  <a:lnTo>
                    <a:pt x="55" y="24"/>
                  </a:lnTo>
                  <a:lnTo>
                    <a:pt x="55" y="26"/>
                  </a:lnTo>
                  <a:lnTo>
                    <a:pt x="55" y="28"/>
                  </a:lnTo>
                  <a:lnTo>
                    <a:pt x="59" y="28"/>
                  </a:lnTo>
                  <a:lnTo>
                    <a:pt x="62" y="31"/>
                  </a:lnTo>
                  <a:lnTo>
                    <a:pt x="62" y="33"/>
                  </a:lnTo>
                  <a:lnTo>
                    <a:pt x="64" y="33"/>
                  </a:lnTo>
                  <a:lnTo>
                    <a:pt x="69" y="36"/>
                  </a:lnTo>
                  <a:lnTo>
                    <a:pt x="69" y="36"/>
                  </a:lnTo>
                  <a:lnTo>
                    <a:pt x="69" y="36"/>
                  </a:lnTo>
                  <a:lnTo>
                    <a:pt x="64" y="33"/>
                  </a:lnTo>
                  <a:lnTo>
                    <a:pt x="64" y="33"/>
                  </a:lnTo>
                  <a:lnTo>
                    <a:pt x="64" y="31"/>
                  </a:lnTo>
                  <a:lnTo>
                    <a:pt x="64" y="31"/>
                  </a:lnTo>
                  <a:lnTo>
                    <a:pt x="69" y="31"/>
                  </a:lnTo>
                  <a:lnTo>
                    <a:pt x="71" y="36"/>
                  </a:lnTo>
                  <a:lnTo>
                    <a:pt x="74" y="36"/>
                  </a:lnTo>
                  <a:lnTo>
                    <a:pt x="74" y="33"/>
                  </a:lnTo>
                  <a:lnTo>
                    <a:pt x="74" y="33"/>
                  </a:lnTo>
                  <a:lnTo>
                    <a:pt x="74" y="33"/>
                  </a:lnTo>
                  <a:lnTo>
                    <a:pt x="71" y="31"/>
                  </a:lnTo>
                  <a:lnTo>
                    <a:pt x="69" y="31"/>
                  </a:lnTo>
                  <a:lnTo>
                    <a:pt x="69" y="28"/>
                  </a:lnTo>
                  <a:lnTo>
                    <a:pt x="71" y="28"/>
                  </a:lnTo>
                  <a:lnTo>
                    <a:pt x="71" y="28"/>
                  </a:lnTo>
                  <a:lnTo>
                    <a:pt x="74" y="28"/>
                  </a:lnTo>
                  <a:lnTo>
                    <a:pt x="76" y="31"/>
                  </a:lnTo>
                  <a:lnTo>
                    <a:pt x="78" y="31"/>
                  </a:lnTo>
                  <a:lnTo>
                    <a:pt x="81" y="33"/>
                  </a:lnTo>
                  <a:lnTo>
                    <a:pt x="78" y="31"/>
                  </a:lnTo>
                  <a:lnTo>
                    <a:pt x="78" y="28"/>
                  </a:lnTo>
                  <a:lnTo>
                    <a:pt x="74" y="26"/>
                  </a:lnTo>
                  <a:lnTo>
                    <a:pt x="74" y="26"/>
                  </a:lnTo>
                  <a:lnTo>
                    <a:pt x="71" y="26"/>
                  </a:lnTo>
                  <a:lnTo>
                    <a:pt x="71" y="26"/>
                  </a:lnTo>
                  <a:lnTo>
                    <a:pt x="71" y="24"/>
                  </a:lnTo>
                  <a:lnTo>
                    <a:pt x="69" y="21"/>
                  </a:lnTo>
                  <a:lnTo>
                    <a:pt x="69" y="21"/>
                  </a:lnTo>
                  <a:lnTo>
                    <a:pt x="69" y="19"/>
                  </a:lnTo>
                  <a:lnTo>
                    <a:pt x="71" y="19"/>
                  </a:lnTo>
                  <a:lnTo>
                    <a:pt x="74" y="21"/>
                  </a:lnTo>
                  <a:lnTo>
                    <a:pt x="78" y="19"/>
                  </a:lnTo>
                  <a:lnTo>
                    <a:pt x="81" y="17"/>
                  </a:lnTo>
                  <a:lnTo>
                    <a:pt x="81" y="17"/>
                  </a:lnTo>
                  <a:lnTo>
                    <a:pt x="83" y="17"/>
                  </a:lnTo>
                  <a:lnTo>
                    <a:pt x="85" y="17"/>
                  </a:lnTo>
                  <a:lnTo>
                    <a:pt x="88" y="17"/>
                  </a:lnTo>
                  <a:lnTo>
                    <a:pt x="90" y="17"/>
                  </a:lnTo>
                  <a:lnTo>
                    <a:pt x="92" y="14"/>
                  </a:lnTo>
                  <a:lnTo>
                    <a:pt x="95" y="17"/>
                  </a:lnTo>
                  <a:lnTo>
                    <a:pt x="95" y="17"/>
                  </a:lnTo>
                  <a:lnTo>
                    <a:pt x="99" y="17"/>
                  </a:lnTo>
                  <a:lnTo>
                    <a:pt x="104" y="19"/>
                  </a:lnTo>
                  <a:lnTo>
                    <a:pt x="107" y="19"/>
                  </a:lnTo>
                  <a:lnTo>
                    <a:pt x="109" y="21"/>
                  </a:lnTo>
                  <a:lnTo>
                    <a:pt x="109" y="21"/>
                  </a:lnTo>
                  <a:lnTo>
                    <a:pt x="109" y="19"/>
                  </a:lnTo>
                  <a:lnTo>
                    <a:pt x="111" y="19"/>
                  </a:lnTo>
                  <a:lnTo>
                    <a:pt x="111" y="17"/>
                  </a:lnTo>
                  <a:lnTo>
                    <a:pt x="114" y="17"/>
                  </a:lnTo>
                  <a:lnTo>
                    <a:pt x="114" y="14"/>
                  </a:lnTo>
                  <a:lnTo>
                    <a:pt x="114" y="14"/>
                  </a:lnTo>
                  <a:lnTo>
                    <a:pt x="114" y="14"/>
                  </a:lnTo>
                  <a:lnTo>
                    <a:pt x="114" y="12"/>
                  </a:lnTo>
                  <a:lnTo>
                    <a:pt x="111" y="12"/>
                  </a:lnTo>
                  <a:lnTo>
                    <a:pt x="111" y="10"/>
                  </a:lnTo>
                  <a:lnTo>
                    <a:pt x="116" y="7"/>
                  </a:lnTo>
                  <a:lnTo>
                    <a:pt x="116" y="7"/>
                  </a:lnTo>
                  <a:lnTo>
                    <a:pt x="116" y="7"/>
                  </a:lnTo>
                  <a:lnTo>
                    <a:pt x="116" y="5"/>
                  </a:lnTo>
                  <a:lnTo>
                    <a:pt x="116" y="2"/>
                  </a:lnTo>
                  <a:lnTo>
                    <a:pt x="116" y="2"/>
                  </a:lnTo>
                  <a:lnTo>
                    <a:pt x="114" y="2"/>
                  </a:lnTo>
                  <a:lnTo>
                    <a:pt x="114" y="0"/>
                  </a:lnTo>
                  <a:lnTo>
                    <a:pt x="114" y="0"/>
                  </a:lnTo>
                  <a:lnTo>
                    <a:pt x="111" y="0"/>
                  </a:lnTo>
                  <a:lnTo>
                    <a:pt x="109" y="0"/>
                  </a:lnTo>
                  <a:lnTo>
                    <a:pt x="109" y="0"/>
                  </a:lnTo>
                  <a:lnTo>
                    <a:pt x="107" y="0"/>
                  </a:lnTo>
                  <a:lnTo>
                    <a:pt x="107" y="0"/>
                  </a:lnTo>
                  <a:lnTo>
                    <a:pt x="107" y="2"/>
                  </a:lnTo>
                  <a:lnTo>
                    <a:pt x="109" y="2"/>
                  </a:lnTo>
                  <a:lnTo>
                    <a:pt x="109" y="5"/>
                  </a:lnTo>
                  <a:lnTo>
                    <a:pt x="109" y="5"/>
                  </a:lnTo>
                  <a:lnTo>
                    <a:pt x="109" y="7"/>
                  </a:lnTo>
                  <a:lnTo>
                    <a:pt x="107" y="7"/>
                  </a:lnTo>
                  <a:lnTo>
                    <a:pt x="104" y="10"/>
                  </a:lnTo>
                  <a:lnTo>
                    <a:pt x="102" y="7"/>
                  </a:lnTo>
                  <a:lnTo>
                    <a:pt x="102" y="7"/>
                  </a:lnTo>
                  <a:lnTo>
                    <a:pt x="99" y="10"/>
                  </a:lnTo>
                  <a:lnTo>
                    <a:pt x="99" y="10"/>
                  </a:lnTo>
                  <a:lnTo>
                    <a:pt x="97" y="10"/>
                  </a:lnTo>
                  <a:lnTo>
                    <a:pt x="95" y="10"/>
                  </a:lnTo>
                  <a:lnTo>
                    <a:pt x="92" y="7"/>
                  </a:lnTo>
                  <a:lnTo>
                    <a:pt x="90" y="7"/>
                  </a:lnTo>
                  <a:lnTo>
                    <a:pt x="88" y="7"/>
                  </a:lnTo>
                  <a:lnTo>
                    <a:pt x="85" y="7"/>
                  </a:lnTo>
                  <a:lnTo>
                    <a:pt x="85" y="7"/>
                  </a:lnTo>
                  <a:lnTo>
                    <a:pt x="83" y="7"/>
                  </a:lnTo>
                  <a:lnTo>
                    <a:pt x="83" y="5"/>
                  </a:lnTo>
                  <a:lnTo>
                    <a:pt x="83" y="5"/>
                  </a:lnTo>
                  <a:lnTo>
                    <a:pt x="81" y="2"/>
                  </a:lnTo>
                  <a:lnTo>
                    <a:pt x="81" y="2"/>
                  </a:lnTo>
                  <a:lnTo>
                    <a:pt x="78" y="5"/>
                  </a:lnTo>
                  <a:lnTo>
                    <a:pt x="78" y="5"/>
                  </a:lnTo>
                  <a:lnTo>
                    <a:pt x="76" y="5"/>
                  </a:lnTo>
                  <a:lnTo>
                    <a:pt x="74" y="5"/>
                  </a:lnTo>
                  <a:lnTo>
                    <a:pt x="74" y="5"/>
                  </a:lnTo>
                  <a:lnTo>
                    <a:pt x="74" y="5"/>
                  </a:lnTo>
                  <a:lnTo>
                    <a:pt x="71" y="5"/>
                  </a:lnTo>
                  <a:lnTo>
                    <a:pt x="71" y="5"/>
                  </a:lnTo>
                  <a:lnTo>
                    <a:pt x="69" y="7"/>
                  </a:lnTo>
                  <a:lnTo>
                    <a:pt x="66" y="7"/>
                  </a:lnTo>
                  <a:lnTo>
                    <a:pt x="64" y="7"/>
                  </a:lnTo>
                  <a:lnTo>
                    <a:pt x="62" y="7"/>
                  </a:lnTo>
                  <a:lnTo>
                    <a:pt x="62" y="7"/>
                  </a:lnTo>
                  <a:lnTo>
                    <a:pt x="59" y="7"/>
                  </a:lnTo>
                  <a:lnTo>
                    <a:pt x="57" y="7"/>
                  </a:lnTo>
                  <a:lnTo>
                    <a:pt x="57" y="7"/>
                  </a:lnTo>
                  <a:lnTo>
                    <a:pt x="55" y="7"/>
                  </a:lnTo>
                  <a:lnTo>
                    <a:pt x="52" y="7"/>
                  </a:lnTo>
                  <a:lnTo>
                    <a:pt x="52" y="7"/>
                  </a:lnTo>
                  <a:lnTo>
                    <a:pt x="52" y="10"/>
                  </a:lnTo>
                  <a:lnTo>
                    <a:pt x="50" y="12"/>
                  </a:lnTo>
                  <a:lnTo>
                    <a:pt x="50" y="12"/>
                  </a:lnTo>
                  <a:lnTo>
                    <a:pt x="48" y="12"/>
                  </a:lnTo>
                  <a:lnTo>
                    <a:pt x="45" y="12"/>
                  </a:lnTo>
                  <a:lnTo>
                    <a:pt x="43" y="12"/>
                  </a:lnTo>
                  <a:lnTo>
                    <a:pt x="43" y="12"/>
                  </a:lnTo>
                  <a:lnTo>
                    <a:pt x="41" y="12"/>
                  </a:lnTo>
                  <a:lnTo>
                    <a:pt x="38" y="12"/>
                  </a:lnTo>
                  <a:lnTo>
                    <a:pt x="38" y="12"/>
                  </a:lnTo>
                  <a:lnTo>
                    <a:pt x="36" y="17"/>
                  </a:lnTo>
                  <a:lnTo>
                    <a:pt x="33" y="17"/>
                  </a:lnTo>
                  <a:lnTo>
                    <a:pt x="31" y="17"/>
                  </a:lnTo>
                  <a:lnTo>
                    <a:pt x="29" y="17"/>
                  </a:lnTo>
                  <a:lnTo>
                    <a:pt x="29" y="17"/>
                  </a:lnTo>
                  <a:lnTo>
                    <a:pt x="26" y="17"/>
                  </a:lnTo>
                  <a:lnTo>
                    <a:pt x="24" y="17"/>
                  </a:lnTo>
                  <a:lnTo>
                    <a:pt x="24" y="17"/>
                  </a:lnTo>
                  <a:lnTo>
                    <a:pt x="22" y="19"/>
                  </a:lnTo>
                  <a:lnTo>
                    <a:pt x="22" y="19"/>
                  </a:lnTo>
                  <a:lnTo>
                    <a:pt x="22" y="21"/>
                  </a:lnTo>
                  <a:lnTo>
                    <a:pt x="22" y="21"/>
                  </a:lnTo>
                  <a:lnTo>
                    <a:pt x="22" y="24"/>
                  </a:lnTo>
                  <a:lnTo>
                    <a:pt x="22" y="24"/>
                  </a:lnTo>
                  <a:lnTo>
                    <a:pt x="22" y="26"/>
                  </a:lnTo>
                  <a:lnTo>
                    <a:pt x="19" y="26"/>
                  </a:lnTo>
                  <a:lnTo>
                    <a:pt x="19" y="26"/>
                  </a:lnTo>
                  <a:lnTo>
                    <a:pt x="19" y="28"/>
                  </a:lnTo>
                  <a:lnTo>
                    <a:pt x="17" y="28"/>
                  </a:lnTo>
                  <a:lnTo>
                    <a:pt x="17" y="28"/>
                  </a:lnTo>
                  <a:lnTo>
                    <a:pt x="17" y="31"/>
                  </a:lnTo>
                  <a:lnTo>
                    <a:pt x="17" y="33"/>
                  </a:lnTo>
                  <a:lnTo>
                    <a:pt x="17" y="33"/>
                  </a:lnTo>
                  <a:lnTo>
                    <a:pt x="17" y="33"/>
                  </a:lnTo>
                  <a:lnTo>
                    <a:pt x="15" y="33"/>
                  </a:lnTo>
                  <a:lnTo>
                    <a:pt x="12" y="33"/>
                  </a:lnTo>
                  <a:lnTo>
                    <a:pt x="12" y="36"/>
                  </a:lnTo>
                  <a:lnTo>
                    <a:pt x="12" y="36"/>
                  </a:lnTo>
                  <a:lnTo>
                    <a:pt x="12" y="33"/>
                  </a:lnTo>
                  <a:lnTo>
                    <a:pt x="10" y="36"/>
                  </a:lnTo>
                  <a:lnTo>
                    <a:pt x="10" y="36"/>
                  </a:lnTo>
                  <a:lnTo>
                    <a:pt x="12" y="36"/>
                  </a:lnTo>
                  <a:lnTo>
                    <a:pt x="12" y="38"/>
                  </a:lnTo>
                  <a:lnTo>
                    <a:pt x="12" y="38"/>
                  </a:lnTo>
                  <a:lnTo>
                    <a:pt x="12" y="38"/>
                  </a:lnTo>
                  <a:lnTo>
                    <a:pt x="10" y="38"/>
                  </a:lnTo>
                  <a:lnTo>
                    <a:pt x="10" y="38"/>
                  </a:lnTo>
                  <a:lnTo>
                    <a:pt x="10" y="40"/>
                  </a:lnTo>
                  <a:lnTo>
                    <a:pt x="10" y="40"/>
                  </a:lnTo>
                  <a:lnTo>
                    <a:pt x="10" y="40"/>
                  </a:lnTo>
                  <a:lnTo>
                    <a:pt x="10" y="40"/>
                  </a:lnTo>
                  <a:lnTo>
                    <a:pt x="8" y="40"/>
                  </a:lnTo>
                  <a:lnTo>
                    <a:pt x="8" y="40"/>
                  </a:lnTo>
                  <a:lnTo>
                    <a:pt x="5" y="40"/>
                  </a:lnTo>
                  <a:lnTo>
                    <a:pt x="5" y="40"/>
                  </a:lnTo>
                  <a:lnTo>
                    <a:pt x="8" y="43"/>
                  </a:lnTo>
                  <a:lnTo>
                    <a:pt x="10" y="43"/>
                  </a:lnTo>
                  <a:lnTo>
                    <a:pt x="12" y="47"/>
                  </a:lnTo>
                  <a:lnTo>
                    <a:pt x="15" y="50"/>
                  </a:lnTo>
                  <a:lnTo>
                    <a:pt x="17" y="52"/>
                  </a:lnTo>
                  <a:lnTo>
                    <a:pt x="19" y="54"/>
                  </a:lnTo>
                  <a:lnTo>
                    <a:pt x="19" y="54"/>
                  </a:lnTo>
                  <a:lnTo>
                    <a:pt x="19" y="54"/>
                  </a:lnTo>
                  <a:lnTo>
                    <a:pt x="22" y="54"/>
                  </a:lnTo>
                  <a:lnTo>
                    <a:pt x="24" y="54"/>
                  </a:lnTo>
                  <a:lnTo>
                    <a:pt x="24" y="54"/>
                  </a:lnTo>
                  <a:lnTo>
                    <a:pt x="26" y="54"/>
                  </a:lnTo>
                  <a:lnTo>
                    <a:pt x="26" y="54"/>
                  </a:lnTo>
                  <a:lnTo>
                    <a:pt x="26" y="57"/>
                  </a:lnTo>
                  <a:lnTo>
                    <a:pt x="26" y="57"/>
                  </a:lnTo>
                  <a:lnTo>
                    <a:pt x="24" y="57"/>
                  </a:lnTo>
                  <a:lnTo>
                    <a:pt x="22" y="57"/>
                  </a:lnTo>
                  <a:lnTo>
                    <a:pt x="19" y="57"/>
                  </a:lnTo>
                  <a:lnTo>
                    <a:pt x="19" y="57"/>
                  </a:lnTo>
                  <a:lnTo>
                    <a:pt x="19" y="59"/>
                  </a:lnTo>
                  <a:lnTo>
                    <a:pt x="22" y="59"/>
                  </a:lnTo>
                  <a:lnTo>
                    <a:pt x="24" y="62"/>
                  </a:lnTo>
                  <a:lnTo>
                    <a:pt x="24" y="66"/>
                  </a:lnTo>
                  <a:lnTo>
                    <a:pt x="26" y="69"/>
                  </a:lnTo>
                  <a:lnTo>
                    <a:pt x="26" y="69"/>
                  </a:lnTo>
                  <a:lnTo>
                    <a:pt x="29" y="69"/>
                  </a:lnTo>
                  <a:lnTo>
                    <a:pt x="29" y="66"/>
                  </a:lnTo>
                  <a:lnTo>
                    <a:pt x="29" y="66"/>
                  </a:lnTo>
                  <a:lnTo>
                    <a:pt x="31" y="66"/>
                  </a:lnTo>
                  <a:lnTo>
                    <a:pt x="31" y="69"/>
                  </a:lnTo>
                  <a:lnTo>
                    <a:pt x="31" y="69"/>
                  </a:lnTo>
                  <a:lnTo>
                    <a:pt x="33" y="69"/>
                  </a:lnTo>
                  <a:lnTo>
                    <a:pt x="36" y="69"/>
                  </a:lnTo>
                  <a:lnTo>
                    <a:pt x="36" y="69"/>
                  </a:lnTo>
                  <a:lnTo>
                    <a:pt x="38" y="69"/>
                  </a:lnTo>
                  <a:lnTo>
                    <a:pt x="41" y="69"/>
                  </a:lnTo>
                  <a:lnTo>
                    <a:pt x="45" y="69"/>
                  </a:lnTo>
                  <a:lnTo>
                    <a:pt x="48" y="69"/>
                  </a:lnTo>
                  <a:lnTo>
                    <a:pt x="48" y="69"/>
                  </a:lnTo>
                  <a:lnTo>
                    <a:pt x="48" y="66"/>
                  </a:lnTo>
                  <a:lnTo>
                    <a:pt x="52" y="69"/>
                  </a:lnTo>
                  <a:lnTo>
                    <a:pt x="55" y="71"/>
                  </a:lnTo>
                  <a:lnTo>
                    <a:pt x="55" y="71"/>
                  </a:lnTo>
                  <a:lnTo>
                    <a:pt x="57" y="71"/>
                  </a:lnTo>
                  <a:lnTo>
                    <a:pt x="57" y="71"/>
                  </a:lnTo>
                  <a:lnTo>
                    <a:pt x="59" y="71"/>
                  </a:lnTo>
                  <a:lnTo>
                    <a:pt x="59" y="71"/>
                  </a:lnTo>
                  <a:lnTo>
                    <a:pt x="59" y="73"/>
                  </a:lnTo>
                  <a:lnTo>
                    <a:pt x="62" y="73"/>
                  </a:lnTo>
                  <a:lnTo>
                    <a:pt x="62" y="73"/>
                  </a:lnTo>
                  <a:lnTo>
                    <a:pt x="62" y="73"/>
                  </a:lnTo>
                  <a:lnTo>
                    <a:pt x="62" y="76"/>
                  </a:lnTo>
                  <a:lnTo>
                    <a:pt x="57" y="76"/>
                  </a:lnTo>
                  <a:lnTo>
                    <a:pt x="57" y="76"/>
                  </a:lnTo>
                  <a:lnTo>
                    <a:pt x="57" y="76"/>
                  </a:lnTo>
                  <a:lnTo>
                    <a:pt x="57" y="78"/>
                  </a:lnTo>
                  <a:lnTo>
                    <a:pt x="57" y="78"/>
                  </a:lnTo>
                  <a:lnTo>
                    <a:pt x="55" y="76"/>
                  </a:lnTo>
                  <a:lnTo>
                    <a:pt x="55" y="76"/>
                  </a:lnTo>
                  <a:lnTo>
                    <a:pt x="52" y="73"/>
                  </a:lnTo>
                  <a:lnTo>
                    <a:pt x="45" y="73"/>
                  </a:lnTo>
                  <a:lnTo>
                    <a:pt x="41" y="69"/>
                  </a:lnTo>
                  <a:lnTo>
                    <a:pt x="38" y="69"/>
                  </a:lnTo>
                  <a:lnTo>
                    <a:pt x="38" y="71"/>
                  </a:lnTo>
                  <a:lnTo>
                    <a:pt x="36" y="73"/>
                  </a:lnTo>
                  <a:lnTo>
                    <a:pt x="33" y="73"/>
                  </a:lnTo>
                  <a:lnTo>
                    <a:pt x="31" y="71"/>
                  </a:lnTo>
                  <a:lnTo>
                    <a:pt x="31" y="73"/>
                  </a:lnTo>
                  <a:lnTo>
                    <a:pt x="29" y="76"/>
                  </a:lnTo>
                  <a:lnTo>
                    <a:pt x="26" y="78"/>
                  </a:lnTo>
                  <a:lnTo>
                    <a:pt x="26" y="78"/>
                  </a:lnTo>
                  <a:lnTo>
                    <a:pt x="26" y="80"/>
                  </a:lnTo>
                  <a:lnTo>
                    <a:pt x="29" y="80"/>
                  </a:lnTo>
                  <a:lnTo>
                    <a:pt x="29" y="80"/>
                  </a:lnTo>
                  <a:lnTo>
                    <a:pt x="31" y="83"/>
                  </a:lnTo>
                  <a:lnTo>
                    <a:pt x="31" y="85"/>
                  </a:lnTo>
                  <a:lnTo>
                    <a:pt x="33" y="85"/>
                  </a:lnTo>
                  <a:lnTo>
                    <a:pt x="36" y="90"/>
                  </a:lnTo>
                  <a:lnTo>
                    <a:pt x="36" y="92"/>
                  </a:lnTo>
                  <a:lnTo>
                    <a:pt x="36" y="95"/>
                  </a:lnTo>
                  <a:lnTo>
                    <a:pt x="36" y="97"/>
                  </a:lnTo>
                  <a:lnTo>
                    <a:pt x="38" y="102"/>
                  </a:lnTo>
                  <a:lnTo>
                    <a:pt x="41" y="104"/>
                  </a:lnTo>
                  <a:lnTo>
                    <a:pt x="41" y="102"/>
                  </a:lnTo>
                  <a:lnTo>
                    <a:pt x="41" y="99"/>
                  </a:lnTo>
                  <a:lnTo>
                    <a:pt x="43" y="97"/>
                  </a:lnTo>
                  <a:lnTo>
                    <a:pt x="43" y="97"/>
                  </a:lnTo>
                  <a:lnTo>
                    <a:pt x="43" y="97"/>
                  </a:lnTo>
                  <a:lnTo>
                    <a:pt x="45" y="99"/>
                  </a:lnTo>
                  <a:lnTo>
                    <a:pt x="45" y="99"/>
                  </a:lnTo>
                  <a:lnTo>
                    <a:pt x="48" y="99"/>
                  </a:lnTo>
                  <a:lnTo>
                    <a:pt x="50" y="104"/>
                  </a:lnTo>
                  <a:lnTo>
                    <a:pt x="50" y="106"/>
                  </a:lnTo>
                  <a:lnTo>
                    <a:pt x="50" y="109"/>
                  </a:lnTo>
                  <a:lnTo>
                    <a:pt x="50" y="109"/>
                  </a:lnTo>
                  <a:lnTo>
                    <a:pt x="52" y="109"/>
                  </a:lnTo>
                  <a:lnTo>
                    <a:pt x="52" y="106"/>
                  </a:lnTo>
                  <a:lnTo>
                    <a:pt x="52" y="102"/>
                  </a:lnTo>
                  <a:lnTo>
                    <a:pt x="55" y="102"/>
                  </a:lnTo>
                  <a:lnTo>
                    <a:pt x="57" y="102"/>
                  </a:lnTo>
                  <a:lnTo>
                    <a:pt x="57" y="104"/>
                  </a:lnTo>
                  <a:lnTo>
                    <a:pt x="59" y="109"/>
                  </a:lnTo>
                  <a:lnTo>
                    <a:pt x="62" y="109"/>
                  </a:lnTo>
                  <a:lnTo>
                    <a:pt x="62" y="109"/>
                  </a:lnTo>
                  <a:lnTo>
                    <a:pt x="64" y="109"/>
                  </a:lnTo>
                  <a:lnTo>
                    <a:pt x="62" y="106"/>
                  </a:lnTo>
                  <a:lnTo>
                    <a:pt x="62" y="106"/>
                  </a:lnTo>
                  <a:lnTo>
                    <a:pt x="62" y="102"/>
                  </a:lnTo>
                  <a:lnTo>
                    <a:pt x="62" y="102"/>
                  </a:lnTo>
                  <a:lnTo>
                    <a:pt x="59" y="97"/>
                  </a:lnTo>
                  <a:lnTo>
                    <a:pt x="57" y="92"/>
                  </a:lnTo>
                  <a:lnTo>
                    <a:pt x="55" y="90"/>
                  </a:lnTo>
                  <a:lnTo>
                    <a:pt x="55" y="85"/>
                  </a:lnTo>
                  <a:lnTo>
                    <a:pt x="55" y="85"/>
                  </a:lnTo>
                  <a:lnTo>
                    <a:pt x="57" y="88"/>
                  </a:lnTo>
                  <a:lnTo>
                    <a:pt x="59" y="88"/>
                  </a:lnTo>
                  <a:lnTo>
                    <a:pt x="59" y="88"/>
                  </a:lnTo>
                  <a:lnTo>
                    <a:pt x="62" y="88"/>
                  </a:lnTo>
                  <a:lnTo>
                    <a:pt x="62" y="90"/>
                  </a:lnTo>
                  <a:lnTo>
                    <a:pt x="62" y="90"/>
                  </a:lnTo>
                  <a:lnTo>
                    <a:pt x="64" y="90"/>
                  </a:lnTo>
                  <a:lnTo>
                    <a:pt x="64" y="90"/>
                  </a:lnTo>
                  <a:lnTo>
                    <a:pt x="69" y="88"/>
                  </a:lnTo>
                  <a:lnTo>
                    <a:pt x="69" y="88"/>
                  </a:lnTo>
                  <a:lnTo>
                    <a:pt x="66" y="88"/>
                  </a:lnTo>
                  <a:lnTo>
                    <a:pt x="66" y="85"/>
                  </a:lnTo>
                  <a:lnTo>
                    <a:pt x="66" y="85"/>
                  </a:lnTo>
                  <a:lnTo>
                    <a:pt x="66" y="85"/>
                  </a:lnTo>
                  <a:lnTo>
                    <a:pt x="64" y="85"/>
                  </a:lnTo>
                  <a:lnTo>
                    <a:pt x="62" y="85"/>
                  </a:lnTo>
                  <a:lnTo>
                    <a:pt x="62" y="83"/>
                  </a:lnTo>
                  <a:lnTo>
                    <a:pt x="62" y="80"/>
                  </a:lnTo>
                  <a:lnTo>
                    <a:pt x="62" y="80"/>
                  </a:lnTo>
                  <a:lnTo>
                    <a:pt x="59" y="78"/>
                  </a:lnTo>
                  <a:lnTo>
                    <a:pt x="59" y="78"/>
                  </a:lnTo>
                  <a:lnTo>
                    <a:pt x="59" y="78"/>
                  </a:lnTo>
                  <a:lnTo>
                    <a:pt x="62" y="78"/>
                  </a:lnTo>
                  <a:lnTo>
                    <a:pt x="66" y="76"/>
                  </a:lnTo>
                  <a:lnTo>
                    <a:pt x="66" y="76"/>
                  </a:lnTo>
                  <a:lnTo>
                    <a:pt x="69" y="76"/>
                  </a:lnTo>
                  <a:lnTo>
                    <a:pt x="69" y="76"/>
                  </a:lnTo>
                  <a:lnTo>
                    <a:pt x="71" y="78"/>
                  </a:lnTo>
                  <a:lnTo>
                    <a:pt x="74" y="80"/>
                  </a:lnTo>
                  <a:close/>
                  <a:moveTo>
                    <a:pt x="74" y="33"/>
                  </a:moveTo>
                  <a:lnTo>
                    <a:pt x="74" y="33"/>
                  </a:lnTo>
                  <a:lnTo>
                    <a:pt x="74" y="36"/>
                  </a:lnTo>
                  <a:lnTo>
                    <a:pt x="74"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0" name="Freeform 336"/>
            <p:cNvSpPr>
              <a:spLocks/>
            </p:cNvSpPr>
            <p:nvPr userDrawn="1"/>
          </p:nvSpPr>
          <p:spPr bwMode="auto">
            <a:xfrm>
              <a:off x="2512" y="2550"/>
              <a:ext cx="5" cy="5"/>
            </a:xfrm>
            <a:custGeom>
              <a:avLst/>
              <a:gdLst>
                <a:gd name="T0" fmla="*/ 3 w 5"/>
                <a:gd name="T1" fmla="*/ 0 h 5"/>
                <a:gd name="T2" fmla="*/ 3 w 5"/>
                <a:gd name="T3" fmla="*/ 0 h 5"/>
                <a:gd name="T4" fmla="*/ 3 w 5"/>
                <a:gd name="T5" fmla="*/ 2 h 5"/>
                <a:gd name="T6" fmla="*/ 0 w 5"/>
                <a:gd name="T7" fmla="*/ 2 h 5"/>
                <a:gd name="T8" fmla="*/ 0 w 5"/>
                <a:gd name="T9" fmla="*/ 5 h 5"/>
                <a:gd name="T10" fmla="*/ 3 w 5"/>
                <a:gd name="T11" fmla="*/ 5 h 5"/>
                <a:gd name="T12" fmla="*/ 3 w 5"/>
                <a:gd name="T13" fmla="*/ 2 h 5"/>
                <a:gd name="T14" fmla="*/ 5 w 5"/>
                <a:gd name="T15" fmla="*/ 0 h 5"/>
                <a:gd name="T16" fmla="*/ 3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3" y="0"/>
                  </a:moveTo>
                  <a:lnTo>
                    <a:pt x="3" y="0"/>
                  </a:lnTo>
                  <a:lnTo>
                    <a:pt x="3" y="2"/>
                  </a:lnTo>
                  <a:lnTo>
                    <a:pt x="0" y="2"/>
                  </a:lnTo>
                  <a:lnTo>
                    <a:pt x="0" y="5"/>
                  </a:lnTo>
                  <a:lnTo>
                    <a:pt x="3" y="5"/>
                  </a:lnTo>
                  <a:lnTo>
                    <a:pt x="3" y="2"/>
                  </a:lnTo>
                  <a:lnTo>
                    <a:pt x="5"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1" name="Freeform 337"/>
            <p:cNvSpPr>
              <a:spLocks/>
            </p:cNvSpPr>
            <p:nvPr userDrawn="1"/>
          </p:nvSpPr>
          <p:spPr bwMode="auto">
            <a:xfrm>
              <a:off x="3594" y="2571"/>
              <a:ext cx="80" cy="137"/>
            </a:xfrm>
            <a:custGeom>
              <a:avLst/>
              <a:gdLst>
                <a:gd name="T0" fmla="*/ 78 w 80"/>
                <a:gd name="T1" fmla="*/ 107 h 137"/>
                <a:gd name="T2" fmla="*/ 75 w 80"/>
                <a:gd name="T3" fmla="*/ 102 h 137"/>
                <a:gd name="T4" fmla="*/ 73 w 80"/>
                <a:gd name="T5" fmla="*/ 97 h 137"/>
                <a:gd name="T6" fmla="*/ 68 w 80"/>
                <a:gd name="T7" fmla="*/ 92 h 137"/>
                <a:gd name="T8" fmla="*/ 71 w 80"/>
                <a:gd name="T9" fmla="*/ 88 h 137"/>
                <a:gd name="T10" fmla="*/ 71 w 80"/>
                <a:gd name="T11" fmla="*/ 81 h 137"/>
                <a:gd name="T12" fmla="*/ 68 w 80"/>
                <a:gd name="T13" fmla="*/ 78 h 137"/>
                <a:gd name="T14" fmla="*/ 71 w 80"/>
                <a:gd name="T15" fmla="*/ 64 h 137"/>
                <a:gd name="T16" fmla="*/ 71 w 80"/>
                <a:gd name="T17" fmla="*/ 57 h 137"/>
                <a:gd name="T18" fmla="*/ 66 w 80"/>
                <a:gd name="T19" fmla="*/ 52 h 137"/>
                <a:gd name="T20" fmla="*/ 68 w 80"/>
                <a:gd name="T21" fmla="*/ 48 h 137"/>
                <a:gd name="T22" fmla="*/ 68 w 80"/>
                <a:gd name="T23" fmla="*/ 38 h 137"/>
                <a:gd name="T24" fmla="*/ 66 w 80"/>
                <a:gd name="T25" fmla="*/ 38 h 137"/>
                <a:gd name="T26" fmla="*/ 64 w 80"/>
                <a:gd name="T27" fmla="*/ 36 h 137"/>
                <a:gd name="T28" fmla="*/ 66 w 80"/>
                <a:gd name="T29" fmla="*/ 33 h 137"/>
                <a:gd name="T30" fmla="*/ 66 w 80"/>
                <a:gd name="T31" fmla="*/ 33 h 137"/>
                <a:gd name="T32" fmla="*/ 66 w 80"/>
                <a:gd name="T33" fmla="*/ 29 h 137"/>
                <a:gd name="T34" fmla="*/ 66 w 80"/>
                <a:gd name="T35" fmla="*/ 19 h 137"/>
                <a:gd name="T36" fmla="*/ 61 w 80"/>
                <a:gd name="T37" fmla="*/ 14 h 137"/>
                <a:gd name="T38" fmla="*/ 59 w 80"/>
                <a:gd name="T39" fmla="*/ 10 h 137"/>
                <a:gd name="T40" fmla="*/ 59 w 80"/>
                <a:gd name="T41" fmla="*/ 3 h 137"/>
                <a:gd name="T42" fmla="*/ 54 w 80"/>
                <a:gd name="T43" fmla="*/ 3 h 137"/>
                <a:gd name="T44" fmla="*/ 52 w 80"/>
                <a:gd name="T45" fmla="*/ 5 h 137"/>
                <a:gd name="T46" fmla="*/ 47 w 80"/>
                <a:gd name="T47" fmla="*/ 5 h 137"/>
                <a:gd name="T48" fmla="*/ 42 w 80"/>
                <a:gd name="T49" fmla="*/ 5 h 137"/>
                <a:gd name="T50" fmla="*/ 31 w 80"/>
                <a:gd name="T51" fmla="*/ 5 h 137"/>
                <a:gd name="T52" fmla="*/ 14 w 80"/>
                <a:gd name="T53" fmla="*/ 5 h 137"/>
                <a:gd name="T54" fmla="*/ 7 w 80"/>
                <a:gd name="T55" fmla="*/ 5 h 137"/>
                <a:gd name="T56" fmla="*/ 7 w 80"/>
                <a:gd name="T57" fmla="*/ 17 h 137"/>
                <a:gd name="T58" fmla="*/ 7 w 80"/>
                <a:gd name="T59" fmla="*/ 19 h 137"/>
                <a:gd name="T60" fmla="*/ 7 w 80"/>
                <a:gd name="T61" fmla="*/ 24 h 137"/>
                <a:gd name="T62" fmla="*/ 9 w 80"/>
                <a:gd name="T63" fmla="*/ 33 h 137"/>
                <a:gd name="T64" fmla="*/ 9 w 80"/>
                <a:gd name="T65" fmla="*/ 40 h 137"/>
                <a:gd name="T66" fmla="*/ 9 w 80"/>
                <a:gd name="T67" fmla="*/ 45 h 137"/>
                <a:gd name="T68" fmla="*/ 12 w 80"/>
                <a:gd name="T69" fmla="*/ 50 h 137"/>
                <a:gd name="T70" fmla="*/ 14 w 80"/>
                <a:gd name="T71" fmla="*/ 64 h 137"/>
                <a:gd name="T72" fmla="*/ 12 w 80"/>
                <a:gd name="T73" fmla="*/ 66 h 137"/>
                <a:gd name="T74" fmla="*/ 7 w 80"/>
                <a:gd name="T75" fmla="*/ 69 h 137"/>
                <a:gd name="T76" fmla="*/ 5 w 80"/>
                <a:gd name="T77" fmla="*/ 74 h 137"/>
                <a:gd name="T78" fmla="*/ 2 w 80"/>
                <a:gd name="T79" fmla="*/ 85 h 137"/>
                <a:gd name="T80" fmla="*/ 0 w 80"/>
                <a:gd name="T81" fmla="*/ 95 h 137"/>
                <a:gd name="T82" fmla="*/ 0 w 80"/>
                <a:gd name="T83" fmla="*/ 102 h 137"/>
                <a:gd name="T84" fmla="*/ 2 w 80"/>
                <a:gd name="T85" fmla="*/ 114 h 137"/>
                <a:gd name="T86" fmla="*/ 7 w 80"/>
                <a:gd name="T87" fmla="*/ 118 h 137"/>
                <a:gd name="T88" fmla="*/ 7 w 80"/>
                <a:gd name="T89" fmla="*/ 123 h 137"/>
                <a:gd name="T90" fmla="*/ 5 w 80"/>
                <a:gd name="T91" fmla="*/ 128 h 137"/>
                <a:gd name="T92" fmla="*/ 2 w 80"/>
                <a:gd name="T93" fmla="*/ 130 h 137"/>
                <a:gd name="T94" fmla="*/ 14 w 80"/>
                <a:gd name="T95" fmla="*/ 133 h 137"/>
                <a:gd name="T96" fmla="*/ 26 w 80"/>
                <a:gd name="T97" fmla="*/ 133 h 137"/>
                <a:gd name="T98" fmla="*/ 45 w 80"/>
                <a:gd name="T99" fmla="*/ 126 h 137"/>
                <a:gd name="T100" fmla="*/ 57 w 80"/>
                <a:gd name="T101" fmla="*/ 118 h 137"/>
                <a:gd name="T102" fmla="*/ 78 w 80"/>
                <a:gd name="T103" fmla="*/ 114 h 137"/>
                <a:gd name="T104" fmla="*/ 80 w 80"/>
                <a:gd name="T105" fmla="*/ 10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137">
                  <a:moveTo>
                    <a:pt x="80" y="107"/>
                  </a:moveTo>
                  <a:lnTo>
                    <a:pt x="80" y="107"/>
                  </a:lnTo>
                  <a:lnTo>
                    <a:pt x="80" y="107"/>
                  </a:lnTo>
                  <a:lnTo>
                    <a:pt x="78" y="107"/>
                  </a:lnTo>
                  <a:lnTo>
                    <a:pt x="78" y="104"/>
                  </a:lnTo>
                  <a:lnTo>
                    <a:pt x="78" y="104"/>
                  </a:lnTo>
                  <a:lnTo>
                    <a:pt x="75" y="104"/>
                  </a:lnTo>
                  <a:lnTo>
                    <a:pt x="75" y="102"/>
                  </a:lnTo>
                  <a:lnTo>
                    <a:pt x="73" y="100"/>
                  </a:lnTo>
                  <a:lnTo>
                    <a:pt x="73" y="100"/>
                  </a:lnTo>
                  <a:lnTo>
                    <a:pt x="73" y="100"/>
                  </a:lnTo>
                  <a:lnTo>
                    <a:pt x="73" y="97"/>
                  </a:lnTo>
                  <a:lnTo>
                    <a:pt x="71" y="97"/>
                  </a:lnTo>
                  <a:lnTo>
                    <a:pt x="71" y="95"/>
                  </a:lnTo>
                  <a:lnTo>
                    <a:pt x="68" y="92"/>
                  </a:lnTo>
                  <a:lnTo>
                    <a:pt x="68" y="92"/>
                  </a:lnTo>
                  <a:lnTo>
                    <a:pt x="68" y="92"/>
                  </a:lnTo>
                  <a:lnTo>
                    <a:pt x="68" y="90"/>
                  </a:lnTo>
                  <a:lnTo>
                    <a:pt x="68" y="90"/>
                  </a:lnTo>
                  <a:lnTo>
                    <a:pt x="71" y="88"/>
                  </a:lnTo>
                  <a:lnTo>
                    <a:pt x="71" y="88"/>
                  </a:lnTo>
                  <a:lnTo>
                    <a:pt x="71" y="88"/>
                  </a:lnTo>
                  <a:lnTo>
                    <a:pt x="71" y="85"/>
                  </a:lnTo>
                  <a:lnTo>
                    <a:pt x="71" y="81"/>
                  </a:lnTo>
                  <a:lnTo>
                    <a:pt x="71" y="81"/>
                  </a:lnTo>
                  <a:lnTo>
                    <a:pt x="68" y="81"/>
                  </a:lnTo>
                  <a:lnTo>
                    <a:pt x="68" y="81"/>
                  </a:lnTo>
                  <a:lnTo>
                    <a:pt x="68" y="78"/>
                  </a:lnTo>
                  <a:lnTo>
                    <a:pt x="68" y="78"/>
                  </a:lnTo>
                  <a:lnTo>
                    <a:pt x="71" y="74"/>
                  </a:lnTo>
                  <a:lnTo>
                    <a:pt x="71" y="64"/>
                  </a:lnTo>
                  <a:lnTo>
                    <a:pt x="71" y="64"/>
                  </a:lnTo>
                  <a:lnTo>
                    <a:pt x="71" y="62"/>
                  </a:lnTo>
                  <a:lnTo>
                    <a:pt x="73" y="62"/>
                  </a:lnTo>
                  <a:lnTo>
                    <a:pt x="73" y="59"/>
                  </a:lnTo>
                  <a:lnTo>
                    <a:pt x="71" y="57"/>
                  </a:lnTo>
                  <a:lnTo>
                    <a:pt x="68" y="55"/>
                  </a:lnTo>
                  <a:lnTo>
                    <a:pt x="68" y="55"/>
                  </a:lnTo>
                  <a:lnTo>
                    <a:pt x="66" y="52"/>
                  </a:lnTo>
                  <a:lnTo>
                    <a:pt x="66" y="52"/>
                  </a:lnTo>
                  <a:lnTo>
                    <a:pt x="68" y="50"/>
                  </a:lnTo>
                  <a:lnTo>
                    <a:pt x="68" y="50"/>
                  </a:lnTo>
                  <a:lnTo>
                    <a:pt x="68" y="50"/>
                  </a:lnTo>
                  <a:lnTo>
                    <a:pt x="68" y="48"/>
                  </a:lnTo>
                  <a:lnTo>
                    <a:pt x="68" y="45"/>
                  </a:lnTo>
                  <a:lnTo>
                    <a:pt x="68" y="43"/>
                  </a:lnTo>
                  <a:lnTo>
                    <a:pt x="68" y="38"/>
                  </a:lnTo>
                  <a:lnTo>
                    <a:pt x="68" y="38"/>
                  </a:lnTo>
                  <a:lnTo>
                    <a:pt x="68" y="36"/>
                  </a:lnTo>
                  <a:lnTo>
                    <a:pt x="66" y="36"/>
                  </a:lnTo>
                  <a:lnTo>
                    <a:pt x="66" y="36"/>
                  </a:lnTo>
                  <a:lnTo>
                    <a:pt x="66" y="38"/>
                  </a:lnTo>
                  <a:lnTo>
                    <a:pt x="64" y="38"/>
                  </a:lnTo>
                  <a:lnTo>
                    <a:pt x="64" y="38"/>
                  </a:lnTo>
                  <a:lnTo>
                    <a:pt x="64" y="38"/>
                  </a:lnTo>
                  <a:lnTo>
                    <a:pt x="64" y="36"/>
                  </a:lnTo>
                  <a:lnTo>
                    <a:pt x="64" y="36"/>
                  </a:lnTo>
                  <a:lnTo>
                    <a:pt x="64" y="36"/>
                  </a:lnTo>
                  <a:lnTo>
                    <a:pt x="66" y="33"/>
                  </a:lnTo>
                  <a:lnTo>
                    <a:pt x="66" y="33"/>
                  </a:lnTo>
                  <a:lnTo>
                    <a:pt x="64" y="33"/>
                  </a:lnTo>
                  <a:lnTo>
                    <a:pt x="64" y="33"/>
                  </a:lnTo>
                  <a:lnTo>
                    <a:pt x="64" y="33"/>
                  </a:lnTo>
                  <a:lnTo>
                    <a:pt x="66" y="33"/>
                  </a:lnTo>
                  <a:lnTo>
                    <a:pt x="66" y="33"/>
                  </a:lnTo>
                  <a:lnTo>
                    <a:pt x="66" y="33"/>
                  </a:lnTo>
                  <a:lnTo>
                    <a:pt x="66" y="29"/>
                  </a:lnTo>
                  <a:lnTo>
                    <a:pt x="66" y="29"/>
                  </a:lnTo>
                  <a:lnTo>
                    <a:pt x="66" y="26"/>
                  </a:lnTo>
                  <a:lnTo>
                    <a:pt x="66" y="22"/>
                  </a:lnTo>
                  <a:lnTo>
                    <a:pt x="66" y="19"/>
                  </a:lnTo>
                  <a:lnTo>
                    <a:pt x="66" y="19"/>
                  </a:lnTo>
                  <a:lnTo>
                    <a:pt x="66" y="19"/>
                  </a:lnTo>
                  <a:lnTo>
                    <a:pt x="64" y="17"/>
                  </a:lnTo>
                  <a:lnTo>
                    <a:pt x="64" y="17"/>
                  </a:lnTo>
                  <a:lnTo>
                    <a:pt x="61" y="14"/>
                  </a:lnTo>
                  <a:lnTo>
                    <a:pt x="61" y="14"/>
                  </a:lnTo>
                  <a:lnTo>
                    <a:pt x="59" y="12"/>
                  </a:lnTo>
                  <a:lnTo>
                    <a:pt x="59" y="12"/>
                  </a:lnTo>
                  <a:lnTo>
                    <a:pt x="59" y="10"/>
                  </a:lnTo>
                  <a:lnTo>
                    <a:pt x="59" y="10"/>
                  </a:lnTo>
                  <a:lnTo>
                    <a:pt x="59" y="7"/>
                  </a:lnTo>
                  <a:lnTo>
                    <a:pt x="59" y="5"/>
                  </a:lnTo>
                  <a:lnTo>
                    <a:pt x="59" y="3"/>
                  </a:lnTo>
                  <a:lnTo>
                    <a:pt x="59" y="3"/>
                  </a:lnTo>
                  <a:lnTo>
                    <a:pt x="54" y="0"/>
                  </a:lnTo>
                  <a:lnTo>
                    <a:pt x="54" y="3"/>
                  </a:lnTo>
                  <a:lnTo>
                    <a:pt x="54" y="3"/>
                  </a:lnTo>
                  <a:lnTo>
                    <a:pt x="52" y="3"/>
                  </a:lnTo>
                  <a:lnTo>
                    <a:pt x="52" y="3"/>
                  </a:lnTo>
                  <a:lnTo>
                    <a:pt x="52" y="3"/>
                  </a:lnTo>
                  <a:lnTo>
                    <a:pt x="52" y="5"/>
                  </a:lnTo>
                  <a:lnTo>
                    <a:pt x="49" y="5"/>
                  </a:lnTo>
                  <a:lnTo>
                    <a:pt x="49" y="5"/>
                  </a:lnTo>
                  <a:lnTo>
                    <a:pt x="47" y="5"/>
                  </a:lnTo>
                  <a:lnTo>
                    <a:pt x="47" y="5"/>
                  </a:lnTo>
                  <a:lnTo>
                    <a:pt x="47" y="5"/>
                  </a:lnTo>
                  <a:lnTo>
                    <a:pt x="45" y="5"/>
                  </a:lnTo>
                  <a:lnTo>
                    <a:pt x="42" y="5"/>
                  </a:lnTo>
                  <a:lnTo>
                    <a:pt x="42" y="5"/>
                  </a:lnTo>
                  <a:lnTo>
                    <a:pt x="40" y="5"/>
                  </a:lnTo>
                  <a:lnTo>
                    <a:pt x="38" y="5"/>
                  </a:lnTo>
                  <a:lnTo>
                    <a:pt x="31" y="5"/>
                  </a:lnTo>
                  <a:lnTo>
                    <a:pt x="31" y="5"/>
                  </a:lnTo>
                  <a:lnTo>
                    <a:pt x="31" y="5"/>
                  </a:lnTo>
                  <a:lnTo>
                    <a:pt x="26" y="5"/>
                  </a:lnTo>
                  <a:lnTo>
                    <a:pt x="19" y="5"/>
                  </a:lnTo>
                  <a:lnTo>
                    <a:pt x="14" y="5"/>
                  </a:lnTo>
                  <a:lnTo>
                    <a:pt x="9" y="5"/>
                  </a:lnTo>
                  <a:lnTo>
                    <a:pt x="9" y="5"/>
                  </a:lnTo>
                  <a:lnTo>
                    <a:pt x="7" y="5"/>
                  </a:lnTo>
                  <a:lnTo>
                    <a:pt x="7" y="5"/>
                  </a:lnTo>
                  <a:lnTo>
                    <a:pt x="7" y="10"/>
                  </a:lnTo>
                  <a:lnTo>
                    <a:pt x="7" y="12"/>
                  </a:lnTo>
                  <a:lnTo>
                    <a:pt x="7" y="14"/>
                  </a:lnTo>
                  <a:lnTo>
                    <a:pt x="7" y="17"/>
                  </a:lnTo>
                  <a:lnTo>
                    <a:pt x="7" y="17"/>
                  </a:lnTo>
                  <a:lnTo>
                    <a:pt x="7" y="17"/>
                  </a:lnTo>
                  <a:lnTo>
                    <a:pt x="7" y="19"/>
                  </a:lnTo>
                  <a:lnTo>
                    <a:pt x="7" y="19"/>
                  </a:lnTo>
                  <a:lnTo>
                    <a:pt x="9" y="19"/>
                  </a:lnTo>
                  <a:lnTo>
                    <a:pt x="9" y="22"/>
                  </a:lnTo>
                  <a:lnTo>
                    <a:pt x="7" y="22"/>
                  </a:lnTo>
                  <a:lnTo>
                    <a:pt x="7" y="24"/>
                  </a:lnTo>
                  <a:lnTo>
                    <a:pt x="9" y="29"/>
                  </a:lnTo>
                  <a:lnTo>
                    <a:pt x="9" y="31"/>
                  </a:lnTo>
                  <a:lnTo>
                    <a:pt x="7" y="31"/>
                  </a:lnTo>
                  <a:lnTo>
                    <a:pt x="9" y="33"/>
                  </a:lnTo>
                  <a:lnTo>
                    <a:pt x="9" y="36"/>
                  </a:lnTo>
                  <a:lnTo>
                    <a:pt x="9" y="36"/>
                  </a:lnTo>
                  <a:lnTo>
                    <a:pt x="9" y="38"/>
                  </a:lnTo>
                  <a:lnTo>
                    <a:pt x="9" y="40"/>
                  </a:lnTo>
                  <a:lnTo>
                    <a:pt x="9" y="40"/>
                  </a:lnTo>
                  <a:lnTo>
                    <a:pt x="9" y="40"/>
                  </a:lnTo>
                  <a:lnTo>
                    <a:pt x="9" y="43"/>
                  </a:lnTo>
                  <a:lnTo>
                    <a:pt x="9" y="45"/>
                  </a:lnTo>
                  <a:lnTo>
                    <a:pt x="9" y="45"/>
                  </a:lnTo>
                  <a:lnTo>
                    <a:pt x="9" y="45"/>
                  </a:lnTo>
                  <a:lnTo>
                    <a:pt x="9" y="48"/>
                  </a:lnTo>
                  <a:lnTo>
                    <a:pt x="12" y="50"/>
                  </a:lnTo>
                  <a:lnTo>
                    <a:pt x="12" y="50"/>
                  </a:lnTo>
                  <a:lnTo>
                    <a:pt x="12" y="52"/>
                  </a:lnTo>
                  <a:lnTo>
                    <a:pt x="12" y="57"/>
                  </a:lnTo>
                  <a:lnTo>
                    <a:pt x="14" y="64"/>
                  </a:lnTo>
                  <a:lnTo>
                    <a:pt x="12" y="64"/>
                  </a:lnTo>
                  <a:lnTo>
                    <a:pt x="12" y="64"/>
                  </a:lnTo>
                  <a:lnTo>
                    <a:pt x="12" y="64"/>
                  </a:lnTo>
                  <a:lnTo>
                    <a:pt x="12" y="66"/>
                  </a:lnTo>
                  <a:lnTo>
                    <a:pt x="12" y="66"/>
                  </a:lnTo>
                  <a:lnTo>
                    <a:pt x="12" y="66"/>
                  </a:lnTo>
                  <a:lnTo>
                    <a:pt x="9" y="66"/>
                  </a:lnTo>
                  <a:lnTo>
                    <a:pt x="7" y="69"/>
                  </a:lnTo>
                  <a:lnTo>
                    <a:pt x="7" y="71"/>
                  </a:lnTo>
                  <a:lnTo>
                    <a:pt x="7" y="71"/>
                  </a:lnTo>
                  <a:lnTo>
                    <a:pt x="7" y="74"/>
                  </a:lnTo>
                  <a:lnTo>
                    <a:pt x="5" y="74"/>
                  </a:lnTo>
                  <a:lnTo>
                    <a:pt x="5" y="78"/>
                  </a:lnTo>
                  <a:lnTo>
                    <a:pt x="5" y="83"/>
                  </a:lnTo>
                  <a:lnTo>
                    <a:pt x="5" y="85"/>
                  </a:lnTo>
                  <a:lnTo>
                    <a:pt x="2" y="85"/>
                  </a:lnTo>
                  <a:lnTo>
                    <a:pt x="2" y="88"/>
                  </a:lnTo>
                  <a:lnTo>
                    <a:pt x="0" y="90"/>
                  </a:lnTo>
                  <a:lnTo>
                    <a:pt x="0" y="92"/>
                  </a:lnTo>
                  <a:lnTo>
                    <a:pt x="0" y="95"/>
                  </a:lnTo>
                  <a:lnTo>
                    <a:pt x="0" y="95"/>
                  </a:lnTo>
                  <a:lnTo>
                    <a:pt x="0" y="97"/>
                  </a:lnTo>
                  <a:lnTo>
                    <a:pt x="0" y="100"/>
                  </a:lnTo>
                  <a:lnTo>
                    <a:pt x="0" y="102"/>
                  </a:lnTo>
                  <a:lnTo>
                    <a:pt x="0" y="102"/>
                  </a:lnTo>
                  <a:lnTo>
                    <a:pt x="2" y="109"/>
                  </a:lnTo>
                  <a:lnTo>
                    <a:pt x="2" y="111"/>
                  </a:lnTo>
                  <a:lnTo>
                    <a:pt x="2" y="114"/>
                  </a:lnTo>
                  <a:lnTo>
                    <a:pt x="2" y="116"/>
                  </a:lnTo>
                  <a:lnTo>
                    <a:pt x="5" y="116"/>
                  </a:lnTo>
                  <a:lnTo>
                    <a:pt x="5" y="118"/>
                  </a:lnTo>
                  <a:lnTo>
                    <a:pt x="7" y="118"/>
                  </a:lnTo>
                  <a:lnTo>
                    <a:pt x="7" y="118"/>
                  </a:lnTo>
                  <a:lnTo>
                    <a:pt x="7" y="123"/>
                  </a:lnTo>
                  <a:lnTo>
                    <a:pt x="7" y="123"/>
                  </a:lnTo>
                  <a:lnTo>
                    <a:pt x="7" y="123"/>
                  </a:lnTo>
                  <a:lnTo>
                    <a:pt x="7" y="126"/>
                  </a:lnTo>
                  <a:lnTo>
                    <a:pt x="7" y="128"/>
                  </a:lnTo>
                  <a:lnTo>
                    <a:pt x="7" y="128"/>
                  </a:lnTo>
                  <a:lnTo>
                    <a:pt x="5" y="128"/>
                  </a:lnTo>
                  <a:lnTo>
                    <a:pt x="5" y="128"/>
                  </a:lnTo>
                  <a:lnTo>
                    <a:pt x="2" y="128"/>
                  </a:lnTo>
                  <a:lnTo>
                    <a:pt x="2" y="128"/>
                  </a:lnTo>
                  <a:lnTo>
                    <a:pt x="2" y="130"/>
                  </a:lnTo>
                  <a:lnTo>
                    <a:pt x="2" y="130"/>
                  </a:lnTo>
                  <a:lnTo>
                    <a:pt x="5" y="130"/>
                  </a:lnTo>
                  <a:lnTo>
                    <a:pt x="9" y="130"/>
                  </a:lnTo>
                  <a:lnTo>
                    <a:pt x="14" y="133"/>
                  </a:lnTo>
                  <a:lnTo>
                    <a:pt x="17" y="135"/>
                  </a:lnTo>
                  <a:lnTo>
                    <a:pt x="21" y="135"/>
                  </a:lnTo>
                  <a:lnTo>
                    <a:pt x="21" y="137"/>
                  </a:lnTo>
                  <a:lnTo>
                    <a:pt x="26" y="133"/>
                  </a:lnTo>
                  <a:lnTo>
                    <a:pt x="28" y="133"/>
                  </a:lnTo>
                  <a:lnTo>
                    <a:pt x="31" y="130"/>
                  </a:lnTo>
                  <a:lnTo>
                    <a:pt x="40" y="128"/>
                  </a:lnTo>
                  <a:lnTo>
                    <a:pt x="45" y="126"/>
                  </a:lnTo>
                  <a:lnTo>
                    <a:pt x="47" y="126"/>
                  </a:lnTo>
                  <a:lnTo>
                    <a:pt x="49" y="123"/>
                  </a:lnTo>
                  <a:lnTo>
                    <a:pt x="52" y="121"/>
                  </a:lnTo>
                  <a:lnTo>
                    <a:pt x="57" y="118"/>
                  </a:lnTo>
                  <a:lnTo>
                    <a:pt x="64" y="116"/>
                  </a:lnTo>
                  <a:lnTo>
                    <a:pt x="71" y="116"/>
                  </a:lnTo>
                  <a:lnTo>
                    <a:pt x="73" y="116"/>
                  </a:lnTo>
                  <a:lnTo>
                    <a:pt x="78" y="114"/>
                  </a:lnTo>
                  <a:lnTo>
                    <a:pt x="78" y="111"/>
                  </a:lnTo>
                  <a:lnTo>
                    <a:pt x="78" y="111"/>
                  </a:lnTo>
                  <a:lnTo>
                    <a:pt x="80" y="109"/>
                  </a:lnTo>
                  <a:lnTo>
                    <a:pt x="80" y="109"/>
                  </a:lnTo>
                  <a:lnTo>
                    <a:pt x="80" y="10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2" name="Freeform 338"/>
            <p:cNvSpPr>
              <a:spLocks noEditPoints="1"/>
            </p:cNvSpPr>
            <p:nvPr userDrawn="1"/>
          </p:nvSpPr>
          <p:spPr bwMode="auto">
            <a:xfrm>
              <a:off x="3775" y="1654"/>
              <a:ext cx="147" cy="158"/>
            </a:xfrm>
            <a:custGeom>
              <a:avLst/>
              <a:gdLst>
                <a:gd name="T0" fmla="*/ 132 w 147"/>
                <a:gd name="T1" fmla="*/ 23 h 158"/>
                <a:gd name="T2" fmla="*/ 85 w 147"/>
                <a:gd name="T3" fmla="*/ 12 h 158"/>
                <a:gd name="T4" fmla="*/ 121 w 147"/>
                <a:gd name="T5" fmla="*/ 16 h 158"/>
                <a:gd name="T6" fmla="*/ 123 w 147"/>
                <a:gd name="T7" fmla="*/ 12 h 158"/>
                <a:gd name="T8" fmla="*/ 116 w 147"/>
                <a:gd name="T9" fmla="*/ 9 h 158"/>
                <a:gd name="T10" fmla="*/ 45 w 147"/>
                <a:gd name="T11" fmla="*/ 7 h 158"/>
                <a:gd name="T12" fmla="*/ 142 w 147"/>
                <a:gd name="T13" fmla="*/ 68 h 158"/>
                <a:gd name="T14" fmla="*/ 142 w 147"/>
                <a:gd name="T15" fmla="*/ 59 h 158"/>
                <a:gd name="T16" fmla="*/ 140 w 147"/>
                <a:gd name="T17" fmla="*/ 52 h 158"/>
                <a:gd name="T18" fmla="*/ 137 w 147"/>
                <a:gd name="T19" fmla="*/ 38 h 158"/>
                <a:gd name="T20" fmla="*/ 128 w 147"/>
                <a:gd name="T21" fmla="*/ 23 h 158"/>
                <a:gd name="T22" fmla="*/ 104 w 147"/>
                <a:gd name="T23" fmla="*/ 14 h 158"/>
                <a:gd name="T24" fmla="*/ 81 w 147"/>
                <a:gd name="T25" fmla="*/ 21 h 158"/>
                <a:gd name="T26" fmla="*/ 71 w 147"/>
                <a:gd name="T27" fmla="*/ 14 h 158"/>
                <a:gd name="T28" fmla="*/ 62 w 147"/>
                <a:gd name="T29" fmla="*/ 5 h 158"/>
                <a:gd name="T30" fmla="*/ 50 w 147"/>
                <a:gd name="T31" fmla="*/ 5 h 158"/>
                <a:gd name="T32" fmla="*/ 48 w 147"/>
                <a:gd name="T33" fmla="*/ 12 h 158"/>
                <a:gd name="T34" fmla="*/ 50 w 147"/>
                <a:gd name="T35" fmla="*/ 21 h 158"/>
                <a:gd name="T36" fmla="*/ 57 w 147"/>
                <a:gd name="T37" fmla="*/ 26 h 158"/>
                <a:gd name="T38" fmla="*/ 43 w 147"/>
                <a:gd name="T39" fmla="*/ 31 h 158"/>
                <a:gd name="T40" fmla="*/ 36 w 147"/>
                <a:gd name="T41" fmla="*/ 28 h 158"/>
                <a:gd name="T42" fmla="*/ 22 w 147"/>
                <a:gd name="T43" fmla="*/ 38 h 158"/>
                <a:gd name="T44" fmla="*/ 15 w 147"/>
                <a:gd name="T45" fmla="*/ 49 h 158"/>
                <a:gd name="T46" fmla="*/ 19 w 147"/>
                <a:gd name="T47" fmla="*/ 54 h 158"/>
                <a:gd name="T48" fmla="*/ 15 w 147"/>
                <a:gd name="T49" fmla="*/ 61 h 158"/>
                <a:gd name="T50" fmla="*/ 8 w 147"/>
                <a:gd name="T51" fmla="*/ 66 h 158"/>
                <a:gd name="T52" fmla="*/ 3 w 147"/>
                <a:gd name="T53" fmla="*/ 68 h 158"/>
                <a:gd name="T54" fmla="*/ 3 w 147"/>
                <a:gd name="T55" fmla="*/ 78 h 158"/>
                <a:gd name="T56" fmla="*/ 0 w 147"/>
                <a:gd name="T57" fmla="*/ 83 h 158"/>
                <a:gd name="T58" fmla="*/ 5 w 147"/>
                <a:gd name="T59" fmla="*/ 92 h 158"/>
                <a:gd name="T60" fmla="*/ 3 w 147"/>
                <a:gd name="T61" fmla="*/ 99 h 158"/>
                <a:gd name="T62" fmla="*/ 10 w 147"/>
                <a:gd name="T63" fmla="*/ 106 h 158"/>
                <a:gd name="T64" fmla="*/ 10 w 147"/>
                <a:gd name="T65" fmla="*/ 116 h 158"/>
                <a:gd name="T66" fmla="*/ 17 w 147"/>
                <a:gd name="T67" fmla="*/ 118 h 158"/>
                <a:gd name="T68" fmla="*/ 24 w 147"/>
                <a:gd name="T69" fmla="*/ 120 h 158"/>
                <a:gd name="T70" fmla="*/ 31 w 147"/>
                <a:gd name="T71" fmla="*/ 130 h 158"/>
                <a:gd name="T72" fmla="*/ 26 w 147"/>
                <a:gd name="T73" fmla="*/ 149 h 158"/>
                <a:gd name="T74" fmla="*/ 41 w 147"/>
                <a:gd name="T75" fmla="*/ 151 h 158"/>
                <a:gd name="T76" fmla="*/ 41 w 147"/>
                <a:gd name="T77" fmla="*/ 151 h 158"/>
                <a:gd name="T78" fmla="*/ 45 w 147"/>
                <a:gd name="T79" fmla="*/ 149 h 158"/>
                <a:gd name="T80" fmla="*/ 59 w 147"/>
                <a:gd name="T81" fmla="*/ 154 h 158"/>
                <a:gd name="T82" fmla="*/ 66 w 147"/>
                <a:gd name="T83" fmla="*/ 156 h 158"/>
                <a:gd name="T84" fmla="*/ 74 w 147"/>
                <a:gd name="T85" fmla="*/ 154 h 158"/>
                <a:gd name="T86" fmla="*/ 83 w 147"/>
                <a:gd name="T87" fmla="*/ 156 h 158"/>
                <a:gd name="T88" fmla="*/ 92 w 147"/>
                <a:gd name="T89" fmla="*/ 154 h 158"/>
                <a:gd name="T90" fmla="*/ 107 w 147"/>
                <a:gd name="T91" fmla="*/ 151 h 158"/>
                <a:gd name="T92" fmla="*/ 114 w 147"/>
                <a:gd name="T93" fmla="*/ 154 h 158"/>
                <a:gd name="T94" fmla="*/ 114 w 147"/>
                <a:gd name="T95" fmla="*/ 149 h 158"/>
                <a:gd name="T96" fmla="*/ 116 w 147"/>
                <a:gd name="T97" fmla="*/ 137 h 158"/>
                <a:gd name="T98" fmla="*/ 125 w 147"/>
                <a:gd name="T99" fmla="*/ 132 h 158"/>
                <a:gd name="T100" fmla="*/ 125 w 147"/>
                <a:gd name="T101" fmla="*/ 125 h 158"/>
                <a:gd name="T102" fmla="*/ 116 w 147"/>
                <a:gd name="T103" fmla="*/ 118 h 158"/>
                <a:gd name="T104" fmla="*/ 104 w 147"/>
                <a:gd name="T105" fmla="*/ 109 h 158"/>
                <a:gd name="T106" fmla="*/ 102 w 147"/>
                <a:gd name="T107" fmla="*/ 101 h 158"/>
                <a:gd name="T108" fmla="*/ 102 w 147"/>
                <a:gd name="T109" fmla="*/ 97 h 158"/>
                <a:gd name="T110" fmla="*/ 111 w 147"/>
                <a:gd name="T111" fmla="*/ 94 h 158"/>
                <a:gd name="T112" fmla="*/ 118 w 147"/>
                <a:gd name="T113" fmla="*/ 90 h 158"/>
                <a:gd name="T114" fmla="*/ 128 w 147"/>
                <a:gd name="T115" fmla="*/ 87 h 158"/>
                <a:gd name="T116" fmla="*/ 135 w 147"/>
                <a:gd name="T117" fmla="*/ 80 h 158"/>
                <a:gd name="T118" fmla="*/ 142 w 147"/>
                <a:gd name="T119" fmla="*/ 85 h 158"/>
                <a:gd name="T120" fmla="*/ 147 w 147"/>
                <a:gd name="T121" fmla="*/ 73 h 158"/>
                <a:gd name="T122" fmla="*/ 43 w 147"/>
                <a:gd name="T12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7" h="158">
                  <a:moveTo>
                    <a:pt x="128" y="21"/>
                  </a:moveTo>
                  <a:lnTo>
                    <a:pt x="128" y="21"/>
                  </a:lnTo>
                  <a:lnTo>
                    <a:pt x="128" y="23"/>
                  </a:lnTo>
                  <a:lnTo>
                    <a:pt x="128" y="23"/>
                  </a:lnTo>
                  <a:lnTo>
                    <a:pt x="130" y="23"/>
                  </a:lnTo>
                  <a:lnTo>
                    <a:pt x="132" y="23"/>
                  </a:lnTo>
                  <a:lnTo>
                    <a:pt x="132" y="23"/>
                  </a:lnTo>
                  <a:lnTo>
                    <a:pt x="132" y="23"/>
                  </a:lnTo>
                  <a:lnTo>
                    <a:pt x="132" y="23"/>
                  </a:lnTo>
                  <a:lnTo>
                    <a:pt x="130" y="21"/>
                  </a:lnTo>
                  <a:lnTo>
                    <a:pt x="125" y="19"/>
                  </a:lnTo>
                  <a:lnTo>
                    <a:pt x="125" y="19"/>
                  </a:lnTo>
                  <a:lnTo>
                    <a:pt x="125" y="21"/>
                  </a:lnTo>
                  <a:lnTo>
                    <a:pt x="128" y="21"/>
                  </a:lnTo>
                  <a:close/>
                  <a:moveTo>
                    <a:pt x="85" y="14"/>
                  </a:moveTo>
                  <a:lnTo>
                    <a:pt x="88" y="14"/>
                  </a:lnTo>
                  <a:lnTo>
                    <a:pt x="88" y="12"/>
                  </a:lnTo>
                  <a:lnTo>
                    <a:pt x="85" y="12"/>
                  </a:lnTo>
                  <a:lnTo>
                    <a:pt x="83" y="12"/>
                  </a:lnTo>
                  <a:lnTo>
                    <a:pt x="83" y="12"/>
                  </a:lnTo>
                  <a:lnTo>
                    <a:pt x="83" y="12"/>
                  </a:lnTo>
                  <a:lnTo>
                    <a:pt x="83" y="12"/>
                  </a:lnTo>
                  <a:lnTo>
                    <a:pt x="85" y="14"/>
                  </a:lnTo>
                  <a:close/>
                  <a:moveTo>
                    <a:pt x="116" y="14"/>
                  </a:moveTo>
                  <a:lnTo>
                    <a:pt x="116" y="14"/>
                  </a:lnTo>
                  <a:lnTo>
                    <a:pt x="118" y="16"/>
                  </a:lnTo>
                  <a:lnTo>
                    <a:pt x="121" y="16"/>
                  </a:lnTo>
                  <a:lnTo>
                    <a:pt x="121" y="14"/>
                  </a:lnTo>
                  <a:lnTo>
                    <a:pt x="123" y="14"/>
                  </a:lnTo>
                  <a:lnTo>
                    <a:pt x="125" y="16"/>
                  </a:lnTo>
                  <a:lnTo>
                    <a:pt x="125" y="14"/>
                  </a:lnTo>
                  <a:lnTo>
                    <a:pt x="125" y="14"/>
                  </a:lnTo>
                  <a:lnTo>
                    <a:pt x="123" y="12"/>
                  </a:lnTo>
                  <a:lnTo>
                    <a:pt x="123" y="12"/>
                  </a:lnTo>
                  <a:lnTo>
                    <a:pt x="123" y="12"/>
                  </a:lnTo>
                  <a:lnTo>
                    <a:pt x="123" y="12"/>
                  </a:lnTo>
                  <a:lnTo>
                    <a:pt x="123" y="9"/>
                  </a:lnTo>
                  <a:lnTo>
                    <a:pt x="123" y="9"/>
                  </a:lnTo>
                  <a:lnTo>
                    <a:pt x="121" y="9"/>
                  </a:lnTo>
                  <a:lnTo>
                    <a:pt x="121" y="9"/>
                  </a:lnTo>
                  <a:lnTo>
                    <a:pt x="121" y="7"/>
                  </a:lnTo>
                  <a:lnTo>
                    <a:pt x="118" y="7"/>
                  </a:lnTo>
                  <a:lnTo>
                    <a:pt x="118" y="9"/>
                  </a:lnTo>
                  <a:lnTo>
                    <a:pt x="116" y="9"/>
                  </a:lnTo>
                  <a:lnTo>
                    <a:pt x="116" y="9"/>
                  </a:lnTo>
                  <a:lnTo>
                    <a:pt x="116" y="12"/>
                  </a:lnTo>
                  <a:lnTo>
                    <a:pt x="116" y="14"/>
                  </a:lnTo>
                  <a:lnTo>
                    <a:pt x="116" y="14"/>
                  </a:lnTo>
                  <a:close/>
                  <a:moveTo>
                    <a:pt x="43" y="7"/>
                  </a:moveTo>
                  <a:lnTo>
                    <a:pt x="43" y="7"/>
                  </a:lnTo>
                  <a:lnTo>
                    <a:pt x="43" y="7"/>
                  </a:lnTo>
                  <a:lnTo>
                    <a:pt x="43" y="7"/>
                  </a:lnTo>
                  <a:lnTo>
                    <a:pt x="45" y="7"/>
                  </a:lnTo>
                  <a:lnTo>
                    <a:pt x="45" y="7"/>
                  </a:lnTo>
                  <a:lnTo>
                    <a:pt x="45" y="7"/>
                  </a:lnTo>
                  <a:lnTo>
                    <a:pt x="43" y="7"/>
                  </a:lnTo>
                  <a:lnTo>
                    <a:pt x="43" y="7"/>
                  </a:lnTo>
                  <a:close/>
                  <a:moveTo>
                    <a:pt x="147" y="73"/>
                  </a:moveTo>
                  <a:lnTo>
                    <a:pt x="144" y="73"/>
                  </a:lnTo>
                  <a:lnTo>
                    <a:pt x="144" y="73"/>
                  </a:lnTo>
                  <a:lnTo>
                    <a:pt x="142" y="71"/>
                  </a:lnTo>
                  <a:lnTo>
                    <a:pt x="142" y="71"/>
                  </a:lnTo>
                  <a:lnTo>
                    <a:pt x="142" y="68"/>
                  </a:lnTo>
                  <a:lnTo>
                    <a:pt x="142" y="68"/>
                  </a:lnTo>
                  <a:lnTo>
                    <a:pt x="142" y="68"/>
                  </a:lnTo>
                  <a:lnTo>
                    <a:pt x="140" y="66"/>
                  </a:lnTo>
                  <a:lnTo>
                    <a:pt x="140" y="66"/>
                  </a:lnTo>
                  <a:lnTo>
                    <a:pt x="142" y="64"/>
                  </a:lnTo>
                  <a:lnTo>
                    <a:pt x="142" y="61"/>
                  </a:lnTo>
                  <a:lnTo>
                    <a:pt x="142" y="61"/>
                  </a:lnTo>
                  <a:lnTo>
                    <a:pt x="142" y="61"/>
                  </a:lnTo>
                  <a:lnTo>
                    <a:pt x="142" y="59"/>
                  </a:lnTo>
                  <a:lnTo>
                    <a:pt x="142" y="59"/>
                  </a:lnTo>
                  <a:lnTo>
                    <a:pt x="142" y="59"/>
                  </a:lnTo>
                  <a:lnTo>
                    <a:pt x="142" y="57"/>
                  </a:lnTo>
                  <a:lnTo>
                    <a:pt x="140" y="57"/>
                  </a:lnTo>
                  <a:lnTo>
                    <a:pt x="140" y="57"/>
                  </a:lnTo>
                  <a:lnTo>
                    <a:pt x="140" y="54"/>
                  </a:lnTo>
                  <a:lnTo>
                    <a:pt x="140" y="54"/>
                  </a:lnTo>
                  <a:lnTo>
                    <a:pt x="140" y="52"/>
                  </a:lnTo>
                  <a:lnTo>
                    <a:pt x="140" y="52"/>
                  </a:lnTo>
                  <a:lnTo>
                    <a:pt x="137" y="49"/>
                  </a:lnTo>
                  <a:lnTo>
                    <a:pt x="135" y="45"/>
                  </a:lnTo>
                  <a:lnTo>
                    <a:pt x="132" y="45"/>
                  </a:lnTo>
                  <a:lnTo>
                    <a:pt x="132" y="42"/>
                  </a:lnTo>
                  <a:lnTo>
                    <a:pt x="132" y="42"/>
                  </a:lnTo>
                  <a:lnTo>
                    <a:pt x="135" y="40"/>
                  </a:lnTo>
                  <a:lnTo>
                    <a:pt x="135" y="40"/>
                  </a:lnTo>
                  <a:lnTo>
                    <a:pt x="137" y="38"/>
                  </a:lnTo>
                  <a:lnTo>
                    <a:pt x="137" y="38"/>
                  </a:lnTo>
                  <a:lnTo>
                    <a:pt x="137" y="35"/>
                  </a:lnTo>
                  <a:lnTo>
                    <a:pt x="135" y="31"/>
                  </a:lnTo>
                  <a:lnTo>
                    <a:pt x="135" y="28"/>
                  </a:lnTo>
                  <a:lnTo>
                    <a:pt x="132" y="28"/>
                  </a:lnTo>
                  <a:lnTo>
                    <a:pt x="132" y="26"/>
                  </a:lnTo>
                  <a:lnTo>
                    <a:pt x="132" y="26"/>
                  </a:lnTo>
                  <a:lnTo>
                    <a:pt x="130" y="26"/>
                  </a:lnTo>
                  <a:lnTo>
                    <a:pt x="128" y="26"/>
                  </a:lnTo>
                  <a:lnTo>
                    <a:pt x="128" y="23"/>
                  </a:lnTo>
                  <a:lnTo>
                    <a:pt x="125" y="21"/>
                  </a:lnTo>
                  <a:lnTo>
                    <a:pt x="125" y="19"/>
                  </a:lnTo>
                  <a:lnTo>
                    <a:pt x="121" y="19"/>
                  </a:lnTo>
                  <a:lnTo>
                    <a:pt x="116" y="16"/>
                  </a:lnTo>
                  <a:lnTo>
                    <a:pt x="114" y="14"/>
                  </a:lnTo>
                  <a:lnTo>
                    <a:pt x="111" y="14"/>
                  </a:lnTo>
                  <a:lnTo>
                    <a:pt x="109" y="12"/>
                  </a:lnTo>
                  <a:lnTo>
                    <a:pt x="107" y="12"/>
                  </a:lnTo>
                  <a:lnTo>
                    <a:pt x="104" y="14"/>
                  </a:lnTo>
                  <a:lnTo>
                    <a:pt x="102" y="16"/>
                  </a:lnTo>
                  <a:lnTo>
                    <a:pt x="99" y="16"/>
                  </a:lnTo>
                  <a:lnTo>
                    <a:pt x="99" y="19"/>
                  </a:lnTo>
                  <a:lnTo>
                    <a:pt x="95" y="19"/>
                  </a:lnTo>
                  <a:lnTo>
                    <a:pt x="92" y="19"/>
                  </a:lnTo>
                  <a:lnTo>
                    <a:pt x="90" y="21"/>
                  </a:lnTo>
                  <a:lnTo>
                    <a:pt x="88" y="23"/>
                  </a:lnTo>
                  <a:lnTo>
                    <a:pt x="83" y="21"/>
                  </a:lnTo>
                  <a:lnTo>
                    <a:pt x="81" y="21"/>
                  </a:lnTo>
                  <a:lnTo>
                    <a:pt x="81" y="21"/>
                  </a:lnTo>
                  <a:lnTo>
                    <a:pt x="78" y="19"/>
                  </a:lnTo>
                  <a:lnTo>
                    <a:pt x="83" y="19"/>
                  </a:lnTo>
                  <a:lnTo>
                    <a:pt x="83" y="16"/>
                  </a:lnTo>
                  <a:lnTo>
                    <a:pt x="83" y="14"/>
                  </a:lnTo>
                  <a:lnTo>
                    <a:pt x="81" y="14"/>
                  </a:lnTo>
                  <a:lnTo>
                    <a:pt x="78" y="14"/>
                  </a:lnTo>
                  <a:lnTo>
                    <a:pt x="71" y="12"/>
                  </a:lnTo>
                  <a:lnTo>
                    <a:pt x="71" y="14"/>
                  </a:lnTo>
                  <a:lnTo>
                    <a:pt x="69" y="12"/>
                  </a:lnTo>
                  <a:lnTo>
                    <a:pt x="69" y="12"/>
                  </a:lnTo>
                  <a:lnTo>
                    <a:pt x="64" y="12"/>
                  </a:lnTo>
                  <a:lnTo>
                    <a:pt x="66" y="12"/>
                  </a:lnTo>
                  <a:lnTo>
                    <a:pt x="66" y="9"/>
                  </a:lnTo>
                  <a:lnTo>
                    <a:pt x="66" y="7"/>
                  </a:lnTo>
                  <a:lnTo>
                    <a:pt x="66" y="7"/>
                  </a:lnTo>
                  <a:lnTo>
                    <a:pt x="64" y="5"/>
                  </a:lnTo>
                  <a:lnTo>
                    <a:pt x="62" y="5"/>
                  </a:lnTo>
                  <a:lnTo>
                    <a:pt x="62" y="5"/>
                  </a:lnTo>
                  <a:lnTo>
                    <a:pt x="62" y="5"/>
                  </a:lnTo>
                  <a:lnTo>
                    <a:pt x="62" y="5"/>
                  </a:lnTo>
                  <a:lnTo>
                    <a:pt x="62" y="5"/>
                  </a:lnTo>
                  <a:lnTo>
                    <a:pt x="59" y="5"/>
                  </a:lnTo>
                  <a:lnTo>
                    <a:pt x="57" y="5"/>
                  </a:lnTo>
                  <a:lnTo>
                    <a:pt x="55" y="5"/>
                  </a:lnTo>
                  <a:lnTo>
                    <a:pt x="55" y="5"/>
                  </a:lnTo>
                  <a:lnTo>
                    <a:pt x="50" y="5"/>
                  </a:lnTo>
                  <a:lnTo>
                    <a:pt x="50" y="2"/>
                  </a:lnTo>
                  <a:lnTo>
                    <a:pt x="45" y="2"/>
                  </a:lnTo>
                  <a:lnTo>
                    <a:pt x="45" y="2"/>
                  </a:lnTo>
                  <a:lnTo>
                    <a:pt x="45" y="5"/>
                  </a:lnTo>
                  <a:lnTo>
                    <a:pt x="48" y="7"/>
                  </a:lnTo>
                  <a:lnTo>
                    <a:pt x="50" y="9"/>
                  </a:lnTo>
                  <a:lnTo>
                    <a:pt x="50" y="12"/>
                  </a:lnTo>
                  <a:lnTo>
                    <a:pt x="50" y="12"/>
                  </a:lnTo>
                  <a:lnTo>
                    <a:pt x="48" y="12"/>
                  </a:lnTo>
                  <a:lnTo>
                    <a:pt x="45" y="14"/>
                  </a:lnTo>
                  <a:lnTo>
                    <a:pt x="45" y="14"/>
                  </a:lnTo>
                  <a:lnTo>
                    <a:pt x="45" y="16"/>
                  </a:lnTo>
                  <a:lnTo>
                    <a:pt x="48" y="16"/>
                  </a:lnTo>
                  <a:lnTo>
                    <a:pt x="48" y="14"/>
                  </a:lnTo>
                  <a:lnTo>
                    <a:pt x="48" y="16"/>
                  </a:lnTo>
                  <a:lnTo>
                    <a:pt x="50" y="16"/>
                  </a:lnTo>
                  <a:lnTo>
                    <a:pt x="50" y="21"/>
                  </a:lnTo>
                  <a:lnTo>
                    <a:pt x="50" y="21"/>
                  </a:lnTo>
                  <a:lnTo>
                    <a:pt x="50" y="23"/>
                  </a:lnTo>
                  <a:lnTo>
                    <a:pt x="52" y="23"/>
                  </a:lnTo>
                  <a:lnTo>
                    <a:pt x="55" y="23"/>
                  </a:lnTo>
                  <a:lnTo>
                    <a:pt x="55" y="23"/>
                  </a:lnTo>
                  <a:lnTo>
                    <a:pt x="62" y="28"/>
                  </a:lnTo>
                  <a:lnTo>
                    <a:pt x="64" y="31"/>
                  </a:lnTo>
                  <a:lnTo>
                    <a:pt x="62" y="31"/>
                  </a:lnTo>
                  <a:lnTo>
                    <a:pt x="59" y="28"/>
                  </a:lnTo>
                  <a:lnTo>
                    <a:pt x="57" y="26"/>
                  </a:lnTo>
                  <a:lnTo>
                    <a:pt x="55" y="23"/>
                  </a:lnTo>
                  <a:lnTo>
                    <a:pt x="50" y="23"/>
                  </a:lnTo>
                  <a:lnTo>
                    <a:pt x="45" y="23"/>
                  </a:lnTo>
                  <a:lnTo>
                    <a:pt x="45" y="23"/>
                  </a:lnTo>
                  <a:lnTo>
                    <a:pt x="43" y="26"/>
                  </a:lnTo>
                  <a:lnTo>
                    <a:pt x="43" y="28"/>
                  </a:lnTo>
                  <a:lnTo>
                    <a:pt x="43" y="31"/>
                  </a:lnTo>
                  <a:lnTo>
                    <a:pt x="43" y="33"/>
                  </a:lnTo>
                  <a:lnTo>
                    <a:pt x="43" y="31"/>
                  </a:lnTo>
                  <a:lnTo>
                    <a:pt x="43" y="31"/>
                  </a:lnTo>
                  <a:lnTo>
                    <a:pt x="41" y="28"/>
                  </a:lnTo>
                  <a:lnTo>
                    <a:pt x="41" y="31"/>
                  </a:lnTo>
                  <a:lnTo>
                    <a:pt x="41" y="31"/>
                  </a:lnTo>
                  <a:lnTo>
                    <a:pt x="38" y="33"/>
                  </a:lnTo>
                  <a:lnTo>
                    <a:pt x="38" y="33"/>
                  </a:lnTo>
                  <a:lnTo>
                    <a:pt x="36" y="33"/>
                  </a:lnTo>
                  <a:lnTo>
                    <a:pt x="38" y="31"/>
                  </a:lnTo>
                  <a:lnTo>
                    <a:pt x="36" y="28"/>
                  </a:lnTo>
                  <a:lnTo>
                    <a:pt x="29" y="28"/>
                  </a:lnTo>
                  <a:lnTo>
                    <a:pt x="24" y="28"/>
                  </a:lnTo>
                  <a:lnTo>
                    <a:pt x="22" y="28"/>
                  </a:lnTo>
                  <a:lnTo>
                    <a:pt x="22" y="31"/>
                  </a:lnTo>
                  <a:lnTo>
                    <a:pt x="22" y="33"/>
                  </a:lnTo>
                  <a:lnTo>
                    <a:pt x="19" y="33"/>
                  </a:lnTo>
                  <a:lnTo>
                    <a:pt x="22" y="35"/>
                  </a:lnTo>
                  <a:lnTo>
                    <a:pt x="22" y="35"/>
                  </a:lnTo>
                  <a:lnTo>
                    <a:pt x="22" y="38"/>
                  </a:lnTo>
                  <a:lnTo>
                    <a:pt x="22" y="42"/>
                  </a:lnTo>
                  <a:lnTo>
                    <a:pt x="22" y="42"/>
                  </a:lnTo>
                  <a:lnTo>
                    <a:pt x="22" y="45"/>
                  </a:lnTo>
                  <a:lnTo>
                    <a:pt x="19" y="47"/>
                  </a:lnTo>
                  <a:lnTo>
                    <a:pt x="19" y="49"/>
                  </a:lnTo>
                  <a:lnTo>
                    <a:pt x="19" y="49"/>
                  </a:lnTo>
                  <a:lnTo>
                    <a:pt x="15" y="49"/>
                  </a:lnTo>
                  <a:lnTo>
                    <a:pt x="15" y="49"/>
                  </a:lnTo>
                  <a:lnTo>
                    <a:pt x="15" y="49"/>
                  </a:lnTo>
                  <a:lnTo>
                    <a:pt x="15" y="49"/>
                  </a:lnTo>
                  <a:lnTo>
                    <a:pt x="15" y="49"/>
                  </a:lnTo>
                  <a:lnTo>
                    <a:pt x="15" y="52"/>
                  </a:lnTo>
                  <a:lnTo>
                    <a:pt x="15" y="52"/>
                  </a:lnTo>
                  <a:lnTo>
                    <a:pt x="15" y="52"/>
                  </a:lnTo>
                  <a:lnTo>
                    <a:pt x="17" y="52"/>
                  </a:lnTo>
                  <a:lnTo>
                    <a:pt x="17" y="52"/>
                  </a:lnTo>
                  <a:lnTo>
                    <a:pt x="19" y="52"/>
                  </a:lnTo>
                  <a:lnTo>
                    <a:pt x="19" y="54"/>
                  </a:lnTo>
                  <a:lnTo>
                    <a:pt x="19" y="54"/>
                  </a:lnTo>
                  <a:lnTo>
                    <a:pt x="19" y="54"/>
                  </a:lnTo>
                  <a:lnTo>
                    <a:pt x="19" y="57"/>
                  </a:lnTo>
                  <a:lnTo>
                    <a:pt x="19" y="57"/>
                  </a:lnTo>
                  <a:lnTo>
                    <a:pt x="17" y="59"/>
                  </a:lnTo>
                  <a:lnTo>
                    <a:pt x="15" y="59"/>
                  </a:lnTo>
                  <a:lnTo>
                    <a:pt x="15" y="59"/>
                  </a:lnTo>
                  <a:lnTo>
                    <a:pt x="15" y="59"/>
                  </a:lnTo>
                  <a:lnTo>
                    <a:pt x="15" y="61"/>
                  </a:lnTo>
                  <a:lnTo>
                    <a:pt x="15" y="61"/>
                  </a:lnTo>
                  <a:lnTo>
                    <a:pt x="15" y="61"/>
                  </a:lnTo>
                  <a:lnTo>
                    <a:pt x="15" y="61"/>
                  </a:lnTo>
                  <a:lnTo>
                    <a:pt x="15" y="64"/>
                  </a:lnTo>
                  <a:lnTo>
                    <a:pt x="15" y="64"/>
                  </a:lnTo>
                  <a:lnTo>
                    <a:pt x="10" y="64"/>
                  </a:lnTo>
                  <a:lnTo>
                    <a:pt x="10" y="64"/>
                  </a:lnTo>
                  <a:lnTo>
                    <a:pt x="8" y="66"/>
                  </a:lnTo>
                  <a:lnTo>
                    <a:pt x="8" y="66"/>
                  </a:lnTo>
                  <a:lnTo>
                    <a:pt x="8" y="64"/>
                  </a:lnTo>
                  <a:lnTo>
                    <a:pt x="5" y="64"/>
                  </a:lnTo>
                  <a:lnTo>
                    <a:pt x="5" y="64"/>
                  </a:lnTo>
                  <a:lnTo>
                    <a:pt x="5" y="64"/>
                  </a:lnTo>
                  <a:lnTo>
                    <a:pt x="3" y="66"/>
                  </a:lnTo>
                  <a:lnTo>
                    <a:pt x="3" y="66"/>
                  </a:lnTo>
                  <a:lnTo>
                    <a:pt x="3" y="66"/>
                  </a:lnTo>
                  <a:lnTo>
                    <a:pt x="3" y="68"/>
                  </a:lnTo>
                  <a:lnTo>
                    <a:pt x="3" y="68"/>
                  </a:lnTo>
                  <a:lnTo>
                    <a:pt x="3" y="71"/>
                  </a:lnTo>
                  <a:lnTo>
                    <a:pt x="5" y="71"/>
                  </a:lnTo>
                  <a:lnTo>
                    <a:pt x="5" y="71"/>
                  </a:lnTo>
                  <a:lnTo>
                    <a:pt x="5" y="73"/>
                  </a:lnTo>
                  <a:lnTo>
                    <a:pt x="5" y="73"/>
                  </a:lnTo>
                  <a:lnTo>
                    <a:pt x="5" y="75"/>
                  </a:lnTo>
                  <a:lnTo>
                    <a:pt x="3" y="78"/>
                  </a:lnTo>
                  <a:lnTo>
                    <a:pt x="3" y="78"/>
                  </a:lnTo>
                  <a:lnTo>
                    <a:pt x="3" y="78"/>
                  </a:lnTo>
                  <a:lnTo>
                    <a:pt x="5" y="78"/>
                  </a:lnTo>
                  <a:lnTo>
                    <a:pt x="5" y="78"/>
                  </a:lnTo>
                  <a:lnTo>
                    <a:pt x="5" y="78"/>
                  </a:lnTo>
                  <a:lnTo>
                    <a:pt x="0" y="80"/>
                  </a:lnTo>
                  <a:lnTo>
                    <a:pt x="0" y="80"/>
                  </a:lnTo>
                  <a:lnTo>
                    <a:pt x="0" y="80"/>
                  </a:lnTo>
                  <a:lnTo>
                    <a:pt x="0" y="80"/>
                  </a:lnTo>
                  <a:lnTo>
                    <a:pt x="0" y="83"/>
                  </a:lnTo>
                  <a:lnTo>
                    <a:pt x="0" y="83"/>
                  </a:lnTo>
                  <a:lnTo>
                    <a:pt x="0" y="83"/>
                  </a:lnTo>
                  <a:lnTo>
                    <a:pt x="3" y="83"/>
                  </a:lnTo>
                  <a:lnTo>
                    <a:pt x="3" y="85"/>
                  </a:lnTo>
                  <a:lnTo>
                    <a:pt x="3" y="87"/>
                  </a:lnTo>
                  <a:lnTo>
                    <a:pt x="3" y="87"/>
                  </a:lnTo>
                  <a:lnTo>
                    <a:pt x="3" y="87"/>
                  </a:lnTo>
                  <a:lnTo>
                    <a:pt x="5" y="90"/>
                  </a:lnTo>
                  <a:lnTo>
                    <a:pt x="5" y="90"/>
                  </a:lnTo>
                  <a:lnTo>
                    <a:pt x="5" y="92"/>
                  </a:lnTo>
                  <a:lnTo>
                    <a:pt x="5" y="92"/>
                  </a:lnTo>
                  <a:lnTo>
                    <a:pt x="5" y="92"/>
                  </a:lnTo>
                  <a:lnTo>
                    <a:pt x="8" y="92"/>
                  </a:lnTo>
                  <a:lnTo>
                    <a:pt x="8" y="92"/>
                  </a:lnTo>
                  <a:lnTo>
                    <a:pt x="8" y="94"/>
                  </a:lnTo>
                  <a:lnTo>
                    <a:pt x="8" y="97"/>
                  </a:lnTo>
                  <a:lnTo>
                    <a:pt x="5" y="97"/>
                  </a:lnTo>
                  <a:lnTo>
                    <a:pt x="3" y="99"/>
                  </a:lnTo>
                  <a:lnTo>
                    <a:pt x="3" y="99"/>
                  </a:lnTo>
                  <a:lnTo>
                    <a:pt x="3" y="101"/>
                  </a:lnTo>
                  <a:lnTo>
                    <a:pt x="3" y="101"/>
                  </a:lnTo>
                  <a:lnTo>
                    <a:pt x="3" y="104"/>
                  </a:lnTo>
                  <a:lnTo>
                    <a:pt x="5" y="104"/>
                  </a:lnTo>
                  <a:lnTo>
                    <a:pt x="5" y="104"/>
                  </a:lnTo>
                  <a:lnTo>
                    <a:pt x="8" y="106"/>
                  </a:lnTo>
                  <a:lnTo>
                    <a:pt x="8" y="106"/>
                  </a:lnTo>
                  <a:lnTo>
                    <a:pt x="10" y="106"/>
                  </a:lnTo>
                  <a:lnTo>
                    <a:pt x="10" y="106"/>
                  </a:lnTo>
                  <a:lnTo>
                    <a:pt x="10" y="109"/>
                  </a:lnTo>
                  <a:lnTo>
                    <a:pt x="8" y="109"/>
                  </a:lnTo>
                  <a:lnTo>
                    <a:pt x="8" y="109"/>
                  </a:lnTo>
                  <a:lnTo>
                    <a:pt x="8" y="111"/>
                  </a:lnTo>
                  <a:lnTo>
                    <a:pt x="8" y="113"/>
                  </a:lnTo>
                  <a:lnTo>
                    <a:pt x="8" y="113"/>
                  </a:lnTo>
                  <a:lnTo>
                    <a:pt x="8" y="113"/>
                  </a:lnTo>
                  <a:lnTo>
                    <a:pt x="10" y="113"/>
                  </a:lnTo>
                  <a:lnTo>
                    <a:pt x="10" y="116"/>
                  </a:lnTo>
                  <a:lnTo>
                    <a:pt x="10" y="116"/>
                  </a:lnTo>
                  <a:lnTo>
                    <a:pt x="10" y="116"/>
                  </a:lnTo>
                  <a:lnTo>
                    <a:pt x="10" y="118"/>
                  </a:lnTo>
                  <a:lnTo>
                    <a:pt x="12" y="120"/>
                  </a:lnTo>
                  <a:lnTo>
                    <a:pt x="15" y="120"/>
                  </a:lnTo>
                  <a:lnTo>
                    <a:pt x="15" y="120"/>
                  </a:lnTo>
                  <a:lnTo>
                    <a:pt x="15" y="118"/>
                  </a:lnTo>
                  <a:lnTo>
                    <a:pt x="15" y="118"/>
                  </a:lnTo>
                  <a:lnTo>
                    <a:pt x="17" y="118"/>
                  </a:lnTo>
                  <a:lnTo>
                    <a:pt x="17" y="118"/>
                  </a:lnTo>
                  <a:lnTo>
                    <a:pt x="17" y="120"/>
                  </a:lnTo>
                  <a:lnTo>
                    <a:pt x="17" y="120"/>
                  </a:lnTo>
                  <a:lnTo>
                    <a:pt x="19" y="120"/>
                  </a:lnTo>
                  <a:lnTo>
                    <a:pt x="19" y="120"/>
                  </a:lnTo>
                  <a:lnTo>
                    <a:pt x="22" y="120"/>
                  </a:lnTo>
                  <a:lnTo>
                    <a:pt x="22" y="120"/>
                  </a:lnTo>
                  <a:lnTo>
                    <a:pt x="24" y="120"/>
                  </a:lnTo>
                  <a:lnTo>
                    <a:pt x="24" y="120"/>
                  </a:lnTo>
                  <a:lnTo>
                    <a:pt x="26" y="120"/>
                  </a:lnTo>
                  <a:lnTo>
                    <a:pt x="26" y="120"/>
                  </a:lnTo>
                  <a:lnTo>
                    <a:pt x="31" y="123"/>
                  </a:lnTo>
                  <a:lnTo>
                    <a:pt x="33" y="123"/>
                  </a:lnTo>
                  <a:lnTo>
                    <a:pt x="36" y="123"/>
                  </a:lnTo>
                  <a:lnTo>
                    <a:pt x="36" y="123"/>
                  </a:lnTo>
                  <a:lnTo>
                    <a:pt x="36" y="125"/>
                  </a:lnTo>
                  <a:lnTo>
                    <a:pt x="36" y="125"/>
                  </a:lnTo>
                  <a:lnTo>
                    <a:pt x="31" y="130"/>
                  </a:lnTo>
                  <a:lnTo>
                    <a:pt x="31" y="130"/>
                  </a:lnTo>
                  <a:lnTo>
                    <a:pt x="31" y="132"/>
                  </a:lnTo>
                  <a:lnTo>
                    <a:pt x="29" y="135"/>
                  </a:lnTo>
                  <a:lnTo>
                    <a:pt x="29" y="137"/>
                  </a:lnTo>
                  <a:lnTo>
                    <a:pt x="26" y="139"/>
                  </a:lnTo>
                  <a:lnTo>
                    <a:pt x="26" y="142"/>
                  </a:lnTo>
                  <a:lnTo>
                    <a:pt x="26" y="144"/>
                  </a:lnTo>
                  <a:lnTo>
                    <a:pt x="26" y="146"/>
                  </a:lnTo>
                  <a:lnTo>
                    <a:pt x="26" y="149"/>
                  </a:lnTo>
                  <a:lnTo>
                    <a:pt x="26" y="151"/>
                  </a:lnTo>
                  <a:lnTo>
                    <a:pt x="26" y="151"/>
                  </a:lnTo>
                  <a:lnTo>
                    <a:pt x="26" y="151"/>
                  </a:lnTo>
                  <a:lnTo>
                    <a:pt x="29" y="154"/>
                  </a:lnTo>
                  <a:lnTo>
                    <a:pt x="31" y="154"/>
                  </a:lnTo>
                  <a:lnTo>
                    <a:pt x="33" y="151"/>
                  </a:lnTo>
                  <a:lnTo>
                    <a:pt x="36" y="151"/>
                  </a:lnTo>
                  <a:lnTo>
                    <a:pt x="38" y="151"/>
                  </a:lnTo>
                  <a:lnTo>
                    <a:pt x="41" y="151"/>
                  </a:lnTo>
                  <a:lnTo>
                    <a:pt x="41" y="151"/>
                  </a:lnTo>
                  <a:lnTo>
                    <a:pt x="41" y="151"/>
                  </a:lnTo>
                  <a:lnTo>
                    <a:pt x="41" y="151"/>
                  </a:lnTo>
                  <a:lnTo>
                    <a:pt x="43" y="151"/>
                  </a:lnTo>
                  <a:lnTo>
                    <a:pt x="43" y="151"/>
                  </a:lnTo>
                  <a:lnTo>
                    <a:pt x="43" y="151"/>
                  </a:lnTo>
                  <a:lnTo>
                    <a:pt x="43" y="151"/>
                  </a:lnTo>
                  <a:lnTo>
                    <a:pt x="41" y="151"/>
                  </a:lnTo>
                  <a:lnTo>
                    <a:pt x="41" y="151"/>
                  </a:lnTo>
                  <a:lnTo>
                    <a:pt x="41" y="149"/>
                  </a:lnTo>
                  <a:lnTo>
                    <a:pt x="41" y="149"/>
                  </a:lnTo>
                  <a:lnTo>
                    <a:pt x="41" y="149"/>
                  </a:lnTo>
                  <a:lnTo>
                    <a:pt x="43" y="149"/>
                  </a:lnTo>
                  <a:lnTo>
                    <a:pt x="43" y="149"/>
                  </a:lnTo>
                  <a:lnTo>
                    <a:pt x="45" y="149"/>
                  </a:lnTo>
                  <a:lnTo>
                    <a:pt x="45" y="149"/>
                  </a:lnTo>
                  <a:lnTo>
                    <a:pt x="45" y="149"/>
                  </a:lnTo>
                  <a:lnTo>
                    <a:pt x="45" y="149"/>
                  </a:lnTo>
                  <a:lnTo>
                    <a:pt x="48" y="149"/>
                  </a:lnTo>
                  <a:lnTo>
                    <a:pt x="48" y="151"/>
                  </a:lnTo>
                  <a:lnTo>
                    <a:pt x="48" y="151"/>
                  </a:lnTo>
                  <a:lnTo>
                    <a:pt x="52" y="151"/>
                  </a:lnTo>
                  <a:lnTo>
                    <a:pt x="52" y="151"/>
                  </a:lnTo>
                  <a:lnTo>
                    <a:pt x="55" y="151"/>
                  </a:lnTo>
                  <a:lnTo>
                    <a:pt x="57" y="154"/>
                  </a:lnTo>
                  <a:lnTo>
                    <a:pt x="59" y="154"/>
                  </a:lnTo>
                  <a:lnTo>
                    <a:pt x="59" y="154"/>
                  </a:lnTo>
                  <a:lnTo>
                    <a:pt x="62" y="154"/>
                  </a:lnTo>
                  <a:lnTo>
                    <a:pt x="62" y="151"/>
                  </a:lnTo>
                  <a:lnTo>
                    <a:pt x="64" y="154"/>
                  </a:lnTo>
                  <a:lnTo>
                    <a:pt x="66" y="154"/>
                  </a:lnTo>
                  <a:lnTo>
                    <a:pt x="66" y="154"/>
                  </a:lnTo>
                  <a:lnTo>
                    <a:pt x="66" y="156"/>
                  </a:lnTo>
                  <a:lnTo>
                    <a:pt x="66" y="156"/>
                  </a:lnTo>
                  <a:lnTo>
                    <a:pt x="66" y="156"/>
                  </a:lnTo>
                  <a:lnTo>
                    <a:pt x="66" y="156"/>
                  </a:lnTo>
                  <a:lnTo>
                    <a:pt x="69" y="156"/>
                  </a:lnTo>
                  <a:lnTo>
                    <a:pt x="69" y="156"/>
                  </a:lnTo>
                  <a:lnTo>
                    <a:pt x="69" y="158"/>
                  </a:lnTo>
                  <a:lnTo>
                    <a:pt x="69" y="158"/>
                  </a:lnTo>
                  <a:lnTo>
                    <a:pt x="69" y="158"/>
                  </a:lnTo>
                  <a:lnTo>
                    <a:pt x="71" y="158"/>
                  </a:lnTo>
                  <a:lnTo>
                    <a:pt x="71" y="156"/>
                  </a:lnTo>
                  <a:lnTo>
                    <a:pt x="74" y="156"/>
                  </a:lnTo>
                  <a:lnTo>
                    <a:pt x="74" y="154"/>
                  </a:lnTo>
                  <a:lnTo>
                    <a:pt x="74" y="154"/>
                  </a:lnTo>
                  <a:lnTo>
                    <a:pt x="74" y="154"/>
                  </a:lnTo>
                  <a:lnTo>
                    <a:pt x="76" y="154"/>
                  </a:lnTo>
                  <a:lnTo>
                    <a:pt x="78" y="154"/>
                  </a:lnTo>
                  <a:lnTo>
                    <a:pt x="81" y="154"/>
                  </a:lnTo>
                  <a:lnTo>
                    <a:pt x="81" y="154"/>
                  </a:lnTo>
                  <a:lnTo>
                    <a:pt x="81" y="154"/>
                  </a:lnTo>
                  <a:lnTo>
                    <a:pt x="81" y="156"/>
                  </a:lnTo>
                  <a:lnTo>
                    <a:pt x="83" y="156"/>
                  </a:lnTo>
                  <a:lnTo>
                    <a:pt x="83" y="156"/>
                  </a:lnTo>
                  <a:lnTo>
                    <a:pt x="85" y="156"/>
                  </a:lnTo>
                  <a:lnTo>
                    <a:pt x="85" y="156"/>
                  </a:lnTo>
                  <a:lnTo>
                    <a:pt x="85" y="156"/>
                  </a:lnTo>
                  <a:lnTo>
                    <a:pt x="88" y="156"/>
                  </a:lnTo>
                  <a:lnTo>
                    <a:pt x="88" y="154"/>
                  </a:lnTo>
                  <a:lnTo>
                    <a:pt x="88" y="154"/>
                  </a:lnTo>
                  <a:lnTo>
                    <a:pt x="90" y="154"/>
                  </a:lnTo>
                  <a:lnTo>
                    <a:pt x="92" y="154"/>
                  </a:lnTo>
                  <a:lnTo>
                    <a:pt x="95" y="151"/>
                  </a:lnTo>
                  <a:lnTo>
                    <a:pt x="102" y="151"/>
                  </a:lnTo>
                  <a:lnTo>
                    <a:pt x="102" y="151"/>
                  </a:lnTo>
                  <a:lnTo>
                    <a:pt x="102" y="149"/>
                  </a:lnTo>
                  <a:lnTo>
                    <a:pt x="102" y="149"/>
                  </a:lnTo>
                  <a:lnTo>
                    <a:pt x="104" y="149"/>
                  </a:lnTo>
                  <a:lnTo>
                    <a:pt x="104" y="149"/>
                  </a:lnTo>
                  <a:lnTo>
                    <a:pt x="107" y="151"/>
                  </a:lnTo>
                  <a:lnTo>
                    <a:pt x="107" y="151"/>
                  </a:lnTo>
                  <a:lnTo>
                    <a:pt x="107" y="151"/>
                  </a:lnTo>
                  <a:lnTo>
                    <a:pt x="109" y="151"/>
                  </a:lnTo>
                  <a:lnTo>
                    <a:pt x="109" y="151"/>
                  </a:lnTo>
                  <a:lnTo>
                    <a:pt x="111" y="151"/>
                  </a:lnTo>
                  <a:lnTo>
                    <a:pt x="111" y="151"/>
                  </a:lnTo>
                  <a:lnTo>
                    <a:pt x="111" y="151"/>
                  </a:lnTo>
                  <a:lnTo>
                    <a:pt x="111" y="154"/>
                  </a:lnTo>
                  <a:lnTo>
                    <a:pt x="111" y="154"/>
                  </a:lnTo>
                  <a:lnTo>
                    <a:pt x="114" y="154"/>
                  </a:lnTo>
                  <a:lnTo>
                    <a:pt x="114" y="154"/>
                  </a:lnTo>
                  <a:lnTo>
                    <a:pt x="116" y="154"/>
                  </a:lnTo>
                  <a:lnTo>
                    <a:pt x="116" y="154"/>
                  </a:lnTo>
                  <a:lnTo>
                    <a:pt x="116" y="151"/>
                  </a:lnTo>
                  <a:lnTo>
                    <a:pt x="116" y="151"/>
                  </a:lnTo>
                  <a:lnTo>
                    <a:pt x="116" y="149"/>
                  </a:lnTo>
                  <a:lnTo>
                    <a:pt x="116" y="149"/>
                  </a:lnTo>
                  <a:lnTo>
                    <a:pt x="114" y="149"/>
                  </a:lnTo>
                  <a:lnTo>
                    <a:pt x="114" y="149"/>
                  </a:lnTo>
                  <a:lnTo>
                    <a:pt x="114" y="149"/>
                  </a:lnTo>
                  <a:lnTo>
                    <a:pt x="114" y="146"/>
                  </a:lnTo>
                  <a:lnTo>
                    <a:pt x="114" y="146"/>
                  </a:lnTo>
                  <a:lnTo>
                    <a:pt x="114" y="144"/>
                  </a:lnTo>
                  <a:lnTo>
                    <a:pt x="111" y="142"/>
                  </a:lnTo>
                  <a:lnTo>
                    <a:pt x="111" y="142"/>
                  </a:lnTo>
                  <a:lnTo>
                    <a:pt x="111" y="139"/>
                  </a:lnTo>
                  <a:lnTo>
                    <a:pt x="114" y="139"/>
                  </a:lnTo>
                  <a:lnTo>
                    <a:pt x="116" y="137"/>
                  </a:lnTo>
                  <a:lnTo>
                    <a:pt x="118" y="137"/>
                  </a:lnTo>
                  <a:lnTo>
                    <a:pt x="118" y="137"/>
                  </a:lnTo>
                  <a:lnTo>
                    <a:pt x="121" y="137"/>
                  </a:lnTo>
                  <a:lnTo>
                    <a:pt x="121" y="137"/>
                  </a:lnTo>
                  <a:lnTo>
                    <a:pt x="121" y="135"/>
                  </a:lnTo>
                  <a:lnTo>
                    <a:pt x="123" y="132"/>
                  </a:lnTo>
                  <a:lnTo>
                    <a:pt x="123" y="132"/>
                  </a:lnTo>
                  <a:lnTo>
                    <a:pt x="123" y="132"/>
                  </a:lnTo>
                  <a:lnTo>
                    <a:pt x="125" y="132"/>
                  </a:lnTo>
                  <a:lnTo>
                    <a:pt x="125" y="132"/>
                  </a:lnTo>
                  <a:lnTo>
                    <a:pt x="128" y="132"/>
                  </a:lnTo>
                  <a:lnTo>
                    <a:pt x="128" y="132"/>
                  </a:lnTo>
                  <a:lnTo>
                    <a:pt x="128" y="130"/>
                  </a:lnTo>
                  <a:lnTo>
                    <a:pt x="128" y="130"/>
                  </a:lnTo>
                  <a:lnTo>
                    <a:pt x="128" y="127"/>
                  </a:lnTo>
                  <a:lnTo>
                    <a:pt x="128" y="127"/>
                  </a:lnTo>
                  <a:lnTo>
                    <a:pt x="128" y="127"/>
                  </a:lnTo>
                  <a:lnTo>
                    <a:pt x="125" y="125"/>
                  </a:lnTo>
                  <a:lnTo>
                    <a:pt x="123" y="123"/>
                  </a:lnTo>
                  <a:lnTo>
                    <a:pt x="123" y="123"/>
                  </a:lnTo>
                  <a:lnTo>
                    <a:pt x="121" y="123"/>
                  </a:lnTo>
                  <a:lnTo>
                    <a:pt x="121" y="123"/>
                  </a:lnTo>
                  <a:lnTo>
                    <a:pt x="121" y="123"/>
                  </a:lnTo>
                  <a:lnTo>
                    <a:pt x="118" y="120"/>
                  </a:lnTo>
                  <a:lnTo>
                    <a:pt x="118" y="120"/>
                  </a:lnTo>
                  <a:lnTo>
                    <a:pt x="116" y="120"/>
                  </a:lnTo>
                  <a:lnTo>
                    <a:pt x="116" y="118"/>
                  </a:lnTo>
                  <a:lnTo>
                    <a:pt x="114" y="116"/>
                  </a:lnTo>
                  <a:lnTo>
                    <a:pt x="111" y="116"/>
                  </a:lnTo>
                  <a:lnTo>
                    <a:pt x="111" y="116"/>
                  </a:lnTo>
                  <a:lnTo>
                    <a:pt x="109" y="113"/>
                  </a:lnTo>
                  <a:lnTo>
                    <a:pt x="109" y="113"/>
                  </a:lnTo>
                  <a:lnTo>
                    <a:pt x="107" y="111"/>
                  </a:lnTo>
                  <a:lnTo>
                    <a:pt x="107" y="109"/>
                  </a:lnTo>
                  <a:lnTo>
                    <a:pt x="107" y="109"/>
                  </a:lnTo>
                  <a:lnTo>
                    <a:pt x="104" y="109"/>
                  </a:lnTo>
                  <a:lnTo>
                    <a:pt x="104" y="109"/>
                  </a:lnTo>
                  <a:lnTo>
                    <a:pt x="107" y="106"/>
                  </a:lnTo>
                  <a:lnTo>
                    <a:pt x="107" y="106"/>
                  </a:lnTo>
                  <a:lnTo>
                    <a:pt x="107" y="106"/>
                  </a:lnTo>
                  <a:lnTo>
                    <a:pt x="107" y="104"/>
                  </a:lnTo>
                  <a:lnTo>
                    <a:pt x="107" y="104"/>
                  </a:lnTo>
                  <a:lnTo>
                    <a:pt x="107" y="104"/>
                  </a:lnTo>
                  <a:lnTo>
                    <a:pt x="104" y="101"/>
                  </a:lnTo>
                  <a:lnTo>
                    <a:pt x="102" y="101"/>
                  </a:lnTo>
                  <a:lnTo>
                    <a:pt x="102" y="99"/>
                  </a:lnTo>
                  <a:lnTo>
                    <a:pt x="102" y="99"/>
                  </a:lnTo>
                  <a:lnTo>
                    <a:pt x="102" y="99"/>
                  </a:lnTo>
                  <a:lnTo>
                    <a:pt x="99" y="97"/>
                  </a:lnTo>
                  <a:lnTo>
                    <a:pt x="99" y="97"/>
                  </a:lnTo>
                  <a:lnTo>
                    <a:pt x="99" y="97"/>
                  </a:lnTo>
                  <a:lnTo>
                    <a:pt x="99" y="97"/>
                  </a:lnTo>
                  <a:lnTo>
                    <a:pt x="99" y="97"/>
                  </a:lnTo>
                  <a:lnTo>
                    <a:pt x="102" y="97"/>
                  </a:lnTo>
                  <a:lnTo>
                    <a:pt x="102" y="97"/>
                  </a:lnTo>
                  <a:lnTo>
                    <a:pt x="102" y="99"/>
                  </a:lnTo>
                  <a:lnTo>
                    <a:pt x="104" y="99"/>
                  </a:lnTo>
                  <a:lnTo>
                    <a:pt x="104" y="97"/>
                  </a:lnTo>
                  <a:lnTo>
                    <a:pt x="107" y="94"/>
                  </a:lnTo>
                  <a:lnTo>
                    <a:pt x="107" y="94"/>
                  </a:lnTo>
                  <a:lnTo>
                    <a:pt x="109" y="94"/>
                  </a:lnTo>
                  <a:lnTo>
                    <a:pt x="109" y="94"/>
                  </a:lnTo>
                  <a:lnTo>
                    <a:pt x="111" y="94"/>
                  </a:lnTo>
                  <a:lnTo>
                    <a:pt x="111" y="94"/>
                  </a:lnTo>
                  <a:lnTo>
                    <a:pt x="114" y="94"/>
                  </a:lnTo>
                  <a:lnTo>
                    <a:pt x="114" y="94"/>
                  </a:lnTo>
                  <a:lnTo>
                    <a:pt x="114" y="92"/>
                  </a:lnTo>
                  <a:lnTo>
                    <a:pt x="114" y="92"/>
                  </a:lnTo>
                  <a:lnTo>
                    <a:pt x="118" y="92"/>
                  </a:lnTo>
                  <a:lnTo>
                    <a:pt x="118" y="90"/>
                  </a:lnTo>
                  <a:lnTo>
                    <a:pt x="118" y="90"/>
                  </a:lnTo>
                  <a:lnTo>
                    <a:pt x="118" y="90"/>
                  </a:lnTo>
                  <a:lnTo>
                    <a:pt x="121" y="90"/>
                  </a:lnTo>
                  <a:lnTo>
                    <a:pt x="121" y="90"/>
                  </a:lnTo>
                  <a:lnTo>
                    <a:pt x="121" y="90"/>
                  </a:lnTo>
                  <a:lnTo>
                    <a:pt x="121" y="90"/>
                  </a:lnTo>
                  <a:lnTo>
                    <a:pt x="123" y="90"/>
                  </a:lnTo>
                  <a:lnTo>
                    <a:pt x="123" y="87"/>
                  </a:lnTo>
                  <a:lnTo>
                    <a:pt x="123" y="87"/>
                  </a:lnTo>
                  <a:lnTo>
                    <a:pt x="125" y="87"/>
                  </a:lnTo>
                  <a:lnTo>
                    <a:pt x="128" y="87"/>
                  </a:lnTo>
                  <a:lnTo>
                    <a:pt x="130" y="85"/>
                  </a:lnTo>
                  <a:lnTo>
                    <a:pt x="132" y="85"/>
                  </a:lnTo>
                  <a:lnTo>
                    <a:pt x="135" y="85"/>
                  </a:lnTo>
                  <a:lnTo>
                    <a:pt x="137" y="85"/>
                  </a:lnTo>
                  <a:lnTo>
                    <a:pt x="137" y="83"/>
                  </a:lnTo>
                  <a:lnTo>
                    <a:pt x="135" y="83"/>
                  </a:lnTo>
                  <a:lnTo>
                    <a:pt x="135" y="83"/>
                  </a:lnTo>
                  <a:lnTo>
                    <a:pt x="135" y="83"/>
                  </a:lnTo>
                  <a:lnTo>
                    <a:pt x="135" y="80"/>
                  </a:lnTo>
                  <a:lnTo>
                    <a:pt x="135" y="80"/>
                  </a:lnTo>
                  <a:lnTo>
                    <a:pt x="137" y="80"/>
                  </a:lnTo>
                  <a:lnTo>
                    <a:pt x="140" y="83"/>
                  </a:lnTo>
                  <a:lnTo>
                    <a:pt x="140" y="83"/>
                  </a:lnTo>
                  <a:lnTo>
                    <a:pt x="140" y="83"/>
                  </a:lnTo>
                  <a:lnTo>
                    <a:pt x="140" y="83"/>
                  </a:lnTo>
                  <a:lnTo>
                    <a:pt x="140" y="83"/>
                  </a:lnTo>
                  <a:lnTo>
                    <a:pt x="140" y="85"/>
                  </a:lnTo>
                  <a:lnTo>
                    <a:pt x="142" y="85"/>
                  </a:lnTo>
                  <a:lnTo>
                    <a:pt x="142" y="85"/>
                  </a:lnTo>
                  <a:lnTo>
                    <a:pt x="142" y="85"/>
                  </a:lnTo>
                  <a:lnTo>
                    <a:pt x="144" y="85"/>
                  </a:lnTo>
                  <a:lnTo>
                    <a:pt x="144" y="85"/>
                  </a:lnTo>
                  <a:lnTo>
                    <a:pt x="144" y="85"/>
                  </a:lnTo>
                  <a:lnTo>
                    <a:pt x="144" y="83"/>
                  </a:lnTo>
                  <a:lnTo>
                    <a:pt x="147" y="80"/>
                  </a:lnTo>
                  <a:lnTo>
                    <a:pt x="147" y="78"/>
                  </a:lnTo>
                  <a:lnTo>
                    <a:pt x="147" y="73"/>
                  </a:lnTo>
                  <a:close/>
                  <a:moveTo>
                    <a:pt x="41" y="5"/>
                  </a:moveTo>
                  <a:lnTo>
                    <a:pt x="45" y="5"/>
                  </a:lnTo>
                  <a:lnTo>
                    <a:pt x="45" y="5"/>
                  </a:lnTo>
                  <a:lnTo>
                    <a:pt x="41" y="2"/>
                  </a:lnTo>
                  <a:lnTo>
                    <a:pt x="41" y="2"/>
                  </a:lnTo>
                  <a:lnTo>
                    <a:pt x="43" y="2"/>
                  </a:lnTo>
                  <a:lnTo>
                    <a:pt x="43" y="2"/>
                  </a:lnTo>
                  <a:lnTo>
                    <a:pt x="43" y="0"/>
                  </a:lnTo>
                  <a:lnTo>
                    <a:pt x="43" y="0"/>
                  </a:lnTo>
                  <a:lnTo>
                    <a:pt x="41" y="2"/>
                  </a:lnTo>
                  <a:lnTo>
                    <a:pt x="41" y="7"/>
                  </a:lnTo>
                  <a:lnTo>
                    <a:pt x="41" y="5"/>
                  </a:lnTo>
                  <a:lnTo>
                    <a:pt x="41"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3" name="Freeform 339"/>
            <p:cNvSpPr>
              <a:spLocks/>
            </p:cNvSpPr>
            <p:nvPr userDrawn="1"/>
          </p:nvSpPr>
          <p:spPr bwMode="auto">
            <a:xfrm>
              <a:off x="4346" y="1890"/>
              <a:ext cx="118" cy="52"/>
            </a:xfrm>
            <a:custGeom>
              <a:avLst/>
              <a:gdLst>
                <a:gd name="T0" fmla="*/ 113 w 118"/>
                <a:gd name="T1" fmla="*/ 43 h 52"/>
                <a:gd name="T2" fmla="*/ 108 w 118"/>
                <a:gd name="T3" fmla="*/ 40 h 52"/>
                <a:gd name="T4" fmla="*/ 108 w 118"/>
                <a:gd name="T5" fmla="*/ 38 h 52"/>
                <a:gd name="T6" fmla="*/ 111 w 118"/>
                <a:gd name="T7" fmla="*/ 38 h 52"/>
                <a:gd name="T8" fmla="*/ 113 w 118"/>
                <a:gd name="T9" fmla="*/ 33 h 52"/>
                <a:gd name="T10" fmla="*/ 108 w 118"/>
                <a:gd name="T11" fmla="*/ 33 h 52"/>
                <a:gd name="T12" fmla="*/ 104 w 118"/>
                <a:gd name="T13" fmla="*/ 31 h 52"/>
                <a:gd name="T14" fmla="*/ 99 w 118"/>
                <a:gd name="T15" fmla="*/ 29 h 52"/>
                <a:gd name="T16" fmla="*/ 99 w 118"/>
                <a:gd name="T17" fmla="*/ 24 h 52"/>
                <a:gd name="T18" fmla="*/ 96 w 118"/>
                <a:gd name="T19" fmla="*/ 22 h 52"/>
                <a:gd name="T20" fmla="*/ 89 w 118"/>
                <a:gd name="T21" fmla="*/ 19 h 52"/>
                <a:gd name="T22" fmla="*/ 85 w 118"/>
                <a:gd name="T23" fmla="*/ 17 h 52"/>
                <a:gd name="T24" fmla="*/ 82 w 118"/>
                <a:gd name="T25" fmla="*/ 19 h 52"/>
                <a:gd name="T26" fmla="*/ 78 w 118"/>
                <a:gd name="T27" fmla="*/ 17 h 52"/>
                <a:gd name="T28" fmla="*/ 73 w 118"/>
                <a:gd name="T29" fmla="*/ 19 h 52"/>
                <a:gd name="T30" fmla="*/ 68 w 118"/>
                <a:gd name="T31" fmla="*/ 22 h 52"/>
                <a:gd name="T32" fmla="*/ 63 w 118"/>
                <a:gd name="T33" fmla="*/ 19 h 52"/>
                <a:gd name="T34" fmla="*/ 66 w 118"/>
                <a:gd name="T35" fmla="*/ 17 h 52"/>
                <a:gd name="T36" fmla="*/ 61 w 118"/>
                <a:gd name="T37" fmla="*/ 14 h 52"/>
                <a:gd name="T38" fmla="*/ 52 w 118"/>
                <a:gd name="T39" fmla="*/ 10 h 52"/>
                <a:gd name="T40" fmla="*/ 47 w 118"/>
                <a:gd name="T41" fmla="*/ 7 h 52"/>
                <a:gd name="T42" fmla="*/ 40 w 118"/>
                <a:gd name="T43" fmla="*/ 7 h 52"/>
                <a:gd name="T44" fmla="*/ 35 w 118"/>
                <a:gd name="T45" fmla="*/ 7 h 52"/>
                <a:gd name="T46" fmla="*/ 23 w 118"/>
                <a:gd name="T47" fmla="*/ 7 h 52"/>
                <a:gd name="T48" fmla="*/ 14 w 118"/>
                <a:gd name="T49" fmla="*/ 3 h 52"/>
                <a:gd name="T50" fmla="*/ 7 w 118"/>
                <a:gd name="T51" fmla="*/ 0 h 52"/>
                <a:gd name="T52" fmla="*/ 0 w 118"/>
                <a:gd name="T53" fmla="*/ 0 h 52"/>
                <a:gd name="T54" fmla="*/ 2 w 118"/>
                <a:gd name="T55" fmla="*/ 5 h 52"/>
                <a:gd name="T56" fmla="*/ 14 w 118"/>
                <a:gd name="T57" fmla="*/ 10 h 52"/>
                <a:gd name="T58" fmla="*/ 26 w 118"/>
                <a:gd name="T59" fmla="*/ 17 h 52"/>
                <a:gd name="T60" fmla="*/ 30 w 118"/>
                <a:gd name="T61" fmla="*/ 29 h 52"/>
                <a:gd name="T62" fmla="*/ 33 w 118"/>
                <a:gd name="T63" fmla="*/ 36 h 52"/>
                <a:gd name="T64" fmla="*/ 30 w 118"/>
                <a:gd name="T65" fmla="*/ 43 h 52"/>
                <a:gd name="T66" fmla="*/ 35 w 118"/>
                <a:gd name="T67" fmla="*/ 43 h 52"/>
                <a:gd name="T68" fmla="*/ 42 w 118"/>
                <a:gd name="T69" fmla="*/ 43 h 52"/>
                <a:gd name="T70" fmla="*/ 47 w 118"/>
                <a:gd name="T71" fmla="*/ 43 h 52"/>
                <a:gd name="T72" fmla="*/ 49 w 118"/>
                <a:gd name="T73" fmla="*/ 40 h 52"/>
                <a:gd name="T74" fmla="*/ 52 w 118"/>
                <a:gd name="T75" fmla="*/ 40 h 52"/>
                <a:gd name="T76" fmla="*/ 54 w 118"/>
                <a:gd name="T77" fmla="*/ 43 h 52"/>
                <a:gd name="T78" fmla="*/ 59 w 118"/>
                <a:gd name="T79" fmla="*/ 48 h 52"/>
                <a:gd name="T80" fmla="*/ 59 w 118"/>
                <a:gd name="T81" fmla="*/ 48 h 52"/>
                <a:gd name="T82" fmla="*/ 63 w 118"/>
                <a:gd name="T83" fmla="*/ 50 h 52"/>
                <a:gd name="T84" fmla="*/ 63 w 118"/>
                <a:gd name="T85" fmla="*/ 50 h 52"/>
                <a:gd name="T86" fmla="*/ 71 w 118"/>
                <a:gd name="T87" fmla="*/ 50 h 52"/>
                <a:gd name="T88" fmla="*/ 75 w 118"/>
                <a:gd name="T89" fmla="*/ 48 h 52"/>
                <a:gd name="T90" fmla="*/ 82 w 118"/>
                <a:gd name="T91" fmla="*/ 48 h 52"/>
                <a:gd name="T92" fmla="*/ 87 w 118"/>
                <a:gd name="T93" fmla="*/ 48 h 52"/>
                <a:gd name="T94" fmla="*/ 89 w 118"/>
                <a:gd name="T95" fmla="*/ 48 h 52"/>
                <a:gd name="T96" fmla="*/ 96 w 118"/>
                <a:gd name="T97" fmla="*/ 45 h 52"/>
                <a:gd name="T98" fmla="*/ 104 w 118"/>
                <a:gd name="T99" fmla="*/ 48 h 52"/>
                <a:gd name="T100" fmla="*/ 108 w 118"/>
                <a:gd name="T101" fmla="*/ 50 h 52"/>
                <a:gd name="T102" fmla="*/ 113 w 118"/>
                <a:gd name="T103" fmla="*/ 50 h 52"/>
                <a:gd name="T104" fmla="*/ 115 w 118"/>
                <a:gd name="T105" fmla="*/ 52 h 52"/>
                <a:gd name="T106" fmla="*/ 118 w 118"/>
                <a:gd name="T10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2">
                  <a:moveTo>
                    <a:pt x="118" y="45"/>
                  </a:moveTo>
                  <a:lnTo>
                    <a:pt x="115" y="45"/>
                  </a:lnTo>
                  <a:lnTo>
                    <a:pt x="113" y="43"/>
                  </a:lnTo>
                  <a:lnTo>
                    <a:pt x="111" y="43"/>
                  </a:lnTo>
                  <a:lnTo>
                    <a:pt x="111" y="40"/>
                  </a:lnTo>
                  <a:lnTo>
                    <a:pt x="108" y="40"/>
                  </a:lnTo>
                  <a:lnTo>
                    <a:pt x="108" y="40"/>
                  </a:lnTo>
                  <a:lnTo>
                    <a:pt x="108" y="40"/>
                  </a:lnTo>
                  <a:lnTo>
                    <a:pt x="108" y="38"/>
                  </a:lnTo>
                  <a:lnTo>
                    <a:pt x="108" y="38"/>
                  </a:lnTo>
                  <a:lnTo>
                    <a:pt x="111" y="38"/>
                  </a:lnTo>
                  <a:lnTo>
                    <a:pt x="111" y="38"/>
                  </a:lnTo>
                  <a:lnTo>
                    <a:pt x="111" y="36"/>
                  </a:lnTo>
                  <a:lnTo>
                    <a:pt x="113" y="36"/>
                  </a:lnTo>
                  <a:lnTo>
                    <a:pt x="113" y="33"/>
                  </a:lnTo>
                  <a:lnTo>
                    <a:pt x="113" y="33"/>
                  </a:lnTo>
                  <a:lnTo>
                    <a:pt x="108" y="33"/>
                  </a:lnTo>
                  <a:lnTo>
                    <a:pt x="108" y="33"/>
                  </a:lnTo>
                  <a:lnTo>
                    <a:pt x="108" y="33"/>
                  </a:lnTo>
                  <a:lnTo>
                    <a:pt x="106" y="31"/>
                  </a:lnTo>
                  <a:lnTo>
                    <a:pt x="104" y="31"/>
                  </a:lnTo>
                  <a:lnTo>
                    <a:pt x="104" y="31"/>
                  </a:lnTo>
                  <a:lnTo>
                    <a:pt x="101" y="31"/>
                  </a:lnTo>
                  <a:lnTo>
                    <a:pt x="99" y="29"/>
                  </a:lnTo>
                  <a:lnTo>
                    <a:pt x="99" y="29"/>
                  </a:lnTo>
                  <a:lnTo>
                    <a:pt x="99" y="26"/>
                  </a:lnTo>
                  <a:lnTo>
                    <a:pt x="99" y="24"/>
                  </a:lnTo>
                  <a:lnTo>
                    <a:pt x="99" y="22"/>
                  </a:lnTo>
                  <a:lnTo>
                    <a:pt x="99" y="22"/>
                  </a:lnTo>
                  <a:lnTo>
                    <a:pt x="96" y="22"/>
                  </a:lnTo>
                  <a:lnTo>
                    <a:pt x="96" y="22"/>
                  </a:lnTo>
                  <a:lnTo>
                    <a:pt x="92" y="22"/>
                  </a:lnTo>
                  <a:lnTo>
                    <a:pt x="89" y="19"/>
                  </a:lnTo>
                  <a:lnTo>
                    <a:pt x="89" y="19"/>
                  </a:lnTo>
                  <a:lnTo>
                    <a:pt x="87" y="19"/>
                  </a:lnTo>
                  <a:lnTo>
                    <a:pt x="85" y="17"/>
                  </a:lnTo>
                  <a:lnTo>
                    <a:pt x="82" y="17"/>
                  </a:lnTo>
                  <a:lnTo>
                    <a:pt x="82" y="17"/>
                  </a:lnTo>
                  <a:lnTo>
                    <a:pt x="82" y="19"/>
                  </a:lnTo>
                  <a:lnTo>
                    <a:pt x="80" y="17"/>
                  </a:lnTo>
                  <a:lnTo>
                    <a:pt x="80" y="17"/>
                  </a:lnTo>
                  <a:lnTo>
                    <a:pt x="78" y="17"/>
                  </a:lnTo>
                  <a:lnTo>
                    <a:pt x="78" y="17"/>
                  </a:lnTo>
                  <a:lnTo>
                    <a:pt x="75" y="17"/>
                  </a:lnTo>
                  <a:lnTo>
                    <a:pt x="73" y="19"/>
                  </a:lnTo>
                  <a:lnTo>
                    <a:pt x="71" y="19"/>
                  </a:lnTo>
                  <a:lnTo>
                    <a:pt x="68" y="19"/>
                  </a:lnTo>
                  <a:lnTo>
                    <a:pt x="68" y="22"/>
                  </a:lnTo>
                  <a:lnTo>
                    <a:pt x="66" y="22"/>
                  </a:lnTo>
                  <a:lnTo>
                    <a:pt x="66" y="19"/>
                  </a:lnTo>
                  <a:lnTo>
                    <a:pt x="63" y="19"/>
                  </a:lnTo>
                  <a:lnTo>
                    <a:pt x="63" y="19"/>
                  </a:lnTo>
                  <a:lnTo>
                    <a:pt x="66" y="17"/>
                  </a:lnTo>
                  <a:lnTo>
                    <a:pt x="66" y="17"/>
                  </a:lnTo>
                  <a:lnTo>
                    <a:pt x="66" y="17"/>
                  </a:lnTo>
                  <a:lnTo>
                    <a:pt x="61" y="17"/>
                  </a:lnTo>
                  <a:lnTo>
                    <a:pt x="61" y="14"/>
                  </a:lnTo>
                  <a:lnTo>
                    <a:pt x="56" y="14"/>
                  </a:lnTo>
                  <a:lnTo>
                    <a:pt x="52" y="12"/>
                  </a:lnTo>
                  <a:lnTo>
                    <a:pt x="52" y="10"/>
                  </a:lnTo>
                  <a:lnTo>
                    <a:pt x="49" y="10"/>
                  </a:lnTo>
                  <a:lnTo>
                    <a:pt x="49" y="10"/>
                  </a:lnTo>
                  <a:lnTo>
                    <a:pt x="47" y="7"/>
                  </a:lnTo>
                  <a:lnTo>
                    <a:pt x="45" y="10"/>
                  </a:lnTo>
                  <a:lnTo>
                    <a:pt x="42" y="10"/>
                  </a:lnTo>
                  <a:lnTo>
                    <a:pt x="40" y="7"/>
                  </a:lnTo>
                  <a:lnTo>
                    <a:pt x="38" y="7"/>
                  </a:lnTo>
                  <a:lnTo>
                    <a:pt x="35" y="7"/>
                  </a:lnTo>
                  <a:lnTo>
                    <a:pt x="35" y="7"/>
                  </a:lnTo>
                  <a:lnTo>
                    <a:pt x="35" y="7"/>
                  </a:lnTo>
                  <a:lnTo>
                    <a:pt x="26" y="7"/>
                  </a:lnTo>
                  <a:lnTo>
                    <a:pt x="23" y="7"/>
                  </a:lnTo>
                  <a:lnTo>
                    <a:pt x="21" y="5"/>
                  </a:lnTo>
                  <a:lnTo>
                    <a:pt x="16" y="5"/>
                  </a:lnTo>
                  <a:lnTo>
                    <a:pt x="14" y="3"/>
                  </a:lnTo>
                  <a:lnTo>
                    <a:pt x="12" y="3"/>
                  </a:lnTo>
                  <a:lnTo>
                    <a:pt x="9" y="0"/>
                  </a:lnTo>
                  <a:lnTo>
                    <a:pt x="7" y="0"/>
                  </a:lnTo>
                  <a:lnTo>
                    <a:pt x="5" y="0"/>
                  </a:lnTo>
                  <a:lnTo>
                    <a:pt x="2" y="0"/>
                  </a:lnTo>
                  <a:lnTo>
                    <a:pt x="0" y="0"/>
                  </a:lnTo>
                  <a:lnTo>
                    <a:pt x="0" y="3"/>
                  </a:lnTo>
                  <a:lnTo>
                    <a:pt x="0" y="3"/>
                  </a:lnTo>
                  <a:lnTo>
                    <a:pt x="2" y="5"/>
                  </a:lnTo>
                  <a:lnTo>
                    <a:pt x="7" y="10"/>
                  </a:lnTo>
                  <a:lnTo>
                    <a:pt x="9" y="10"/>
                  </a:lnTo>
                  <a:lnTo>
                    <a:pt x="14" y="10"/>
                  </a:lnTo>
                  <a:lnTo>
                    <a:pt x="19" y="12"/>
                  </a:lnTo>
                  <a:lnTo>
                    <a:pt x="19" y="14"/>
                  </a:lnTo>
                  <a:lnTo>
                    <a:pt x="26" y="17"/>
                  </a:lnTo>
                  <a:lnTo>
                    <a:pt x="26" y="19"/>
                  </a:lnTo>
                  <a:lnTo>
                    <a:pt x="28" y="24"/>
                  </a:lnTo>
                  <a:lnTo>
                    <a:pt x="30" y="29"/>
                  </a:lnTo>
                  <a:lnTo>
                    <a:pt x="33" y="33"/>
                  </a:lnTo>
                  <a:lnTo>
                    <a:pt x="33" y="36"/>
                  </a:lnTo>
                  <a:lnTo>
                    <a:pt x="33" y="36"/>
                  </a:lnTo>
                  <a:lnTo>
                    <a:pt x="33" y="38"/>
                  </a:lnTo>
                  <a:lnTo>
                    <a:pt x="30" y="43"/>
                  </a:lnTo>
                  <a:lnTo>
                    <a:pt x="30" y="43"/>
                  </a:lnTo>
                  <a:lnTo>
                    <a:pt x="33" y="43"/>
                  </a:lnTo>
                  <a:lnTo>
                    <a:pt x="35" y="43"/>
                  </a:lnTo>
                  <a:lnTo>
                    <a:pt x="35" y="43"/>
                  </a:lnTo>
                  <a:lnTo>
                    <a:pt x="38" y="43"/>
                  </a:lnTo>
                  <a:lnTo>
                    <a:pt x="40" y="43"/>
                  </a:lnTo>
                  <a:lnTo>
                    <a:pt x="42" y="43"/>
                  </a:lnTo>
                  <a:lnTo>
                    <a:pt x="42" y="43"/>
                  </a:lnTo>
                  <a:lnTo>
                    <a:pt x="45" y="43"/>
                  </a:lnTo>
                  <a:lnTo>
                    <a:pt x="47" y="43"/>
                  </a:lnTo>
                  <a:lnTo>
                    <a:pt x="47" y="43"/>
                  </a:lnTo>
                  <a:lnTo>
                    <a:pt x="47" y="40"/>
                  </a:lnTo>
                  <a:lnTo>
                    <a:pt x="49" y="40"/>
                  </a:lnTo>
                  <a:lnTo>
                    <a:pt x="49" y="40"/>
                  </a:lnTo>
                  <a:lnTo>
                    <a:pt x="49" y="40"/>
                  </a:lnTo>
                  <a:lnTo>
                    <a:pt x="52" y="40"/>
                  </a:lnTo>
                  <a:lnTo>
                    <a:pt x="52" y="40"/>
                  </a:lnTo>
                  <a:lnTo>
                    <a:pt x="52" y="43"/>
                  </a:lnTo>
                  <a:lnTo>
                    <a:pt x="54" y="43"/>
                  </a:lnTo>
                  <a:lnTo>
                    <a:pt x="56" y="45"/>
                  </a:lnTo>
                  <a:lnTo>
                    <a:pt x="59" y="48"/>
                  </a:lnTo>
                  <a:lnTo>
                    <a:pt x="59" y="48"/>
                  </a:lnTo>
                  <a:lnTo>
                    <a:pt x="59" y="48"/>
                  </a:lnTo>
                  <a:lnTo>
                    <a:pt x="59" y="48"/>
                  </a:lnTo>
                  <a:lnTo>
                    <a:pt x="59" y="48"/>
                  </a:lnTo>
                  <a:lnTo>
                    <a:pt x="61" y="50"/>
                  </a:lnTo>
                  <a:lnTo>
                    <a:pt x="63" y="50"/>
                  </a:lnTo>
                  <a:lnTo>
                    <a:pt x="63" y="50"/>
                  </a:lnTo>
                  <a:lnTo>
                    <a:pt x="63" y="50"/>
                  </a:lnTo>
                  <a:lnTo>
                    <a:pt x="63" y="50"/>
                  </a:lnTo>
                  <a:lnTo>
                    <a:pt x="63" y="50"/>
                  </a:lnTo>
                  <a:lnTo>
                    <a:pt x="66" y="50"/>
                  </a:lnTo>
                  <a:lnTo>
                    <a:pt x="68" y="50"/>
                  </a:lnTo>
                  <a:lnTo>
                    <a:pt x="71" y="50"/>
                  </a:lnTo>
                  <a:lnTo>
                    <a:pt x="73" y="50"/>
                  </a:lnTo>
                  <a:lnTo>
                    <a:pt x="75" y="50"/>
                  </a:lnTo>
                  <a:lnTo>
                    <a:pt x="75" y="48"/>
                  </a:lnTo>
                  <a:lnTo>
                    <a:pt x="78" y="48"/>
                  </a:lnTo>
                  <a:lnTo>
                    <a:pt x="82" y="50"/>
                  </a:lnTo>
                  <a:lnTo>
                    <a:pt x="82" y="48"/>
                  </a:lnTo>
                  <a:lnTo>
                    <a:pt x="87" y="48"/>
                  </a:lnTo>
                  <a:lnTo>
                    <a:pt x="87" y="48"/>
                  </a:lnTo>
                  <a:lnTo>
                    <a:pt x="87" y="48"/>
                  </a:lnTo>
                  <a:lnTo>
                    <a:pt x="87" y="48"/>
                  </a:lnTo>
                  <a:lnTo>
                    <a:pt x="89" y="48"/>
                  </a:lnTo>
                  <a:lnTo>
                    <a:pt x="89" y="48"/>
                  </a:lnTo>
                  <a:lnTo>
                    <a:pt x="94" y="45"/>
                  </a:lnTo>
                  <a:lnTo>
                    <a:pt x="94" y="43"/>
                  </a:lnTo>
                  <a:lnTo>
                    <a:pt x="96" y="45"/>
                  </a:lnTo>
                  <a:lnTo>
                    <a:pt x="101" y="45"/>
                  </a:lnTo>
                  <a:lnTo>
                    <a:pt x="101" y="48"/>
                  </a:lnTo>
                  <a:lnTo>
                    <a:pt x="104" y="48"/>
                  </a:lnTo>
                  <a:lnTo>
                    <a:pt x="104" y="48"/>
                  </a:lnTo>
                  <a:lnTo>
                    <a:pt x="106" y="50"/>
                  </a:lnTo>
                  <a:lnTo>
                    <a:pt x="108" y="50"/>
                  </a:lnTo>
                  <a:lnTo>
                    <a:pt x="108" y="50"/>
                  </a:lnTo>
                  <a:lnTo>
                    <a:pt x="111" y="50"/>
                  </a:lnTo>
                  <a:lnTo>
                    <a:pt x="113" y="50"/>
                  </a:lnTo>
                  <a:lnTo>
                    <a:pt x="113" y="50"/>
                  </a:lnTo>
                  <a:lnTo>
                    <a:pt x="115" y="52"/>
                  </a:lnTo>
                  <a:lnTo>
                    <a:pt x="115" y="52"/>
                  </a:lnTo>
                  <a:lnTo>
                    <a:pt x="118" y="50"/>
                  </a:lnTo>
                  <a:lnTo>
                    <a:pt x="118" y="50"/>
                  </a:lnTo>
                  <a:lnTo>
                    <a:pt x="118" y="48"/>
                  </a:lnTo>
                  <a:lnTo>
                    <a:pt x="118" y="48"/>
                  </a:lnTo>
                  <a:lnTo>
                    <a:pt x="118" y="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4" name="Freeform 340"/>
            <p:cNvSpPr>
              <a:spLocks/>
            </p:cNvSpPr>
            <p:nvPr userDrawn="1"/>
          </p:nvSpPr>
          <p:spPr bwMode="auto">
            <a:xfrm>
              <a:off x="3344" y="2517"/>
              <a:ext cx="54" cy="14"/>
            </a:xfrm>
            <a:custGeom>
              <a:avLst/>
              <a:gdLst>
                <a:gd name="T0" fmla="*/ 52 w 54"/>
                <a:gd name="T1" fmla="*/ 5 h 14"/>
                <a:gd name="T2" fmla="*/ 50 w 54"/>
                <a:gd name="T3" fmla="*/ 5 h 14"/>
                <a:gd name="T4" fmla="*/ 47 w 54"/>
                <a:gd name="T5" fmla="*/ 7 h 14"/>
                <a:gd name="T6" fmla="*/ 43 w 54"/>
                <a:gd name="T7" fmla="*/ 5 h 14"/>
                <a:gd name="T8" fmla="*/ 40 w 54"/>
                <a:gd name="T9" fmla="*/ 2 h 14"/>
                <a:gd name="T10" fmla="*/ 36 w 54"/>
                <a:gd name="T11" fmla="*/ 0 h 14"/>
                <a:gd name="T12" fmla="*/ 31 w 54"/>
                <a:gd name="T13" fmla="*/ 0 h 14"/>
                <a:gd name="T14" fmla="*/ 26 w 54"/>
                <a:gd name="T15" fmla="*/ 0 h 14"/>
                <a:gd name="T16" fmla="*/ 21 w 54"/>
                <a:gd name="T17" fmla="*/ 5 h 14"/>
                <a:gd name="T18" fmla="*/ 10 w 54"/>
                <a:gd name="T19" fmla="*/ 5 h 14"/>
                <a:gd name="T20" fmla="*/ 5 w 54"/>
                <a:gd name="T21" fmla="*/ 7 h 14"/>
                <a:gd name="T22" fmla="*/ 10 w 54"/>
                <a:gd name="T23" fmla="*/ 9 h 14"/>
                <a:gd name="T24" fmla="*/ 19 w 54"/>
                <a:gd name="T25" fmla="*/ 7 h 14"/>
                <a:gd name="T26" fmla="*/ 26 w 54"/>
                <a:gd name="T27" fmla="*/ 7 h 14"/>
                <a:gd name="T28" fmla="*/ 26 w 54"/>
                <a:gd name="T29" fmla="*/ 7 h 14"/>
                <a:gd name="T30" fmla="*/ 19 w 54"/>
                <a:gd name="T31" fmla="*/ 7 h 14"/>
                <a:gd name="T32" fmla="*/ 12 w 54"/>
                <a:gd name="T33" fmla="*/ 9 h 14"/>
                <a:gd name="T34" fmla="*/ 12 w 54"/>
                <a:gd name="T35" fmla="*/ 9 h 14"/>
                <a:gd name="T36" fmla="*/ 7 w 54"/>
                <a:gd name="T37" fmla="*/ 12 h 14"/>
                <a:gd name="T38" fmla="*/ 5 w 54"/>
                <a:gd name="T39" fmla="*/ 9 h 14"/>
                <a:gd name="T40" fmla="*/ 3 w 54"/>
                <a:gd name="T41" fmla="*/ 7 h 14"/>
                <a:gd name="T42" fmla="*/ 0 w 54"/>
                <a:gd name="T43" fmla="*/ 9 h 14"/>
                <a:gd name="T44" fmla="*/ 0 w 54"/>
                <a:gd name="T45" fmla="*/ 14 h 14"/>
                <a:gd name="T46" fmla="*/ 3 w 54"/>
                <a:gd name="T47" fmla="*/ 14 h 14"/>
                <a:gd name="T48" fmla="*/ 12 w 54"/>
                <a:gd name="T49" fmla="*/ 14 h 14"/>
                <a:gd name="T50" fmla="*/ 19 w 54"/>
                <a:gd name="T51" fmla="*/ 14 h 14"/>
                <a:gd name="T52" fmla="*/ 19 w 54"/>
                <a:gd name="T53" fmla="*/ 9 h 14"/>
                <a:gd name="T54" fmla="*/ 24 w 54"/>
                <a:gd name="T55" fmla="*/ 9 h 14"/>
                <a:gd name="T56" fmla="*/ 28 w 54"/>
                <a:gd name="T57" fmla="*/ 7 h 14"/>
                <a:gd name="T58" fmla="*/ 31 w 54"/>
                <a:gd name="T59" fmla="*/ 5 h 14"/>
                <a:gd name="T60" fmla="*/ 33 w 54"/>
                <a:gd name="T61" fmla="*/ 5 h 14"/>
                <a:gd name="T62" fmla="*/ 36 w 54"/>
                <a:gd name="T63" fmla="*/ 7 h 14"/>
                <a:gd name="T64" fmla="*/ 38 w 54"/>
                <a:gd name="T65" fmla="*/ 7 h 14"/>
                <a:gd name="T66" fmla="*/ 45 w 54"/>
                <a:gd name="T67" fmla="*/ 12 h 14"/>
                <a:gd name="T68" fmla="*/ 52 w 54"/>
                <a:gd name="T69" fmla="*/ 9 h 14"/>
                <a:gd name="T70" fmla="*/ 54 w 54"/>
                <a:gd name="T7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4">
                  <a:moveTo>
                    <a:pt x="54" y="7"/>
                  </a:moveTo>
                  <a:lnTo>
                    <a:pt x="52" y="5"/>
                  </a:lnTo>
                  <a:lnTo>
                    <a:pt x="50" y="5"/>
                  </a:lnTo>
                  <a:lnTo>
                    <a:pt x="50" y="5"/>
                  </a:lnTo>
                  <a:lnTo>
                    <a:pt x="47" y="7"/>
                  </a:lnTo>
                  <a:lnTo>
                    <a:pt x="47" y="7"/>
                  </a:lnTo>
                  <a:lnTo>
                    <a:pt x="45" y="5"/>
                  </a:lnTo>
                  <a:lnTo>
                    <a:pt x="43" y="5"/>
                  </a:lnTo>
                  <a:lnTo>
                    <a:pt x="43" y="2"/>
                  </a:lnTo>
                  <a:lnTo>
                    <a:pt x="40" y="2"/>
                  </a:lnTo>
                  <a:lnTo>
                    <a:pt x="38" y="2"/>
                  </a:lnTo>
                  <a:lnTo>
                    <a:pt x="36" y="0"/>
                  </a:lnTo>
                  <a:lnTo>
                    <a:pt x="33" y="0"/>
                  </a:lnTo>
                  <a:lnTo>
                    <a:pt x="31" y="0"/>
                  </a:lnTo>
                  <a:lnTo>
                    <a:pt x="28" y="0"/>
                  </a:lnTo>
                  <a:lnTo>
                    <a:pt x="26" y="0"/>
                  </a:lnTo>
                  <a:lnTo>
                    <a:pt x="24" y="5"/>
                  </a:lnTo>
                  <a:lnTo>
                    <a:pt x="21" y="5"/>
                  </a:lnTo>
                  <a:lnTo>
                    <a:pt x="14" y="5"/>
                  </a:lnTo>
                  <a:lnTo>
                    <a:pt x="10" y="5"/>
                  </a:lnTo>
                  <a:lnTo>
                    <a:pt x="5" y="5"/>
                  </a:lnTo>
                  <a:lnTo>
                    <a:pt x="5" y="7"/>
                  </a:lnTo>
                  <a:lnTo>
                    <a:pt x="7" y="9"/>
                  </a:lnTo>
                  <a:lnTo>
                    <a:pt x="10" y="9"/>
                  </a:lnTo>
                  <a:lnTo>
                    <a:pt x="12" y="7"/>
                  </a:lnTo>
                  <a:lnTo>
                    <a:pt x="19" y="7"/>
                  </a:lnTo>
                  <a:lnTo>
                    <a:pt x="24" y="5"/>
                  </a:lnTo>
                  <a:lnTo>
                    <a:pt x="26" y="7"/>
                  </a:lnTo>
                  <a:lnTo>
                    <a:pt x="26" y="7"/>
                  </a:lnTo>
                  <a:lnTo>
                    <a:pt x="26" y="7"/>
                  </a:lnTo>
                  <a:lnTo>
                    <a:pt x="21" y="7"/>
                  </a:lnTo>
                  <a:lnTo>
                    <a:pt x="19" y="7"/>
                  </a:lnTo>
                  <a:lnTo>
                    <a:pt x="17" y="7"/>
                  </a:lnTo>
                  <a:lnTo>
                    <a:pt x="12" y="9"/>
                  </a:lnTo>
                  <a:lnTo>
                    <a:pt x="12" y="9"/>
                  </a:lnTo>
                  <a:lnTo>
                    <a:pt x="12" y="9"/>
                  </a:lnTo>
                  <a:lnTo>
                    <a:pt x="10" y="9"/>
                  </a:lnTo>
                  <a:lnTo>
                    <a:pt x="7" y="12"/>
                  </a:lnTo>
                  <a:lnTo>
                    <a:pt x="5" y="9"/>
                  </a:lnTo>
                  <a:lnTo>
                    <a:pt x="5" y="9"/>
                  </a:lnTo>
                  <a:lnTo>
                    <a:pt x="5" y="7"/>
                  </a:lnTo>
                  <a:lnTo>
                    <a:pt x="3" y="7"/>
                  </a:lnTo>
                  <a:lnTo>
                    <a:pt x="3" y="7"/>
                  </a:lnTo>
                  <a:lnTo>
                    <a:pt x="0" y="9"/>
                  </a:lnTo>
                  <a:lnTo>
                    <a:pt x="0" y="14"/>
                  </a:lnTo>
                  <a:lnTo>
                    <a:pt x="0" y="14"/>
                  </a:lnTo>
                  <a:lnTo>
                    <a:pt x="3" y="14"/>
                  </a:lnTo>
                  <a:lnTo>
                    <a:pt x="3" y="14"/>
                  </a:lnTo>
                  <a:lnTo>
                    <a:pt x="7" y="14"/>
                  </a:lnTo>
                  <a:lnTo>
                    <a:pt x="12" y="14"/>
                  </a:lnTo>
                  <a:lnTo>
                    <a:pt x="14" y="14"/>
                  </a:lnTo>
                  <a:lnTo>
                    <a:pt x="19" y="14"/>
                  </a:lnTo>
                  <a:lnTo>
                    <a:pt x="19" y="9"/>
                  </a:lnTo>
                  <a:lnTo>
                    <a:pt x="19" y="9"/>
                  </a:lnTo>
                  <a:lnTo>
                    <a:pt x="21" y="9"/>
                  </a:lnTo>
                  <a:lnTo>
                    <a:pt x="24" y="9"/>
                  </a:lnTo>
                  <a:lnTo>
                    <a:pt x="28" y="7"/>
                  </a:lnTo>
                  <a:lnTo>
                    <a:pt x="28" y="7"/>
                  </a:lnTo>
                  <a:lnTo>
                    <a:pt x="31" y="7"/>
                  </a:lnTo>
                  <a:lnTo>
                    <a:pt x="31" y="5"/>
                  </a:lnTo>
                  <a:lnTo>
                    <a:pt x="31" y="5"/>
                  </a:lnTo>
                  <a:lnTo>
                    <a:pt x="33" y="5"/>
                  </a:lnTo>
                  <a:lnTo>
                    <a:pt x="33" y="5"/>
                  </a:lnTo>
                  <a:lnTo>
                    <a:pt x="36" y="7"/>
                  </a:lnTo>
                  <a:lnTo>
                    <a:pt x="36" y="7"/>
                  </a:lnTo>
                  <a:lnTo>
                    <a:pt x="38" y="7"/>
                  </a:lnTo>
                  <a:lnTo>
                    <a:pt x="40" y="9"/>
                  </a:lnTo>
                  <a:lnTo>
                    <a:pt x="45" y="12"/>
                  </a:lnTo>
                  <a:lnTo>
                    <a:pt x="47" y="12"/>
                  </a:lnTo>
                  <a:lnTo>
                    <a:pt x="52" y="9"/>
                  </a:lnTo>
                  <a:lnTo>
                    <a:pt x="54" y="9"/>
                  </a:lnTo>
                  <a:lnTo>
                    <a:pt x="54" y="7"/>
                  </a:lnTo>
                  <a:lnTo>
                    <a:pt x="54"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5" name="Freeform 341"/>
            <p:cNvSpPr>
              <a:spLocks/>
            </p:cNvSpPr>
            <p:nvPr userDrawn="1"/>
          </p:nvSpPr>
          <p:spPr bwMode="auto">
            <a:xfrm>
              <a:off x="3816" y="2758"/>
              <a:ext cx="106" cy="132"/>
            </a:xfrm>
            <a:custGeom>
              <a:avLst/>
              <a:gdLst>
                <a:gd name="T0" fmla="*/ 106 w 106"/>
                <a:gd name="T1" fmla="*/ 61 h 132"/>
                <a:gd name="T2" fmla="*/ 99 w 106"/>
                <a:gd name="T3" fmla="*/ 57 h 132"/>
                <a:gd name="T4" fmla="*/ 96 w 106"/>
                <a:gd name="T5" fmla="*/ 47 h 132"/>
                <a:gd name="T6" fmla="*/ 99 w 106"/>
                <a:gd name="T7" fmla="*/ 38 h 132"/>
                <a:gd name="T8" fmla="*/ 103 w 106"/>
                <a:gd name="T9" fmla="*/ 35 h 132"/>
                <a:gd name="T10" fmla="*/ 103 w 106"/>
                <a:gd name="T11" fmla="*/ 28 h 132"/>
                <a:gd name="T12" fmla="*/ 99 w 106"/>
                <a:gd name="T13" fmla="*/ 21 h 132"/>
                <a:gd name="T14" fmla="*/ 84 w 106"/>
                <a:gd name="T15" fmla="*/ 24 h 132"/>
                <a:gd name="T16" fmla="*/ 82 w 106"/>
                <a:gd name="T17" fmla="*/ 19 h 132"/>
                <a:gd name="T18" fmla="*/ 84 w 106"/>
                <a:gd name="T19" fmla="*/ 5 h 132"/>
                <a:gd name="T20" fmla="*/ 75 w 106"/>
                <a:gd name="T21" fmla="*/ 2 h 132"/>
                <a:gd name="T22" fmla="*/ 63 w 106"/>
                <a:gd name="T23" fmla="*/ 2 h 132"/>
                <a:gd name="T24" fmla="*/ 49 w 106"/>
                <a:gd name="T25" fmla="*/ 2 h 132"/>
                <a:gd name="T26" fmla="*/ 47 w 106"/>
                <a:gd name="T27" fmla="*/ 17 h 132"/>
                <a:gd name="T28" fmla="*/ 40 w 106"/>
                <a:gd name="T29" fmla="*/ 28 h 132"/>
                <a:gd name="T30" fmla="*/ 23 w 106"/>
                <a:gd name="T31" fmla="*/ 28 h 132"/>
                <a:gd name="T32" fmla="*/ 18 w 106"/>
                <a:gd name="T33" fmla="*/ 28 h 132"/>
                <a:gd name="T34" fmla="*/ 16 w 106"/>
                <a:gd name="T35" fmla="*/ 28 h 132"/>
                <a:gd name="T36" fmla="*/ 16 w 106"/>
                <a:gd name="T37" fmla="*/ 38 h 132"/>
                <a:gd name="T38" fmla="*/ 11 w 106"/>
                <a:gd name="T39" fmla="*/ 38 h 132"/>
                <a:gd name="T40" fmla="*/ 21 w 106"/>
                <a:gd name="T41" fmla="*/ 45 h 132"/>
                <a:gd name="T42" fmla="*/ 14 w 106"/>
                <a:gd name="T43" fmla="*/ 47 h 132"/>
                <a:gd name="T44" fmla="*/ 11 w 106"/>
                <a:gd name="T45" fmla="*/ 43 h 132"/>
                <a:gd name="T46" fmla="*/ 7 w 106"/>
                <a:gd name="T47" fmla="*/ 61 h 132"/>
                <a:gd name="T48" fmla="*/ 2 w 106"/>
                <a:gd name="T49" fmla="*/ 64 h 132"/>
                <a:gd name="T50" fmla="*/ 2 w 106"/>
                <a:gd name="T51" fmla="*/ 71 h 132"/>
                <a:gd name="T52" fmla="*/ 9 w 106"/>
                <a:gd name="T53" fmla="*/ 78 h 132"/>
                <a:gd name="T54" fmla="*/ 11 w 106"/>
                <a:gd name="T55" fmla="*/ 83 h 132"/>
                <a:gd name="T56" fmla="*/ 11 w 106"/>
                <a:gd name="T57" fmla="*/ 85 h 132"/>
                <a:gd name="T58" fmla="*/ 7 w 106"/>
                <a:gd name="T59" fmla="*/ 83 h 132"/>
                <a:gd name="T60" fmla="*/ 14 w 106"/>
                <a:gd name="T61" fmla="*/ 90 h 132"/>
                <a:gd name="T62" fmla="*/ 11 w 106"/>
                <a:gd name="T63" fmla="*/ 92 h 132"/>
                <a:gd name="T64" fmla="*/ 16 w 106"/>
                <a:gd name="T65" fmla="*/ 99 h 132"/>
                <a:gd name="T66" fmla="*/ 23 w 106"/>
                <a:gd name="T67" fmla="*/ 104 h 132"/>
                <a:gd name="T68" fmla="*/ 18 w 106"/>
                <a:gd name="T69" fmla="*/ 104 h 132"/>
                <a:gd name="T70" fmla="*/ 40 w 106"/>
                <a:gd name="T71" fmla="*/ 125 h 132"/>
                <a:gd name="T72" fmla="*/ 47 w 106"/>
                <a:gd name="T73" fmla="*/ 128 h 132"/>
                <a:gd name="T74" fmla="*/ 54 w 106"/>
                <a:gd name="T75" fmla="*/ 128 h 132"/>
                <a:gd name="T76" fmla="*/ 56 w 106"/>
                <a:gd name="T77" fmla="*/ 125 h 132"/>
                <a:gd name="T78" fmla="*/ 58 w 106"/>
                <a:gd name="T79" fmla="*/ 121 h 132"/>
                <a:gd name="T80" fmla="*/ 54 w 106"/>
                <a:gd name="T81" fmla="*/ 114 h 132"/>
                <a:gd name="T82" fmla="*/ 54 w 106"/>
                <a:gd name="T83" fmla="*/ 111 h 132"/>
                <a:gd name="T84" fmla="*/ 51 w 106"/>
                <a:gd name="T85" fmla="*/ 99 h 132"/>
                <a:gd name="T86" fmla="*/ 58 w 106"/>
                <a:gd name="T87" fmla="*/ 99 h 132"/>
                <a:gd name="T88" fmla="*/ 68 w 106"/>
                <a:gd name="T89" fmla="*/ 97 h 132"/>
                <a:gd name="T90" fmla="*/ 68 w 106"/>
                <a:gd name="T91" fmla="*/ 92 h 132"/>
                <a:gd name="T92" fmla="*/ 73 w 106"/>
                <a:gd name="T93" fmla="*/ 90 h 132"/>
                <a:gd name="T94" fmla="*/ 82 w 106"/>
                <a:gd name="T95" fmla="*/ 99 h 132"/>
                <a:gd name="T96" fmla="*/ 91 w 106"/>
                <a:gd name="T97" fmla="*/ 95 h 132"/>
                <a:gd name="T98" fmla="*/ 94 w 106"/>
                <a:gd name="T99" fmla="*/ 102 h 132"/>
                <a:gd name="T100" fmla="*/ 101 w 106"/>
                <a:gd name="T101" fmla="*/ 99 h 132"/>
                <a:gd name="T102" fmla="*/ 101 w 106"/>
                <a:gd name="T103" fmla="*/ 95 h 132"/>
                <a:gd name="T104" fmla="*/ 106 w 106"/>
                <a:gd name="T105" fmla="*/ 85 h 132"/>
                <a:gd name="T106" fmla="*/ 106 w 106"/>
                <a:gd name="T107" fmla="*/ 7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32">
                  <a:moveTo>
                    <a:pt x="106" y="73"/>
                  </a:moveTo>
                  <a:lnTo>
                    <a:pt x="106" y="71"/>
                  </a:lnTo>
                  <a:lnTo>
                    <a:pt x="106" y="66"/>
                  </a:lnTo>
                  <a:lnTo>
                    <a:pt x="106" y="64"/>
                  </a:lnTo>
                  <a:lnTo>
                    <a:pt x="106" y="61"/>
                  </a:lnTo>
                  <a:lnTo>
                    <a:pt x="106" y="61"/>
                  </a:lnTo>
                  <a:lnTo>
                    <a:pt x="103" y="59"/>
                  </a:lnTo>
                  <a:lnTo>
                    <a:pt x="101" y="59"/>
                  </a:lnTo>
                  <a:lnTo>
                    <a:pt x="101" y="57"/>
                  </a:lnTo>
                  <a:lnTo>
                    <a:pt x="99" y="57"/>
                  </a:lnTo>
                  <a:lnTo>
                    <a:pt x="99" y="54"/>
                  </a:lnTo>
                  <a:lnTo>
                    <a:pt x="96" y="54"/>
                  </a:lnTo>
                  <a:lnTo>
                    <a:pt x="94" y="54"/>
                  </a:lnTo>
                  <a:lnTo>
                    <a:pt x="94" y="52"/>
                  </a:lnTo>
                  <a:lnTo>
                    <a:pt x="96" y="47"/>
                  </a:lnTo>
                  <a:lnTo>
                    <a:pt x="94" y="45"/>
                  </a:lnTo>
                  <a:lnTo>
                    <a:pt x="96" y="43"/>
                  </a:lnTo>
                  <a:lnTo>
                    <a:pt x="96" y="43"/>
                  </a:lnTo>
                  <a:lnTo>
                    <a:pt x="99" y="40"/>
                  </a:lnTo>
                  <a:lnTo>
                    <a:pt x="99" y="38"/>
                  </a:lnTo>
                  <a:lnTo>
                    <a:pt x="99" y="38"/>
                  </a:lnTo>
                  <a:lnTo>
                    <a:pt x="101" y="38"/>
                  </a:lnTo>
                  <a:lnTo>
                    <a:pt x="103" y="38"/>
                  </a:lnTo>
                  <a:lnTo>
                    <a:pt x="103" y="35"/>
                  </a:lnTo>
                  <a:lnTo>
                    <a:pt x="103" y="35"/>
                  </a:lnTo>
                  <a:lnTo>
                    <a:pt x="103" y="33"/>
                  </a:lnTo>
                  <a:lnTo>
                    <a:pt x="106" y="33"/>
                  </a:lnTo>
                  <a:lnTo>
                    <a:pt x="106" y="31"/>
                  </a:lnTo>
                  <a:lnTo>
                    <a:pt x="106" y="31"/>
                  </a:lnTo>
                  <a:lnTo>
                    <a:pt x="103" y="28"/>
                  </a:lnTo>
                  <a:lnTo>
                    <a:pt x="103" y="26"/>
                  </a:lnTo>
                  <a:lnTo>
                    <a:pt x="103" y="26"/>
                  </a:lnTo>
                  <a:lnTo>
                    <a:pt x="101" y="21"/>
                  </a:lnTo>
                  <a:lnTo>
                    <a:pt x="101" y="21"/>
                  </a:lnTo>
                  <a:lnTo>
                    <a:pt x="99" y="21"/>
                  </a:lnTo>
                  <a:lnTo>
                    <a:pt x="94" y="19"/>
                  </a:lnTo>
                  <a:lnTo>
                    <a:pt x="91" y="21"/>
                  </a:lnTo>
                  <a:lnTo>
                    <a:pt x="89" y="21"/>
                  </a:lnTo>
                  <a:lnTo>
                    <a:pt x="84" y="24"/>
                  </a:lnTo>
                  <a:lnTo>
                    <a:pt x="84" y="24"/>
                  </a:lnTo>
                  <a:lnTo>
                    <a:pt x="82" y="24"/>
                  </a:lnTo>
                  <a:lnTo>
                    <a:pt x="82" y="24"/>
                  </a:lnTo>
                  <a:lnTo>
                    <a:pt x="82" y="21"/>
                  </a:lnTo>
                  <a:lnTo>
                    <a:pt x="82" y="21"/>
                  </a:lnTo>
                  <a:lnTo>
                    <a:pt x="82" y="19"/>
                  </a:lnTo>
                  <a:lnTo>
                    <a:pt x="82" y="17"/>
                  </a:lnTo>
                  <a:lnTo>
                    <a:pt x="82" y="14"/>
                  </a:lnTo>
                  <a:lnTo>
                    <a:pt x="82" y="12"/>
                  </a:lnTo>
                  <a:lnTo>
                    <a:pt x="82" y="9"/>
                  </a:lnTo>
                  <a:lnTo>
                    <a:pt x="84" y="5"/>
                  </a:lnTo>
                  <a:lnTo>
                    <a:pt x="84" y="5"/>
                  </a:lnTo>
                  <a:lnTo>
                    <a:pt x="84" y="2"/>
                  </a:lnTo>
                  <a:lnTo>
                    <a:pt x="82" y="2"/>
                  </a:lnTo>
                  <a:lnTo>
                    <a:pt x="82" y="2"/>
                  </a:lnTo>
                  <a:lnTo>
                    <a:pt x="75" y="2"/>
                  </a:lnTo>
                  <a:lnTo>
                    <a:pt x="73" y="2"/>
                  </a:lnTo>
                  <a:lnTo>
                    <a:pt x="70" y="2"/>
                  </a:lnTo>
                  <a:lnTo>
                    <a:pt x="70" y="2"/>
                  </a:lnTo>
                  <a:lnTo>
                    <a:pt x="66" y="2"/>
                  </a:lnTo>
                  <a:lnTo>
                    <a:pt x="63" y="2"/>
                  </a:lnTo>
                  <a:lnTo>
                    <a:pt x="61" y="2"/>
                  </a:lnTo>
                  <a:lnTo>
                    <a:pt x="58" y="2"/>
                  </a:lnTo>
                  <a:lnTo>
                    <a:pt x="51" y="0"/>
                  </a:lnTo>
                  <a:lnTo>
                    <a:pt x="47" y="0"/>
                  </a:lnTo>
                  <a:lnTo>
                    <a:pt x="49" y="2"/>
                  </a:lnTo>
                  <a:lnTo>
                    <a:pt x="47" y="2"/>
                  </a:lnTo>
                  <a:lnTo>
                    <a:pt x="47" y="5"/>
                  </a:lnTo>
                  <a:lnTo>
                    <a:pt x="47" y="9"/>
                  </a:lnTo>
                  <a:lnTo>
                    <a:pt x="47" y="12"/>
                  </a:lnTo>
                  <a:lnTo>
                    <a:pt x="47" y="17"/>
                  </a:lnTo>
                  <a:lnTo>
                    <a:pt x="47" y="21"/>
                  </a:lnTo>
                  <a:lnTo>
                    <a:pt x="47" y="26"/>
                  </a:lnTo>
                  <a:lnTo>
                    <a:pt x="47" y="28"/>
                  </a:lnTo>
                  <a:lnTo>
                    <a:pt x="44" y="28"/>
                  </a:lnTo>
                  <a:lnTo>
                    <a:pt x="40" y="28"/>
                  </a:lnTo>
                  <a:lnTo>
                    <a:pt x="33" y="28"/>
                  </a:lnTo>
                  <a:lnTo>
                    <a:pt x="28" y="28"/>
                  </a:lnTo>
                  <a:lnTo>
                    <a:pt x="25" y="28"/>
                  </a:lnTo>
                  <a:lnTo>
                    <a:pt x="23" y="28"/>
                  </a:lnTo>
                  <a:lnTo>
                    <a:pt x="23" y="28"/>
                  </a:lnTo>
                  <a:lnTo>
                    <a:pt x="21" y="28"/>
                  </a:lnTo>
                  <a:lnTo>
                    <a:pt x="21" y="28"/>
                  </a:lnTo>
                  <a:lnTo>
                    <a:pt x="21" y="28"/>
                  </a:lnTo>
                  <a:lnTo>
                    <a:pt x="18" y="28"/>
                  </a:lnTo>
                  <a:lnTo>
                    <a:pt x="18" y="28"/>
                  </a:lnTo>
                  <a:lnTo>
                    <a:pt x="18" y="26"/>
                  </a:lnTo>
                  <a:lnTo>
                    <a:pt x="16" y="26"/>
                  </a:lnTo>
                  <a:lnTo>
                    <a:pt x="16" y="26"/>
                  </a:lnTo>
                  <a:lnTo>
                    <a:pt x="16" y="28"/>
                  </a:lnTo>
                  <a:lnTo>
                    <a:pt x="16" y="28"/>
                  </a:lnTo>
                  <a:lnTo>
                    <a:pt x="14" y="28"/>
                  </a:lnTo>
                  <a:lnTo>
                    <a:pt x="16" y="33"/>
                  </a:lnTo>
                  <a:lnTo>
                    <a:pt x="16" y="35"/>
                  </a:lnTo>
                  <a:lnTo>
                    <a:pt x="16" y="38"/>
                  </a:lnTo>
                  <a:lnTo>
                    <a:pt x="16" y="38"/>
                  </a:lnTo>
                  <a:lnTo>
                    <a:pt x="14" y="38"/>
                  </a:lnTo>
                  <a:lnTo>
                    <a:pt x="14" y="35"/>
                  </a:lnTo>
                  <a:lnTo>
                    <a:pt x="14" y="35"/>
                  </a:lnTo>
                  <a:lnTo>
                    <a:pt x="11" y="38"/>
                  </a:lnTo>
                  <a:lnTo>
                    <a:pt x="11" y="38"/>
                  </a:lnTo>
                  <a:lnTo>
                    <a:pt x="11" y="40"/>
                  </a:lnTo>
                  <a:lnTo>
                    <a:pt x="14" y="43"/>
                  </a:lnTo>
                  <a:lnTo>
                    <a:pt x="14" y="43"/>
                  </a:lnTo>
                  <a:lnTo>
                    <a:pt x="18" y="45"/>
                  </a:lnTo>
                  <a:lnTo>
                    <a:pt x="21" y="45"/>
                  </a:lnTo>
                  <a:lnTo>
                    <a:pt x="23" y="45"/>
                  </a:lnTo>
                  <a:lnTo>
                    <a:pt x="18" y="47"/>
                  </a:lnTo>
                  <a:lnTo>
                    <a:pt x="18" y="50"/>
                  </a:lnTo>
                  <a:lnTo>
                    <a:pt x="18" y="47"/>
                  </a:lnTo>
                  <a:lnTo>
                    <a:pt x="14" y="47"/>
                  </a:lnTo>
                  <a:lnTo>
                    <a:pt x="14" y="47"/>
                  </a:lnTo>
                  <a:lnTo>
                    <a:pt x="11" y="45"/>
                  </a:lnTo>
                  <a:lnTo>
                    <a:pt x="11" y="45"/>
                  </a:lnTo>
                  <a:lnTo>
                    <a:pt x="11" y="43"/>
                  </a:lnTo>
                  <a:lnTo>
                    <a:pt x="11" y="43"/>
                  </a:lnTo>
                  <a:lnTo>
                    <a:pt x="9" y="43"/>
                  </a:lnTo>
                  <a:lnTo>
                    <a:pt x="11" y="47"/>
                  </a:lnTo>
                  <a:lnTo>
                    <a:pt x="11" y="52"/>
                  </a:lnTo>
                  <a:lnTo>
                    <a:pt x="9" y="57"/>
                  </a:lnTo>
                  <a:lnTo>
                    <a:pt x="7" y="61"/>
                  </a:lnTo>
                  <a:lnTo>
                    <a:pt x="7" y="64"/>
                  </a:lnTo>
                  <a:lnTo>
                    <a:pt x="4" y="64"/>
                  </a:lnTo>
                  <a:lnTo>
                    <a:pt x="4" y="64"/>
                  </a:lnTo>
                  <a:lnTo>
                    <a:pt x="4" y="64"/>
                  </a:lnTo>
                  <a:lnTo>
                    <a:pt x="2" y="64"/>
                  </a:lnTo>
                  <a:lnTo>
                    <a:pt x="0" y="64"/>
                  </a:lnTo>
                  <a:lnTo>
                    <a:pt x="0" y="61"/>
                  </a:lnTo>
                  <a:lnTo>
                    <a:pt x="2" y="69"/>
                  </a:lnTo>
                  <a:lnTo>
                    <a:pt x="2" y="69"/>
                  </a:lnTo>
                  <a:lnTo>
                    <a:pt x="2" y="71"/>
                  </a:lnTo>
                  <a:lnTo>
                    <a:pt x="2" y="73"/>
                  </a:lnTo>
                  <a:lnTo>
                    <a:pt x="4" y="78"/>
                  </a:lnTo>
                  <a:lnTo>
                    <a:pt x="9" y="78"/>
                  </a:lnTo>
                  <a:lnTo>
                    <a:pt x="9" y="78"/>
                  </a:lnTo>
                  <a:lnTo>
                    <a:pt x="9" y="78"/>
                  </a:lnTo>
                  <a:lnTo>
                    <a:pt x="9" y="78"/>
                  </a:lnTo>
                  <a:lnTo>
                    <a:pt x="11" y="78"/>
                  </a:lnTo>
                  <a:lnTo>
                    <a:pt x="9" y="80"/>
                  </a:lnTo>
                  <a:lnTo>
                    <a:pt x="9" y="83"/>
                  </a:lnTo>
                  <a:lnTo>
                    <a:pt x="11" y="83"/>
                  </a:lnTo>
                  <a:lnTo>
                    <a:pt x="11" y="83"/>
                  </a:lnTo>
                  <a:lnTo>
                    <a:pt x="11" y="83"/>
                  </a:lnTo>
                  <a:lnTo>
                    <a:pt x="14" y="83"/>
                  </a:lnTo>
                  <a:lnTo>
                    <a:pt x="14" y="83"/>
                  </a:lnTo>
                  <a:lnTo>
                    <a:pt x="11" y="85"/>
                  </a:lnTo>
                  <a:lnTo>
                    <a:pt x="11" y="85"/>
                  </a:lnTo>
                  <a:lnTo>
                    <a:pt x="9" y="85"/>
                  </a:lnTo>
                  <a:lnTo>
                    <a:pt x="4" y="78"/>
                  </a:lnTo>
                  <a:lnTo>
                    <a:pt x="4" y="78"/>
                  </a:lnTo>
                  <a:lnTo>
                    <a:pt x="7" y="83"/>
                  </a:lnTo>
                  <a:lnTo>
                    <a:pt x="9" y="85"/>
                  </a:lnTo>
                  <a:lnTo>
                    <a:pt x="9" y="88"/>
                  </a:lnTo>
                  <a:lnTo>
                    <a:pt x="9" y="88"/>
                  </a:lnTo>
                  <a:lnTo>
                    <a:pt x="11" y="88"/>
                  </a:lnTo>
                  <a:lnTo>
                    <a:pt x="14" y="90"/>
                  </a:lnTo>
                  <a:lnTo>
                    <a:pt x="14" y="90"/>
                  </a:lnTo>
                  <a:lnTo>
                    <a:pt x="14" y="92"/>
                  </a:lnTo>
                  <a:lnTo>
                    <a:pt x="11" y="90"/>
                  </a:lnTo>
                  <a:lnTo>
                    <a:pt x="9" y="90"/>
                  </a:lnTo>
                  <a:lnTo>
                    <a:pt x="11" y="92"/>
                  </a:lnTo>
                  <a:lnTo>
                    <a:pt x="11" y="92"/>
                  </a:lnTo>
                  <a:lnTo>
                    <a:pt x="14" y="95"/>
                  </a:lnTo>
                  <a:lnTo>
                    <a:pt x="14" y="97"/>
                  </a:lnTo>
                  <a:lnTo>
                    <a:pt x="16" y="99"/>
                  </a:lnTo>
                  <a:lnTo>
                    <a:pt x="16" y="99"/>
                  </a:lnTo>
                  <a:lnTo>
                    <a:pt x="16" y="102"/>
                  </a:lnTo>
                  <a:lnTo>
                    <a:pt x="18" y="102"/>
                  </a:lnTo>
                  <a:lnTo>
                    <a:pt x="21" y="102"/>
                  </a:lnTo>
                  <a:lnTo>
                    <a:pt x="23" y="102"/>
                  </a:lnTo>
                  <a:lnTo>
                    <a:pt x="23" y="104"/>
                  </a:lnTo>
                  <a:lnTo>
                    <a:pt x="23" y="104"/>
                  </a:lnTo>
                  <a:lnTo>
                    <a:pt x="23" y="104"/>
                  </a:lnTo>
                  <a:lnTo>
                    <a:pt x="18" y="102"/>
                  </a:lnTo>
                  <a:lnTo>
                    <a:pt x="18" y="102"/>
                  </a:lnTo>
                  <a:lnTo>
                    <a:pt x="18" y="104"/>
                  </a:lnTo>
                  <a:lnTo>
                    <a:pt x="23" y="109"/>
                  </a:lnTo>
                  <a:lnTo>
                    <a:pt x="30" y="114"/>
                  </a:lnTo>
                  <a:lnTo>
                    <a:pt x="33" y="118"/>
                  </a:lnTo>
                  <a:lnTo>
                    <a:pt x="35" y="121"/>
                  </a:lnTo>
                  <a:lnTo>
                    <a:pt x="40" y="125"/>
                  </a:lnTo>
                  <a:lnTo>
                    <a:pt x="40" y="128"/>
                  </a:lnTo>
                  <a:lnTo>
                    <a:pt x="42" y="130"/>
                  </a:lnTo>
                  <a:lnTo>
                    <a:pt x="44" y="132"/>
                  </a:lnTo>
                  <a:lnTo>
                    <a:pt x="44" y="130"/>
                  </a:lnTo>
                  <a:lnTo>
                    <a:pt x="47" y="128"/>
                  </a:lnTo>
                  <a:lnTo>
                    <a:pt x="47" y="128"/>
                  </a:lnTo>
                  <a:lnTo>
                    <a:pt x="51" y="123"/>
                  </a:lnTo>
                  <a:lnTo>
                    <a:pt x="51" y="125"/>
                  </a:lnTo>
                  <a:lnTo>
                    <a:pt x="54" y="128"/>
                  </a:lnTo>
                  <a:lnTo>
                    <a:pt x="54" y="128"/>
                  </a:lnTo>
                  <a:lnTo>
                    <a:pt x="56" y="128"/>
                  </a:lnTo>
                  <a:lnTo>
                    <a:pt x="56" y="128"/>
                  </a:lnTo>
                  <a:lnTo>
                    <a:pt x="58" y="128"/>
                  </a:lnTo>
                  <a:lnTo>
                    <a:pt x="58" y="125"/>
                  </a:lnTo>
                  <a:lnTo>
                    <a:pt x="56" y="125"/>
                  </a:lnTo>
                  <a:lnTo>
                    <a:pt x="56" y="125"/>
                  </a:lnTo>
                  <a:lnTo>
                    <a:pt x="58" y="123"/>
                  </a:lnTo>
                  <a:lnTo>
                    <a:pt x="58" y="123"/>
                  </a:lnTo>
                  <a:lnTo>
                    <a:pt x="58" y="121"/>
                  </a:lnTo>
                  <a:lnTo>
                    <a:pt x="58" y="121"/>
                  </a:lnTo>
                  <a:lnTo>
                    <a:pt x="58" y="118"/>
                  </a:lnTo>
                  <a:lnTo>
                    <a:pt x="56" y="118"/>
                  </a:lnTo>
                  <a:lnTo>
                    <a:pt x="54" y="116"/>
                  </a:lnTo>
                  <a:lnTo>
                    <a:pt x="54" y="116"/>
                  </a:lnTo>
                  <a:lnTo>
                    <a:pt x="54" y="114"/>
                  </a:lnTo>
                  <a:lnTo>
                    <a:pt x="56" y="114"/>
                  </a:lnTo>
                  <a:lnTo>
                    <a:pt x="56" y="114"/>
                  </a:lnTo>
                  <a:lnTo>
                    <a:pt x="54" y="111"/>
                  </a:lnTo>
                  <a:lnTo>
                    <a:pt x="54" y="111"/>
                  </a:lnTo>
                  <a:lnTo>
                    <a:pt x="54" y="111"/>
                  </a:lnTo>
                  <a:lnTo>
                    <a:pt x="51" y="109"/>
                  </a:lnTo>
                  <a:lnTo>
                    <a:pt x="51" y="109"/>
                  </a:lnTo>
                  <a:lnTo>
                    <a:pt x="51" y="106"/>
                  </a:lnTo>
                  <a:lnTo>
                    <a:pt x="51" y="104"/>
                  </a:lnTo>
                  <a:lnTo>
                    <a:pt x="51" y="99"/>
                  </a:lnTo>
                  <a:lnTo>
                    <a:pt x="51" y="99"/>
                  </a:lnTo>
                  <a:lnTo>
                    <a:pt x="51" y="99"/>
                  </a:lnTo>
                  <a:lnTo>
                    <a:pt x="54" y="99"/>
                  </a:lnTo>
                  <a:lnTo>
                    <a:pt x="54" y="99"/>
                  </a:lnTo>
                  <a:lnTo>
                    <a:pt x="58" y="99"/>
                  </a:lnTo>
                  <a:lnTo>
                    <a:pt x="58" y="99"/>
                  </a:lnTo>
                  <a:lnTo>
                    <a:pt x="61" y="99"/>
                  </a:lnTo>
                  <a:lnTo>
                    <a:pt x="61" y="102"/>
                  </a:lnTo>
                  <a:lnTo>
                    <a:pt x="68" y="99"/>
                  </a:lnTo>
                  <a:lnTo>
                    <a:pt x="68" y="97"/>
                  </a:lnTo>
                  <a:lnTo>
                    <a:pt x="68" y="95"/>
                  </a:lnTo>
                  <a:lnTo>
                    <a:pt x="68" y="95"/>
                  </a:lnTo>
                  <a:lnTo>
                    <a:pt x="68" y="95"/>
                  </a:lnTo>
                  <a:lnTo>
                    <a:pt x="68" y="92"/>
                  </a:lnTo>
                  <a:lnTo>
                    <a:pt x="68" y="92"/>
                  </a:lnTo>
                  <a:lnTo>
                    <a:pt x="68" y="90"/>
                  </a:lnTo>
                  <a:lnTo>
                    <a:pt x="68" y="90"/>
                  </a:lnTo>
                  <a:lnTo>
                    <a:pt x="70" y="88"/>
                  </a:lnTo>
                  <a:lnTo>
                    <a:pt x="73" y="88"/>
                  </a:lnTo>
                  <a:lnTo>
                    <a:pt x="73" y="90"/>
                  </a:lnTo>
                  <a:lnTo>
                    <a:pt x="75" y="90"/>
                  </a:lnTo>
                  <a:lnTo>
                    <a:pt x="75" y="92"/>
                  </a:lnTo>
                  <a:lnTo>
                    <a:pt x="77" y="95"/>
                  </a:lnTo>
                  <a:lnTo>
                    <a:pt x="77" y="99"/>
                  </a:lnTo>
                  <a:lnTo>
                    <a:pt x="82" y="99"/>
                  </a:lnTo>
                  <a:lnTo>
                    <a:pt x="84" y="102"/>
                  </a:lnTo>
                  <a:lnTo>
                    <a:pt x="87" y="99"/>
                  </a:lnTo>
                  <a:lnTo>
                    <a:pt x="89" y="97"/>
                  </a:lnTo>
                  <a:lnTo>
                    <a:pt x="91" y="97"/>
                  </a:lnTo>
                  <a:lnTo>
                    <a:pt x="91" y="95"/>
                  </a:lnTo>
                  <a:lnTo>
                    <a:pt x="94" y="95"/>
                  </a:lnTo>
                  <a:lnTo>
                    <a:pt x="94" y="97"/>
                  </a:lnTo>
                  <a:lnTo>
                    <a:pt x="94" y="99"/>
                  </a:lnTo>
                  <a:lnTo>
                    <a:pt x="94" y="99"/>
                  </a:lnTo>
                  <a:lnTo>
                    <a:pt x="94" y="102"/>
                  </a:lnTo>
                  <a:lnTo>
                    <a:pt x="94" y="102"/>
                  </a:lnTo>
                  <a:lnTo>
                    <a:pt x="96" y="102"/>
                  </a:lnTo>
                  <a:lnTo>
                    <a:pt x="99" y="102"/>
                  </a:lnTo>
                  <a:lnTo>
                    <a:pt x="99" y="102"/>
                  </a:lnTo>
                  <a:lnTo>
                    <a:pt x="101" y="99"/>
                  </a:lnTo>
                  <a:lnTo>
                    <a:pt x="101" y="99"/>
                  </a:lnTo>
                  <a:lnTo>
                    <a:pt x="101" y="97"/>
                  </a:lnTo>
                  <a:lnTo>
                    <a:pt x="101" y="97"/>
                  </a:lnTo>
                  <a:lnTo>
                    <a:pt x="101" y="95"/>
                  </a:lnTo>
                  <a:lnTo>
                    <a:pt x="101" y="95"/>
                  </a:lnTo>
                  <a:lnTo>
                    <a:pt x="101" y="92"/>
                  </a:lnTo>
                  <a:lnTo>
                    <a:pt x="103" y="90"/>
                  </a:lnTo>
                  <a:lnTo>
                    <a:pt x="103" y="90"/>
                  </a:lnTo>
                  <a:lnTo>
                    <a:pt x="103" y="90"/>
                  </a:lnTo>
                  <a:lnTo>
                    <a:pt x="106" y="85"/>
                  </a:lnTo>
                  <a:lnTo>
                    <a:pt x="106" y="85"/>
                  </a:lnTo>
                  <a:lnTo>
                    <a:pt x="106" y="83"/>
                  </a:lnTo>
                  <a:lnTo>
                    <a:pt x="106" y="83"/>
                  </a:lnTo>
                  <a:lnTo>
                    <a:pt x="106" y="80"/>
                  </a:lnTo>
                  <a:lnTo>
                    <a:pt x="106" y="76"/>
                  </a:lnTo>
                  <a:lnTo>
                    <a:pt x="106" y="7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6" name="Freeform 342"/>
            <p:cNvSpPr>
              <a:spLocks/>
            </p:cNvSpPr>
            <p:nvPr userDrawn="1"/>
          </p:nvSpPr>
          <p:spPr bwMode="auto">
            <a:xfrm>
              <a:off x="2637" y="2685"/>
              <a:ext cx="57" cy="78"/>
            </a:xfrm>
            <a:custGeom>
              <a:avLst/>
              <a:gdLst>
                <a:gd name="T0" fmla="*/ 57 w 57"/>
                <a:gd name="T1" fmla="*/ 33 h 78"/>
                <a:gd name="T2" fmla="*/ 54 w 57"/>
                <a:gd name="T3" fmla="*/ 26 h 78"/>
                <a:gd name="T4" fmla="*/ 52 w 57"/>
                <a:gd name="T5" fmla="*/ 26 h 78"/>
                <a:gd name="T6" fmla="*/ 52 w 57"/>
                <a:gd name="T7" fmla="*/ 28 h 78"/>
                <a:gd name="T8" fmla="*/ 50 w 57"/>
                <a:gd name="T9" fmla="*/ 30 h 78"/>
                <a:gd name="T10" fmla="*/ 50 w 57"/>
                <a:gd name="T11" fmla="*/ 28 h 78"/>
                <a:gd name="T12" fmla="*/ 50 w 57"/>
                <a:gd name="T13" fmla="*/ 26 h 78"/>
                <a:gd name="T14" fmla="*/ 47 w 57"/>
                <a:gd name="T15" fmla="*/ 21 h 78"/>
                <a:gd name="T16" fmla="*/ 45 w 57"/>
                <a:gd name="T17" fmla="*/ 19 h 78"/>
                <a:gd name="T18" fmla="*/ 43 w 57"/>
                <a:gd name="T19" fmla="*/ 16 h 78"/>
                <a:gd name="T20" fmla="*/ 33 w 57"/>
                <a:gd name="T21" fmla="*/ 9 h 78"/>
                <a:gd name="T22" fmla="*/ 24 w 57"/>
                <a:gd name="T23" fmla="*/ 4 h 78"/>
                <a:gd name="T24" fmla="*/ 14 w 57"/>
                <a:gd name="T25" fmla="*/ 2 h 78"/>
                <a:gd name="T26" fmla="*/ 12 w 57"/>
                <a:gd name="T27" fmla="*/ 9 h 78"/>
                <a:gd name="T28" fmla="*/ 10 w 57"/>
                <a:gd name="T29" fmla="*/ 12 h 78"/>
                <a:gd name="T30" fmla="*/ 5 w 57"/>
                <a:gd name="T31" fmla="*/ 16 h 78"/>
                <a:gd name="T32" fmla="*/ 5 w 57"/>
                <a:gd name="T33" fmla="*/ 19 h 78"/>
                <a:gd name="T34" fmla="*/ 5 w 57"/>
                <a:gd name="T35" fmla="*/ 23 h 78"/>
                <a:gd name="T36" fmla="*/ 5 w 57"/>
                <a:gd name="T37" fmla="*/ 26 h 78"/>
                <a:gd name="T38" fmla="*/ 5 w 57"/>
                <a:gd name="T39" fmla="*/ 28 h 78"/>
                <a:gd name="T40" fmla="*/ 5 w 57"/>
                <a:gd name="T41" fmla="*/ 33 h 78"/>
                <a:gd name="T42" fmla="*/ 7 w 57"/>
                <a:gd name="T43" fmla="*/ 35 h 78"/>
                <a:gd name="T44" fmla="*/ 7 w 57"/>
                <a:gd name="T45" fmla="*/ 38 h 78"/>
                <a:gd name="T46" fmla="*/ 10 w 57"/>
                <a:gd name="T47" fmla="*/ 42 h 78"/>
                <a:gd name="T48" fmla="*/ 12 w 57"/>
                <a:gd name="T49" fmla="*/ 45 h 78"/>
                <a:gd name="T50" fmla="*/ 12 w 57"/>
                <a:gd name="T51" fmla="*/ 47 h 78"/>
                <a:gd name="T52" fmla="*/ 12 w 57"/>
                <a:gd name="T53" fmla="*/ 49 h 78"/>
                <a:gd name="T54" fmla="*/ 12 w 57"/>
                <a:gd name="T55" fmla="*/ 52 h 78"/>
                <a:gd name="T56" fmla="*/ 10 w 57"/>
                <a:gd name="T57" fmla="*/ 56 h 78"/>
                <a:gd name="T58" fmla="*/ 10 w 57"/>
                <a:gd name="T59" fmla="*/ 61 h 78"/>
                <a:gd name="T60" fmla="*/ 7 w 57"/>
                <a:gd name="T61" fmla="*/ 66 h 78"/>
                <a:gd name="T62" fmla="*/ 2 w 57"/>
                <a:gd name="T63" fmla="*/ 71 h 78"/>
                <a:gd name="T64" fmla="*/ 2 w 57"/>
                <a:gd name="T65" fmla="*/ 73 h 78"/>
                <a:gd name="T66" fmla="*/ 0 w 57"/>
                <a:gd name="T67" fmla="*/ 73 h 78"/>
                <a:gd name="T68" fmla="*/ 2 w 57"/>
                <a:gd name="T69" fmla="*/ 75 h 78"/>
                <a:gd name="T70" fmla="*/ 5 w 57"/>
                <a:gd name="T71" fmla="*/ 75 h 78"/>
                <a:gd name="T72" fmla="*/ 7 w 57"/>
                <a:gd name="T73" fmla="*/ 78 h 78"/>
                <a:gd name="T74" fmla="*/ 10 w 57"/>
                <a:gd name="T75" fmla="*/ 78 h 78"/>
                <a:gd name="T76" fmla="*/ 14 w 57"/>
                <a:gd name="T77" fmla="*/ 75 h 78"/>
                <a:gd name="T78" fmla="*/ 14 w 57"/>
                <a:gd name="T79" fmla="*/ 73 h 78"/>
                <a:gd name="T80" fmla="*/ 17 w 57"/>
                <a:gd name="T81" fmla="*/ 73 h 78"/>
                <a:gd name="T82" fmla="*/ 17 w 57"/>
                <a:gd name="T83" fmla="*/ 73 h 78"/>
                <a:gd name="T84" fmla="*/ 21 w 57"/>
                <a:gd name="T85" fmla="*/ 75 h 78"/>
                <a:gd name="T86" fmla="*/ 24 w 57"/>
                <a:gd name="T87" fmla="*/ 75 h 78"/>
                <a:gd name="T88" fmla="*/ 24 w 57"/>
                <a:gd name="T89" fmla="*/ 73 h 78"/>
                <a:gd name="T90" fmla="*/ 26 w 57"/>
                <a:gd name="T91" fmla="*/ 75 h 78"/>
                <a:gd name="T92" fmla="*/ 28 w 57"/>
                <a:gd name="T93" fmla="*/ 75 h 78"/>
                <a:gd name="T94" fmla="*/ 31 w 57"/>
                <a:gd name="T95" fmla="*/ 78 h 78"/>
                <a:gd name="T96" fmla="*/ 33 w 57"/>
                <a:gd name="T97" fmla="*/ 75 h 78"/>
                <a:gd name="T98" fmla="*/ 35 w 57"/>
                <a:gd name="T99" fmla="*/ 73 h 78"/>
                <a:gd name="T100" fmla="*/ 38 w 57"/>
                <a:gd name="T101" fmla="*/ 71 h 78"/>
                <a:gd name="T102" fmla="*/ 40 w 57"/>
                <a:gd name="T103" fmla="*/ 68 h 78"/>
                <a:gd name="T104" fmla="*/ 40 w 57"/>
                <a:gd name="T105" fmla="*/ 61 h 78"/>
                <a:gd name="T106" fmla="*/ 43 w 57"/>
                <a:gd name="T107" fmla="*/ 59 h 78"/>
                <a:gd name="T108" fmla="*/ 43 w 57"/>
                <a:gd name="T109" fmla="*/ 56 h 78"/>
                <a:gd name="T110" fmla="*/ 45 w 57"/>
                <a:gd name="T111" fmla="*/ 54 h 78"/>
                <a:gd name="T112" fmla="*/ 47 w 57"/>
                <a:gd name="T113" fmla="*/ 52 h 78"/>
                <a:gd name="T114" fmla="*/ 50 w 57"/>
                <a:gd name="T115" fmla="*/ 45 h 78"/>
                <a:gd name="T116" fmla="*/ 52 w 57"/>
                <a:gd name="T117" fmla="*/ 45 h 78"/>
                <a:gd name="T118" fmla="*/ 52 w 57"/>
                <a:gd name="T119" fmla="*/ 42 h 78"/>
                <a:gd name="T120" fmla="*/ 54 w 57"/>
                <a:gd name="T121" fmla="*/ 40 h 78"/>
                <a:gd name="T122" fmla="*/ 57 w 57"/>
                <a:gd name="T123" fmla="*/ 38 h 78"/>
                <a:gd name="T124" fmla="*/ 57 w 57"/>
                <a:gd name="T125" fmla="*/ 3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 h="78">
                  <a:moveTo>
                    <a:pt x="57" y="35"/>
                  </a:moveTo>
                  <a:lnTo>
                    <a:pt x="57" y="33"/>
                  </a:lnTo>
                  <a:lnTo>
                    <a:pt x="57" y="33"/>
                  </a:lnTo>
                  <a:lnTo>
                    <a:pt x="54" y="26"/>
                  </a:lnTo>
                  <a:lnTo>
                    <a:pt x="54" y="26"/>
                  </a:lnTo>
                  <a:lnTo>
                    <a:pt x="52" y="26"/>
                  </a:lnTo>
                  <a:lnTo>
                    <a:pt x="52" y="28"/>
                  </a:lnTo>
                  <a:lnTo>
                    <a:pt x="52" y="28"/>
                  </a:lnTo>
                  <a:lnTo>
                    <a:pt x="52" y="30"/>
                  </a:lnTo>
                  <a:lnTo>
                    <a:pt x="50" y="30"/>
                  </a:lnTo>
                  <a:lnTo>
                    <a:pt x="50" y="30"/>
                  </a:lnTo>
                  <a:lnTo>
                    <a:pt x="50" y="28"/>
                  </a:lnTo>
                  <a:lnTo>
                    <a:pt x="52" y="28"/>
                  </a:lnTo>
                  <a:lnTo>
                    <a:pt x="50" y="26"/>
                  </a:lnTo>
                  <a:lnTo>
                    <a:pt x="50" y="23"/>
                  </a:lnTo>
                  <a:lnTo>
                    <a:pt x="47" y="21"/>
                  </a:lnTo>
                  <a:lnTo>
                    <a:pt x="45" y="21"/>
                  </a:lnTo>
                  <a:lnTo>
                    <a:pt x="45" y="19"/>
                  </a:lnTo>
                  <a:lnTo>
                    <a:pt x="45" y="19"/>
                  </a:lnTo>
                  <a:lnTo>
                    <a:pt x="43" y="16"/>
                  </a:lnTo>
                  <a:lnTo>
                    <a:pt x="35" y="12"/>
                  </a:lnTo>
                  <a:lnTo>
                    <a:pt x="33" y="9"/>
                  </a:lnTo>
                  <a:lnTo>
                    <a:pt x="28" y="7"/>
                  </a:lnTo>
                  <a:lnTo>
                    <a:pt x="24" y="4"/>
                  </a:lnTo>
                  <a:lnTo>
                    <a:pt x="17" y="0"/>
                  </a:lnTo>
                  <a:lnTo>
                    <a:pt x="14" y="2"/>
                  </a:lnTo>
                  <a:lnTo>
                    <a:pt x="14" y="2"/>
                  </a:lnTo>
                  <a:lnTo>
                    <a:pt x="12" y="9"/>
                  </a:lnTo>
                  <a:lnTo>
                    <a:pt x="12" y="9"/>
                  </a:lnTo>
                  <a:lnTo>
                    <a:pt x="10" y="12"/>
                  </a:lnTo>
                  <a:lnTo>
                    <a:pt x="7" y="14"/>
                  </a:lnTo>
                  <a:lnTo>
                    <a:pt x="5" y="16"/>
                  </a:lnTo>
                  <a:lnTo>
                    <a:pt x="5" y="19"/>
                  </a:lnTo>
                  <a:lnTo>
                    <a:pt x="5" y="19"/>
                  </a:lnTo>
                  <a:lnTo>
                    <a:pt x="5" y="21"/>
                  </a:lnTo>
                  <a:lnTo>
                    <a:pt x="5" y="23"/>
                  </a:lnTo>
                  <a:lnTo>
                    <a:pt x="5" y="23"/>
                  </a:lnTo>
                  <a:lnTo>
                    <a:pt x="5" y="26"/>
                  </a:lnTo>
                  <a:lnTo>
                    <a:pt x="5" y="28"/>
                  </a:lnTo>
                  <a:lnTo>
                    <a:pt x="5" y="28"/>
                  </a:lnTo>
                  <a:lnTo>
                    <a:pt x="5" y="30"/>
                  </a:lnTo>
                  <a:lnTo>
                    <a:pt x="5" y="33"/>
                  </a:lnTo>
                  <a:lnTo>
                    <a:pt x="5" y="35"/>
                  </a:lnTo>
                  <a:lnTo>
                    <a:pt x="7" y="35"/>
                  </a:lnTo>
                  <a:lnTo>
                    <a:pt x="7" y="35"/>
                  </a:lnTo>
                  <a:lnTo>
                    <a:pt x="7" y="38"/>
                  </a:lnTo>
                  <a:lnTo>
                    <a:pt x="7" y="40"/>
                  </a:lnTo>
                  <a:lnTo>
                    <a:pt x="10" y="42"/>
                  </a:lnTo>
                  <a:lnTo>
                    <a:pt x="10" y="42"/>
                  </a:lnTo>
                  <a:lnTo>
                    <a:pt x="12" y="45"/>
                  </a:lnTo>
                  <a:lnTo>
                    <a:pt x="12" y="47"/>
                  </a:lnTo>
                  <a:lnTo>
                    <a:pt x="12" y="47"/>
                  </a:lnTo>
                  <a:lnTo>
                    <a:pt x="12" y="47"/>
                  </a:lnTo>
                  <a:lnTo>
                    <a:pt x="12" y="49"/>
                  </a:lnTo>
                  <a:lnTo>
                    <a:pt x="12" y="49"/>
                  </a:lnTo>
                  <a:lnTo>
                    <a:pt x="12" y="52"/>
                  </a:lnTo>
                  <a:lnTo>
                    <a:pt x="10" y="56"/>
                  </a:lnTo>
                  <a:lnTo>
                    <a:pt x="10" y="56"/>
                  </a:lnTo>
                  <a:lnTo>
                    <a:pt x="10" y="59"/>
                  </a:lnTo>
                  <a:lnTo>
                    <a:pt x="10" y="61"/>
                  </a:lnTo>
                  <a:lnTo>
                    <a:pt x="10" y="64"/>
                  </a:lnTo>
                  <a:lnTo>
                    <a:pt x="7" y="66"/>
                  </a:lnTo>
                  <a:lnTo>
                    <a:pt x="5" y="71"/>
                  </a:lnTo>
                  <a:lnTo>
                    <a:pt x="2" y="71"/>
                  </a:lnTo>
                  <a:lnTo>
                    <a:pt x="2" y="73"/>
                  </a:lnTo>
                  <a:lnTo>
                    <a:pt x="2" y="73"/>
                  </a:lnTo>
                  <a:lnTo>
                    <a:pt x="0" y="73"/>
                  </a:lnTo>
                  <a:lnTo>
                    <a:pt x="0" y="73"/>
                  </a:lnTo>
                  <a:lnTo>
                    <a:pt x="0" y="73"/>
                  </a:lnTo>
                  <a:lnTo>
                    <a:pt x="2" y="75"/>
                  </a:lnTo>
                  <a:lnTo>
                    <a:pt x="2" y="75"/>
                  </a:lnTo>
                  <a:lnTo>
                    <a:pt x="5" y="75"/>
                  </a:lnTo>
                  <a:lnTo>
                    <a:pt x="7" y="78"/>
                  </a:lnTo>
                  <a:lnTo>
                    <a:pt x="7" y="78"/>
                  </a:lnTo>
                  <a:lnTo>
                    <a:pt x="10" y="78"/>
                  </a:lnTo>
                  <a:lnTo>
                    <a:pt x="10" y="78"/>
                  </a:lnTo>
                  <a:lnTo>
                    <a:pt x="10" y="78"/>
                  </a:lnTo>
                  <a:lnTo>
                    <a:pt x="14" y="75"/>
                  </a:lnTo>
                  <a:lnTo>
                    <a:pt x="14" y="75"/>
                  </a:lnTo>
                  <a:lnTo>
                    <a:pt x="14" y="73"/>
                  </a:lnTo>
                  <a:lnTo>
                    <a:pt x="17" y="73"/>
                  </a:lnTo>
                  <a:lnTo>
                    <a:pt x="17" y="73"/>
                  </a:lnTo>
                  <a:lnTo>
                    <a:pt x="17" y="73"/>
                  </a:lnTo>
                  <a:lnTo>
                    <a:pt x="17" y="73"/>
                  </a:lnTo>
                  <a:lnTo>
                    <a:pt x="19" y="75"/>
                  </a:lnTo>
                  <a:lnTo>
                    <a:pt x="21" y="75"/>
                  </a:lnTo>
                  <a:lnTo>
                    <a:pt x="21" y="75"/>
                  </a:lnTo>
                  <a:lnTo>
                    <a:pt x="24" y="75"/>
                  </a:lnTo>
                  <a:lnTo>
                    <a:pt x="24" y="73"/>
                  </a:lnTo>
                  <a:lnTo>
                    <a:pt x="24" y="73"/>
                  </a:lnTo>
                  <a:lnTo>
                    <a:pt x="26" y="75"/>
                  </a:lnTo>
                  <a:lnTo>
                    <a:pt x="26" y="75"/>
                  </a:lnTo>
                  <a:lnTo>
                    <a:pt x="26" y="75"/>
                  </a:lnTo>
                  <a:lnTo>
                    <a:pt x="28" y="75"/>
                  </a:lnTo>
                  <a:lnTo>
                    <a:pt x="28" y="75"/>
                  </a:lnTo>
                  <a:lnTo>
                    <a:pt x="31" y="78"/>
                  </a:lnTo>
                  <a:lnTo>
                    <a:pt x="31" y="78"/>
                  </a:lnTo>
                  <a:lnTo>
                    <a:pt x="33" y="75"/>
                  </a:lnTo>
                  <a:lnTo>
                    <a:pt x="33" y="75"/>
                  </a:lnTo>
                  <a:lnTo>
                    <a:pt x="35" y="73"/>
                  </a:lnTo>
                  <a:lnTo>
                    <a:pt x="35" y="73"/>
                  </a:lnTo>
                  <a:lnTo>
                    <a:pt x="38" y="71"/>
                  </a:lnTo>
                  <a:lnTo>
                    <a:pt x="38" y="68"/>
                  </a:lnTo>
                  <a:lnTo>
                    <a:pt x="40" y="68"/>
                  </a:lnTo>
                  <a:lnTo>
                    <a:pt x="40" y="66"/>
                  </a:lnTo>
                  <a:lnTo>
                    <a:pt x="40" y="61"/>
                  </a:lnTo>
                  <a:lnTo>
                    <a:pt x="43" y="61"/>
                  </a:lnTo>
                  <a:lnTo>
                    <a:pt x="43" y="59"/>
                  </a:lnTo>
                  <a:lnTo>
                    <a:pt x="43" y="59"/>
                  </a:lnTo>
                  <a:lnTo>
                    <a:pt x="43" y="56"/>
                  </a:lnTo>
                  <a:lnTo>
                    <a:pt x="43" y="56"/>
                  </a:lnTo>
                  <a:lnTo>
                    <a:pt x="45" y="54"/>
                  </a:lnTo>
                  <a:lnTo>
                    <a:pt x="45" y="54"/>
                  </a:lnTo>
                  <a:lnTo>
                    <a:pt x="47" y="52"/>
                  </a:lnTo>
                  <a:lnTo>
                    <a:pt x="47" y="49"/>
                  </a:lnTo>
                  <a:lnTo>
                    <a:pt x="50" y="45"/>
                  </a:lnTo>
                  <a:lnTo>
                    <a:pt x="50" y="45"/>
                  </a:lnTo>
                  <a:lnTo>
                    <a:pt x="52" y="45"/>
                  </a:lnTo>
                  <a:lnTo>
                    <a:pt x="52" y="42"/>
                  </a:lnTo>
                  <a:lnTo>
                    <a:pt x="52" y="42"/>
                  </a:lnTo>
                  <a:lnTo>
                    <a:pt x="54" y="40"/>
                  </a:lnTo>
                  <a:lnTo>
                    <a:pt x="54" y="40"/>
                  </a:lnTo>
                  <a:lnTo>
                    <a:pt x="54" y="38"/>
                  </a:lnTo>
                  <a:lnTo>
                    <a:pt x="57" y="38"/>
                  </a:lnTo>
                  <a:lnTo>
                    <a:pt x="57" y="38"/>
                  </a:lnTo>
                  <a:lnTo>
                    <a:pt x="57" y="35"/>
                  </a:lnTo>
                  <a:lnTo>
                    <a:pt x="57" y="3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7" name="Freeform 343"/>
            <p:cNvSpPr>
              <a:spLocks noEditPoints="1"/>
            </p:cNvSpPr>
            <p:nvPr userDrawn="1"/>
          </p:nvSpPr>
          <p:spPr bwMode="auto">
            <a:xfrm>
              <a:off x="3601" y="1734"/>
              <a:ext cx="231" cy="201"/>
            </a:xfrm>
            <a:custGeom>
              <a:avLst/>
              <a:gdLst>
                <a:gd name="T0" fmla="*/ 207 w 231"/>
                <a:gd name="T1" fmla="*/ 43 h 201"/>
                <a:gd name="T2" fmla="*/ 191 w 231"/>
                <a:gd name="T3" fmla="*/ 40 h 201"/>
                <a:gd name="T4" fmla="*/ 184 w 231"/>
                <a:gd name="T5" fmla="*/ 36 h 201"/>
                <a:gd name="T6" fmla="*/ 177 w 231"/>
                <a:gd name="T7" fmla="*/ 33 h 201"/>
                <a:gd name="T8" fmla="*/ 167 w 231"/>
                <a:gd name="T9" fmla="*/ 33 h 201"/>
                <a:gd name="T10" fmla="*/ 158 w 231"/>
                <a:gd name="T11" fmla="*/ 26 h 201"/>
                <a:gd name="T12" fmla="*/ 153 w 231"/>
                <a:gd name="T13" fmla="*/ 24 h 201"/>
                <a:gd name="T14" fmla="*/ 146 w 231"/>
                <a:gd name="T15" fmla="*/ 19 h 201"/>
                <a:gd name="T16" fmla="*/ 139 w 231"/>
                <a:gd name="T17" fmla="*/ 17 h 201"/>
                <a:gd name="T18" fmla="*/ 130 w 231"/>
                <a:gd name="T19" fmla="*/ 7 h 201"/>
                <a:gd name="T20" fmla="*/ 123 w 231"/>
                <a:gd name="T21" fmla="*/ 3 h 201"/>
                <a:gd name="T22" fmla="*/ 104 w 231"/>
                <a:gd name="T23" fmla="*/ 17 h 201"/>
                <a:gd name="T24" fmla="*/ 80 w 231"/>
                <a:gd name="T25" fmla="*/ 31 h 201"/>
                <a:gd name="T26" fmla="*/ 61 w 231"/>
                <a:gd name="T27" fmla="*/ 36 h 201"/>
                <a:gd name="T28" fmla="*/ 47 w 231"/>
                <a:gd name="T29" fmla="*/ 31 h 201"/>
                <a:gd name="T30" fmla="*/ 47 w 231"/>
                <a:gd name="T31" fmla="*/ 50 h 201"/>
                <a:gd name="T32" fmla="*/ 21 w 231"/>
                <a:gd name="T33" fmla="*/ 47 h 201"/>
                <a:gd name="T34" fmla="*/ 2 w 231"/>
                <a:gd name="T35" fmla="*/ 57 h 201"/>
                <a:gd name="T36" fmla="*/ 2 w 231"/>
                <a:gd name="T37" fmla="*/ 59 h 201"/>
                <a:gd name="T38" fmla="*/ 5 w 231"/>
                <a:gd name="T39" fmla="*/ 66 h 201"/>
                <a:gd name="T40" fmla="*/ 24 w 231"/>
                <a:gd name="T41" fmla="*/ 69 h 201"/>
                <a:gd name="T42" fmla="*/ 35 w 231"/>
                <a:gd name="T43" fmla="*/ 74 h 201"/>
                <a:gd name="T44" fmla="*/ 45 w 231"/>
                <a:gd name="T45" fmla="*/ 78 h 201"/>
                <a:gd name="T46" fmla="*/ 40 w 231"/>
                <a:gd name="T47" fmla="*/ 88 h 201"/>
                <a:gd name="T48" fmla="*/ 57 w 231"/>
                <a:gd name="T49" fmla="*/ 109 h 201"/>
                <a:gd name="T50" fmla="*/ 61 w 231"/>
                <a:gd name="T51" fmla="*/ 123 h 201"/>
                <a:gd name="T52" fmla="*/ 54 w 231"/>
                <a:gd name="T53" fmla="*/ 123 h 201"/>
                <a:gd name="T54" fmla="*/ 45 w 231"/>
                <a:gd name="T55" fmla="*/ 159 h 201"/>
                <a:gd name="T56" fmla="*/ 47 w 231"/>
                <a:gd name="T57" fmla="*/ 166 h 201"/>
                <a:gd name="T58" fmla="*/ 50 w 231"/>
                <a:gd name="T59" fmla="*/ 166 h 201"/>
                <a:gd name="T60" fmla="*/ 64 w 231"/>
                <a:gd name="T61" fmla="*/ 173 h 201"/>
                <a:gd name="T62" fmla="*/ 75 w 231"/>
                <a:gd name="T63" fmla="*/ 175 h 201"/>
                <a:gd name="T64" fmla="*/ 90 w 231"/>
                <a:gd name="T65" fmla="*/ 173 h 201"/>
                <a:gd name="T66" fmla="*/ 99 w 231"/>
                <a:gd name="T67" fmla="*/ 178 h 201"/>
                <a:gd name="T68" fmla="*/ 111 w 231"/>
                <a:gd name="T69" fmla="*/ 180 h 201"/>
                <a:gd name="T70" fmla="*/ 123 w 231"/>
                <a:gd name="T71" fmla="*/ 180 h 201"/>
                <a:gd name="T72" fmla="*/ 137 w 231"/>
                <a:gd name="T73" fmla="*/ 156 h 201"/>
                <a:gd name="T74" fmla="*/ 151 w 231"/>
                <a:gd name="T75" fmla="*/ 161 h 201"/>
                <a:gd name="T76" fmla="*/ 156 w 231"/>
                <a:gd name="T77" fmla="*/ 161 h 201"/>
                <a:gd name="T78" fmla="*/ 182 w 231"/>
                <a:gd name="T79" fmla="*/ 163 h 201"/>
                <a:gd name="T80" fmla="*/ 196 w 231"/>
                <a:gd name="T81" fmla="*/ 152 h 201"/>
                <a:gd name="T82" fmla="*/ 200 w 231"/>
                <a:gd name="T83" fmla="*/ 147 h 201"/>
                <a:gd name="T84" fmla="*/ 189 w 231"/>
                <a:gd name="T85" fmla="*/ 140 h 201"/>
                <a:gd name="T86" fmla="*/ 189 w 231"/>
                <a:gd name="T87" fmla="*/ 130 h 201"/>
                <a:gd name="T88" fmla="*/ 186 w 231"/>
                <a:gd name="T89" fmla="*/ 123 h 201"/>
                <a:gd name="T90" fmla="*/ 189 w 231"/>
                <a:gd name="T91" fmla="*/ 111 h 201"/>
                <a:gd name="T92" fmla="*/ 189 w 231"/>
                <a:gd name="T93" fmla="*/ 102 h 201"/>
                <a:gd name="T94" fmla="*/ 179 w 231"/>
                <a:gd name="T95" fmla="*/ 97 h 201"/>
                <a:gd name="T96" fmla="*/ 174 w 231"/>
                <a:gd name="T97" fmla="*/ 100 h 201"/>
                <a:gd name="T98" fmla="*/ 182 w 231"/>
                <a:gd name="T99" fmla="*/ 90 h 201"/>
                <a:gd name="T100" fmla="*/ 191 w 231"/>
                <a:gd name="T101" fmla="*/ 78 h 201"/>
                <a:gd name="T102" fmla="*/ 193 w 231"/>
                <a:gd name="T103" fmla="*/ 76 h 201"/>
                <a:gd name="T104" fmla="*/ 200 w 231"/>
                <a:gd name="T105" fmla="*/ 66 h 201"/>
                <a:gd name="T106" fmla="*/ 210 w 231"/>
                <a:gd name="T107" fmla="*/ 45 h 201"/>
                <a:gd name="T108" fmla="*/ 231 w 231"/>
                <a:gd name="T109" fmla="*/ 168 h 201"/>
                <a:gd name="T110" fmla="*/ 224 w 231"/>
                <a:gd name="T111" fmla="*/ 173 h 201"/>
                <a:gd name="T112" fmla="*/ 217 w 231"/>
                <a:gd name="T113" fmla="*/ 182 h 201"/>
                <a:gd name="T114" fmla="*/ 217 w 231"/>
                <a:gd name="T115" fmla="*/ 189 h 201"/>
                <a:gd name="T116" fmla="*/ 219 w 231"/>
                <a:gd name="T117" fmla="*/ 196 h 201"/>
                <a:gd name="T118" fmla="*/ 229 w 231"/>
                <a:gd name="T119" fmla="*/ 18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1" h="201">
                  <a:moveTo>
                    <a:pt x="54" y="109"/>
                  </a:moveTo>
                  <a:lnTo>
                    <a:pt x="54" y="107"/>
                  </a:lnTo>
                  <a:lnTo>
                    <a:pt x="52" y="104"/>
                  </a:lnTo>
                  <a:lnTo>
                    <a:pt x="52" y="104"/>
                  </a:lnTo>
                  <a:lnTo>
                    <a:pt x="52" y="104"/>
                  </a:lnTo>
                  <a:lnTo>
                    <a:pt x="52" y="104"/>
                  </a:lnTo>
                  <a:lnTo>
                    <a:pt x="52" y="107"/>
                  </a:lnTo>
                  <a:lnTo>
                    <a:pt x="54" y="109"/>
                  </a:lnTo>
                  <a:close/>
                  <a:moveTo>
                    <a:pt x="210" y="43"/>
                  </a:moveTo>
                  <a:lnTo>
                    <a:pt x="207" y="43"/>
                  </a:lnTo>
                  <a:lnTo>
                    <a:pt x="205" y="43"/>
                  </a:lnTo>
                  <a:lnTo>
                    <a:pt x="200" y="40"/>
                  </a:lnTo>
                  <a:lnTo>
                    <a:pt x="200" y="40"/>
                  </a:lnTo>
                  <a:lnTo>
                    <a:pt x="198" y="40"/>
                  </a:lnTo>
                  <a:lnTo>
                    <a:pt x="198" y="40"/>
                  </a:lnTo>
                  <a:lnTo>
                    <a:pt x="196" y="40"/>
                  </a:lnTo>
                  <a:lnTo>
                    <a:pt x="196" y="40"/>
                  </a:lnTo>
                  <a:lnTo>
                    <a:pt x="193" y="40"/>
                  </a:lnTo>
                  <a:lnTo>
                    <a:pt x="193" y="40"/>
                  </a:lnTo>
                  <a:lnTo>
                    <a:pt x="191" y="40"/>
                  </a:lnTo>
                  <a:lnTo>
                    <a:pt x="191" y="40"/>
                  </a:lnTo>
                  <a:lnTo>
                    <a:pt x="191" y="38"/>
                  </a:lnTo>
                  <a:lnTo>
                    <a:pt x="191" y="38"/>
                  </a:lnTo>
                  <a:lnTo>
                    <a:pt x="189" y="38"/>
                  </a:lnTo>
                  <a:lnTo>
                    <a:pt x="189" y="38"/>
                  </a:lnTo>
                  <a:lnTo>
                    <a:pt x="189" y="40"/>
                  </a:lnTo>
                  <a:lnTo>
                    <a:pt x="189" y="40"/>
                  </a:lnTo>
                  <a:lnTo>
                    <a:pt x="186" y="40"/>
                  </a:lnTo>
                  <a:lnTo>
                    <a:pt x="184" y="38"/>
                  </a:lnTo>
                  <a:lnTo>
                    <a:pt x="184" y="36"/>
                  </a:lnTo>
                  <a:lnTo>
                    <a:pt x="184" y="36"/>
                  </a:lnTo>
                  <a:lnTo>
                    <a:pt x="184" y="36"/>
                  </a:lnTo>
                  <a:lnTo>
                    <a:pt x="184" y="33"/>
                  </a:lnTo>
                  <a:lnTo>
                    <a:pt x="182" y="33"/>
                  </a:lnTo>
                  <a:lnTo>
                    <a:pt x="182" y="33"/>
                  </a:lnTo>
                  <a:lnTo>
                    <a:pt x="179" y="33"/>
                  </a:lnTo>
                  <a:lnTo>
                    <a:pt x="179" y="33"/>
                  </a:lnTo>
                  <a:lnTo>
                    <a:pt x="179" y="33"/>
                  </a:lnTo>
                  <a:lnTo>
                    <a:pt x="177" y="33"/>
                  </a:lnTo>
                  <a:lnTo>
                    <a:pt x="177" y="33"/>
                  </a:lnTo>
                  <a:lnTo>
                    <a:pt x="174" y="33"/>
                  </a:lnTo>
                  <a:lnTo>
                    <a:pt x="174" y="33"/>
                  </a:lnTo>
                  <a:lnTo>
                    <a:pt x="174" y="33"/>
                  </a:lnTo>
                  <a:lnTo>
                    <a:pt x="174" y="33"/>
                  </a:lnTo>
                  <a:lnTo>
                    <a:pt x="172" y="33"/>
                  </a:lnTo>
                  <a:lnTo>
                    <a:pt x="172" y="31"/>
                  </a:lnTo>
                  <a:lnTo>
                    <a:pt x="170" y="31"/>
                  </a:lnTo>
                  <a:lnTo>
                    <a:pt x="170" y="31"/>
                  </a:lnTo>
                  <a:lnTo>
                    <a:pt x="167" y="33"/>
                  </a:lnTo>
                  <a:lnTo>
                    <a:pt x="167" y="33"/>
                  </a:lnTo>
                  <a:lnTo>
                    <a:pt x="165" y="31"/>
                  </a:lnTo>
                  <a:lnTo>
                    <a:pt x="165" y="31"/>
                  </a:lnTo>
                  <a:lnTo>
                    <a:pt x="165" y="29"/>
                  </a:lnTo>
                  <a:lnTo>
                    <a:pt x="163" y="29"/>
                  </a:lnTo>
                  <a:lnTo>
                    <a:pt x="163" y="29"/>
                  </a:lnTo>
                  <a:lnTo>
                    <a:pt x="160" y="29"/>
                  </a:lnTo>
                  <a:lnTo>
                    <a:pt x="160" y="26"/>
                  </a:lnTo>
                  <a:lnTo>
                    <a:pt x="160" y="26"/>
                  </a:lnTo>
                  <a:lnTo>
                    <a:pt x="158" y="26"/>
                  </a:lnTo>
                  <a:lnTo>
                    <a:pt x="158" y="26"/>
                  </a:lnTo>
                  <a:lnTo>
                    <a:pt x="158" y="26"/>
                  </a:lnTo>
                  <a:lnTo>
                    <a:pt x="158" y="24"/>
                  </a:lnTo>
                  <a:lnTo>
                    <a:pt x="156" y="24"/>
                  </a:lnTo>
                  <a:lnTo>
                    <a:pt x="158" y="19"/>
                  </a:lnTo>
                  <a:lnTo>
                    <a:pt x="156" y="19"/>
                  </a:lnTo>
                  <a:lnTo>
                    <a:pt x="156" y="19"/>
                  </a:lnTo>
                  <a:lnTo>
                    <a:pt x="156" y="21"/>
                  </a:lnTo>
                  <a:lnTo>
                    <a:pt x="153" y="21"/>
                  </a:lnTo>
                  <a:lnTo>
                    <a:pt x="153" y="21"/>
                  </a:lnTo>
                  <a:lnTo>
                    <a:pt x="153" y="24"/>
                  </a:lnTo>
                  <a:lnTo>
                    <a:pt x="149" y="24"/>
                  </a:lnTo>
                  <a:lnTo>
                    <a:pt x="146" y="24"/>
                  </a:lnTo>
                  <a:lnTo>
                    <a:pt x="146" y="24"/>
                  </a:lnTo>
                  <a:lnTo>
                    <a:pt x="146" y="21"/>
                  </a:lnTo>
                  <a:lnTo>
                    <a:pt x="146" y="21"/>
                  </a:lnTo>
                  <a:lnTo>
                    <a:pt x="146" y="21"/>
                  </a:lnTo>
                  <a:lnTo>
                    <a:pt x="146" y="21"/>
                  </a:lnTo>
                  <a:lnTo>
                    <a:pt x="146" y="21"/>
                  </a:lnTo>
                  <a:lnTo>
                    <a:pt x="146" y="19"/>
                  </a:lnTo>
                  <a:lnTo>
                    <a:pt x="146" y="19"/>
                  </a:lnTo>
                  <a:lnTo>
                    <a:pt x="146" y="19"/>
                  </a:lnTo>
                  <a:lnTo>
                    <a:pt x="146" y="17"/>
                  </a:lnTo>
                  <a:lnTo>
                    <a:pt x="146" y="17"/>
                  </a:lnTo>
                  <a:lnTo>
                    <a:pt x="144" y="17"/>
                  </a:lnTo>
                  <a:lnTo>
                    <a:pt x="144" y="14"/>
                  </a:lnTo>
                  <a:lnTo>
                    <a:pt x="141" y="14"/>
                  </a:lnTo>
                  <a:lnTo>
                    <a:pt x="139" y="14"/>
                  </a:lnTo>
                  <a:lnTo>
                    <a:pt x="139" y="14"/>
                  </a:lnTo>
                  <a:lnTo>
                    <a:pt x="139" y="17"/>
                  </a:lnTo>
                  <a:lnTo>
                    <a:pt x="139" y="17"/>
                  </a:lnTo>
                  <a:lnTo>
                    <a:pt x="139" y="17"/>
                  </a:lnTo>
                  <a:lnTo>
                    <a:pt x="137" y="12"/>
                  </a:lnTo>
                  <a:lnTo>
                    <a:pt x="137" y="12"/>
                  </a:lnTo>
                  <a:lnTo>
                    <a:pt x="134" y="12"/>
                  </a:lnTo>
                  <a:lnTo>
                    <a:pt x="132" y="12"/>
                  </a:lnTo>
                  <a:lnTo>
                    <a:pt x="132" y="12"/>
                  </a:lnTo>
                  <a:lnTo>
                    <a:pt x="132" y="10"/>
                  </a:lnTo>
                  <a:lnTo>
                    <a:pt x="132" y="10"/>
                  </a:lnTo>
                  <a:lnTo>
                    <a:pt x="130" y="7"/>
                  </a:lnTo>
                  <a:lnTo>
                    <a:pt x="130" y="7"/>
                  </a:lnTo>
                  <a:lnTo>
                    <a:pt x="130" y="7"/>
                  </a:lnTo>
                  <a:lnTo>
                    <a:pt x="127" y="7"/>
                  </a:lnTo>
                  <a:lnTo>
                    <a:pt x="127" y="7"/>
                  </a:lnTo>
                  <a:lnTo>
                    <a:pt x="125" y="7"/>
                  </a:lnTo>
                  <a:lnTo>
                    <a:pt x="125" y="7"/>
                  </a:lnTo>
                  <a:lnTo>
                    <a:pt x="125" y="7"/>
                  </a:lnTo>
                  <a:lnTo>
                    <a:pt x="123" y="5"/>
                  </a:lnTo>
                  <a:lnTo>
                    <a:pt x="123" y="5"/>
                  </a:lnTo>
                  <a:lnTo>
                    <a:pt x="120" y="3"/>
                  </a:lnTo>
                  <a:lnTo>
                    <a:pt x="123" y="3"/>
                  </a:lnTo>
                  <a:lnTo>
                    <a:pt x="120" y="3"/>
                  </a:lnTo>
                  <a:lnTo>
                    <a:pt x="120" y="0"/>
                  </a:lnTo>
                  <a:lnTo>
                    <a:pt x="120" y="0"/>
                  </a:lnTo>
                  <a:lnTo>
                    <a:pt x="120" y="0"/>
                  </a:lnTo>
                  <a:lnTo>
                    <a:pt x="111" y="3"/>
                  </a:lnTo>
                  <a:lnTo>
                    <a:pt x="108" y="3"/>
                  </a:lnTo>
                  <a:lnTo>
                    <a:pt x="106" y="5"/>
                  </a:lnTo>
                  <a:lnTo>
                    <a:pt x="106" y="5"/>
                  </a:lnTo>
                  <a:lnTo>
                    <a:pt x="106" y="7"/>
                  </a:lnTo>
                  <a:lnTo>
                    <a:pt x="104" y="17"/>
                  </a:lnTo>
                  <a:lnTo>
                    <a:pt x="104" y="17"/>
                  </a:lnTo>
                  <a:lnTo>
                    <a:pt x="104" y="17"/>
                  </a:lnTo>
                  <a:lnTo>
                    <a:pt x="104" y="19"/>
                  </a:lnTo>
                  <a:lnTo>
                    <a:pt x="101" y="21"/>
                  </a:lnTo>
                  <a:lnTo>
                    <a:pt x="99" y="21"/>
                  </a:lnTo>
                  <a:lnTo>
                    <a:pt x="94" y="24"/>
                  </a:lnTo>
                  <a:lnTo>
                    <a:pt x="90" y="26"/>
                  </a:lnTo>
                  <a:lnTo>
                    <a:pt x="83" y="29"/>
                  </a:lnTo>
                  <a:lnTo>
                    <a:pt x="80" y="31"/>
                  </a:lnTo>
                  <a:lnTo>
                    <a:pt x="80" y="31"/>
                  </a:lnTo>
                  <a:lnTo>
                    <a:pt x="80" y="33"/>
                  </a:lnTo>
                  <a:lnTo>
                    <a:pt x="83" y="33"/>
                  </a:lnTo>
                  <a:lnTo>
                    <a:pt x="85" y="33"/>
                  </a:lnTo>
                  <a:lnTo>
                    <a:pt x="85" y="33"/>
                  </a:lnTo>
                  <a:lnTo>
                    <a:pt x="80" y="36"/>
                  </a:lnTo>
                  <a:lnTo>
                    <a:pt x="78" y="36"/>
                  </a:lnTo>
                  <a:lnTo>
                    <a:pt x="75" y="36"/>
                  </a:lnTo>
                  <a:lnTo>
                    <a:pt x="68" y="36"/>
                  </a:lnTo>
                  <a:lnTo>
                    <a:pt x="66" y="36"/>
                  </a:lnTo>
                  <a:lnTo>
                    <a:pt x="61" y="36"/>
                  </a:lnTo>
                  <a:lnTo>
                    <a:pt x="59" y="36"/>
                  </a:lnTo>
                  <a:lnTo>
                    <a:pt x="59" y="33"/>
                  </a:lnTo>
                  <a:lnTo>
                    <a:pt x="59" y="33"/>
                  </a:lnTo>
                  <a:lnTo>
                    <a:pt x="59" y="31"/>
                  </a:lnTo>
                  <a:lnTo>
                    <a:pt x="59" y="29"/>
                  </a:lnTo>
                  <a:lnTo>
                    <a:pt x="57" y="29"/>
                  </a:lnTo>
                  <a:lnTo>
                    <a:pt x="52" y="29"/>
                  </a:lnTo>
                  <a:lnTo>
                    <a:pt x="52" y="29"/>
                  </a:lnTo>
                  <a:lnTo>
                    <a:pt x="47" y="29"/>
                  </a:lnTo>
                  <a:lnTo>
                    <a:pt x="47" y="31"/>
                  </a:lnTo>
                  <a:lnTo>
                    <a:pt x="47" y="31"/>
                  </a:lnTo>
                  <a:lnTo>
                    <a:pt x="50" y="33"/>
                  </a:lnTo>
                  <a:lnTo>
                    <a:pt x="50" y="36"/>
                  </a:lnTo>
                  <a:lnTo>
                    <a:pt x="52" y="38"/>
                  </a:lnTo>
                  <a:lnTo>
                    <a:pt x="52" y="47"/>
                  </a:lnTo>
                  <a:lnTo>
                    <a:pt x="54" y="50"/>
                  </a:lnTo>
                  <a:lnTo>
                    <a:pt x="54" y="50"/>
                  </a:lnTo>
                  <a:lnTo>
                    <a:pt x="54" y="50"/>
                  </a:lnTo>
                  <a:lnTo>
                    <a:pt x="47" y="50"/>
                  </a:lnTo>
                  <a:lnTo>
                    <a:pt x="47" y="50"/>
                  </a:lnTo>
                  <a:lnTo>
                    <a:pt x="47" y="50"/>
                  </a:lnTo>
                  <a:lnTo>
                    <a:pt x="45" y="50"/>
                  </a:lnTo>
                  <a:lnTo>
                    <a:pt x="45" y="52"/>
                  </a:lnTo>
                  <a:lnTo>
                    <a:pt x="42" y="50"/>
                  </a:lnTo>
                  <a:lnTo>
                    <a:pt x="38" y="50"/>
                  </a:lnTo>
                  <a:lnTo>
                    <a:pt x="33" y="52"/>
                  </a:lnTo>
                  <a:lnTo>
                    <a:pt x="31" y="52"/>
                  </a:lnTo>
                  <a:lnTo>
                    <a:pt x="28" y="47"/>
                  </a:lnTo>
                  <a:lnTo>
                    <a:pt x="26" y="45"/>
                  </a:lnTo>
                  <a:lnTo>
                    <a:pt x="21" y="47"/>
                  </a:lnTo>
                  <a:lnTo>
                    <a:pt x="19" y="47"/>
                  </a:lnTo>
                  <a:lnTo>
                    <a:pt x="17" y="50"/>
                  </a:lnTo>
                  <a:lnTo>
                    <a:pt x="14" y="50"/>
                  </a:lnTo>
                  <a:lnTo>
                    <a:pt x="12" y="50"/>
                  </a:lnTo>
                  <a:lnTo>
                    <a:pt x="2" y="50"/>
                  </a:lnTo>
                  <a:lnTo>
                    <a:pt x="0" y="52"/>
                  </a:lnTo>
                  <a:lnTo>
                    <a:pt x="0" y="55"/>
                  </a:lnTo>
                  <a:lnTo>
                    <a:pt x="0" y="55"/>
                  </a:lnTo>
                  <a:lnTo>
                    <a:pt x="0" y="57"/>
                  </a:lnTo>
                  <a:lnTo>
                    <a:pt x="2" y="57"/>
                  </a:lnTo>
                  <a:lnTo>
                    <a:pt x="2" y="57"/>
                  </a:lnTo>
                  <a:lnTo>
                    <a:pt x="5" y="57"/>
                  </a:lnTo>
                  <a:lnTo>
                    <a:pt x="5" y="57"/>
                  </a:lnTo>
                  <a:lnTo>
                    <a:pt x="7" y="57"/>
                  </a:lnTo>
                  <a:lnTo>
                    <a:pt x="7" y="57"/>
                  </a:lnTo>
                  <a:lnTo>
                    <a:pt x="5" y="57"/>
                  </a:lnTo>
                  <a:lnTo>
                    <a:pt x="2" y="57"/>
                  </a:lnTo>
                  <a:lnTo>
                    <a:pt x="2" y="57"/>
                  </a:lnTo>
                  <a:lnTo>
                    <a:pt x="2" y="57"/>
                  </a:lnTo>
                  <a:lnTo>
                    <a:pt x="2" y="59"/>
                  </a:lnTo>
                  <a:lnTo>
                    <a:pt x="2" y="59"/>
                  </a:lnTo>
                  <a:lnTo>
                    <a:pt x="5" y="59"/>
                  </a:lnTo>
                  <a:lnTo>
                    <a:pt x="5" y="59"/>
                  </a:lnTo>
                  <a:lnTo>
                    <a:pt x="5" y="62"/>
                  </a:lnTo>
                  <a:lnTo>
                    <a:pt x="2" y="62"/>
                  </a:lnTo>
                  <a:lnTo>
                    <a:pt x="0" y="62"/>
                  </a:lnTo>
                  <a:lnTo>
                    <a:pt x="0" y="62"/>
                  </a:lnTo>
                  <a:lnTo>
                    <a:pt x="5" y="64"/>
                  </a:lnTo>
                  <a:lnTo>
                    <a:pt x="5" y="66"/>
                  </a:lnTo>
                  <a:lnTo>
                    <a:pt x="5" y="66"/>
                  </a:lnTo>
                  <a:lnTo>
                    <a:pt x="7" y="66"/>
                  </a:lnTo>
                  <a:lnTo>
                    <a:pt x="10" y="66"/>
                  </a:lnTo>
                  <a:lnTo>
                    <a:pt x="12" y="66"/>
                  </a:lnTo>
                  <a:lnTo>
                    <a:pt x="19" y="69"/>
                  </a:lnTo>
                  <a:lnTo>
                    <a:pt x="19" y="69"/>
                  </a:lnTo>
                  <a:lnTo>
                    <a:pt x="21" y="69"/>
                  </a:lnTo>
                  <a:lnTo>
                    <a:pt x="21" y="69"/>
                  </a:lnTo>
                  <a:lnTo>
                    <a:pt x="24" y="71"/>
                  </a:lnTo>
                  <a:lnTo>
                    <a:pt x="24" y="69"/>
                  </a:lnTo>
                  <a:lnTo>
                    <a:pt x="24" y="69"/>
                  </a:lnTo>
                  <a:lnTo>
                    <a:pt x="26" y="71"/>
                  </a:lnTo>
                  <a:lnTo>
                    <a:pt x="28" y="71"/>
                  </a:lnTo>
                  <a:lnTo>
                    <a:pt x="28" y="71"/>
                  </a:lnTo>
                  <a:lnTo>
                    <a:pt x="31" y="71"/>
                  </a:lnTo>
                  <a:lnTo>
                    <a:pt x="31" y="71"/>
                  </a:lnTo>
                  <a:lnTo>
                    <a:pt x="31" y="74"/>
                  </a:lnTo>
                  <a:lnTo>
                    <a:pt x="31" y="74"/>
                  </a:lnTo>
                  <a:lnTo>
                    <a:pt x="33" y="74"/>
                  </a:lnTo>
                  <a:lnTo>
                    <a:pt x="33" y="74"/>
                  </a:lnTo>
                  <a:lnTo>
                    <a:pt x="35" y="74"/>
                  </a:lnTo>
                  <a:lnTo>
                    <a:pt x="35" y="74"/>
                  </a:lnTo>
                  <a:lnTo>
                    <a:pt x="35" y="76"/>
                  </a:lnTo>
                  <a:lnTo>
                    <a:pt x="33" y="76"/>
                  </a:lnTo>
                  <a:lnTo>
                    <a:pt x="35" y="78"/>
                  </a:lnTo>
                  <a:lnTo>
                    <a:pt x="35" y="78"/>
                  </a:lnTo>
                  <a:lnTo>
                    <a:pt x="38" y="78"/>
                  </a:lnTo>
                  <a:lnTo>
                    <a:pt x="42" y="78"/>
                  </a:lnTo>
                  <a:lnTo>
                    <a:pt x="47" y="81"/>
                  </a:lnTo>
                  <a:lnTo>
                    <a:pt x="45" y="81"/>
                  </a:lnTo>
                  <a:lnTo>
                    <a:pt x="45" y="78"/>
                  </a:lnTo>
                  <a:lnTo>
                    <a:pt x="42" y="78"/>
                  </a:lnTo>
                  <a:lnTo>
                    <a:pt x="40" y="78"/>
                  </a:lnTo>
                  <a:lnTo>
                    <a:pt x="40" y="81"/>
                  </a:lnTo>
                  <a:lnTo>
                    <a:pt x="40" y="81"/>
                  </a:lnTo>
                  <a:lnTo>
                    <a:pt x="40" y="81"/>
                  </a:lnTo>
                  <a:lnTo>
                    <a:pt x="40" y="83"/>
                  </a:lnTo>
                  <a:lnTo>
                    <a:pt x="42" y="83"/>
                  </a:lnTo>
                  <a:lnTo>
                    <a:pt x="40" y="85"/>
                  </a:lnTo>
                  <a:lnTo>
                    <a:pt x="40" y="88"/>
                  </a:lnTo>
                  <a:lnTo>
                    <a:pt x="40" y="88"/>
                  </a:lnTo>
                  <a:lnTo>
                    <a:pt x="42" y="90"/>
                  </a:lnTo>
                  <a:lnTo>
                    <a:pt x="45" y="95"/>
                  </a:lnTo>
                  <a:lnTo>
                    <a:pt x="52" y="97"/>
                  </a:lnTo>
                  <a:lnTo>
                    <a:pt x="52" y="97"/>
                  </a:lnTo>
                  <a:lnTo>
                    <a:pt x="54" y="97"/>
                  </a:lnTo>
                  <a:lnTo>
                    <a:pt x="57" y="100"/>
                  </a:lnTo>
                  <a:lnTo>
                    <a:pt x="57" y="100"/>
                  </a:lnTo>
                  <a:lnTo>
                    <a:pt x="57" y="100"/>
                  </a:lnTo>
                  <a:lnTo>
                    <a:pt x="57" y="107"/>
                  </a:lnTo>
                  <a:lnTo>
                    <a:pt x="57" y="109"/>
                  </a:lnTo>
                  <a:lnTo>
                    <a:pt x="57" y="109"/>
                  </a:lnTo>
                  <a:lnTo>
                    <a:pt x="57" y="109"/>
                  </a:lnTo>
                  <a:lnTo>
                    <a:pt x="54" y="109"/>
                  </a:lnTo>
                  <a:lnTo>
                    <a:pt x="54" y="109"/>
                  </a:lnTo>
                  <a:lnTo>
                    <a:pt x="54" y="111"/>
                  </a:lnTo>
                  <a:lnTo>
                    <a:pt x="54" y="111"/>
                  </a:lnTo>
                  <a:lnTo>
                    <a:pt x="59" y="114"/>
                  </a:lnTo>
                  <a:lnTo>
                    <a:pt x="61" y="116"/>
                  </a:lnTo>
                  <a:lnTo>
                    <a:pt x="61" y="118"/>
                  </a:lnTo>
                  <a:lnTo>
                    <a:pt x="61" y="123"/>
                  </a:lnTo>
                  <a:lnTo>
                    <a:pt x="64" y="123"/>
                  </a:lnTo>
                  <a:lnTo>
                    <a:pt x="64" y="126"/>
                  </a:lnTo>
                  <a:lnTo>
                    <a:pt x="61" y="123"/>
                  </a:lnTo>
                  <a:lnTo>
                    <a:pt x="61" y="123"/>
                  </a:lnTo>
                  <a:lnTo>
                    <a:pt x="61" y="118"/>
                  </a:lnTo>
                  <a:lnTo>
                    <a:pt x="59" y="118"/>
                  </a:lnTo>
                  <a:lnTo>
                    <a:pt x="59" y="116"/>
                  </a:lnTo>
                  <a:lnTo>
                    <a:pt x="57" y="114"/>
                  </a:lnTo>
                  <a:lnTo>
                    <a:pt x="54" y="118"/>
                  </a:lnTo>
                  <a:lnTo>
                    <a:pt x="54" y="123"/>
                  </a:lnTo>
                  <a:lnTo>
                    <a:pt x="52" y="135"/>
                  </a:lnTo>
                  <a:lnTo>
                    <a:pt x="52" y="133"/>
                  </a:lnTo>
                  <a:lnTo>
                    <a:pt x="52" y="133"/>
                  </a:lnTo>
                  <a:lnTo>
                    <a:pt x="54" y="133"/>
                  </a:lnTo>
                  <a:lnTo>
                    <a:pt x="54" y="133"/>
                  </a:lnTo>
                  <a:lnTo>
                    <a:pt x="52" y="135"/>
                  </a:lnTo>
                  <a:lnTo>
                    <a:pt x="52" y="135"/>
                  </a:lnTo>
                  <a:lnTo>
                    <a:pt x="50" y="147"/>
                  </a:lnTo>
                  <a:lnTo>
                    <a:pt x="47" y="156"/>
                  </a:lnTo>
                  <a:lnTo>
                    <a:pt x="45" y="159"/>
                  </a:lnTo>
                  <a:lnTo>
                    <a:pt x="40" y="159"/>
                  </a:lnTo>
                  <a:lnTo>
                    <a:pt x="40" y="161"/>
                  </a:lnTo>
                  <a:lnTo>
                    <a:pt x="42" y="161"/>
                  </a:lnTo>
                  <a:lnTo>
                    <a:pt x="42" y="161"/>
                  </a:lnTo>
                  <a:lnTo>
                    <a:pt x="45" y="161"/>
                  </a:lnTo>
                  <a:lnTo>
                    <a:pt x="45" y="161"/>
                  </a:lnTo>
                  <a:lnTo>
                    <a:pt x="47" y="163"/>
                  </a:lnTo>
                  <a:lnTo>
                    <a:pt x="47" y="163"/>
                  </a:lnTo>
                  <a:lnTo>
                    <a:pt x="47" y="163"/>
                  </a:lnTo>
                  <a:lnTo>
                    <a:pt x="47" y="166"/>
                  </a:lnTo>
                  <a:lnTo>
                    <a:pt x="47" y="166"/>
                  </a:lnTo>
                  <a:lnTo>
                    <a:pt x="45" y="166"/>
                  </a:lnTo>
                  <a:lnTo>
                    <a:pt x="47" y="166"/>
                  </a:lnTo>
                  <a:lnTo>
                    <a:pt x="47" y="168"/>
                  </a:lnTo>
                  <a:lnTo>
                    <a:pt x="47" y="168"/>
                  </a:lnTo>
                  <a:lnTo>
                    <a:pt x="47" y="168"/>
                  </a:lnTo>
                  <a:lnTo>
                    <a:pt x="47" y="166"/>
                  </a:lnTo>
                  <a:lnTo>
                    <a:pt x="50" y="166"/>
                  </a:lnTo>
                  <a:lnTo>
                    <a:pt x="50" y="166"/>
                  </a:lnTo>
                  <a:lnTo>
                    <a:pt x="50" y="166"/>
                  </a:lnTo>
                  <a:lnTo>
                    <a:pt x="50" y="166"/>
                  </a:lnTo>
                  <a:lnTo>
                    <a:pt x="52" y="168"/>
                  </a:lnTo>
                  <a:lnTo>
                    <a:pt x="54" y="168"/>
                  </a:lnTo>
                  <a:lnTo>
                    <a:pt x="57" y="168"/>
                  </a:lnTo>
                  <a:lnTo>
                    <a:pt x="59" y="168"/>
                  </a:lnTo>
                  <a:lnTo>
                    <a:pt x="59" y="170"/>
                  </a:lnTo>
                  <a:lnTo>
                    <a:pt x="61" y="173"/>
                  </a:lnTo>
                  <a:lnTo>
                    <a:pt x="61" y="173"/>
                  </a:lnTo>
                  <a:lnTo>
                    <a:pt x="61" y="173"/>
                  </a:lnTo>
                  <a:lnTo>
                    <a:pt x="64" y="173"/>
                  </a:lnTo>
                  <a:lnTo>
                    <a:pt x="66" y="170"/>
                  </a:lnTo>
                  <a:lnTo>
                    <a:pt x="66" y="170"/>
                  </a:lnTo>
                  <a:lnTo>
                    <a:pt x="66" y="173"/>
                  </a:lnTo>
                  <a:lnTo>
                    <a:pt x="66" y="173"/>
                  </a:lnTo>
                  <a:lnTo>
                    <a:pt x="68" y="173"/>
                  </a:lnTo>
                  <a:lnTo>
                    <a:pt x="68" y="173"/>
                  </a:lnTo>
                  <a:lnTo>
                    <a:pt x="71" y="175"/>
                  </a:lnTo>
                  <a:lnTo>
                    <a:pt x="73" y="173"/>
                  </a:lnTo>
                  <a:lnTo>
                    <a:pt x="75" y="175"/>
                  </a:lnTo>
                  <a:lnTo>
                    <a:pt x="75" y="175"/>
                  </a:lnTo>
                  <a:lnTo>
                    <a:pt x="78" y="173"/>
                  </a:lnTo>
                  <a:lnTo>
                    <a:pt x="80" y="175"/>
                  </a:lnTo>
                  <a:lnTo>
                    <a:pt x="80" y="175"/>
                  </a:lnTo>
                  <a:lnTo>
                    <a:pt x="80" y="173"/>
                  </a:lnTo>
                  <a:lnTo>
                    <a:pt x="83" y="173"/>
                  </a:lnTo>
                  <a:lnTo>
                    <a:pt x="83" y="170"/>
                  </a:lnTo>
                  <a:lnTo>
                    <a:pt x="83" y="170"/>
                  </a:lnTo>
                  <a:lnTo>
                    <a:pt x="83" y="170"/>
                  </a:lnTo>
                  <a:lnTo>
                    <a:pt x="87" y="173"/>
                  </a:lnTo>
                  <a:lnTo>
                    <a:pt x="90" y="173"/>
                  </a:lnTo>
                  <a:lnTo>
                    <a:pt x="92" y="173"/>
                  </a:lnTo>
                  <a:lnTo>
                    <a:pt x="92" y="173"/>
                  </a:lnTo>
                  <a:lnTo>
                    <a:pt x="94" y="175"/>
                  </a:lnTo>
                  <a:lnTo>
                    <a:pt x="94" y="175"/>
                  </a:lnTo>
                  <a:lnTo>
                    <a:pt x="94" y="175"/>
                  </a:lnTo>
                  <a:lnTo>
                    <a:pt x="97" y="175"/>
                  </a:lnTo>
                  <a:lnTo>
                    <a:pt x="97" y="175"/>
                  </a:lnTo>
                  <a:lnTo>
                    <a:pt x="99" y="175"/>
                  </a:lnTo>
                  <a:lnTo>
                    <a:pt x="99" y="178"/>
                  </a:lnTo>
                  <a:lnTo>
                    <a:pt x="99" y="178"/>
                  </a:lnTo>
                  <a:lnTo>
                    <a:pt x="99" y="178"/>
                  </a:lnTo>
                  <a:lnTo>
                    <a:pt x="99" y="178"/>
                  </a:lnTo>
                  <a:lnTo>
                    <a:pt x="101" y="180"/>
                  </a:lnTo>
                  <a:lnTo>
                    <a:pt x="104" y="180"/>
                  </a:lnTo>
                  <a:lnTo>
                    <a:pt x="104" y="180"/>
                  </a:lnTo>
                  <a:lnTo>
                    <a:pt x="104" y="180"/>
                  </a:lnTo>
                  <a:lnTo>
                    <a:pt x="104" y="180"/>
                  </a:lnTo>
                  <a:lnTo>
                    <a:pt x="106" y="180"/>
                  </a:lnTo>
                  <a:lnTo>
                    <a:pt x="108" y="180"/>
                  </a:lnTo>
                  <a:lnTo>
                    <a:pt x="111" y="180"/>
                  </a:lnTo>
                  <a:lnTo>
                    <a:pt x="113" y="182"/>
                  </a:lnTo>
                  <a:lnTo>
                    <a:pt x="116" y="182"/>
                  </a:lnTo>
                  <a:lnTo>
                    <a:pt x="116" y="180"/>
                  </a:lnTo>
                  <a:lnTo>
                    <a:pt x="116" y="180"/>
                  </a:lnTo>
                  <a:lnTo>
                    <a:pt x="116" y="180"/>
                  </a:lnTo>
                  <a:lnTo>
                    <a:pt x="118" y="180"/>
                  </a:lnTo>
                  <a:lnTo>
                    <a:pt x="118" y="180"/>
                  </a:lnTo>
                  <a:lnTo>
                    <a:pt x="120" y="180"/>
                  </a:lnTo>
                  <a:lnTo>
                    <a:pt x="120" y="178"/>
                  </a:lnTo>
                  <a:lnTo>
                    <a:pt x="123" y="180"/>
                  </a:lnTo>
                  <a:lnTo>
                    <a:pt x="123" y="180"/>
                  </a:lnTo>
                  <a:lnTo>
                    <a:pt x="125" y="180"/>
                  </a:lnTo>
                  <a:lnTo>
                    <a:pt x="125" y="180"/>
                  </a:lnTo>
                  <a:lnTo>
                    <a:pt x="123" y="175"/>
                  </a:lnTo>
                  <a:lnTo>
                    <a:pt x="123" y="170"/>
                  </a:lnTo>
                  <a:lnTo>
                    <a:pt x="123" y="170"/>
                  </a:lnTo>
                  <a:lnTo>
                    <a:pt x="125" y="166"/>
                  </a:lnTo>
                  <a:lnTo>
                    <a:pt x="125" y="163"/>
                  </a:lnTo>
                  <a:lnTo>
                    <a:pt x="134" y="159"/>
                  </a:lnTo>
                  <a:lnTo>
                    <a:pt x="137" y="156"/>
                  </a:lnTo>
                  <a:lnTo>
                    <a:pt x="137" y="156"/>
                  </a:lnTo>
                  <a:lnTo>
                    <a:pt x="139" y="156"/>
                  </a:lnTo>
                  <a:lnTo>
                    <a:pt x="139" y="156"/>
                  </a:lnTo>
                  <a:lnTo>
                    <a:pt x="141" y="156"/>
                  </a:lnTo>
                  <a:lnTo>
                    <a:pt x="141" y="159"/>
                  </a:lnTo>
                  <a:lnTo>
                    <a:pt x="141" y="159"/>
                  </a:lnTo>
                  <a:lnTo>
                    <a:pt x="144" y="159"/>
                  </a:lnTo>
                  <a:lnTo>
                    <a:pt x="146" y="159"/>
                  </a:lnTo>
                  <a:lnTo>
                    <a:pt x="149" y="161"/>
                  </a:lnTo>
                  <a:lnTo>
                    <a:pt x="151" y="161"/>
                  </a:lnTo>
                  <a:lnTo>
                    <a:pt x="151" y="161"/>
                  </a:lnTo>
                  <a:lnTo>
                    <a:pt x="151" y="159"/>
                  </a:lnTo>
                  <a:lnTo>
                    <a:pt x="153" y="159"/>
                  </a:lnTo>
                  <a:lnTo>
                    <a:pt x="153" y="159"/>
                  </a:lnTo>
                  <a:lnTo>
                    <a:pt x="153" y="159"/>
                  </a:lnTo>
                  <a:lnTo>
                    <a:pt x="153" y="159"/>
                  </a:lnTo>
                  <a:lnTo>
                    <a:pt x="156" y="159"/>
                  </a:lnTo>
                  <a:lnTo>
                    <a:pt x="156" y="159"/>
                  </a:lnTo>
                  <a:lnTo>
                    <a:pt x="156" y="159"/>
                  </a:lnTo>
                  <a:lnTo>
                    <a:pt x="156" y="161"/>
                  </a:lnTo>
                  <a:lnTo>
                    <a:pt x="158" y="161"/>
                  </a:lnTo>
                  <a:lnTo>
                    <a:pt x="158" y="161"/>
                  </a:lnTo>
                  <a:lnTo>
                    <a:pt x="160" y="161"/>
                  </a:lnTo>
                  <a:lnTo>
                    <a:pt x="163" y="163"/>
                  </a:lnTo>
                  <a:lnTo>
                    <a:pt x="167" y="163"/>
                  </a:lnTo>
                  <a:lnTo>
                    <a:pt x="170" y="166"/>
                  </a:lnTo>
                  <a:lnTo>
                    <a:pt x="172" y="166"/>
                  </a:lnTo>
                  <a:lnTo>
                    <a:pt x="174" y="166"/>
                  </a:lnTo>
                  <a:lnTo>
                    <a:pt x="177" y="166"/>
                  </a:lnTo>
                  <a:lnTo>
                    <a:pt x="182" y="163"/>
                  </a:lnTo>
                  <a:lnTo>
                    <a:pt x="182" y="163"/>
                  </a:lnTo>
                  <a:lnTo>
                    <a:pt x="184" y="163"/>
                  </a:lnTo>
                  <a:lnTo>
                    <a:pt x="184" y="161"/>
                  </a:lnTo>
                  <a:lnTo>
                    <a:pt x="184" y="161"/>
                  </a:lnTo>
                  <a:lnTo>
                    <a:pt x="186" y="159"/>
                  </a:lnTo>
                  <a:lnTo>
                    <a:pt x="193" y="154"/>
                  </a:lnTo>
                  <a:lnTo>
                    <a:pt x="193" y="154"/>
                  </a:lnTo>
                  <a:lnTo>
                    <a:pt x="196" y="154"/>
                  </a:lnTo>
                  <a:lnTo>
                    <a:pt x="196" y="152"/>
                  </a:lnTo>
                  <a:lnTo>
                    <a:pt x="196" y="152"/>
                  </a:lnTo>
                  <a:lnTo>
                    <a:pt x="196" y="152"/>
                  </a:lnTo>
                  <a:lnTo>
                    <a:pt x="196" y="152"/>
                  </a:lnTo>
                  <a:lnTo>
                    <a:pt x="196" y="152"/>
                  </a:lnTo>
                  <a:lnTo>
                    <a:pt x="198" y="152"/>
                  </a:lnTo>
                  <a:lnTo>
                    <a:pt x="198" y="152"/>
                  </a:lnTo>
                  <a:lnTo>
                    <a:pt x="198" y="149"/>
                  </a:lnTo>
                  <a:lnTo>
                    <a:pt x="198" y="149"/>
                  </a:lnTo>
                  <a:lnTo>
                    <a:pt x="198" y="149"/>
                  </a:lnTo>
                  <a:lnTo>
                    <a:pt x="200" y="147"/>
                  </a:lnTo>
                  <a:lnTo>
                    <a:pt x="200" y="147"/>
                  </a:lnTo>
                  <a:lnTo>
                    <a:pt x="200" y="144"/>
                  </a:lnTo>
                  <a:lnTo>
                    <a:pt x="200" y="144"/>
                  </a:lnTo>
                  <a:lnTo>
                    <a:pt x="200" y="144"/>
                  </a:lnTo>
                  <a:lnTo>
                    <a:pt x="196" y="144"/>
                  </a:lnTo>
                  <a:lnTo>
                    <a:pt x="196" y="144"/>
                  </a:lnTo>
                  <a:lnTo>
                    <a:pt x="191" y="144"/>
                  </a:lnTo>
                  <a:lnTo>
                    <a:pt x="189" y="142"/>
                  </a:lnTo>
                  <a:lnTo>
                    <a:pt x="189" y="140"/>
                  </a:lnTo>
                  <a:lnTo>
                    <a:pt x="186" y="140"/>
                  </a:lnTo>
                  <a:lnTo>
                    <a:pt x="189" y="140"/>
                  </a:lnTo>
                  <a:lnTo>
                    <a:pt x="186" y="137"/>
                  </a:lnTo>
                  <a:lnTo>
                    <a:pt x="186" y="137"/>
                  </a:lnTo>
                  <a:lnTo>
                    <a:pt x="186" y="135"/>
                  </a:lnTo>
                  <a:lnTo>
                    <a:pt x="189" y="135"/>
                  </a:lnTo>
                  <a:lnTo>
                    <a:pt x="189" y="133"/>
                  </a:lnTo>
                  <a:lnTo>
                    <a:pt x="189" y="133"/>
                  </a:lnTo>
                  <a:lnTo>
                    <a:pt x="191" y="133"/>
                  </a:lnTo>
                  <a:lnTo>
                    <a:pt x="189" y="130"/>
                  </a:lnTo>
                  <a:lnTo>
                    <a:pt x="189" y="130"/>
                  </a:lnTo>
                  <a:lnTo>
                    <a:pt x="189" y="130"/>
                  </a:lnTo>
                  <a:lnTo>
                    <a:pt x="189" y="130"/>
                  </a:lnTo>
                  <a:lnTo>
                    <a:pt x="186" y="130"/>
                  </a:lnTo>
                  <a:lnTo>
                    <a:pt x="186" y="128"/>
                  </a:lnTo>
                  <a:lnTo>
                    <a:pt x="184" y="128"/>
                  </a:lnTo>
                  <a:lnTo>
                    <a:pt x="184" y="126"/>
                  </a:lnTo>
                  <a:lnTo>
                    <a:pt x="184" y="123"/>
                  </a:lnTo>
                  <a:lnTo>
                    <a:pt x="184" y="123"/>
                  </a:lnTo>
                  <a:lnTo>
                    <a:pt x="184" y="123"/>
                  </a:lnTo>
                  <a:lnTo>
                    <a:pt x="186" y="123"/>
                  </a:lnTo>
                  <a:lnTo>
                    <a:pt x="186" y="123"/>
                  </a:lnTo>
                  <a:lnTo>
                    <a:pt x="189" y="121"/>
                  </a:lnTo>
                  <a:lnTo>
                    <a:pt x="191" y="121"/>
                  </a:lnTo>
                  <a:lnTo>
                    <a:pt x="191" y="121"/>
                  </a:lnTo>
                  <a:lnTo>
                    <a:pt x="191" y="118"/>
                  </a:lnTo>
                  <a:lnTo>
                    <a:pt x="193" y="118"/>
                  </a:lnTo>
                  <a:lnTo>
                    <a:pt x="193" y="116"/>
                  </a:lnTo>
                  <a:lnTo>
                    <a:pt x="191" y="116"/>
                  </a:lnTo>
                  <a:lnTo>
                    <a:pt x="191" y="116"/>
                  </a:lnTo>
                  <a:lnTo>
                    <a:pt x="189" y="114"/>
                  </a:lnTo>
                  <a:lnTo>
                    <a:pt x="189" y="111"/>
                  </a:lnTo>
                  <a:lnTo>
                    <a:pt x="186" y="111"/>
                  </a:lnTo>
                  <a:lnTo>
                    <a:pt x="186" y="109"/>
                  </a:lnTo>
                  <a:lnTo>
                    <a:pt x="186" y="109"/>
                  </a:lnTo>
                  <a:lnTo>
                    <a:pt x="186" y="109"/>
                  </a:lnTo>
                  <a:lnTo>
                    <a:pt x="189" y="107"/>
                  </a:lnTo>
                  <a:lnTo>
                    <a:pt x="191" y="107"/>
                  </a:lnTo>
                  <a:lnTo>
                    <a:pt x="191" y="107"/>
                  </a:lnTo>
                  <a:lnTo>
                    <a:pt x="189" y="104"/>
                  </a:lnTo>
                  <a:lnTo>
                    <a:pt x="189" y="104"/>
                  </a:lnTo>
                  <a:lnTo>
                    <a:pt x="189" y="102"/>
                  </a:lnTo>
                  <a:lnTo>
                    <a:pt x="186" y="102"/>
                  </a:lnTo>
                  <a:lnTo>
                    <a:pt x="186" y="102"/>
                  </a:lnTo>
                  <a:lnTo>
                    <a:pt x="186" y="100"/>
                  </a:lnTo>
                  <a:lnTo>
                    <a:pt x="186" y="97"/>
                  </a:lnTo>
                  <a:lnTo>
                    <a:pt x="186" y="97"/>
                  </a:lnTo>
                  <a:lnTo>
                    <a:pt x="186" y="97"/>
                  </a:lnTo>
                  <a:lnTo>
                    <a:pt x="186" y="97"/>
                  </a:lnTo>
                  <a:lnTo>
                    <a:pt x="184" y="95"/>
                  </a:lnTo>
                  <a:lnTo>
                    <a:pt x="182" y="95"/>
                  </a:lnTo>
                  <a:lnTo>
                    <a:pt x="179" y="97"/>
                  </a:lnTo>
                  <a:lnTo>
                    <a:pt x="177" y="97"/>
                  </a:lnTo>
                  <a:lnTo>
                    <a:pt x="177" y="97"/>
                  </a:lnTo>
                  <a:lnTo>
                    <a:pt x="177" y="100"/>
                  </a:lnTo>
                  <a:lnTo>
                    <a:pt x="179" y="100"/>
                  </a:lnTo>
                  <a:lnTo>
                    <a:pt x="177" y="102"/>
                  </a:lnTo>
                  <a:lnTo>
                    <a:pt x="174" y="102"/>
                  </a:lnTo>
                  <a:lnTo>
                    <a:pt x="174" y="102"/>
                  </a:lnTo>
                  <a:lnTo>
                    <a:pt x="172" y="102"/>
                  </a:lnTo>
                  <a:lnTo>
                    <a:pt x="172" y="100"/>
                  </a:lnTo>
                  <a:lnTo>
                    <a:pt x="174" y="100"/>
                  </a:lnTo>
                  <a:lnTo>
                    <a:pt x="174" y="100"/>
                  </a:lnTo>
                  <a:lnTo>
                    <a:pt x="174" y="97"/>
                  </a:lnTo>
                  <a:lnTo>
                    <a:pt x="177" y="97"/>
                  </a:lnTo>
                  <a:lnTo>
                    <a:pt x="174" y="95"/>
                  </a:lnTo>
                  <a:lnTo>
                    <a:pt x="174" y="95"/>
                  </a:lnTo>
                  <a:lnTo>
                    <a:pt x="174" y="95"/>
                  </a:lnTo>
                  <a:lnTo>
                    <a:pt x="177" y="92"/>
                  </a:lnTo>
                  <a:lnTo>
                    <a:pt x="177" y="92"/>
                  </a:lnTo>
                  <a:lnTo>
                    <a:pt x="179" y="90"/>
                  </a:lnTo>
                  <a:lnTo>
                    <a:pt x="182" y="90"/>
                  </a:lnTo>
                  <a:lnTo>
                    <a:pt x="182" y="88"/>
                  </a:lnTo>
                  <a:lnTo>
                    <a:pt x="182" y="85"/>
                  </a:lnTo>
                  <a:lnTo>
                    <a:pt x="182" y="85"/>
                  </a:lnTo>
                  <a:lnTo>
                    <a:pt x="184" y="83"/>
                  </a:lnTo>
                  <a:lnTo>
                    <a:pt x="184" y="83"/>
                  </a:lnTo>
                  <a:lnTo>
                    <a:pt x="186" y="83"/>
                  </a:lnTo>
                  <a:lnTo>
                    <a:pt x="189" y="81"/>
                  </a:lnTo>
                  <a:lnTo>
                    <a:pt x="189" y="78"/>
                  </a:lnTo>
                  <a:lnTo>
                    <a:pt x="191" y="78"/>
                  </a:lnTo>
                  <a:lnTo>
                    <a:pt x="191" y="78"/>
                  </a:lnTo>
                  <a:lnTo>
                    <a:pt x="191" y="78"/>
                  </a:lnTo>
                  <a:lnTo>
                    <a:pt x="191" y="76"/>
                  </a:lnTo>
                  <a:lnTo>
                    <a:pt x="189" y="76"/>
                  </a:lnTo>
                  <a:lnTo>
                    <a:pt x="189" y="76"/>
                  </a:lnTo>
                  <a:lnTo>
                    <a:pt x="191" y="76"/>
                  </a:lnTo>
                  <a:lnTo>
                    <a:pt x="191" y="74"/>
                  </a:lnTo>
                  <a:lnTo>
                    <a:pt x="193" y="74"/>
                  </a:lnTo>
                  <a:lnTo>
                    <a:pt x="193" y="74"/>
                  </a:lnTo>
                  <a:lnTo>
                    <a:pt x="193" y="76"/>
                  </a:lnTo>
                  <a:lnTo>
                    <a:pt x="193" y="76"/>
                  </a:lnTo>
                  <a:lnTo>
                    <a:pt x="196" y="76"/>
                  </a:lnTo>
                  <a:lnTo>
                    <a:pt x="196" y="76"/>
                  </a:lnTo>
                  <a:lnTo>
                    <a:pt x="198" y="76"/>
                  </a:lnTo>
                  <a:lnTo>
                    <a:pt x="198" y="74"/>
                  </a:lnTo>
                  <a:lnTo>
                    <a:pt x="198" y="74"/>
                  </a:lnTo>
                  <a:lnTo>
                    <a:pt x="200" y="71"/>
                  </a:lnTo>
                  <a:lnTo>
                    <a:pt x="200" y="71"/>
                  </a:lnTo>
                  <a:lnTo>
                    <a:pt x="200" y="71"/>
                  </a:lnTo>
                  <a:lnTo>
                    <a:pt x="200" y="69"/>
                  </a:lnTo>
                  <a:lnTo>
                    <a:pt x="200" y="66"/>
                  </a:lnTo>
                  <a:lnTo>
                    <a:pt x="200" y="64"/>
                  </a:lnTo>
                  <a:lnTo>
                    <a:pt x="200" y="62"/>
                  </a:lnTo>
                  <a:lnTo>
                    <a:pt x="200" y="59"/>
                  </a:lnTo>
                  <a:lnTo>
                    <a:pt x="203" y="57"/>
                  </a:lnTo>
                  <a:lnTo>
                    <a:pt x="203" y="55"/>
                  </a:lnTo>
                  <a:lnTo>
                    <a:pt x="205" y="52"/>
                  </a:lnTo>
                  <a:lnTo>
                    <a:pt x="205" y="50"/>
                  </a:lnTo>
                  <a:lnTo>
                    <a:pt x="205" y="50"/>
                  </a:lnTo>
                  <a:lnTo>
                    <a:pt x="210" y="45"/>
                  </a:lnTo>
                  <a:lnTo>
                    <a:pt x="210" y="45"/>
                  </a:lnTo>
                  <a:lnTo>
                    <a:pt x="210" y="43"/>
                  </a:lnTo>
                  <a:lnTo>
                    <a:pt x="210" y="43"/>
                  </a:lnTo>
                  <a:close/>
                  <a:moveTo>
                    <a:pt x="231" y="178"/>
                  </a:moveTo>
                  <a:lnTo>
                    <a:pt x="231" y="175"/>
                  </a:lnTo>
                  <a:lnTo>
                    <a:pt x="231" y="175"/>
                  </a:lnTo>
                  <a:lnTo>
                    <a:pt x="231" y="175"/>
                  </a:lnTo>
                  <a:lnTo>
                    <a:pt x="231" y="173"/>
                  </a:lnTo>
                  <a:lnTo>
                    <a:pt x="231" y="170"/>
                  </a:lnTo>
                  <a:lnTo>
                    <a:pt x="231" y="168"/>
                  </a:lnTo>
                  <a:lnTo>
                    <a:pt x="231" y="168"/>
                  </a:lnTo>
                  <a:lnTo>
                    <a:pt x="229" y="168"/>
                  </a:lnTo>
                  <a:lnTo>
                    <a:pt x="229" y="168"/>
                  </a:lnTo>
                  <a:lnTo>
                    <a:pt x="229" y="168"/>
                  </a:lnTo>
                  <a:lnTo>
                    <a:pt x="229" y="170"/>
                  </a:lnTo>
                  <a:lnTo>
                    <a:pt x="229" y="173"/>
                  </a:lnTo>
                  <a:lnTo>
                    <a:pt x="229" y="173"/>
                  </a:lnTo>
                  <a:lnTo>
                    <a:pt x="226" y="175"/>
                  </a:lnTo>
                  <a:lnTo>
                    <a:pt x="226" y="173"/>
                  </a:lnTo>
                  <a:lnTo>
                    <a:pt x="226" y="173"/>
                  </a:lnTo>
                  <a:lnTo>
                    <a:pt x="224" y="173"/>
                  </a:lnTo>
                  <a:lnTo>
                    <a:pt x="224" y="173"/>
                  </a:lnTo>
                  <a:lnTo>
                    <a:pt x="224" y="175"/>
                  </a:lnTo>
                  <a:lnTo>
                    <a:pt x="222" y="175"/>
                  </a:lnTo>
                  <a:lnTo>
                    <a:pt x="219" y="175"/>
                  </a:lnTo>
                  <a:lnTo>
                    <a:pt x="217" y="178"/>
                  </a:lnTo>
                  <a:lnTo>
                    <a:pt x="217" y="180"/>
                  </a:lnTo>
                  <a:lnTo>
                    <a:pt x="215" y="180"/>
                  </a:lnTo>
                  <a:lnTo>
                    <a:pt x="215" y="180"/>
                  </a:lnTo>
                  <a:lnTo>
                    <a:pt x="215" y="182"/>
                  </a:lnTo>
                  <a:lnTo>
                    <a:pt x="217" y="182"/>
                  </a:lnTo>
                  <a:lnTo>
                    <a:pt x="217" y="182"/>
                  </a:lnTo>
                  <a:lnTo>
                    <a:pt x="217" y="182"/>
                  </a:lnTo>
                  <a:lnTo>
                    <a:pt x="215" y="185"/>
                  </a:lnTo>
                  <a:lnTo>
                    <a:pt x="215" y="185"/>
                  </a:lnTo>
                  <a:lnTo>
                    <a:pt x="217" y="187"/>
                  </a:lnTo>
                  <a:lnTo>
                    <a:pt x="217" y="187"/>
                  </a:lnTo>
                  <a:lnTo>
                    <a:pt x="217" y="187"/>
                  </a:lnTo>
                  <a:lnTo>
                    <a:pt x="217" y="189"/>
                  </a:lnTo>
                  <a:lnTo>
                    <a:pt x="217" y="189"/>
                  </a:lnTo>
                  <a:lnTo>
                    <a:pt x="217" y="189"/>
                  </a:lnTo>
                  <a:lnTo>
                    <a:pt x="217" y="189"/>
                  </a:lnTo>
                  <a:lnTo>
                    <a:pt x="217" y="189"/>
                  </a:lnTo>
                  <a:lnTo>
                    <a:pt x="219" y="192"/>
                  </a:lnTo>
                  <a:lnTo>
                    <a:pt x="217" y="192"/>
                  </a:lnTo>
                  <a:lnTo>
                    <a:pt x="217" y="194"/>
                  </a:lnTo>
                  <a:lnTo>
                    <a:pt x="219" y="194"/>
                  </a:lnTo>
                  <a:lnTo>
                    <a:pt x="219" y="194"/>
                  </a:lnTo>
                  <a:lnTo>
                    <a:pt x="219" y="194"/>
                  </a:lnTo>
                  <a:lnTo>
                    <a:pt x="219" y="196"/>
                  </a:lnTo>
                  <a:lnTo>
                    <a:pt x="219" y="196"/>
                  </a:lnTo>
                  <a:lnTo>
                    <a:pt x="219" y="196"/>
                  </a:lnTo>
                  <a:lnTo>
                    <a:pt x="222" y="199"/>
                  </a:lnTo>
                  <a:lnTo>
                    <a:pt x="222" y="199"/>
                  </a:lnTo>
                  <a:lnTo>
                    <a:pt x="226" y="201"/>
                  </a:lnTo>
                  <a:lnTo>
                    <a:pt x="226" y="199"/>
                  </a:lnTo>
                  <a:lnTo>
                    <a:pt x="229" y="196"/>
                  </a:lnTo>
                  <a:lnTo>
                    <a:pt x="229" y="194"/>
                  </a:lnTo>
                  <a:lnTo>
                    <a:pt x="229" y="194"/>
                  </a:lnTo>
                  <a:lnTo>
                    <a:pt x="229" y="189"/>
                  </a:lnTo>
                  <a:lnTo>
                    <a:pt x="229" y="189"/>
                  </a:lnTo>
                  <a:lnTo>
                    <a:pt x="231" y="185"/>
                  </a:lnTo>
                  <a:lnTo>
                    <a:pt x="231" y="185"/>
                  </a:lnTo>
                  <a:lnTo>
                    <a:pt x="231" y="17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8" name="Freeform 344"/>
            <p:cNvSpPr>
              <a:spLocks noEditPoints="1"/>
            </p:cNvSpPr>
            <p:nvPr userDrawn="1"/>
          </p:nvSpPr>
          <p:spPr bwMode="auto">
            <a:xfrm>
              <a:off x="3988" y="1370"/>
              <a:ext cx="165" cy="192"/>
            </a:xfrm>
            <a:custGeom>
              <a:avLst/>
              <a:gdLst>
                <a:gd name="T0" fmla="*/ 35 w 165"/>
                <a:gd name="T1" fmla="*/ 182 h 192"/>
                <a:gd name="T2" fmla="*/ 37 w 165"/>
                <a:gd name="T3" fmla="*/ 182 h 192"/>
                <a:gd name="T4" fmla="*/ 30 w 165"/>
                <a:gd name="T5" fmla="*/ 180 h 192"/>
                <a:gd name="T6" fmla="*/ 162 w 165"/>
                <a:gd name="T7" fmla="*/ 128 h 192"/>
                <a:gd name="T8" fmla="*/ 141 w 165"/>
                <a:gd name="T9" fmla="*/ 116 h 192"/>
                <a:gd name="T10" fmla="*/ 146 w 165"/>
                <a:gd name="T11" fmla="*/ 106 h 192"/>
                <a:gd name="T12" fmla="*/ 139 w 165"/>
                <a:gd name="T13" fmla="*/ 97 h 192"/>
                <a:gd name="T14" fmla="*/ 134 w 165"/>
                <a:gd name="T15" fmla="*/ 90 h 192"/>
                <a:gd name="T16" fmla="*/ 132 w 165"/>
                <a:gd name="T17" fmla="*/ 85 h 192"/>
                <a:gd name="T18" fmla="*/ 136 w 165"/>
                <a:gd name="T19" fmla="*/ 78 h 192"/>
                <a:gd name="T20" fmla="*/ 127 w 165"/>
                <a:gd name="T21" fmla="*/ 66 h 192"/>
                <a:gd name="T22" fmla="*/ 122 w 165"/>
                <a:gd name="T23" fmla="*/ 54 h 192"/>
                <a:gd name="T24" fmla="*/ 122 w 165"/>
                <a:gd name="T25" fmla="*/ 38 h 192"/>
                <a:gd name="T26" fmla="*/ 110 w 165"/>
                <a:gd name="T27" fmla="*/ 24 h 192"/>
                <a:gd name="T28" fmla="*/ 110 w 165"/>
                <a:gd name="T29" fmla="*/ 19 h 192"/>
                <a:gd name="T30" fmla="*/ 115 w 165"/>
                <a:gd name="T31" fmla="*/ 12 h 192"/>
                <a:gd name="T32" fmla="*/ 92 w 165"/>
                <a:gd name="T33" fmla="*/ 0 h 192"/>
                <a:gd name="T34" fmla="*/ 77 w 165"/>
                <a:gd name="T35" fmla="*/ 2 h 192"/>
                <a:gd name="T36" fmla="*/ 68 w 165"/>
                <a:gd name="T37" fmla="*/ 14 h 192"/>
                <a:gd name="T38" fmla="*/ 61 w 165"/>
                <a:gd name="T39" fmla="*/ 24 h 192"/>
                <a:gd name="T40" fmla="*/ 44 w 165"/>
                <a:gd name="T41" fmla="*/ 24 h 192"/>
                <a:gd name="T42" fmla="*/ 30 w 165"/>
                <a:gd name="T43" fmla="*/ 24 h 192"/>
                <a:gd name="T44" fmla="*/ 11 w 165"/>
                <a:gd name="T45" fmla="*/ 14 h 192"/>
                <a:gd name="T46" fmla="*/ 7 w 165"/>
                <a:gd name="T47" fmla="*/ 19 h 192"/>
                <a:gd name="T48" fmla="*/ 4 w 165"/>
                <a:gd name="T49" fmla="*/ 21 h 192"/>
                <a:gd name="T50" fmla="*/ 18 w 165"/>
                <a:gd name="T51" fmla="*/ 28 h 192"/>
                <a:gd name="T52" fmla="*/ 37 w 165"/>
                <a:gd name="T53" fmla="*/ 36 h 192"/>
                <a:gd name="T54" fmla="*/ 42 w 165"/>
                <a:gd name="T55" fmla="*/ 45 h 192"/>
                <a:gd name="T56" fmla="*/ 44 w 165"/>
                <a:gd name="T57" fmla="*/ 47 h 192"/>
                <a:gd name="T58" fmla="*/ 44 w 165"/>
                <a:gd name="T59" fmla="*/ 54 h 192"/>
                <a:gd name="T60" fmla="*/ 49 w 165"/>
                <a:gd name="T61" fmla="*/ 62 h 192"/>
                <a:gd name="T62" fmla="*/ 47 w 165"/>
                <a:gd name="T63" fmla="*/ 69 h 192"/>
                <a:gd name="T64" fmla="*/ 59 w 165"/>
                <a:gd name="T65" fmla="*/ 78 h 192"/>
                <a:gd name="T66" fmla="*/ 70 w 165"/>
                <a:gd name="T67" fmla="*/ 83 h 192"/>
                <a:gd name="T68" fmla="*/ 70 w 165"/>
                <a:gd name="T69" fmla="*/ 92 h 192"/>
                <a:gd name="T70" fmla="*/ 63 w 165"/>
                <a:gd name="T71" fmla="*/ 97 h 192"/>
                <a:gd name="T72" fmla="*/ 49 w 165"/>
                <a:gd name="T73" fmla="*/ 109 h 192"/>
                <a:gd name="T74" fmla="*/ 35 w 165"/>
                <a:gd name="T75" fmla="*/ 118 h 192"/>
                <a:gd name="T76" fmla="*/ 33 w 165"/>
                <a:gd name="T77" fmla="*/ 123 h 192"/>
                <a:gd name="T78" fmla="*/ 23 w 165"/>
                <a:gd name="T79" fmla="*/ 130 h 192"/>
                <a:gd name="T80" fmla="*/ 16 w 165"/>
                <a:gd name="T81" fmla="*/ 142 h 192"/>
                <a:gd name="T82" fmla="*/ 23 w 165"/>
                <a:gd name="T83" fmla="*/ 154 h 192"/>
                <a:gd name="T84" fmla="*/ 23 w 165"/>
                <a:gd name="T85" fmla="*/ 158 h 192"/>
                <a:gd name="T86" fmla="*/ 21 w 165"/>
                <a:gd name="T87" fmla="*/ 166 h 192"/>
                <a:gd name="T88" fmla="*/ 26 w 165"/>
                <a:gd name="T89" fmla="*/ 177 h 192"/>
                <a:gd name="T90" fmla="*/ 40 w 165"/>
                <a:gd name="T91" fmla="*/ 180 h 192"/>
                <a:gd name="T92" fmla="*/ 40 w 165"/>
                <a:gd name="T93" fmla="*/ 182 h 192"/>
                <a:gd name="T94" fmla="*/ 44 w 165"/>
                <a:gd name="T95" fmla="*/ 187 h 192"/>
                <a:gd name="T96" fmla="*/ 49 w 165"/>
                <a:gd name="T97" fmla="*/ 187 h 192"/>
                <a:gd name="T98" fmla="*/ 51 w 165"/>
                <a:gd name="T99" fmla="*/ 189 h 192"/>
                <a:gd name="T100" fmla="*/ 70 w 165"/>
                <a:gd name="T101" fmla="*/ 185 h 192"/>
                <a:gd name="T102" fmla="*/ 87 w 165"/>
                <a:gd name="T103" fmla="*/ 182 h 192"/>
                <a:gd name="T104" fmla="*/ 92 w 165"/>
                <a:gd name="T105" fmla="*/ 177 h 192"/>
                <a:gd name="T106" fmla="*/ 99 w 165"/>
                <a:gd name="T107" fmla="*/ 177 h 192"/>
                <a:gd name="T108" fmla="*/ 110 w 165"/>
                <a:gd name="T109" fmla="*/ 177 h 192"/>
                <a:gd name="T110" fmla="*/ 127 w 165"/>
                <a:gd name="T111" fmla="*/ 170 h 192"/>
                <a:gd name="T112" fmla="*/ 143 w 165"/>
                <a:gd name="T113" fmla="*/ 158 h 192"/>
                <a:gd name="T114" fmla="*/ 162 w 165"/>
                <a:gd name="T115" fmla="*/ 13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92">
                  <a:moveTo>
                    <a:pt x="37" y="182"/>
                  </a:moveTo>
                  <a:lnTo>
                    <a:pt x="37" y="180"/>
                  </a:lnTo>
                  <a:lnTo>
                    <a:pt x="37" y="180"/>
                  </a:lnTo>
                  <a:lnTo>
                    <a:pt x="35" y="180"/>
                  </a:lnTo>
                  <a:lnTo>
                    <a:pt x="35" y="180"/>
                  </a:lnTo>
                  <a:lnTo>
                    <a:pt x="33" y="182"/>
                  </a:lnTo>
                  <a:lnTo>
                    <a:pt x="33" y="182"/>
                  </a:lnTo>
                  <a:lnTo>
                    <a:pt x="35" y="182"/>
                  </a:lnTo>
                  <a:lnTo>
                    <a:pt x="35" y="182"/>
                  </a:lnTo>
                  <a:lnTo>
                    <a:pt x="35" y="182"/>
                  </a:lnTo>
                  <a:lnTo>
                    <a:pt x="37" y="185"/>
                  </a:lnTo>
                  <a:lnTo>
                    <a:pt x="37" y="185"/>
                  </a:lnTo>
                  <a:lnTo>
                    <a:pt x="37" y="182"/>
                  </a:lnTo>
                  <a:lnTo>
                    <a:pt x="37" y="182"/>
                  </a:lnTo>
                  <a:lnTo>
                    <a:pt x="37" y="182"/>
                  </a:lnTo>
                  <a:lnTo>
                    <a:pt x="37" y="182"/>
                  </a:lnTo>
                  <a:close/>
                  <a:moveTo>
                    <a:pt x="30" y="180"/>
                  </a:moveTo>
                  <a:lnTo>
                    <a:pt x="30" y="180"/>
                  </a:lnTo>
                  <a:lnTo>
                    <a:pt x="30" y="180"/>
                  </a:lnTo>
                  <a:lnTo>
                    <a:pt x="30" y="177"/>
                  </a:lnTo>
                  <a:lnTo>
                    <a:pt x="30" y="177"/>
                  </a:lnTo>
                  <a:lnTo>
                    <a:pt x="30" y="180"/>
                  </a:lnTo>
                  <a:lnTo>
                    <a:pt x="30" y="180"/>
                  </a:lnTo>
                  <a:lnTo>
                    <a:pt x="30" y="180"/>
                  </a:lnTo>
                  <a:lnTo>
                    <a:pt x="30" y="180"/>
                  </a:lnTo>
                  <a:lnTo>
                    <a:pt x="33" y="180"/>
                  </a:lnTo>
                  <a:lnTo>
                    <a:pt x="33" y="180"/>
                  </a:lnTo>
                  <a:lnTo>
                    <a:pt x="30" y="180"/>
                  </a:lnTo>
                  <a:close/>
                  <a:moveTo>
                    <a:pt x="165" y="130"/>
                  </a:moveTo>
                  <a:lnTo>
                    <a:pt x="165" y="130"/>
                  </a:lnTo>
                  <a:lnTo>
                    <a:pt x="165" y="130"/>
                  </a:lnTo>
                  <a:lnTo>
                    <a:pt x="162" y="128"/>
                  </a:lnTo>
                  <a:lnTo>
                    <a:pt x="160" y="128"/>
                  </a:lnTo>
                  <a:lnTo>
                    <a:pt x="160" y="125"/>
                  </a:lnTo>
                  <a:lnTo>
                    <a:pt x="157" y="123"/>
                  </a:lnTo>
                  <a:lnTo>
                    <a:pt x="150" y="123"/>
                  </a:lnTo>
                  <a:lnTo>
                    <a:pt x="148" y="121"/>
                  </a:lnTo>
                  <a:lnTo>
                    <a:pt x="141" y="116"/>
                  </a:lnTo>
                  <a:lnTo>
                    <a:pt x="141" y="116"/>
                  </a:lnTo>
                  <a:lnTo>
                    <a:pt x="141" y="116"/>
                  </a:lnTo>
                  <a:lnTo>
                    <a:pt x="143" y="114"/>
                  </a:lnTo>
                  <a:lnTo>
                    <a:pt x="146" y="111"/>
                  </a:lnTo>
                  <a:lnTo>
                    <a:pt x="148" y="111"/>
                  </a:lnTo>
                  <a:lnTo>
                    <a:pt x="148" y="109"/>
                  </a:lnTo>
                  <a:lnTo>
                    <a:pt x="148" y="109"/>
                  </a:lnTo>
                  <a:lnTo>
                    <a:pt x="148" y="106"/>
                  </a:lnTo>
                  <a:lnTo>
                    <a:pt x="146" y="106"/>
                  </a:lnTo>
                  <a:lnTo>
                    <a:pt x="146" y="106"/>
                  </a:lnTo>
                  <a:lnTo>
                    <a:pt x="141" y="104"/>
                  </a:lnTo>
                  <a:lnTo>
                    <a:pt x="141" y="102"/>
                  </a:lnTo>
                  <a:lnTo>
                    <a:pt x="139" y="102"/>
                  </a:lnTo>
                  <a:lnTo>
                    <a:pt x="139" y="99"/>
                  </a:lnTo>
                  <a:lnTo>
                    <a:pt x="141" y="99"/>
                  </a:lnTo>
                  <a:lnTo>
                    <a:pt x="141" y="97"/>
                  </a:lnTo>
                  <a:lnTo>
                    <a:pt x="141" y="97"/>
                  </a:lnTo>
                  <a:lnTo>
                    <a:pt x="139" y="97"/>
                  </a:lnTo>
                  <a:lnTo>
                    <a:pt x="136" y="97"/>
                  </a:lnTo>
                  <a:lnTo>
                    <a:pt x="134" y="95"/>
                  </a:lnTo>
                  <a:lnTo>
                    <a:pt x="134" y="95"/>
                  </a:lnTo>
                  <a:lnTo>
                    <a:pt x="132" y="92"/>
                  </a:lnTo>
                  <a:lnTo>
                    <a:pt x="132" y="92"/>
                  </a:lnTo>
                  <a:lnTo>
                    <a:pt x="132" y="92"/>
                  </a:lnTo>
                  <a:lnTo>
                    <a:pt x="134" y="90"/>
                  </a:lnTo>
                  <a:lnTo>
                    <a:pt x="134" y="90"/>
                  </a:lnTo>
                  <a:lnTo>
                    <a:pt x="134" y="90"/>
                  </a:lnTo>
                  <a:lnTo>
                    <a:pt x="134" y="90"/>
                  </a:lnTo>
                  <a:lnTo>
                    <a:pt x="134" y="88"/>
                  </a:lnTo>
                  <a:lnTo>
                    <a:pt x="132" y="88"/>
                  </a:lnTo>
                  <a:lnTo>
                    <a:pt x="132" y="88"/>
                  </a:lnTo>
                  <a:lnTo>
                    <a:pt x="132" y="88"/>
                  </a:lnTo>
                  <a:lnTo>
                    <a:pt x="132" y="88"/>
                  </a:lnTo>
                  <a:lnTo>
                    <a:pt x="132" y="85"/>
                  </a:lnTo>
                  <a:lnTo>
                    <a:pt x="132" y="83"/>
                  </a:lnTo>
                  <a:lnTo>
                    <a:pt x="134" y="83"/>
                  </a:lnTo>
                  <a:lnTo>
                    <a:pt x="132" y="80"/>
                  </a:lnTo>
                  <a:lnTo>
                    <a:pt x="132" y="80"/>
                  </a:lnTo>
                  <a:lnTo>
                    <a:pt x="134" y="80"/>
                  </a:lnTo>
                  <a:lnTo>
                    <a:pt x="136" y="80"/>
                  </a:lnTo>
                  <a:lnTo>
                    <a:pt x="136" y="80"/>
                  </a:lnTo>
                  <a:lnTo>
                    <a:pt x="136" y="78"/>
                  </a:lnTo>
                  <a:lnTo>
                    <a:pt x="136" y="78"/>
                  </a:lnTo>
                  <a:lnTo>
                    <a:pt x="134" y="73"/>
                  </a:lnTo>
                  <a:lnTo>
                    <a:pt x="134" y="71"/>
                  </a:lnTo>
                  <a:lnTo>
                    <a:pt x="132" y="71"/>
                  </a:lnTo>
                  <a:lnTo>
                    <a:pt x="129" y="69"/>
                  </a:lnTo>
                  <a:lnTo>
                    <a:pt x="129" y="69"/>
                  </a:lnTo>
                  <a:lnTo>
                    <a:pt x="129" y="66"/>
                  </a:lnTo>
                  <a:lnTo>
                    <a:pt x="127" y="66"/>
                  </a:lnTo>
                  <a:lnTo>
                    <a:pt x="127" y="64"/>
                  </a:lnTo>
                  <a:lnTo>
                    <a:pt x="125" y="62"/>
                  </a:lnTo>
                  <a:lnTo>
                    <a:pt x="122" y="62"/>
                  </a:lnTo>
                  <a:lnTo>
                    <a:pt x="120" y="59"/>
                  </a:lnTo>
                  <a:lnTo>
                    <a:pt x="120" y="57"/>
                  </a:lnTo>
                  <a:lnTo>
                    <a:pt x="120" y="57"/>
                  </a:lnTo>
                  <a:lnTo>
                    <a:pt x="120" y="57"/>
                  </a:lnTo>
                  <a:lnTo>
                    <a:pt x="122" y="54"/>
                  </a:lnTo>
                  <a:lnTo>
                    <a:pt x="122" y="52"/>
                  </a:lnTo>
                  <a:lnTo>
                    <a:pt x="125" y="50"/>
                  </a:lnTo>
                  <a:lnTo>
                    <a:pt x="127" y="47"/>
                  </a:lnTo>
                  <a:lnTo>
                    <a:pt x="129" y="45"/>
                  </a:lnTo>
                  <a:lnTo>
                    <a:pt x="129" y="43"/>
                  </a:lnTo>
                  <a:lnTo>
                    <a:pt x="129" y="43"/>
                  </a:lnTo>
                  <a:lnTo>
                    <a:pt x="127" y="43"/>
                  </a:lnTo>
                  <a:lnTo>
                    <a:pt x="122" y="38"/>
                  </a:lnTo>
                  <a:lnTo>
                    <a:pt x="120" y="36"/>
                  </a:lnTo>
                  <a:lnTo>
                    <a:pt x="115" y="36"/>
                  </a:lnTo>
                  <a:lnTo>
                    <a:pt x="110" y="33"/>
                  </a:lnTo>
                  <a:lnTo>
                    <a:pt x="108" y="31"/>
                  </a:lnTo>
                  <a:lnTo>
                    <a:pt x="108" y="28"/>
                  </a:lnTo>
                  <a:lnTo>
                    <a:pt x="108" y="28"/>
                  </a:lnTo>
                  <a:lnTo>
                    <a:pt x="110" y="24"/>
                  </a:lnTo>
                  <a:lnTo>
                    <a:pt x="110" y="24"/>
                  </a:lnTo>
                  <a:lnTo>
                    <a:pt x="110" y="21"/>
                  </a:lnTo>
                  <a:lnTo>
                    <a:pt x="110" y="21"/>
                  </a:lnTo>
                  <a:lnTo>
                    <a:pt x="108" y="21"/>
                  </a:lnTo>
                  <a:lnTo>
                    <a:pt x="106" y="21"/>
                  </a:lnTo>
                  <a:lnTo>
                    <a:pt x="106" y="21"/>
                  </a:lnTo>
                  <a:lnTo>
                    <a:pt x="108" y="21"/>
                  </a:lnTo>
                  <a:lnTo>
                    <a:pt x="108" y="19"/>
                  </a:lnTo>
                  <a:lnTo>
                    <a:pt x="110" y="19"/>
                  </a:lnTo>
                  <a:lnTo>
                    <a:pt x="113" y="19"/>
                  </a:lnTo>
                  <a:lnTo>
                    <a:pt x="110" y="19"/>
                  </a:lnTo>
                  <a:lnTo>
                    <a:pt x="110" y="17"/>
                  </a:lnTo>
                  <a:lnTo>
                    <a:pt x="110" y="17"/>
                  </a:lnTo>
                  <a:lnTo>
                    <a:pt x="113" y="14"/>
                  </a:lnTo>
                  <a:lnTo>
                    <a:pt x="115" y="12"/>
                  </a:lnTo>
                  <a:lnTo>
                    <a:pt x="115" y="12"/>
                  </a:lnTo>
                  <a:lnTo>
                    <a:pt x="115" y="12"/>
                  </a:lnTo>
                  <a:lnTo>
                    <a:pt x="113" y="7"/>
                  </a:lnTo>
                  <a:lnTo>
                    <a:pt x="108" y="7"/>
                  </a:lnTo>
                  <a:lnTo>
                    <a:pt x="103" y="5"/>
                  </a:lnTo>
                  <a:lnTo>
                    <a:pt x="101" y="5"/>
                  </a:lnTo>
                  <a:lnTo>
                    <a:pt x="96" y="2"/>
                  </a:lnTo>
                  <a:lnTo>
                    <a:pt x="94" y="0"/>
                  </a:lnTo>
                  <a:lnTo>
                    <a:pt x="94" y="0"/>
                  </a:lnTo>
                  <a:lnTo>
                    <a:pt x="92" y="0"/>
                  </a:lnTo>
                  <a:lnTo>
                    <a:pt x="87" y="2"/>
                  </a:lnTo>
                  <a:lnTo>
                    <a:pt x="87" y="2"/>
                  </a:lnTo>
                  <a:lnTo>
                    <a:pt x="84" y="2"/>
                  </a:lnTo>
                  <a:lnTo>
                    <a:pt x="84" y="2"/>
                  </a:lnTo>
                  <a:lnTo>
                    <a:pt x="82" y="2"/>
                  </a:lnTo>
                  <a:lnTo>
                    <a:pt x="80" y="2"/>
                  </a:lnTo>
                  <a:lnTo>
                    <a:pt x="77" y="2"/>
                  </a:lnTo>
                  <a:lnTo>
                    <a:pt x="77" y="2"/>
                  </a:lnTo>
                  <a:lnTo>
                    <a:pt x="75" y="5"/>
                  </a:lnTo>
                  <a:lnTo>
                    <a:pt x="73" y="7"/>
                  </a:lnTo>
                  <a:lnTo>
                    <a:pt x="70" y="7"/>
                  </a:lnTo>
                  <a:lnTo>
                    <a:pt x="70" y="7"/>
                  </a:lnTo>
                  <a:lnTo>
                    <a:pt x="70" y="10"/>
                  </a:lnTo>
                  <a:lnTo>
                    <a:pt x="70" y="12"/>
                  </a:lnTo>
                  <a:lnTo>
                    <a:pt x="68" y="14"/>
                  </a:lnTo>
                  <a:lnTo>
                    <a:pt x="68" y="14"/>
                  </a:lnTo>
                  <a:lnTo>
                    <a:pt x="68" y="19"/>
                  </a:lnTo>
                  <a:lnTo>
                    <a:pt x="68" y="19"/>
                  </a:lnTo>
                  <a:lnTo>
                    <a:pt x="68" y="21"/>
                  </a:lnTo>
                  <a:lnTo>
                    <a:pt x="66" y="21"/>
                  </a:lnTo>
                  <a:lnTo>
                    <a:pt x="66" y="21"/>
                  </a:lnTo>
                  <a:lnTo>
                    <a:pt x="63" y="21"/>
                  </a:lnTo>
                  <a:lnTo>
                    <a:pt x="63" y="24"/>
                  </a:lnTo>
                  <a:lnTo>
                    <a:pt x="61" y="24"/>
                  </a:lnTo>
                  <a:lnTo>
                    <a:pt x="61" y="26"/>
                  </a:lnTo>
                  <a:lnTo>
                    <a:pt x="59" y="26"/>
                  </a:lnTo>
                  <a:lnTo>
                    <a:pt x="56" y="26"/>
                  </a:lnTo>
                  <a:lnTo>
                    <a:pt x="56" y="26"/>
                  </a:lnTo>
                  <a:lnTo>
                    <a:pt x="51" y="26"/>
                  </a:lnTo>
                  <a:lnTo>
                    <a:pt x="49" y="24"/>
                  </a:lnTo>
                  <a:lnTo>
                    <a:pt x="47" y="24"/>
                  </a:lnTo>
                  <a:lnTo>
                    <a:pt x="44" y="24"/>
                  </a:lnTo>
                  <a:lnTo>
                    <a:pt x="44" y="24"/>
                  </a:lnTo>
                  <a:lnTo>
                    <a:pt x="42" y="24"/>
                  </a:lnTo>
                  <a:lnTo>
                    <a:pt x="42" y="24"/>
                  </a:lnTo>
                  <a:lnTo>
                    <a:pt x="37" y="26"/>
                  </a:lnTo>
                  <a:lnTo>
                    <a:pt x="37" y="26"/>
                  </a:lnTo>
                  <a:lnTo>
                    <a:pt x="35" y="26"/>
                  </a:lnTo>
                  <a:lnTo>
                    <a:pt x="33" y="26"/>
                  </a:lnTo>
                  <a:lnTo>
                    <a:pt x="30" y="24"/>
                  </a:lnTo>
                  <a:lnTo>
                    <a:pt x="26" y="24"/>
                  </a:lnTo>
                  <a:lnTo>
                    <a:pt x="23" y="24"/>
                  </a:lnTo>
                  <a:lnTo>
                    <a:pt x="23" y="24"/>
                  </a:lnTo>
                  <a:lnTo>
                    <a:pt x="23" y="21"/>
                  </a:lnTo>
                  <a:lnTo>
                    <a:pt x="18" y="19"/>
                  </a:lnTo>
                  <a:lnTo>
                    <a:pt x="18" y="19"/>
                  </a:lnTo>
                  <a:lnTo>
                    <a:pt x="16" y="17"/>
                  </a:lnTo>
                  <a:lnTo>
                    <a:pt x="11" y="14"/>
                  </a:lnTo>
                  <a:lnTo>
                    <a:pt x="11" y="14"/>
                  </a:lnTo>
                  <a:lnTo>
                    <a:pt x="11" y="14"/>
                  </a:lnTo>
                  <a:lnTo>
                    <a:pt x="7" y="14"/>
                  </a:lnTo>
                  <a:lnTo>
                    <a:pt x="7" y="14"/>
                  </a:lnTo>
                  <a:lnTo>
                    <a:pt x="4" y="17"/>
                  </a:lnTo>
                  <a:lnTo>
                    <a:pt x="4" y="17"/>
                  </a:lnTo>
                  <a:lnTo>
                    <a:pt x="7" y="19"/>
                  </a:lnTo>
                  <a:lnTo>
                    <a:pt x="7" y="19"/>
                  </a:lnTo>
                  <a:lnTo>
                    <a:pt x="4" y="19"/>
                  </a:lnTo>
                  <a:lnTo>
                    <a:pt x="2" y="19"/>
                  </a:lnTo>
                  <a:lnTo>
                    <a:pt x="0" y="19"/>
                  </a:lnTo>
                  <a:lnTo>
                    <a:pt x="0" y="19"/>
                  </a:lnTo>
                  <a:lnTo>
                    <a:pt x="2" y="19"/>
                  </a:lnTo>
                  <a:lnTo>
                    <a:pt x="4" y="19"/>
                  </a:lnTo>
                  <a:lnTo>
                    <a:pt x="4" y="21"/>
                  </a:lnTo>
                  <a:lnTo>
                    <a:pt x="4" y="21"/>
                  </a:lnTo>
                  <a:lnTo>
                    <a:pt x="7" y="21"/>
                  </a:lnTo>
                  <a:lnTo>
                    <a:pt x="9" y="24"/>
                  </a:lnTo>
                  <a:lnTo>
                    <a:pt x="11" y="24"/>
                  </a:lnTo>
                  <a:lnTo>
                    <a:pt x="11" y="26"/>
                  </a:lnTo>
                  <a:lnTo>
                    <a:pt x="14" y="26"/>
                  </a:lnTo>
                  <a:lnTo>
                    <a:pt x="16" y="26"/>
                  </a:lnTo>
                  <a:lnTo>
                    <a:pt x="16" y="26"/>
                  </a:lnTo>
                  <a:lnTo>
                    <a:pt x="18" y="28"/>
                  </a:lnTo>
                  <a:lnTo>
                    <a:pt x="21" y="28"/>
                  </a:lnTo>
                  <a:lnTo>
                    <a:pt x="23" y="28"/>
                  </a:lnTo>
                  <a:lnTo>
                    <a:pt x="30" y="31"/>
                  </a:lnTo>
                  <a:lnTo>
                    <a:pt x="30" y="31"/>
                  </a:lnTo>
                  <a:lnTo>
                    <a:pt x="33" y="31"/>
                  </a:lnTo>
                  <a:lnTo>
                    <a:pt x="35" y="33"/>
                  </a:lnTo>
                  <a:lnTo>
                    <a:pt x="35" y="36"/>
                  </a:lnTo>
                  <a:lnTo>
                    <a:pt x="37" y="36"/>
                  </a:lnTo>
                  <a:lnTo>
                    <a:pt x="37" y="36"/>
                  </a:lnTo>
                  <a:lnTo>
                    <a:pt x="40" y="38"/>
                  </a:lnTo>
                  <a:lnTo>
                    <a:pt x="42" y="38"/>
                  </a:lnTo>
                  <a:lnTo>
                    <a:pt x="42" y="38"/>
                  </a:lnTo>
                  <a:lnTo>
                    <a:pt x="40" y="40"/>
                  </a:lnTo>
                  <a:lnTo>
                    <a:pt x="40" y="40"/>
                  </a:lnTo>
                  <a:lnTo>
                    <a:pt x="40" y="43"/>
                  </a:lnTo>
                  <a:lnTo>
                    <a:pt x="42" y="45"/>
                  </a:lnTo>
                  <a:lnTo>
                    <a:pt x="42" y="45"/>
                  </a:lnTo>
                  <a:lnTo>
                    <a:pt x="42" y="45"/>
                  </a:lnTo>
                  <a:lnTo>
                    <a:pt x="40" y="45"/>
                  </a:lnTo>
                  <a:lnTo>
                    <a:pt x="40" y="47"/>
                  </a:lnTo>
                  <a:lnTo>
                    <a:pt x="40" y="47"/>
                  </a:lnTo>
                  <a:lnTo>
                    <a:pt x="40" y="47"/>
                  </a:lnTo>
                  <a:lnTo>
                    <a:pt x="42" y="47"/>
                  </a:lnTo>
                  <a:lnTo>
                    <a:pt x="44" y="47"/>
                  </a:lnTo>
                  <a:lnTo>
                    <a:pt x="44" y="47"/>
                  </a:lnTo>
                  <a:lnTo>
                    <a:pt x="44" y="50"/>
                  </a:lnTo>
                  <a:lnTo>
                    <a:pt x="44" y="50"/>
                  </a:lnTo>
                  <a:lnTo>
                    <a:pt x="44" y="50"/>
                  </a:lnTo>
                  <a:lnTo>
                    <a:pt x="44" y="52"/>
                  </a:lnTo>
                  <a:lnTo>
                    <a:pt x="44" y="52"/>
                  </a:lnTo>
                  <a:lnTo>
                    <a:pt x="44" y="52"/>
                  </a:lnTo>
                  <a:lnTo>
                    <a:pt x="44" y="54"/>
                  </a:lnTo>
                  <a:lnTo>
                    <a:pt x="47" y="54"/>
                  </a:lnTo>
                  <a:lnTo>
                    <a:pt x="47" y="57"/>
                  </a:lnTo>
                  <a:lnTo>
                    <a:pt x="49" y="57"/>
                  </a:lnTo>
                  <a:lnTo>
                    <a:pt x="49" y="59"/>
                  </a:lnTo>
                  <a:lnTo>
                    <a:pt x="49" y="59"/>
                  </a:lnTo>
                  <a:lnTo>
                    <a:pt x="49" y="59"/>
                  </a:lnTo>
                  <a:lnTo>
                    <a:pt x="49" y="62"/>
                  </a:lnTo>
                  <a:lnTo>
                    <a:pt x="49" y="62"/>
                  </a:lnTo>
                  <a:lnTo>
                    <a:pt x="49" y="64"/>
                  </a:lnTo>
                  <a:lnTo>
                    <a:pt x="47" y="64"/>
                  </a:lnTo>
                  <a:lnTo>
                    <a:pt x="47" y="64"/>
                  </a:lnTo>
                  <a:lnTo>
                    <a:pt x="47" y="66"/>
                  </a:lnTo>
                  <a:lnTo>
                    <a:pt x="47" y="66"/>
                  </a:lnTo>
                  <a:lnTo>
                    <a:pt x="47" y="69"/>
                  </a:lnTo>
                  <a:lnTo>
                    <a:pt x="47" y="69"/>
                  </a:lnTo>
                  <a:lnTo>
                    <a:pt x="47" y="69"/>
                  </a:lnTo>
                  <a:lnTo>
                    <a:pt x="47" y="71"/>
                  </a:lnTo>
                  <a:lnTo>
                    <a:pt x="49" y="71"/>
                  </a:lnTo>
                  <a:lnTo>
                    <a:pt x="51" y="73"/>
                  </a:lnTo>
                  <a:lnTo>
                    <a:pt x="51" y="73"/>
                  </a:lnTo>
                  <a:lnTo>
                    <a:pt x="54" y="78"/>
                  </a:lnTo>
                  <a:lnTo>
                    <a:pt x="54" y="78"/>
                  </a:lnTo>
                  <a:lnTo>
                    <a:pt x="56" y="78"/>
                  </a:lnTo>
                  <a:lnTo>
                    <a:pt x="59" y="78"/>
                  </a:lnTo>
                  <a:lnTo>
                    <a:pt x="59" y="76"/>
                  </a:lnTo>
                  <a:lnTo>
                    <a:pt x="61" y="76"/>
                  </a:lnTo>
                  <a:lnTo>
                    <a:pt x="61" y="76"/>
                  </a:lnTo>
                  <a:lnTo>
                    <a:pt x="59" y="78"/>
                  </a:lnTo>
                  <a:lnTo>
                    <a:pt x="61" y="80"/>
                  </a:lnTo>
                  <a:lnTo>
                    <a:pt x="63" y="80"/>
                  </a:lnTo>
                  <a:lnTo>
                    <a:pt x="63" y="80"/>
                  </a:lnTo>
                  <a:lnTo>
                    <a:pt x="70" y="83"/>
                  </a:lnTo>
                  <a:lnTo>
                    <a:pt x="70" y="83"/>
                  </a:lnTo>
                  <a:lnTo>
                    <a:pt x="70" y="85"/>
                  </a:lnTo>
                  <a:lnTo>
                    <a:pt x="70" y="88"/>
                  </a:lnTo>
                  <a:lnTo>
                    <a:pt x="70" y="90"/>
                  </a:lnTo>
                  <a:lnTo>
                    <a:pt x="73" y="90"/>
                  </a:lnTo>
                  <a:lnTo>
                    <a:pt x="73" y="90"/>
                  </a:lnTo>
                  <a:lnTo>
                    <a:pt x="73" y="92"/>
                  </a:lnTo>
                  <a:lnTo>
                    <a:pt x="70" y="92"/>
                  </a:lnTo>
                  <a:lnTo>
                    <a:pt x="70" y="92"/>
                  </a:lnTo>
                  <a:lnTo>
                    <a:pt x="70" y="95"/>
                  </a:lnTo>
                  <a:lnTo>
                    <a:pt x="70" y="95"/>
                  </a:lnTo>
                  <a:lnTo>
                    <a:pt x="70" y="95"/>
                  </a:lnTo>
                  <a:lnTo>
                    <a:pt x="70" y="95"/>
                  </a:lnTo>
                  <a:lnTo>
                    <a:pt x="66" y="95"/>
                  </a:lnTo>
                  <a:lnTo>
                    <a:pt x="63" y="95"/>
                  </a:lnTo>
                  <a:lnTo>
                    <a:pt x="63" y="97"/>
                  </a:lnTo>
                  <a:lnTo>
                    <a:pt x="61" y="97"/>
                  </a:lnTo>
                  <a:lnTo>
                    <a:pt x="61" y="97"/>
                  </a:lnTo>
                  <a:lnTo>
                    <a:pt x="61" y="99"/>
                  </a:lnTo>
                  <a:lnTo>
                    <a:pt x="59" y="102"/>
                  </a:lnTo>
                  <a:lnTo>
                    <a:pt x="54" y="104"/>
                  </a:lnTo>
                  <a:lnTo>
                    <a:pt x="54" y="106"/>
                  </a:lnTo>
                  <a:lnTo>
                    <a:pt x="51" y="106"/>
                  </a:lnTo>
                  <a:lnTo>
                    <a:pt x="49" y="109"/>
                  </a:lnTo>
                  <a:lnTo>
                    <a:pt x="49" y="111"/>
                  </a:lnTo>
                  <a:lnTo>
                    <a:pt x="47" y="111"/>
                  </a:lnTo>
                  <a:lnTo>
                    <a:pt x="44" y="114"/>
                  </a:lnTo>
                  <a:lnTo>
                    <a:pt x="42" y="114"/>
                  </a:lnTo>
                  <a:lnTo>
                    <a:pt x="42" y="114"/>
                  </a:lnTo>
                  <a:lnTo>
                    <a:pt x="37" y="116"/>
                  </a:lnTo>
                  <a:lnTo>
                    <a:pt x="35" y="118"/>
                  </a:lnTo>
                  <a:lnTo>
                    <a:pt x="35" y="118"/>
                  </a:lnTo>
                  <a:lnTo>
                    <a:pt x="33" y="121"/>
                  </a:lnTo>
                  <a:lnTo>
                    <a:pt x="33" y="121"/>
                  </a:lnTo>
                  <a:lnTo>
                    <a:pt x="33" y="121"/>
                  </a:lnTo>
                  <a:lnTo>
                    <a:pt x="33" y="121"/>
                  </a:lnTo>
                  <a:lnTo>
                    <a:pt x="30" y="121"/>
                  </a:lnTo>
                  <a:lnTo>
                    <a:pt x="30" y="121"/>
                  </a:lnTo>
                  <a:lnTo>
                    <a:pt x="30" y="123"/>
                  </a:lnTo>
                  <a:lnTo>
                    <a:pt x="33" y="123"/>
                  </a:lnTo>
                  <a:lnTo>
                    <a:pt x="33" y="123"/>
                  </a:lnTo>
                  <a:lnTo>
                    <a:pt x="30" y="125"/>
                  </a:lnTo>
                  <a:lnTo>
                    <a:pt x="26" y="125"/>
                  </a:lnTo>
                  <a:lnTo>
                    <a:pt x="26" y="125"/>
                  </a:lnTo>
                  <a:lnTo>
                    <a:pt x="21" y="125"/>
                  </a:lnTo>
                  <a:lnTo>
                    <a:pt x="21" y="128"/>
                  </a:lnTo>
                  <a:lnTo>
                    <a:pt x="21" y="128"/>
                  </a:lnTo>
                  <a:lnTo>
                    <a:pt x="23" y="130"/>
                  </a:lnTo>
                  <a:lnTo>
                    <a:pt x="21" y="130"/>
                  </a:lnTo>
                  <a:lnTo>
                    <a:pt x="21" y="130"/>
                  </a:lnTo>
                  <a:lnTo>
                    <a:pt x="16" y="135"/>
                  </a:lnTo>
                  <a:lnTo>
                    <a:pt x="16" y="135"/>
                  </a:lnTo>
                  <a:lnTo>
                    <a:pt x="16" y="135"/>
                  </a:lnTo>
                  <a:lnTo>
                    <a:pt x="16" y="137"/>
                  </a:lnTo>
                  <a:lnTo>
                    <a:pt x="16" y="140"/>
                  </a:lnTo>
                  <a:lnTo>
                    <a:pt x="16" y="142"/>
                  </a:lnTo>
                  <a:lnTo>
                    <a:pt x="18" y="142"/>
                  </a:lnTo>
                  <a:lnTo>
                    <a:pt x="18" y="144"/>
                  </a:lnTo>
                  <a:lnTo>
                    <a:pt x="21" y="144"/>
                  </a:lnTo>
                  <a:lnTo>
                    <a:pt x="18" y="147"/>
                  </a:lnTo>
                  <a:lnTo>
                    <a:pt x="18" y="149"/>
                  </a:lnTo>
                  <a:lnTo>
                    <a:pt x="21" y="151"/>
                  </a:lnTo>
                  <a:lnTo>
                    <a:pt x="23" y="151"/>
                  </a:lnTo>
                  <a:lnTo>
                    <a:pt x="23" y="154"/>
                  </a:lnTo>
                  <a:lnTo>
                    <a:pt x="23" y="156"/>
                  </a:lnTo>
                  <a:lnTo>
                    <a:pt x="26" y="156"/>
                  </a:lnTo>
                  <a:lnTo>
                    <a:pt x="23" y="156"/>
                  </a:lnTo>
                  <a:lnTo>
                    <a:pt x="23" y="156"/>
                  </a:lnTo>
                  <a:lnTo>
                    <a:pt x="23" y="156"/>
                  </a:lnTo>
                  <a:lnTo>
                    <a:pt x="23" y="156"/>
                  </a:lnTo>
                  <a:lnTo>
                    <a:pt x="23" y="158"/>
                  </a:lnTo>
                  <a:lnTo>
                    <a:pt x="23" y="158"/>
                  </a:lnTo>
                  <a:lnTo>
                    <a:pt x="23" y="158"/>
                  </a:lnTo>
                  <a:lnTo>
                    <a:pt x="23" y="158"/>
                  </a:lnTo>
                  <a:lnTo>
                    <a:pt x="23" y="158"/>
                  </a:lnTo>
                  <a:lnTo>
                    <a:pt x="23" y="161"/>
                  </a:lnTo>
                  <a:lnTo>
                    <a:pt x="23" y="163"/>
                  </a:lnTo>
                  <a:lnTo>
                    <a:pt x="23" y="166"/>
                  </a:lnTo>
                  <a:lnTo>
                    <a:pt x="23" y="166"/>
                  </a:lnTo>
                  <a:lnTo>
                    <a:pt x="21" y="166"/>
                  </a:lnTo>
                  <a:lnTo>
                    <a:pt x="21" y="168"/>
                  </a:lnTo>
                  <a:lnTo>
                    <a:pt x="23" y="170"/>
                  </a:lnTo>
                  <a:lnTo>
                    <a:pt x="23" y="173"/>
                  </a:lnTo>
                  <a:lnTo>
                    <a:pt x="23" y="173"/>
                  </a:lnTo>
                  <a:lnTo>
                    <a:pt x="23" y="175"/>
                  </a:lnTo>
                  <a:lnTo>
                    <a:pt x="23" y="175"/>
                  </a:lnTo>
                  <a:lnTo>
                    <a:pt x="26" y="175"/>
                  </a:lnTo>
                  <a:lnTo>
                    <a:pt x="26" y="177"/>
                  </a:lnTo>
                  <a:lnTo>
                    <a:pt x="28" y="175"/>
                  </a:lnTo>
                  <a:lnTo>
                    <a:pt x="28" y="175"/>
                  </a:lnTo>
                  <a:lnTo>
                    <a:pt x="30" y="177"/>
                  </a:lnTo>
                  <a:lnTo>
                    <a:pt x="30" y="177"/>
                  </a:lnTo>
                  <a:lnTo>
                    <a:pt x="35" y="180"/>
                  </a:lnTo>
                  <a:lnTo>
                    <a:pt x="40" y="180"/>
                  </a:lnTo>
                  <a:lnTo>
                    <a:pt x="40" y="180"/>
                  </a:lnTo>
                  <a:lnTo>
                    <a:pt x="40" y="180"/>
                  </a:lnTo>
                  <a:lnTo>
                    <a:pt x="40" y="180"/>
                  </a:lnTo>
                  <a:lnTo>
                    <a:pt x="40" y="182"/>
                  </a:lnTo>
                  <a:lnTo>
                    <a:pt x="40" y="182"/>
                  </a:lnTo>
                  <a:lnTo>
                    <a:pt x="42" y="182"/>
                  </a:lnTo>
                  <a:lnTo>
                    <a:pt x="42" y="182"/>
                  </a:lnTo>
                  <a:lnTo>
                    <a:pt x="40" y="182"/>
                  </a:lnTo>
                  <a:lnTo>
                    <a:pt x="40" y="182"/>
                  </a:lnTo>
                  <a:lnTo>
                    <a:pt x="40" y="182"/>
                  </a:lnTo>
                  <a:lnTo>
                    <a:pt x="40" y="185"/>
                  </a:lnTo>
                  <a:lnTo>
                    <a:pt x="40" y="185"/>
                  </a:lnTo>
                  <a:lnTo>
                    <a:pt x="40" y="185"/>
                  </a:lnTo>
                  <a:lnTo>
                    <a:pt x="40" y="187"/>
                  </a:lnTo>
                  <a:lnTo>
                    <a:pt x="40" y="187"/>
                  </a:lnTo>
                  <a:lnTo>
                    <a:pt x="42" y="187"/>
                  </a:lnTo>
                  <a:lnTo>
                    <a:pt x="42" y="187"/>
                  </a:lnTo>
                  <a:lnTo>
                    <a:pt x="44" y="187"/>
                  </a:lnTo>
                  <a:lnTo>
                    <a:pt x="44" y="185"/>
                  </a:lnTo>
                  <a:lnTo>
                    <a:pt x="44" y="185"/>
                  </a:lnTo>
                  <a:lnTo>
                    <a:pt x="44" y="185"/>
                  </a:lnTo>
                  <a:lnTo>
                    <a:pt x="44" y="182"/>
                  </a:lnTo>
                  <a:lnTo>
                    <a:pt x="47" y="182"/>
                  </a:lnTo>
                  <a:lnTo>
                    <a:pt x="47" y="185"/>
                  </a:lnTo>
                  <a:lnTo>
                    <a:pt x="49" y="187"/>
                  </a:lnTo>
                  <a:lnTo>
                    <a:pt x="49" y="187"/>
                  </a:lnTo>
                  <a:lnTo>
                    <a:pt x="51" y="187"/>
                  </a:lnTo>
                  <a:lnTo>
                    <a:pt x="51" y="187"/>
                  </a:lnTo>
                  <a:lnTo>
                    <a:pt x="49" y="189"/>
                  </a:lnTo>
                  <a:lnTo>
                    <a:pt x="47" y="189"/>
                  </a:lnTo>
                  <a:lnTo>
                    <a:pt x="47" y="192"/>
                  </a:lnTo>
                  <a:lnTo>
                    <a:pt x="49" y="192"/>
                  </a:lnTo>
                  <a:lnTo>
                    <a:pt x="51" y="189"/>
                  </a:lnTo>
                  <a:lnTo>
                    <a:pt x="51" y="189"/>
                  </a:lnTo>
                  <a:lnTo>
                    <a:pt x="54" y="187"/>
                  </a:lnTo>
                  <a:lnTo>
                    <a:pt x="56" y="187"/>
                  </a:lnTo>
                  <a:lnTo>
                    <a:pt x="59" y="187"/>
                  </a:lnTo>
                  <a:lnTo>
                    <a:pt x="63" y="187"/>
                  </a:lnTo>
                  <a:lnTo>
                    <a:pt x="68" y="187"/>
                  </a:lnTo>
                  <a:lnTo>
                    <a:pt x="68" y="187"/>
                  </a:lnTo>
                  <a:lnTo>
                    <a:pt x="70" y="187"/>
                  </a:lnTo>
                  <a:lnTo>
                    <a:pt x="70" y="185"/>
                  </a:lnTo>
                  <a:lnTo>
                    <a:pt x="75" y="185"/>
                  </a:lnTo>
                  <a:lnTo>
                    <a:pt x="77" y="185"/>
                  </a:lnTo>
                  <a:lnTo>
                    <a:pt x="80" y="185"/>
                  </a:lnTo>
                  <a:lnTo>
                    <a:pt x="80" y="182"/>
                  </a:lnTo>
                  <a:lnTo>
                    <a:pt x="84" y="182"/>
                  </a:lnTo>
                  <a:lnTo>
                    <a:pt x="84" y="182"/>
                  </a:lnTo>
                  <a:lnTo>
                    <a:pt x="87" y="180"/>
                  </a:lnTo>
                  <a:lnTo>
                    <a:pt x="87" y="182"/>
                  </a:lnTo>
                  <a:lnTo>
                    <a:pt x="87" y="182"/>
                  </a:lnTo>
                  <a:lnTo>
                    <a:pt x="89" y="182"/>
                  </a:lnTo>
                  <a:lnTo>
                    <a:pt x="92" y="180"/>
                  </a:lnTo>
                  <a:lnTo>
                    <a:pt x="92" y="180"/>
                  </a:lnTo>
                  <a:lnTo>
                    <a:pt x="92" y="180"/>
                  </a:lnTo>
                  <a:lnTo>
                    <a:pt x="92" y="180"/>
                  </a:lnTo>
                  <a:lnTo>
                    <a:pt x="92" y="177"/>
                  </a:lnTo>
                  <a:lnTo>
                    <a:pt x="92" y="177"/>
                  </a:lnTo>
                  <a:lnTo>
                    <a:pt x="94" y="180"/>
                  </a:lnTo>
                  <a:lnTo>
                    <a:pt x="96" y="180"/>
                  </a:lnTo>
                  <a:lnTo>
                    <a:pt x="99" y="177"/>
                  </a:lnTo>
                  <a:lnTo>
                    <a:pt x="99" y="177"/>
                  </a:lnTo>
                  <a:lnTo>
                    <a:pt x="99" y="175"/>
                  </a:lnTo>
                  <a:lnTo>
                    <a:pt x="99" y="175"/>
                  </a:lnTo>
                  <a:lnTo>
                    <a:pt x="99" y="175"/>
                  </a:lnTo>
                  <a:lnTo>
                    <a:pt x="99" y="177"/>
                  </a:lnTo>
                  <a:lnTo>
                    <a:pt x="99" y="177"/>
                  </a:lnTo>
                  <a:lnTo>
                    <a:pt x="99" y="180"/>
                  </a:lnTo>
                  <a:lnTo>
                    <a:pt x="101" y="180"/>
                  </a:lnTo>
                  <a:lnTo>
                    <a:pt x="101" y="177"/>
                  </a:lnTo>
                  <a:lnTo>
                    <a:pt x="106" y="177"/>
                  </a:lnTo>
                  <a:lnTo>
                    <a:pt x="106" y="177"/>
                  </a:lnTo>
                  <a:lnTo>
                    <a:pt x="108" y="177"/>
                  </a:lnTo>
                  <a:lnTo>
                    <a:pt x="110" y="177"/>
                  </a:lnTo>
                  <a:lnTo>
                    <a:pt x="113" y="177"/>
                  </a:lnTo>
                  <a:lnTo>
                    <a:pt x="113" y="177"/>
                  </a:lnTo>
                  <a:lnTo>
                    <a:pt x="115" y="177"/>
                  </a:lnTo>
                  <a:lnTo>
                    <a:pt x="117" y="177"/>
                  </a:lnTo>
                  <a:lnTo>
                    <a:pt x="117" y="177"/>
                  </a:lnTo>
                  <a:lnTo>
                    <a:pt x="122" y="173"/>
                  </a:lnTo>
                  <a:lnTo>
                    <a:pt x="125" y="170"/>
                  </a:lnTo>
                  <a:lnTo>
                    <a:pt x="127" y="170"/>
                  </a:lnTo>
                  <a:lnTo>
                    <a:pt x="127" y="168"/>
                  </a:lnTo>
                  <a:lnTo>
                    <a:pt x="129" y="168"/>
                  </a:lnTo>
                  <a:lnTo>
                    <a:pt x="129" y="166"/>
                  </a:lnTo>
                  <a:lnTo>
                    <a:pt x="134" y="166"/>
                  </a:lnTo>
                  <a:lnTo>
                    <a:pt x="136" y="163"/>
                  </a:lnTo>
                  <a:lnTo>
                    <a:pt x="141" y="158"/>
                  </a:lnTo>
                  <a:lnTo>
                    <a:pt x="141" y="158"/>
                  </a:lnTo>
                  <a:lnTo>
                    <a:pt x="143" y="158"/>
                  </a:lnTo>
                  <a:lnTo>
                    <a:pt x="146" y="154"/>
                  </a:lnTo>
                  <a:lnTo>
                    <a:pt x="146" y="154"/>
                  </a:lnTo>
                  <a:lnTo>
                    <a:pt x="150" y="149"/>
                  </a:lnTo>
                  <a:lnTo>
                    <a:pt x="153" y="147"/>
                  </a:lnTo>
                  <a:lnTo>
                    <a:pt x="153" y="147"/>
                  </a:lnTo>
                  <a:lnTo>
                    <a:pt x="160" y="142"/>
                  </a:lnTo>
                  <a:lnTo>
                    <a:pt x="162" y="140"/>
                  </a:lnTo>
                  <a:lnTo>
                    <a:pt x="162" y="137"/>
                  </a:lnTo>
                  <a:lnTo>
                    <a:pt x="165" y="135"/>
                  </a:lnTo>
                  <a:lnTo>
                    <a:pt x="165" y="135"/>
                  </a:lnTo>
                  <a:lnTo>
                    <a:pt x="165" y="132"/>
                  </a:lnTo>
                  <a:lnTo>
                    <a:pt x="165" y="13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9" name="Freeform 345"/>
            <p:cNvSpPr>
              <a:spLocks noEditPoints="1"/>
            </p:cNvSpPr>
            <p:nvPr userDrawn="1"/>
          </p:nvSpPr>
          <p:spPr bwMode="auto">
            <a:xfrm>
              <a:off x="2708" y="3886"/>
              <a:ext cx="52" cy="21"/>
            </a:xfrm>
            <a:custGeom>
              <a:avLst/>
              <a:gdLst>
                <a:gd name="T0" fmla="*/ 26 w 52"/>
                <a:gd name="T1" fmla="*/ 16 h 21"/>
                <a:gd name="T2" fmla="*/ 26 w 52"/>
                <a:gd name="T3" fmla="*/ 19 h 21"/>
                <a:gd name="T4" fmla="*/ 26 w 52"/>
                <a:gd name="T5" fmla="*/ 16 h 21"/>
                <a:gd name="T6" fmla="*/ 45 w 52"/>
                <a:gd name="T7" fmla="*/ 14 h 21"/>
                <a:gd name="T8" fmla="*/ 45 w 52"/>
                <a:gd name="T9" fmla="*/ 14 h 21"/>
                <a:gd name="T10" fmla="*/ 2 w 52"/>
                <a:gd name="T11" fmla="*/ 9 h 21"/>
                <a:gd name="T12" fmla="*/ 2 w 52"/>
                <a:gd name="T13" fmla="*/ 12 h 21"/>
                <a:gd name="T14" fmla="*/ 5 w 52"/>
                <a:gd name="T15" fmla="*/ 12 h 21"/>
                <a:gd name="T16" fmla="*/ 26 w 52"/>
                <a:gd name="T17" fmla="*/ 5 h 21"/>
                <a:gd name="T18" fmla="*/ 28 w 52"/>
                <a:gd name="T19" fmla="*/ 2 h 21"/>
                <a:gd name="T20" fmla="*/ 26 w 52"/>
                <a:gd name="T21" fmla="*/ 0 h 21"/>
                <a:gd name="T22" fmla="*/ 21 w 52"/>
                <a:gd name="T23" fmla="*/ 2 h 21"/>
                <a:gd name="T24" fmla="*/ 16 w 52"/>
                <a:gd name="T25" fmla="*/ 2 h 21"/>
                <a:gd name="T26" fmla="*/ 12 w 52"/>
                <a:gd name="T27" fmla="*/ 2 h 21"/>
                <a:gd name="T28" fmla="*/ 5 w 52"/>
                <a:gd name="T29" fmla="*/ 0 h 21"/>
                <a:gd name="T30" fmla="*/ 7 w 52"/>
                <a:gd name="T31" fmla="*/ 5 h 21"/>
                <a:gd name="T32" fmla="*/ 14 w 52"/>
                <a:gd name="T33" fmla="*/ 7 h 21"/>
                <a:gd name="T34" fmla="*/ 9 w 52"/>
                <a:gd name="T35" fmla="*/ 7 h 21"/>
                <a:gd name="T36" fmla="*/ 12 w 52"/>
                <a:gd name="T37" fmla="*/ 9 h 21"/>
                <a:gd name="T38" fmla="*/ 14 w 52"/>
                <a:gd name="T39" fmla="*/ 9 h 21"/>
                <a:gd name="T40" fmla="*/ 14 w 52"/>
                <a:gd name="T41" fmla="*/ 12 h 21"/>
                <a:gd name="T42" fmla="*/ 7 w 52"/>
                <a:gd name="T43" fmla="*/ 12 h 21"/>
                <a:gd name="T44" fmla="*/ 12 w 52"/>
                <a:gd name="T45" fmla="*/ 19 h 21"/>
                <a:gd name="T46" fmla="*/ 14 w 52"/>
                <a:gd name="T47" fmla="*/ 16 h 21"/>
                <a:gd name="T48" fmla="*/ 16 w 52"/>
                <a:gd name="T49" fmla="*/ 16 h 21"/>
                <a:gd name="T50" fmla="*/ 19 w 52"/>
                <a:gd name="T51" fmla="*/ 14 h 21"/>
                <a:gd name="T52" fmla="*/ 23 w 52"/>
                <a:gd name="T53" fmla="*/ 9 h 21"/>
                <a:gd name="T54" fmla="*/ 26 w 52"/>
                <a:gd name="T55" fmla="*/ 5 h 21"/>
                <a:gd name="T56" fmla="*/ 14 w 52"/>
                <a:gd name="T57" fmla="*/ 0 h 21"/>
                <a:gd name="T58" fmla="*/ 9 w 52"/>
                <a:gd name="T59" fmla="*/ 0 h 21"/>
                <a:gd name="T60" fmla="*/ 52 w 52"/>
                <a:gd name="T61" fmla="*/ 7 h 21"/>
                <a:gd name="T62" fmla="*/ 49 w 52"/>
                <a:gd name="T63" fmla="*/ 5 h 21"/>
                <a:gd name="T64" fmla="*/ 47 w 52"/>
                <a:gd name="T65" fmla="*/ 2 h 21"/>
                <a:gd name="T66" fmla="*/ 42 w 52"/>
                <a:gd name="T67" fmla="*/ 2 h 21"/>
                <a:gd name="T68" fmla="*/ 45 w 52"/>
                <a:gd name="T69" fmla="*/ 5 h 21"/>
                <a:gd name="T70" fmla="*/ 40 w 52"/>
                <a:gd name="T71" fmla="*/ 5 h 21"/>
                <a:gd name="T72" fmla="*/ 40 w 52"/>
                <a:gd name="T73" fmla="*/ 2 h 21"/>
                <a:gd name="T74" fmla="*/ 38 w 52"/>
                <a:gd name="T75" fmla="*/ 0 h 21"/>
                <a:gd name="T76" fmla="*/ 30 w 52"/>
                <a:gd name="T77" fmla="*/ 0 h 21"/>
                <a:gd name="T78" fmla="*/ 30 w 52"/>
                <a:gd name="T79" fmla="*/ 5 h 21"/>
                <a:gd name="T80" fmla="*/ 33 w 52"/>
                <a:gd name="T81" fmla="*/ 7 h 21"/>
                <a:gd name="T82" fmla="*/ 30 w 52"/>
                <a:gd name="T83" fmla="*/ 9 h 21"/>
                <a:gd name="T84" fmla="*/ 26 w 52"/>
                <a:gd name="T85" fmla="*/ 16 h 21"/>
                <a:gd name="T86" fmla="*/ 33 w 52"/>
                <a:gd name="T87" fmla="*/ 21 h 21"/>
                <a:gd name="T88" fmla="*/ 35 w 52"/>
                <a:gd name="T89" fmla="*/ 19 h 21"/>
                <a:gd name="T90" fmla="*/ 35 w 52"/>
                <a:gd name="T91" fmla="*/ 14 h 21"/>
                <a:gd name="T92" fmla="*/ 42 w 52"/>
                <a:gd name="T93" fmla="*/ 14 h 21"/>
                <a:gd name="T94" fmla="*/ 47 w 52"/>
                <a:gd name="T95" fmla="*/ 9 h 21"/>
                <a:gd name="T96" fmla="*/ 52 w 52"/>
                <a:gd name="T9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21">
                  <a:moveTo>
                    <a:pt x="26" y="16"/>
                  </a:moveTo>
                  <a:lnTo>
                    <a:pt x="26" y="16"/>
                  </a:lnTo>
                  <a:lnTo>
                    <a:pt x="26" y="16"/>
                  </a:lnTo>
                  <a:lnTo>
                    <a:pt x="26" y="19"/>
                  </a:lnTo>
                  <a:lnTo>
                    <a:pt x="26" y="19"/>
                  </a:lnTo>
                  <a:lnTo>
                    <a:pt x="26" y="19"/>
                  </a:lnTo>
                  <a:lnTo>
                    <a:pt x="28" y="19"/>
                  </a:lnTo>
                  <a:lnTo>
                    <a:pt x="26" y="16"/>
                  </a:lnTo>
                  <a:lnTo>
                    <a:pt x="26" y="16"/>
                  </a:lnTo>
                  <a:close/>
                  <a:moveTo>
                    <a:pt x="45" y="14"/>
                  </a:moveTo>
                  <a:lnTo>
                    <a:pt x="45" y="14"/>
                  </a:lnTo>
                  <a:lnTo>
                    <a:pt x="45" y="14"/>
                  </a:lnTo>
                  <a:lnTo>
                    <a:pt x="45" y="16"/>
                  </a:lnTo>
                  <a:lnTo>
                    <a:pt x="47" y="16"/>
                  </a:lnTo>
                  <a:lnTo>
                    <a:pt x="45" y="14"/>
                  </a:lnTo>
                  <a:lnTo>
                    <a:pt x="45" y="14"/>
                  </a:lnTo>
                  <a:close/>
                  <a:moveTo>
                    <a:pt x="5" y="9"/>
                  </a:moveTo>
                  <a:lnTo>
                    <a:pt x="2" y="9"/>
                  </a:lnTo>
                  <a:lnTo>
                    <a:pt x="2" y="9"/>
                  </a:lnTo>
                  <a:lnTo>
                    <a:pt x="0" y="12"/>
                  </a:lnTo>
                  <a:lnTo>
                    <a:pt x="2" y="12"/>
                  </a:lnTo>
                  <a:lnTo>
                    <a:pt x="2" y="12"/>
                  </a:lnTo>
                  <a:lnTo>
                    <a:pt x="5" y="12"/>
                  </a:lnTo>
                  <a:lnTo>
                    <a:pt x="5" y="12"/>
                  </a:lnTo>
                  <a:lnTo>
                    <a:pt x="5" y="9"/>
                  </a:lnTo>
                  <a:lnTo>
                    <a:pt x="5" y="9"/>
                  </a:lnTo>
                  <a:close/>
                  <a:moveTo>
                    <a:pt x="26" y="5"/>
                  </a:moveTo>
                  <a:lnTo>
                    <a:pt x="26" y="5"/>
                  </a:lnTo>
                  <a:lnTo>
                    <a:pt x="26" y="5"/>
                  </a:lnTo>
                  <a:lnTo>
                    <a:pt x="28" y="2"/>
                  </a:lnTo>
                  <a:lnTo>
                    <a:pt x="28" y="2"/>
                  </a:lnTo>
                  <a:lnTo>
                    <a:pt x="26" y="2"/>
                  </a:lnTo>
                  <a:lnTo>
                    <a:pt x="26" y="0"/>
                  </a:lnTo>
                  <a:lnTo>
                    <a:pt x="23" y="2"/>
                  </a:lnTo>
                  <a:lnTo>
                    <a:pt x="23" y="2"/>
                  </a:lnTo>
                  <a:lnTo>
                    <a:pt x="21" y="2"/>
                  </a:lnTo>
                  <a:lnTo>
                    <a:pt x="19" y="2"/>
                  </a:lnTo>
                  <a:lnTo>
                    <a:pt x="19" y="2"/>
                  </a:lnTo>
                  <a:lnTo>
                    <a:pt x="16" y="2"/>
                  </a:lnTo>
                  <a:lnTo>
                    <a:pt x="14" y="2"/>
                  </a:lnTo>
                  <a:lnTo>
                    <a:pt x="14" y="2"/>
                  </a:lnTo>
                  <a:lnTo>
                    <a:pt x="12" y="2"/>
                  </a:lnTo>
                  <a:lnTo>
                    <a:pt x="7" y="2"/>
                  </a:lnTo>
                  <a:lnTo>
                    <a:pt x="7" y="0"/>
                  </a:lnTo>
                  <a:lnTo>
                    <a:pt x="5" y="0"/>
                  </a:lnTo>
                  <a:lnTo>
                    <a:pt x="7" y="2"/>
                  </a:lnTo>
                  <a:lnTo>
                    <a:pt x="7" y="2"/>
                  </a:lnTo>
                  <a:lnTo>
                    <a:pt x="7" y="5"/>
                  </a:lnTo>
                  <a:lnTo>
                    <a:pt x="9" y="5"/>
                  </a:lnTo>
                  <a:lnTo>
                    <a:pt x="12" y="5"/>
                  </a:lnTo>
                  <a:lnTo>
                    <a:pt x="14" y="7"/>
                  </a:lnTo>
                  <a:lnTo>
                    <a:pt x="14" y="7"/>
                  </a:lnTo>
                  <a:lnTo>
                    <a:pt x="9" y="7"/>
                  </a:lnTo>
                  <a:lnTo>
                    <a:pt x="9" y="7"/>
                  </a:lnTo>
                  <a:lnTo>
                    <a:pt x="9" y="7"/>
                  </a:lnTo>
                  <a:lnTo>
                    <a:pt x="9" y="9"/>
                  </a:lnTo>
                  <a:lnTo>
                    <a:pt x="12" y="9"/>
                  </a:lnTo>
                  <a:lnTo>
                    <a:pt x="12" y="9"/>
                  </a:lnTo>
                  <a:lnTo>
                    <a:pt x="14" y="9"/>
                  </a:lnTo>
                  <a:lnTo>
                    <a:pt x="14" y="9"/>
                  </a:lnTo>
                  <a:lnTo>
                    <a:pt x="14" y="9"/>
                  </a:lnTo>
                  <a:lnTo>
                    <a:pt x="14" y="9"/>
                  </a:lnTo>
                  <a:lnTo>
                    <a:pt x="14" y="12"/>
                  </a:lnTo>
                  <a:lnTo>
                    <a:pt x="12" y="12"/>
                  </a:lnTo>
                  <a:lnTo>
                    <a:pt x="9" y="14"/>
                  </a:lnTo>
                  <a:lnTo>
                    <a:pt x="7" y="12"/>
                  </a:lnTo>
                  <a:lnTo>
                    <a:pt x="5" y="14"/>
                  </a:lnTo>
                  <a:lnTo>
                    <a:pt x="9" y="16"/>
                  </a:lnTo>
                  <a:lnTo>
                    <a:pt x="12" y="19"/>
                  </a:lnTo>
                  <a:lnTo>
                    <a:pt x="14" y="19"/>
                  </a:lnTo>
                  <a:lnTo>
                    <a:pt x="14" y="16"/>
                  </a:lnTo>
                  <a:lnTo>
                    <a:pt x="14" y="16"/>
                  </a:lnTo>
                  <a:lnTo>
                    <a:pt x="16" y="16"/>
                  </a:lnTo>
                  <a:lnTo>
                    <a:pt x="16" y="16"/>
                  </a:lnTo>
                  <a:lnTo>
                    <a:pt x="16" y="16"/>
                  </a:lnTo>
                  <a:lnTo>
                    <a:pt x="16" y="14"/>
                  </a:lnTo>
                  <a:lnTo>
                    <a:pt x="16" y="14"/>
                  </a:lnTo>
                  <a:lnTo>
                    <a:pt x="19" y="14"/>
                  </a:lnTo>
                  <a:lnTo>
                    <a:pt x="21" y="14"/>
                  </a:lnTo>
                  <a:lnTo>
                    <a:pt x="21" y="14"/>
                  </a:lnTo>
                  <a:lnTo>
                    <a:pt x="23" y="9"/>
                  </a:lnTo>
                  <a:lnTo>
                    <a:pt x="23" y="7"/>
                  </a:lnTo>
                  <a:lnTo>
                    <a:pt x="26" y="7"/>
                  </a:lnTo>
                  <a:lnTo>
                    <a:pt x="26" y="5"/>
                  </a:lnTo>
                  <a:close/>
                  <a:moveTo>
                    <a:pt x="12" y="2"/>
                  </a:moveTo>
                  <a:lnTo>
                    <a:pt x="14" y="2"/>
                  </a:lnTo>
                  <a:lnTo>
                    <a:pt x="14" y="0"/>
                  </a:lnTo>
                  <a:lnTo>
                    <a:pt x="14" y="0"/>
                  </a:lnTo>
                  <a:lnTo>
                    <a:pt x="12" y="0"/>
                  </a:lnTo>
                  <a:lnTo>
                    <a:pt x="9" y="0"/>
                  </a:lnTo>
                  <a:lnTo>
                    <a:pt x="9" y="0"/>
                  </a:lnTo>
                  <a:lnTo>
                    <a:pt x="12" y="2"/>
                  </a:lnTo>
                  <a:close/>
                  <a:moveTo>
                    <a:pt x="52" y="7"/>
                  </a:moveTo>
                  <a:lnTo>
                    <a:pt x="52" y="7"/>
                  </a:lnTo>
                  <a:lnTo>
                    <a:pt x="49" y="5"/>
                  </a:lnTo>
                  <a:lnTo>
                    <a:pt x="49" y="5"/>
                  </a:lnTo>
                  <a:lnTo>
                    <a:pt x="52" y="5"/>
                  </a:lnTo>
                  <a:lnTo>
                    <a:pt x="49" y="2"/>
                  </a:lnTo>
                  <a:lnTo>
                    <a:pt x="47" y="2"/>
                  </a:lnTo>
                  <a:lnTo>
                    <a:pt x="45" y="2"/>
                  </a:lnTo>
                  <a:lnTo>
                    <a:pt x="42" y="2"/>
                  </a:lnTo>
                  <a:lnTo>
                    <a:pt x="42" y="2"/>
                  </a:lnTo>
                  <a:lnTo>
                    <a:pt x="45" y="5"/>
                  </a:lnTo>
                  <a:lnTo>
                    <a:pt x="45" y="5"/>
                  </a:lnTo>
                  <a:lnTo>
                    <a:pt x="45" y="5"/>
                  </a:lnTo>
                  <a:lnTo>
                    <a:pt x="45" y="5"/>
                  </a:lnTo>
                  <a:lnTo>
                    <a:pt x="40" y="5"/>
                  </a:lnTo>
                  <a:lnTo>
                    <a:pt x="40" y="5"/>
                  </a:lnTo>
                  <a:lnTo>
                    <a:pt x="40" y="2"/>
                  </a:lnTo>
                  <a:lnTo>
                    <a:pt x="40" y="2"/>
                  </a:lnTo>
                  <a:lnTo>
                    <a:pt x="40" y="2"/>
                  </a:lnTo>
                  <a:lnTo>
                    <a:pt x="40" y="2"/>
                  </a:lnTo>
                  <a:lnTo>
                    <a:pt x="40" y="0"/>
                  </a:lnTo>
                  <a:lnTo>
                    <a:pt x="38" y="0"/>
                  </a:lnTo>
                  <a:lnTo>
                    <a:pt x="35" y="0"/>
                  </a:lnTo>
                  <a:lnTo>
                    <a:pt x="33" y="0"/>
                  </a:lnTo>
                  <a:lnTo>
                    <a:pt x="30" y="0"/>
                  </a:lnTo>
                  <a:lnTo>
                    <a:pt x="33" y="0"/>
                  </a:lnTo>
                  <a:lnTo>
                    <a:pt x="30" y="5"/>
                  </a:lnTo>
                  <a:lnTo>
                    <a:pt x="30" y="5"/>
                  </a:lnTo>
                  <a:lnTo>
                    <a:pt x="33" y="7"/>
                  </a:lnTo>
                  <a:lnTo>
                    <a:pt x="33" y="7"/>
                  </a:lnTo>
                  <a:lnTo>
                    <a:pt x="33" y="7"/>
                  </a:lnTo>
                  <a:lnTo>
                    <a:pt x="30" y="7"/>
                  </a:lnTo>
                  <a:lnTo>
                    <a:pt x="30" y="9"/>
                  </a:lnTo>
                  <a:lnTo>
                    <a:pt x="30" y="9"/>
                  </a:lnTo>
                  <a:lnTo>
                    <a:pt x="26" y="12"/>
                  </a:lnTo>
                  <a:lnTo>
                    <a:pt x="28" y="14"/>
                  </a:lnTo>
                  <a:lnTo>
                    <a:pt x="26" y="16"/>
                  </a:lnTo>
                  <a:lnTo>
                    <a:pt x="28" y="16"/>
                  </a:lnTo>
                  <a:lnTo>
                    <a:pt x="30" y="19"/>
                  </a:lnTo>
                  <a:lnTo>
                    <a:pt x="33" y="21"/>
                  </a:lnTo>
                  <a:lnTo>
                    <a:pt x="33" y="19"/>
                  </a:lnTo>
                  <a:lnTo>
                    <a:pt x="33" y="19"/>
                  </a:lnTo>
                  <a:lnTo>
                    <a:pt x="35" y="19"/>
                  </a:lnTo>
                  <a:lnTo>
                    <a:pt x="38" y="16"/>
                  </a:lnTo>
                  <a:lnTo>
                    <a:pt x="33" y="14"/>
                  </a:lnTo>
                  <a:lnTo>
                    <a:pt x="35" y="14"/>
                  </a:lnTo>
                  <a:lnTo>
                    <a:pt x="42" y="16"/>
                  </a:lnTo>
                  <a:lnTo>
                    <a:pt x="42" y="14"/>
                  </a:lnTo>
                  <a:lnTo>
                    <a:pt x="42" y="14"/>
                  </a:lnTo>
                  <a:lnTo>
                    <a:pt x="40" y="12"/>
                  </a:lnTo>
                  <a:lnTo>
                    <a:pt x="45" y="12"/>
                  </a:lnTo>
                  <a:lnTo>
                    <a:pt x="47" y="9"/>
                  </a:lnTo>
                  <a:lnTo>
                    <a:pt x="47" y="9"/>
                  </a:lnTo>
                  <a:lnTo>
                    <a:pt x="49" y="9"/>
                  </a:lnTo>
                  <a:lnTo>
                    <a:pt x="52" y="7"/>
                  </a:lnTo>
                  <a:lnTo>
                    <a:pt x="52" y="7"/>
                  </a:lnTo>
                  <a:lnTo>
                    <a:pt x="52" y="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0" name="Freeform 346"/>
            <p:cNvSpPr>
              <a:spLocks/>
            </p:cNvSpPr>
            <p:nvPr userDrawn="1"/>
          </p:nvSpPr>
          <p:spPr bwMode="auto">
            <a:xfrm>
              <a:off x="4266" y="2493"/>
              <a:ext cx="278" cy="241"/>
            </a:xfrm>
            <a:custGeom>
              <a:avLst/>
              <a:gdLst>
                <a:gd name="T0" fmla="*/ 238 w 278"/>
                <a:gd name="T1" fmla="*/ 137 h 241"/>
                <a:gd name="T2" fmla="*/ 207 w 278"/>
                <a:gd name="T3" fmla="*/ 128 h 241"/>
                <a:gd name="T4" fmla="*/ 195 w 278"/>
                <a:gd name="T5" fmla="*/ 118 h 241"/>
                <a:gd name="T6" fmla="*/ 186 w 278"/>
                <a:gd name="T7" fmla="*/ 107 h 241"/>
                <a:gd name="T8" fmla="*/ 181 w 278"/>
                <a:gd name="T9" fmla="*/ 97 h 241"/>
                <a:gd name="T10" fmla="*/ 176 w 278"/>
                <a:gd name="T11" fmla="*/ 90 h 241"/>
                <a:gd name="T12" fmla="*/ 181 w 278"/>
                <a:gd name="T13" fmla="*/ 83 h 241"/>
                <a:gd name="T14" fmla="*/ 174 w 278"/>
                <a:gd name="T15" fmla="*/ 81 h 241"/>
                <a:gd name="T16" fmla="*/ 165 w 278"/>
                <a:gd name="T17" fmla="*/ 83 h 241"/>
                <a:gd name="T18" fmla="*/ 160 w 278"/>
                <a:gd name="T19" fmla="*/ 71 h 241"/>
                <a:gd name="T20" fmla="*/ 167 w 278"/>
                <a:gd name="T21" fmla="*/ 59 h 241"/>
                <a:gd name="T22" fmla="*/ 167 w 278"/>
                <a:gd name="T23" fmla="*/ 45 h 241"/>
                <a:gd name="T24" fmla="*/ 155 w 278"/>
                <a:gd name="T25" fmla="*/ 33 h 241"/>
                <a:gd name="T26" fmla="*/ 139 w 278"/>
                <a:gd name="T27" fmla="*/ 17 h 241"/>
                <a:gd name="T28" fmla="*/ 127 w 278"/>
                <a:gd name="T29" fmla="*/ 10 h 241"/>
                <a:gd name="T30" fmla="*/ 118 w 278"/>
                <a:gd name="T31" fmla="*/ 7 h 241"/>
                <a:gd name="T32" fmla="*/ 110 w 278"/>
                <a:gd name="T33" fmla="*/ 7 h 241"/>
                <a:gd name="T34" fmla="*/ 99 w 278"/>
                <a:gd name="T35" fmla="*/ 10 h 241"/>
                <a:gd name="T36" fmla="*/ 92 w 278"/>
                <a:gd name="T37" fmla="*/ 5 h 241"/>
                <a:gd name="T38" fmla="*/ 85 w 278"/>
                <a:gd name="T39" fmla="*/ 5 h 241"/>
                <a:gd name="T40" fmla="*/ 80 w 278"/>
                <a:gd name="T41" fmla="*/ 17 h 241"/>
                <a:gd name="T42" fmla="*/ 73 w 278"/>
                <a:gd name="T43" fmla="*/ 12 h 241"/>
                <a:gd name="T44" fmla="*/ 63 w 278"/>
                <a:gd name="T45" fmla="*/ 12 h 241"/>
                <a:gd name="T46" fmla="*/ 59 w 278"/>
                <a:gd name="T47" fmla="*/ 26 h 241"/>
                <a:gd name="T48" fmla="*/ 56 w 278"/>
                <a:gd name="T49" fmla="*/ 38 h 241"/>
                <a:gd name="T50" fmla="*/ 52 w 278"/>
                <a:gd name="T51" fmla="*/ 47 h 241"/>
                <a:gd name="T52" fmla="*/ 42 w 278"/>
                <a:gd name="T53" fmla="*/ 55 h 241"/>
                <a:gd name="T54" fmla="*/ 35 w 278"/>
                <a:gd name="T55" fmla="*/ 69 h 241"/>
                <a:gd name="T56" fmla="*/ 35 w 278"/>
                <a:gd name="T57" fmla="*/ 85 h 241"/>
                <a:gd name="T58" fmla="*/ 28 w 278"/>
                <a:gd name="T59" fmla="*/ 85 h 241"/>
                <a:gd name="T60" fmla="*/ 21 w 278"/>
                <a:gd name="T61" fmla="*/ 92 h 241"/>
                <a:gd name="T62" fmla="*/ 21 w 278"/>
                <a:gd name="T63" fmla="*/ 107 h 241"/>
                <a:gd name="T64" fmla="*/ 19 w 278"/>
                <a:gd name="T65" fmla="*/ 121 h 241"/>
                <a:gd name="T66" fmla="*/ 19 w 278"/>
                <a:gd name="T67" fmla="*/ 135 h 241"/>
                <a:gd name="T68" fmla="*/ 9 w 278"/>
                <a:gd name="T69" fmla="*/ 137 h 241"/>
                <a:gd name="T70" fmla="*/ 0 w 278"/>
                <a:gd name="T71" fmla="*/ 144 h 241"/>
                <a:gd name="T72" fmla="*/ 4 w 278"/>
                <a:gd name="T73" fmla="*/ 152 h 241"/>
                <a:gd name="T74" fmla="*/ 16 w 278"/>
                <a:gd name="T75" fmla="*/ 156 h 241"/>
                <a:gd name="T76" fmla="*/ 21 w 278"/>
                <a:gd name="T77" fmla="*/ 166 h 241"/>
                <a:gd name="T78" fmla="*/ 30 w 278"/>
                <a:gd name="T79" fmla="*/ 175 h 241"/>
                <a:gd name="T80" fmla="*/ 37 w 278"/>
                <a:gd name="T81" fmla="*/ 192 h 241"/>
                <a:gd name="T82" fmla="*/ 42 w 278"/>
                <a:gd name="T83" fmla="*/ 199 h 241"/>
                <a:gd name="T84" fmla="*/ 44 w 278"/>
                <a:gd name="T85" fmla="*/ 201 h 241"/>
                <a:gd name="T86" fmla="*/ 52 w 278"/>
                <a:gd name="T87" fmla="*/ 206 h 241"/>
                <a:gd name="T88" fmla="*/ 52 w 278"/>
                <a:gd name="T89" fmla="*/ 215 h 241"/>
                <a:gd name="T90" fmla="*/ 61 w 278"/>
                <a:gd name="T91" fmla="*/ 220 h 241"/>
                <a:gd name="T92" fmla="*/ 77 w 278"/>
                <a:gd name="T93" fmla="*/ 225 h 241"/>
                <a:gd name="T94" fmla="*/ 94 w 278"/>
                <a:gd name="T95" fmla="*/ 237 h 241"/>
                <a:gd name="T96" fmla="*/ 110 w 278"/>
                <a:gd name="T97" fmla="*/ 241 h 241"/>
                <a:gd name="T98" fmla="*/ 125 w 278"/>
                <a:gd name="T99" fmla="*/ 239 h 241"/>
                <a:gd name="T100" fmla="*/ 139 w 278"/>
                <a:gd name="T101" fmla="*/ 227 h 241"/>
                <a:gd name="T102" fmla="*/ 151 w 278"/>
                <a:gd name="T103" fmla="*/ 232 h 241"/>
                <a:gd name="T104" fmla="*/ 162 w 278"/>
                <a:gd name="T105" fmla="*/ 232 h 241"/>
                <a:gd name="T106" fmla="*/ 174 w 278"/>
                <a:gd name="T107" fmla="*/ 225 h 241"/>
                <a:gd name="T108" fmla="*/ 186 w 278"/>
                <a:gd name="T109" fmla="*/ 218 h 241"/>
                <a:gd name="T110" fmla="*/ 200 w 278"/>
                <a:gd name="T111" fmla="*/ 211 h 241"/>
                <a:gd name="T112" fmla="*/ 217 w 278"/>
                <a:gd name="T113" fmla="*/ 211 h 241"/>
                <a:gd name="T114" fmla="*/ 233 w 278"/>
                <a:gd name="T115" fmla="*/ 194 h 241"/>
                <a:gd name="T116" fmla="*/ 259 w 278"/>
                <a:gd name="T117" fmla="*/ 166 h 241"/>
                <a:gd name="T118" fmla="*/ 259 w 278"/>
                <a:gd name="T119" fmla="*/ 14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241">
                  <a:moveTo>
                    <a:pt x="259" y="147"/>
                  </a:moveTo>
                  <a:lnTo>
                    <a:pt x="257" y="144"/>
                  </a:lnTo>
                  <a:lnTo>
                    <a:pt x="252" y="144"/>
                  </a:lnTo>
                  <a:lnTo>
                    <a:pt x="245" y="142"/>
                  </a:lnTo>
                  <a:lnTo>
                    <a:pt x="238" y="137"/>
                  </a:lnTo>
                  <a:lnTo>
                    <a:pt x="231" y="135"/>
                  </a:lnTo>
                  <a:lnTo>
                    <a:pt x="226" y="133"/>
                  </a:lnTo>
                  <a:lnTo>
                    <a:pt x="219" y="130"/>
                  </a:lnTo>
                  <a:lnTo>
                    <a:pt x="214" y="130"/>
                  </a:lnTo>
                  <a:lnTo>
                    <a:pt x="207" y="128"/>
                  </a:lnTo>
                  <a:lnTo>
                    <a:pt x="202" y="126"/>
                  </a:lnTo>
                  <a:lnTo>
                    <a:pt x="202" y="126"/>
                  </a:lnTo>
                  <a:lnTo>
                    <a:pt x="200" y="121"/>
                  </a:lnTo>
                  <a:lnTo>
                    <a:pt x="195" y="118"/>
                  </a:lnTo>
                  <a:lnTo>
                    <a:pt x="195" y="118"/>
                  </a:lnTo>
                  <a:lnTo>
                    <a:pt x="193" y="116"/>
                  </a:lnTo>
                  <a:lnTo>
                    <a:pt x="191" y="114"/>
                  </a:lnTo>
                  <a:lnTo>
                    <a:pt x="188" y="111"/>
                  </a:lnTo>
                  <a:lnTo>
                    <a:pt x="188" y="109"/>
                  </a:lnTo>
                  <a:lnTo>
                    <a:pt x="186" y="107"/>
                  </a:lnTo>
                  <a:lnTo>
                    <a:pt x="186" y="104"/>
                  </a:lnTo>
                  <a:lnTo>
                    <a:pt x="184" y="104"/>
                  </a:lnTo>
                  <a:lnTo>
                    <a:pt x="181" y="100"/>
                  </a:lnTo>
                  <a:lnTo>
                    <a:pt x="181" y="100"/>
                  </a:lnTo>
                  <a:lnTo>
                    <a:pt x="181" y="97"/>
                  </a:lnTo>
                  <a:lnTo>
                    <a:pt x="179" y="95"/>
                  </a:lnTo>
                  <a:lnTo>
                    <a:pt x="179" y="92"/>
                  </a:lnTo>
                  <a:lnTo>
                    <a:pt x="176" y="92"/>
                  </a:lnTo>
                  <a:lnTo>
                    <a:pt x="176" y="90"/>
                  </a:lnTo>
                  <a:lnTo>
                    <a:pt x="176" y="90"/>
                  </a:lnTo>
                  <a:lnTo>
                    <a:pt x="179" y="88"/>
                  </a:lnTo>
                  <a:lnTo>
                    <a:pt x="179" y="85"/>
                  </a:lnTo>
                  <a:lnTo>
                    <a:pt x="181" y="85"/>
                  </a:lnTo>
                  <a:lnTo>
                    <a:pt x="181" y="83"/>
                  </a:lnTo>
                  <a:lnTo>
                    <a:pt x="181" y="83"/>
                  </a:lnTo>
                  <a:lnTo>
                    <a:pt x="181" y="83"/>
                  </a:lnTo>
                  <a:lnTo>
                    <a:pt x="179" y="83"/>
                  </a:lnTo>
                  <a:lnTo>
                    <a:pt x="179" y="81"/>
                  </a:lnTo>
                  <a:lnTo>
                    <a:pt x="176" y="81"/>
                  </a:lnTo>
                  <a:lnTo>
                    <a:pt x="174" y="81"/>
                  </a:lnTo>
                  <a:lnTo>
                    <a:pt x="174" y="81"/>
                  </a:lnTo>
                  <a:lnTo>
                    <a:pt x="169" y="83"/>
                  </a:lnTo>
                  <a:lnTo>
                    <a:pt x="167" y="83"/>
                  </a:lnTo>
                  <a:lnTo>
                    <a:pt x="165" y="83"/>
                  </a:lnTo>
                  <a:lnTo>
                    <a:pt x="165" y="83"/>
                  </a:lnTo>
                  <a:lnTo>
                    <a:pt x="162" y="83"/>
                  </a:lnTo>
                  <a:lnTo>
                    <a:pt x="160" y="83"/>
                  </a:lnTo>
                  <a:lnTo>
                    <a:pt x="160" y="78"/>
                  </a:lnTo>
                  <a:lnTo>
                    <a:pt x="160" y="73"/>
                  </a:lnTo>
                  <a:lnTo>
                    <a:pt x="160" y="71"/>
                  </a:lnTo>
                  <a:lnTo>
                    <a:pt x="160" y="69"/>
                  </a:lnTo>
                  <a:lnTo>
                    <a:pt x="160" y="66"/>
                  </a:lnTo>
                  <a:lnTo>
                    <a:pt x="162" y="64"/>
                  </a:lnTo>
                  <a:lnTo>
                    <a:pt x="165" y="64"/>
                  </a:lnTo>
                  <a:lnTo>
                    <a:pt x="167" y="59"/>
                  </a:lnTo>
                  <a:lnTo>
                    <a:pt x="169" y="55"/>
                  </a:lnTo>
                  <a:lnTo>
                    <a:pt x="172" y="52"/>
                  </a:lnTo>
                  <a:lnTo>
                    <a:pt x="169" y="50"/>
                  </a:lnTo>
                  <a:lnTo>
                    <a:pt x="167" y="47"/>
                  </a:lnTo>
                  <a:lnTo>
                    <a:pt x="167" y="45"/>
                  </a:lnTo>
                  <a:lnTo>
                    <a:pt x="165" y="45"/>
                  </a:lnTo>
                  <a:lnTo>
                    <a:pt x="162" y="43"/>
                  </a:lnTo>
                  <a:lnTo>
                    <a:pt x="160" y="40"/>
                  </a:lnTo>
                  <a:lnTo>
                    <a:pt x="160" y="36"/>
                  </a:lnTo>
                  <a:lnTo>
                    <a:pt x="155" y="33"/>
                  </a:lnTo>
                  <a:lnTo>
                    <a:pt x="151" y="31"/>
                  </a:lnTo>
                  <a:lnTo>
                    <a:pt x="146" y="24"/>
                  </a:lnTo>
                  <a:lnTo>
                    <a:pt x="143" y="19"/>
                  </a:lnTo>
                  <a:lnTo>
                    <a:pt x="141" y="17"/>
                  </a:lnTo>
                  <a:lnTo>
                    <a:pt x="139" y="17"/>
                  </a:lnTo>
                  <a:lnTo>
                    <a:pt x="136" y="14"/>
                  </a:lnTo>
                  <a:lnTo>
                    <a:pt x="132" y="12"/>
                  </a:lnTo>
                  <a:lnTo>
                    <a:pt x="129" y="10"/>
                  </a:lnTo>
                  <a:lnTo>
                    <a:pt x="127" y="10"/>
                  </a:lnTo>
                  <a:lnTo>
                    <a:pt x="127" y="10"/>
                  </a:lnTo>
                  <a:lnTo>
                    <a:pt x="125" y="10"/>
                  </a:lnTo>
                  <a:lnTo>
                    <a:pt x="120" y="10"/>
                  </a:lnTo>
                  <a:lnTo>
                    <a:pt x="120" y="10"/>
                  </a:lnTo>
                  <a:lnTo>
                    <a:pt x="118" y="7"/>
                  </a:lnTo>
                  <a:lnTo>
                    <a:pt x="118" y="7"/>
                  </a:lnTo>
                  <a:lnTo>
                    <a:pt x="115" y="7"/>
                  </a:lnTo>
                  <a:lnTo>
                    <a:pt x="113" y="10"/>
                  </a:lnTo>
                  <a:lnTo>
                    <a:pt x="110" y="10"/>
                  </a:lnTo>
                  <a:lnTo>
                    <a:pt x="110" y="7"/>
                  </a:lnTo>
                  <a:lnTo>
                    <a:pt x="110" y="7"/>
                  </a:lnTo>
                  <a:lnTo>
                    <a:pt x="108" y="5"/>
                  </a:lnTo>
                  <a:lnTo>
                    <a:pt x="108" y="5"/>
                  </a:lnTo>
                  <a:lnTo>
                    <a:pt x="106" y="7"/>
                  </a:lnTo>
                  <a:lnTo>
                    <a:pt x="103" y="10"/>
                  </a:lnTo>
                  <a:lnTo>
                    <a:pt x="99" y="10"/>
                  </a:lnTo>
                  <a:lnTo>
                    <a:pt x="96" y="10"/>
                  </a:lnTo>
                  <a:lnTo>
                    <a:pt x="96" y="10"/>
                  </a:lnTo>
                  <a:lnTo>
                    <a:pt x="92" y="5"/>
                  </a:lnTo>
                  <a:lnTo>
                    <a:pt x="92" y="5"/>
                  </a:lnTo>
                  <a:lnTo>
                    <a:pt x="92" y="5"/>
                  </a:lnTo>
                  <a:lnTo>
                    <a:pt x="89" y="5"/>
                  </a:lnTo>
                  <a:lnTo>
                    <a:pt x="89" y="3"/>
                  </a:lnTo>
                  <a:lnTo>
                    <a:pt x="87" y="3"/>
                  </a:lnTo>
                  <a:lnTo>
                    <a:pt x="87" y="0"/>
                  </a:lnTo>
                  <a:lnTo>
                    <a:pt x="85" y="5"/>
                  </a:lnTo>
                  <a:lnTo>
                    <a:pt x="82" y="10"/>
                  </a:lnTo>
                  <a:lnTo>
                    <a:pt x="82" y="12"/>
                  </a:lnTo>
                  <a:lnTo>
                    <a:pt x="80" y="17"/>
                  </a:lnTo>
                  <a:lnTo>
                    <a:pt x="80" y="17"/>
                  </a:lnTo>
                  <a:lnTo>
                    <a:pt x="80" y="17"/>
                  </a:lnTo>
                  <a:lnTo>
                    <a:pt x="77" y="12"/>
                  </a:lnTo>
                  <a:lnTo>
                    <a:pt x="75" y="10"/>
                  </a:lnTo>
                  <a:lnTo>
                    <a:pt x="73" y="10"/>
                  </a:lnTo>
                  <a:lnTo>
                    <a:pt x="73" y="10"/>
                  </a:lnTo>
                  <a:lnTo>
                    <a:pt x="73" y="12"/>
                  </a:lnTo>
                  <a:lnTo>
                    <a:pt x="70" y="12"/>
                  </a:lnTo>
                  <a:lnTo>
                    <a:pt x="70" y="14"/>
                  </a:lnTo>
                  <a:lnTo>
                    <a:pt x="70" y="14"/>
                  </a:lnTo>
                  <a:lnTo>
                    <a:pt x="66" y="12"/>
                  </a:lnTo>
                  <a:lnTo>
                    <a:pt x="63" y="12"/>
                  </a:lnTo>
                  <a:lnTo>
                    <a:pt x="61" y="14"/>
                  </a:lnTo>
                  <a:lnTo>
                    <a:pt x="61" y="14"/>
                  </a:lnTo>
                  <a:lnTo>
                    <a:pt x="61" y="19"/>
                  </a:lnTo>
                  <a:lnTo>
                    <a:pt x="61" y="21"/>
                  </a:lnTo>
                  <a:lnTo>
                    <a:pt x="59" y="26"/>
                  </a:lnTo>
                  <a:lnTo>
                    <a:pt x="59" y="29"/>
                  </a:lnTo>
                  <a:lnTo>
                    <a:pt x="59" y="31"/>
                  </a:lnTo>
                  <a:lnTo>
                    <a:pt x="59" y="31"/>
                  </a:lnTo>
                  <a:lnTo>
                    <a:pt x="56" y="36"/>
                  </a:lnTo>
                  <a:lnTo>
                    <a:pt x="56" y="38"/>
                  </a:lnTo>
                  <a:lnTo>
                    <a:pt x="56" y="43"/>
                  </a:lnTo>
                  <a:lnTo>
                    <a:pt x="56" y="45"/>
                  </a:lnTo>
                  <a:lnTo>
                    <a:pt x="54" y="45"/>
                  </a:lnTo>
                  <a:lnTo>
                    <a:pt x="54" y="45"/>
                  </a:lnTo>
                  <a:lnTo>
                    <a:pt x="52" y="47"/>
                  </a:lnTo>
                  <a:lnTo>
                    <a:pt x="49" y="47"/>
                  </a:lnTo>
                  <a:lnTo>
                    <a:pt x="47" y="47"/>
                  </a:lnTo>
                  <a:lnTo>
                    <a:pt x="47" y="47"/>
                  </a:lnTo>
                  <a:lnTo>
                    <a:pt x="44" y="50"/>
                  </a:lnTo>
                  <a:lnTo>
                    <a:pt x="42" y="55"/>
                  </a:lnTo>
                  <a:lnTo>
                    <a:pt x="42" y="59"/>
                  </a:lnTo>
                  <a:lnTo>
                    <a:pt x="40" y="62"/>
                  </a:lnTo>
                  <a:lnTo>
                    <a:pt x="37" y="66"/>
                  </a:lnTo>
                  <a:lnTo>
                    <a:pt x="37" y="66"/>
                  </a:lnTo>
                  <a:lnTo>
                    <a:pt x="35" y="69"/>
                  </a:lnTo>
                  <a:lnTo>
                    <a:pt x="35" y="73"/>
                  </a:lnTo>
                  <a:lnTo>
                    <a:pt x="35" y="76"/>
                  </a:lnTo>
                  <a:lnTo>
                    <a:pt x="35" y="78"/>
                  </a:lnTo>
                  <a:lnTo>
                    <a:pt x="33" y="83"/>
                  </a:lnTo>
                  <a:lnTo>
                    <a:pt x="35" y="85"/>
                  </a:lnTo>
                  <a:lnTo>
                    <a:pt x="33" y="88"/>
                  </a:lnTo>
                  <a:lnTo>
                    <a:pt x="33" y="88"/>
                  </a:lnTo>
                  <a:lnTo>
                    <a:pt x="30" y="88"/>
                  </a:lnTo>
                  <a:lnTo>
                    <a:pt x="28" y="88"/>
                  </a:lnTo>
                  <a:lnTo>
                    <a:pt x="28" y="85"/>
                  </a:lnTo>
                  <a:lnTo>
                    <a:pt x="28" y="85"/>
                  </a:lnTo>
                  <a:lnTo>
                    <a:pt x="26" y="85"/>
                  </a:lnTo>
                  <a:lnTo>
                    <a:pt x="26" y="88"/>
                  </a:lnTo>
                  <a:lnTo>
                    <a:pt x="23" y="90"/>
                  </a:lnTo>
                  <a:lnTo>
                    <a:pt x="21" y="92"/>
                  </a:lnTo>
                  <a:lnTo>
                    <a:pt x="23" y="100"/>
                  </a:lnTo>
                  <a:lnTo>
                    <a:pt x="23" y="100"/>
                  </a:lnTo>
                  <a:lnTo>
                    <a:pt x="23" y="102"/>
                  </a:lnTo>
                  <a:lnTo>
                    <a:pt x="21" y="104"/>
                  </a:lnTo>
                  <a:lnTo>
                    <a:pt x="21" y="107"/>
                  </a:lnTo>
                  <a:lnTo>
                    <a:pt x="19" y="109"/>
                  </a:lnTo>
                  <a:lnTo>
                    <a:pt x="19" y="114"/>
                  </a:lnTo>
                  <a:lnTo>
                    <a:pt x="19" y="116"/>
                  </a:lnTo>
                  <a:lnTo>
                    <a:pt x="19" y="116"/>
                  </a:lnTo>
                  <a:lnTo>
                    <a:pt x="19" y="121"/>
                  </a:lnTo>
                  <a:lnTo>
                    <a:pt x="19" y="123"/>
                  </a:lnTo>
                  <a:lnTo>
                    <a:pt x="19" y="130"/>
                  </a:lnTo>
                  <a:lnTo>
                    <a:pt x="19" y="133"/>
                  </a:lnTo>
                  <a:lnTo>
                    <a:pt x="19" y="133"/>
                  </a:lnTo>
                  <a:lnTo>
                    <a:pt x="19" y="135"/>
                  </a:lnTo>
                  <a:lnTo>
                    <a:pt x="19" y="135"/>
                  </a:lnTo>
                  <a:lnTo>
                    <a:pt x="16" y="137"/>
                  </a:lnTo>
                  <a:lnTo>
                    <a:pt x="14" y="137"/>
                  </a:lnTo>
                  <a:lnTo>
                    <a:pt x="11" y="137"/>
                  </a:lnTo>
                  <a:lnTo>
                    <a:pt x="9" y="137"/>
                  </a:lnTo>
                  <a:lnTo>
                    <a:pt x="7" y="137"/>
                  </a:lnTo>
                  <a:lnTo>
                    <a:pt x="4" y="137"/>
                  </a:lnTo>
                  <a:lnTo>
                    <a:pt x="4" y="137"/>
                  </a:lnTo>
                  <a:lnTo>
                    <a:pt x="2" y="140"/>
                  </a:lnTo>
                  <a:lnTo>
                    <a:pt x="0" y="144"/>
                  </a:lnTo>
                  <a:lnTo>
                    <a:pt x="0" y="147"/>
                  </a:lnTo>
                  <a:lnTo>
                    <a:pt x="0" y="149"/>
                  </a:lnTo>
                  <a:lnTo>
                    <a:pt x="0" y="149"/>
                  </a:lnTo>
                  <a:lnTo>
                    <a:pt x="0" y="149"/>
                  </a:lnTo>
                  <a:lnTo>
                    <a:pt x="4" y="152"/>
                  </a:lnTo>
                  <a:lnTo>
                    <a:pt x="7" y="152"/>
                  </a:lnTo>
                  <a:lnTo>
                    <a:pt x="9" y="152"/>
                  </a:lnTo>
                  <a:lnTo>
                    <a:pt x="9" y="152"/>
                  </a:lnTo>
                  <a:lnTo>
                    <a:pt x="11" y="154"/>
                  </a:lnTo>
                  <a:lnTo>
                    <a:pt x="16" y="156"/>
                  </a:lnTo>
                  <a:lnTo>
                    <a:pt x="16" y="159"/>
                  </a:lnTo>
                  <a:lnTo>
                    <a:pt x="19" y="159"/>
                  </a:lnTo>
                  <a:lnTo>
                    <a:pt x="19" y="161"/>
                  </a:lnTo>
                  <a:lnTo>
                    <a:pt x="19" y="163"/>
                  </a:lnTo>
                  <a:lnTo>
                    <a:pt x="21" y="166"/>
                  </a:lnTo>
                  <a:lnTo>
                    <a:pt x="23" y="168"/>
                  </a:lnTo>
                  <a:lnTo>
                    <a:pt x="28" y="168"/>
                  </a:lnTo>
                  <a:lnTo>
                    <a:pt x="28" y="170"/>
                  </a:lnTo>
                  <a:lnTo>
                    <a:pt x="30" y="173"/>
                  </a:lnTo>
                  <a:lnTo>
                    <a:pt x="30" y="175"/>
                  </a:lnTo>
                  <a:lnTo>
                    <a:pt x="33" y="175"/>
                  </a:lnTo>
                  <a:lnTo>
                    <a:pt x="33" y="182"/>
                  </a:lnTo>
                  <a:lnTo>
                    <a:pt x="35" y="185"/>
                  </a:lnTo>
                  <a:lnTo>
                    <a:pt x="35" y="187"/>
                  </a:lnTo>
                  <a:lnTo>
                    <a:pt x="37" y="192"/>
                  </a:lnTo>
                  <a:lnTo>
                    <a:pt x="37" y="192"/>
                  </a:lnTo>
                  <a:lnTo>
                    <a:pt x="37" y="194"/>
                  </a:lnTo>
                  <a:lnTo>
                    <a:pt x="40" y="196"/>
                  </a:lnTo>
                  <a:lnTo>
                    <a:pt x="42" y="199"/>
                  </a:lnTo>
                  <a:lnTo>
                    <a:pt x="42" y="199"/>
                  </a:lnTo>
                  <a:lnTo>
                    <a:pt x="42" y="199"/>
                  </a:lnTo>
                  <a:lnTo>
                    <a:pt x="42" y="201"/>
                  </a:lnTo>
                  <a:lnTo>
                    <a:pt x="42" y="201"/>
                  </a:lnTo>
                  <a:lnTo>
                    <a:pt x="42" y="201"/>
                  </a:lnTo>
                  <a:lnTo>
                    <a:pt x="44" y="201"/>
                  </a:lnTo>
                  <a:lnTo>
                    <a:pt x="44" y="201"/>
                  </a:lnTo>
                  <a:lnTo>
                    <a:pt x="44" y="201"/>
                  </a:lnTo>
                  <a:lnTo>
                    <a:pt x="52" y="201"/>
                  </a:lnTo>
                  <a:lnTo>
                    <a:pt x="52" y="204"/>
                  </a:lnTo>
                  <a:lnTo>
                    <a:pt x="52" y="206"/>
                  </a:lnTo>
                  <a:lnTo>
                    <a:pt x="52" y="206"/>
                  </a:lnTo>
                  <a:lnTo>
                    <a:pt x="52" y="206"/>
                  </a:lnTo>
                  <a:lnTo>
                    <a:pt x="52" y="211"/>
                  </a:lnTo>
                  <a:lnTo>
                    <a:pt x="52" y="213"/>
                  </a:lnTo>
                  <a:lnTo>
                    <a:pt x="52" y="215"/>
                  </a:lnTo>
                  <a:lnTo>
                    <a:pt x="54" y="218"/>
                  </a:lnTo>
                  <a:lnTo>
                    <a:pt x="56" y="220"/>
                  </a:lnTo>
                  <a:lnTo>
                    <a:pt x="56" y="220"/>
                  </a:lnTo>
                  <a:lnTo>
                    <a:pt x="56" y="220"/>
                  </a:lnTo>
                  <a:lnTo>
                    <a:pt x="61" y="220"/>
                  </a:lnTo>
                  <a:lnTo>
                    <a:pt x="66" y="220"/>
                  </a:lnTo>
                  <a:lnTo>
                    <a:pt x="70" y="220"/>
                  </a:lnTo>
                  <a:lnTo>
                    <a:pt x="70" y="222"/>
                  </a:lnTo>
                  <a:lnTo>
                    <a:pt x="73" y="222"/>
                  </a:lnTo>
                  <a:lnTo>
                    <a:pt x="77" y="225"/>
                  </a:lnTo>
                  <a:lnTo>
                    <a:pt x="82" y="227"/>
                  </a:lnTo>
                  <a:lnTo>
                    <a:pt x="85" y="230"/>
                  </a:lnTo>
                  <a:lnTo>
                    <a:pt x="89" y="234"/>
                  </a:lnTo>
                  <a:lnTo>
                    <a:pt x="92" y="237"/>
                  </a:lnTo>
                  <a:lnTo>
                    <a:pt x="94" y="237"/>
                  </a:lnTo>
                  <a:lnTo>
                    <a:pt x="96" y="239"/>
                  </a:lnTo>
                  <a:lnTo>
                    <a:pt x="101" y="239"/>
                  </a:lnTo>
                  <a:lnTo>
                    <a:pt x="103" y="239"/>
                  </a:lnTo>
                  <a:lnTo>
                    <a:pt x="106" y="239"/>
                  </a:lnTo>
                  <a:lnTo>
                    <a:pt x="110" y="241"/>
                  </a:lnTo>
                  <a:lnTo>
                    <a:pt x="113" y="241"/>
                  </a:lnTo>
                  <a:lnTo>
                    <a:pt x="115" y="241"/>
                  </a:lnTo>
                  <a:lnTo>
                    <a:pt x="120" y="241"/>
                  </a:lnTo>
                  <a:lnTo>
                    <a:pt x="122" y="241"/>
                  </a:lnTo>
                  <a:lnTo>
                    <a:pt x="125" y="239"/>
                  </a:lnTo>
                  <a:lnTo>
                    <a:pt x="127" y="237"/>
                  </a:lnTo>
                  <a:lnTo>
                    <a:pt x="127" y="234"/>
                  </a:lnTo>
                  <a:lnTo>
                    <a:pt x="129" y="232"/>
                  </a:lnTo>
                  <a:lnTo>
                    <a:pt x="136" y="230"/>
                  </a:lnTo>
                  <a:lnTo>
                    <a:pt x="139" y="227"/>
                  </a:lnTo>
                  <a:lnTo>
                    <a:pt x="143" y="225"/>
                  </a:lnTo>
                  <a:lnTo>
                    <a:pt x="146" y="227"/>
                  </a:lnTo>
                  <a:lnTo>
                    <a:pt x="148" y="230"/>
                  </a:lnTo>
                  <a:lnTo>
                    <a:pt x="151" y="230"/>
                  </a:lnTo>
                  <a:lnTo>
                    <a:pt x="151" y="232"/>
                  </a:lnTo>
                  <a:lnTo>
                    <a:pt x="153" y="232"/>
                  </a:lnTo>
                  <a:lnTo>
                    <a:pt x="155" y="232"/>
                  </a:lnTo>
                  <a:lnTo>
                    <a:pt x="155" y="232"/>
                  </a:lnTo>
                  <a:lnTo>
                    <a:pt x="158" y="232"/>
                  </a:lnTo>
                  <a:lnTo>
                    <a:pt x="162" y="232"/>
                  </a:lnTo>
                  <a:lnTo>
                    <a:pt x="165" y="232"/>
                  </a:lnTo>
                  <a:lnTo>
                    <a:pt x="165" y="230"/>
                  </a:lnTo>
                  <a:lnTo>
                    <a:pt x="167" y="227"/>
                  </a:lnTo>
                  <a:lnTo>
                    <a:pt x="172" y="227"/>
                  </a:lnTo>
                  <a:lnTo>
                    <a:pt x="174" y="225"/>
                  </a:lnTo>
                  <a:lnTo>
                    <a:pt x="181" y="225"/>
                  </a:lnTo>
                  <a:lnTo>
                    <a:pt x="184" y="222"/>
                  </a:lnTo>
                  <a:lnTo>
                    <a:pt x="184" y="222"/>
                  </a:lnTo>
                  <a:lnTo>
                    <a:pt x="184" y="220"/>
                  </a:lnTo>
                  <a:lnTo>
                    <a:pt x="186" y="218"/>
                  </a:lnTo>
                  <a:lnTo>
                    <a:pt x="188" y="218"/>
                  </a:lnTo>
                  <a:lnTo>
                    <a:pt x="191" y="215"/>
                  </a:lnTo>
                  <a:lnTo>
                    <a:pt x="195" y="213"/>
                  </a:lnTo>
                  <a:lnTo>
                    <a:pt x="195" y="213"/>
                  </a:lnTo>
                  <a:lnTo>
                    <a:pt x="200" y="211"/>
                  </a:lnTo>
                  <a:lnTo>
                    <a:pt x="202" y="211"/>
                  </a:lnTo>
                  <a:lnTo>
                    <a:pt x="205" y="211"/>
                  </a:lnTo>
                  <a:lnTo>
                    <a:pt x="205" y="211"/>
                  </a:lnTo>
                  <a:lnTo>
                    <a:pt x="212" y="211"/>
                  </a:lnTo>
                  <a:lnTo>
                    <a:pt x="217" y="211"/>
                  </a:lnTo>
                  <a:lnTo>
                    <a:pt x="221" y="211"/>
                  </a:lnTo>
                  <a:lnTo>
                    <a:pt x="221" y="211"/>
                  </a:lnTo>
                  <a:lnTo>
                    <a:pt x="226" y="206"/>
                  </a:lnTo>
                  <a:lnTo>
                    <a:pt x="231" y="199"/>
                  </a:lnTo>
                  <a:lnTo>
                    <a:pt x="233" y="194"/>
                  </a:lnTo>
                  <a:lnTo>
                    <a:pt x="240" y="187"/>
                  </a:lnTo>
                  <a:lnTo>
                    <a:pt x="245" y="182"/>
                  </a:lnTo>
                  <a:lnTo>
                    <a:pt x="250" y="178"/>
                  </a:lnTo>
                  <a:lnTo>
                    <a:pt x="252" y="173"/>
                  </a:lnTo>
                  <a:lnTo>
                    <a:pt x="259" y="166"/>
                  </a:lnTo>
                  <a:lnTo>
                    <a:pt x="261" y="163"/>
                  </a:lnTo>
                  <a:lnTo>
                    <a:pt x="266" y="156"/>
                  </a:lnTo>
                  <a:lnTo>
                    <a:pt x="273" y="152"/>
                  </a:lnTo>
                  <a:lnTo>
                    <a:pt x="278" y="147"/>
                  </a:lnTo>
                  <a:lnTo>
                    <a:pt x="259" y="14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1" name="Freeform 347"/>
            <p:cNvSpPr>
              <a:spLocks noEditPoints="1"/>
            </p:cNvSpPr>
            <p:nvPr userDrawn="1"/>
          </p:nvSpPr>
          <p:spPr bwMode="auto">
            <a:xfrm>
              <a:off x="4021" y="1564"/>
              <a:ext cx="92" cy="43"/>
            </a:xfrm>
            <a:custGeom>
              <a:avLst/>
              <a:gdLst>
                <a:gd name="T0" fmla="*/ 11 w 92"/>
                <a:gd name="T1" fmla="*/ 21 h 43"/>
                <a:gd name="T2" fmla="*/ 7 w 92"/>
                <a:gd name="T3" fmla="*/ 21 h 43"/>
                <a:gd name="T4" fmla="*/ 4 w 92"/>
                <a:gd name="T5" fmla="*/ 24 h 43"/>
                <a:gd name="T6" fmla="*/ 2 w 92"/>
                <a:gd name="T7" fmla="*/ 24 h 43"/>
                <a:gd name="T8" fmla="*/ 0 w 92"/>
                <a:gd name="T9" fmla="*/ 26 h 43"/>
                <a:gd name="T10" fmla="*/ 4 w 92"/>
                <a:gd name="T11" fmla="*/ 28 h 43"/>
                <a:gd name="T12" fmla="*/ 2 w 92"/>
                <a:gd name="T13" fmla="*/ 33 h 43"/>
                <a:gd name="T14" fmla="*/ 7 w 92"/>
                <a:gd name="T15" fmla="*/ 28 h 43"/>
                <a:gd name="T16" fmla="*/ 14 w 92"/>
                <a:gd name="T17" fmla="*/ 26 h 43"/>
                <a:gd name="T18" fmla="*/ 18 w 92"/>
                <a:gd name="T19" fmla="*/ 24 h 43"/>
                <a:gd name="T20" fmla="*/ 16 w 92"/>
                <a:gd name="T21" fmla="*/ 21 h 43"/>
                <a:gd name="T22" fmla="*/ 21 w 92"/>
                <a:gd name="T23" fmla="*/ 21 h 43"/>
                <a:gd name="T24" fmla="*/ 18 w 92"/>
                <a:gd name="T25" fmla="*/ 19 h 43"/>
                <a:gd name="T26" fmla="*/ 9 w 92"/>
                <a:gd name="T27" fmla="*/ 19 h 43"/>
                <a:gd name="T28" fmla="*/ 14 w 92"/>
                <a:gd name="T29" fmla="*/ 17 h 43"/>
                <a:gd name="T30" fmla="*/ 16 w 92"/>
                <a:gd name="T31" fmla="*/ 14 h 43"/>
                <a:gd name="T32" fmla="*/ 11 w 92"/>
                <a:gd name="T33" fmla="*/ 12 h 43"/>
                <a:gd name="T34" fmla="*/ 9 w 92"/>
                <a:gd name="T35" fmla="*/ 14 h 43"/>
                <a:gd name="T36" fmla="*/ 92 w 92"/>
                <a:gd name="T37" fmla="*/ 5 h 43"/>
                <a:gd name="T38" fmla="*/ 89 w 92"/>
                <a:gd name="T39" fmla="*/ 5 h 43"/>
                <a:gd name="T40" fmla="*/ 70 w 92"/>
                <a:gd name="T41" fmla="*/ 2 h 43"/>
                <a:gd name="T42" fmla="*/ 51 w 92"/>
                <a:gd name="T43" fmla="*/ 0 h 43"/>
                <a:gd name="T44" fmla="*/ 44 w 92"/>
                <a:gd name="T45" fmla="*/ 2 h 43"/>
                <a:gd name="T46" fmla="*/ 30 w 92"/>
                <a:gd name="T47" fmla="*/ 5 h 43"/>
                <a:gd name="T48" fmla="*/ 23 w 92"/>
                <a:gd name="T49" fmla="*/ 9 h 43"/>
                <a:gd name="T50" fmla="*/ 23 w 92"/>
                <a:gd name="T51" fmla="*/ 12 h 43"/>
                <a:gd name="T52" fmla="*/ 23 w 92"/>
                <a:gd name="T53" fmla="*/ 17 h 43"/>
                <a:gd name="T54" fmla="*/ 26 w 92"/>
                <a:gd name="T55" fmla="*/ 19 h 43"/>
                <a:gd name="T56" fmla="*/ 28 w 92"/>
                <a:gd name="T57" fmla="*/ 24 h 43"/>
                <a:gd name="T58" fmla="*/ 35 w 92"/>
                <a:gd name="T59" fmla="*/ 26 h 43"/>
                <a:gd name="T60" fmla="*/ 40 w 92"/>
                <a:gd name="T61" fmla="*/ 26 h 43"/>
                <a:gd name="T62" fmla="*/ 40 w 92"/>
                <a:gd name="T63" fmla="*/ 31 h 43"/>
                <a:gd name="T64" fmla="*/ 40 w 92"/>
                <a:gd name="T65" fmla="*/ 33 h 43"/>
                <a:gd name="T66" fmla="*/ 49 w 92"/>
                <a:gd name="T67" fmla="*/ 31 h 43"/>
                <a:gd name="T68" fmla="*/ 51 w 92"/>
                <a:gd name="T69" fmla="*/ 31 h 43"/>
                <a:gd name="T70" fmla="*/ 56 w 92"/>
                <a:gd name="T71" fmla="*/ 33 h 43"/>
                <a:gd name="T72" fmla="*/ 63 w 92"/>
                <a:gd name="T73" fmla="*/ 35 h 43"/>
                <a:gd name="T74" fmla="*/ 68 w 92"/>
                <a:gd name="T75" fmla="*/ 40 h 43"/>
                <a:gd name="T76" fmla="*/ 77 w 92"/>
                <a:gd name="T77" fmla="*/ 40 h 43"/>
                <a:gd name="T78" fmla="*/ 84 w 92"/>
                <a:gd name="T79" fmla="*/ 43 h 43"/>
                <a:gd name="T80" fmla="*/ 84 w 92"/>
                <a:gd name="T81" fmla="*/ 38 h 43"/>
                <a:gd name="T82" fmla="*/ 89 w 92"/>
                <a:gd name="T83" fmla="*/ 35 h 43"/>
                <a:gd name="T84" fmla="*/ 89 w 92"/>
                <a:gd name="T85" fmla="*/ 33 h 43"/>
                <a:gd name="T86" fmla="*/ 84 w 92"/>
                <a:gd name="T87" fmla="*/ 28 h 43"/>
                <a:gd name="T88" fmla="*/ 84 w 92"/>
                <a:gd name="T89" fmla="*/ 24 h 43"/>
                <a:gd name="T90" fmla="*/ 84 w 92"/>
                <a:gd name="T91" fmla="*/ 14 h 43"/>
                <a:gd name="T92" fmla="*/ 89 w 92"/>
                <a:gd name="T93" fmla="*/ 7 h 43"/>
                <a:gd name="T94" fmla="*/ 92 w 92"/>
                <a:gd name="T95"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43">
                  <a:moveTo>
                    <a:pt x="16" y="21"/>
                  </a:moveTo>
                  <a:lnTo>
                    <a:pt x="14" y="19"/>
                  </a:lnTo>
                  <a:lnTo>
                    <a:pt x="14" y="21"/>
                  </a:lnTo>
                  <a:lnTo>
                    <a:pt x="11" y="21"/>
                  </a:lnTo>
                  <a:lnTo>
                    <a:pt x="11" y="19"/>
                  </a:lnTo>
                  <a:lnTo>
                    <a:pt x="9" y="19"/>
                  </a:lnTo>
                  <a:lnTo>
                    <a:pt x="9" y="21"/>
                  </a:lnTo>
                  <a:lnTo>
                    <a:pt x="7" y="21"/>
                  </a:lnTo>
                  <a:lnTo>
                    <a:pt x="7" y="21"/>
                  </a:lnTo>
                  <a:lnTo>
                    <a:pt x="4" y="21"/>
                  </a:lnTo>
                  <a:lnTo>
                    <a:pt x="4" y="21"/>
                  </a:lnTo>
                  <a:lnTo>
                    <a:pt x="4" y="24"/>
                  </a:lnTo>
                  <a:lnTo>
                    <a:pt x="2" y="21"/>
                  </a:lnTo>
                  <a:lnTo>
                    <a:pt x="2" y="21"/>
                  </a:lnTo>
                  <a:lnTo>
                    <a:pt x="0" y="21"/>
                  </a:lnTo>
                  <a:lnTo>
                    <a:pt x="2" y="24"/>
                  </a:lnTo>
                  <a:lnTo>
                    <a:pt x="2" y="26"/>
                  </a:lnTo>
                  <a:lnTo>
                    <a:pt x="2" y="26"/>
                  </a:lnTo>
                  <a:lnTo>
                    <a:pt x="0" y="26"/>
                  </a:lnTo>
                  <a:lnTo>
                    <a:pt x="0" y="26"/>
                  </a:lnTo>
                  <a:lnTo>
                    <a:pt x="0" y="26"/>
                  </a:lnTo>
                  <a:lnTo>
                    <a:pt x="2" y="28"/>
                  </a:lnTo>
                  <a:lnTo>
                    <a:pt x="4" y="28"/>
                  </a:lnTo>
                  <a:lnTo>
                    <a:pt x="4" y="28"/>
                  </a:lnTo>
                  <a:lnTo>
                    <a:pt x="4" y="31"/>
                  </a:lnTo>
                  <a:lnTo>
                    <a:pt x="2" y="33"/>
                  </a:lnTo>
                  <a:lnTo>
                    <a:pt x="2" y="33"/>
                  </a:lnTo>
                  <a:lnTo>
                    <a:pt x="2" y="33"/>
                  </a:lnTo>
                  <a:lnTo>
                    <a:pt x="4" y="33"/>
                  </a:lnTo>
                  <a:lnTo>
                    <a:pt x="4" y="33"/>
                  </a:lnTo>
                  <a:lnTo>
                    <a:pt x="7" y="31"/>
                  </a:lnTo>
                  <a:lnTo>
                    <a:pt x="7" y="28"/>
                  </a:lnTo>
                  <a:lnTo>
                    <a:pt x="9" y="28"/>
                  </a:lnTo>
                  <a:lnTo>
                    <a:pt x="9" y="28"/>
                  </a:lnTo>
                  <a:lnTo>
                    <a:pt x="14" y="28"/>
                  </a:lnTo>
                  <a:lnTo>
                    <a:pt x="14" y="26"/>
                  </a:lnTo>
                  <a:lnTo>
                    <a:pt x="16" y="26"/>
                  </a:lnTo>
                  <a:lnTo>
                    <a:pt x="16" y="26"/>
                  </a:lnTo>
                  <a:lnTo>
                    <a:pt x="18" y="24"/>
                  </a:lnTo>
                  <a:lnTo>
                    <a:pt x="18" y="24"/>
                  </a:lnTo>
                  <a:lnTo>
                    <a:pt x="18" y="24"/>
                  </a:lnTo>
                  <a:lnTo>
                    <a:pt x="21" y="24"/>
                  </a:lnTo>
                  <a:lnTo>
                    <a:pt x="21" y="24"/>
                  </a:lnTo>
                  <a:lnTo>
                    <a:pt x="16" y="21"/>
                  </a:lnTo>
                  <a:close/>
                  <a:moveTo>
                    <a:pt x="18" y="19"/>
                  </a:moveTo>
                  <a:lnTo>
                    <a:pt x="18" y="19"/>
                  </a:lnTo>
                  <a:lnTo>
                    <a:pt x="18" y="21"/>
                  </a:lnTo>
                  <a:lnTo>
                    <a:pt x="21" y="21"/>
                  </a:lnTo>
                  <a:lnTo>
                    <a:pt x="23" y="21"/>
                  </a:lnTo>
                  <a:lnTo>
                    <a:pt x="23" y="21"/>
                  </a:lnTo>
                  <a:lnTo>
                    <a:pt x="21" y="19"/>
                  </a:lnTo>
                  <a:lnTo>
                    <a:pt x="18" y="19"/>
                  </a:lnTo>
                  <a:close/>
                  <a:moveTo>
                    <a:pt x="7" y="14"/>
                  </a:moveTo>
                  <a:lnTo>
                    <a:pt x="7" y="14"/>
                  </a:lnTo>
                  <a:lnTo>
                    <a:pt x="9" y="17"/>
                  </a:lnTo>
                  <a:lnTo>
                    <a:pt x="9" y="19"/>
                  </a:lnTo>
                  <a:lnTo>
                    <a:pt x="9" y="19"/>
                  </a:lnTo>
                  <a:lnTo>
                    <a:pt x="11" y="19"/>
                  </a:lnTo>
                  <a:lnTo>
                    <a:pt x="14" y="17"/>
                  </a:lnTo>
                  <a:lnTo>
                    <a:pt x="14" y="17"/>
                  </a:lnTo>
                  <a:lnTo>
                    <a:pt x="14" y="17"/>
                  </a:lnTo>
                  <a:lnTo>
                    <a:pt x="16" y="17"/>
                  </a:lnTo>
                  <a:lnTo>
                    <a:pt x="16" y="17"/>
                  </a:lnTo>
                  <a:lnTo>
                    <a:pt x="16" y="14"/>
                  </a:lnTo>
                  <a:lnTo>
                    <a:pt x="14" y="12"/>
                  </a:lnTo>
                  <a:lnTo>
                    <a:pt x="11" y="12"/>
                  </a:lnTo>
                  <a:lnTo>
                    <a:pt x="11" y="12"/>
                  </a:lnTo>
                  <a:lnTo>
                    <a:pt x="11" y="12"/>
                  </a:lnTo>
                  <a:lnTo>
                    <a:pt x="11" y="12"/>
                  </a:lnTo>
                  <a:lnTo>
                    <a:pt x="9" y="12"/>
                  </a:lnTo>
                  <a:lnTo>
                    <a:pt x="9" y="12"/>
                  </a:lnTo>
                  <a:lnTo>
                    <a:pt x="9" y="14"/>
                  </a:lnTo>
                  <a:lnTo>
                    <a:pt x="2" y="14"/>
                  </a:lnTo>
                  <a:lnTo>
                    <a:pt x="4" y="14"/>
                  </a:lnTo>
                  <a:lnTo>
                    <a:pt x="7" y="14"/>
                  </a:lnTo>
                  <a:close/>
                  <a:moveTo>
                    <a:pt x="92" y="5"/>
                  </a:moveTo>
                  <a:lnTo>
                    <a:pt x="92" y="5"/>
                  </a:lnTo>
                  <a:lnTo>
                    <a:pt x="89" y="2"/>
                  </a:lnTo>
                  <a:lnTo>
                    <a:pt x="89" y="2"/>
                  </a:lnTo>
                  <a:lnTo>
                    <a:pt x="89" y="5"/>
                  </a:lnTo>
                  <a:lnTo>
                    <a:pt x="80" y="5"/>
                  </a:lnTo>
                  <a:lnTo>
                    <a:pt x="75" y="5"/>
                  </a:lnTo>
                  <a:lnTo>
                    <a:pt x="73" y="2"/>
                  </a:lnTo>
                  <a:lnTo>
                    <a:pt x="70" y="2"/>
                  </a:lnTo>
                  <a:lnTo>
                    <a:pt x="68" y="2"/>
                  </a:lnTo>
                  <a:lnTo>
                    <a:pt x="56" y="0"/>
                  </a:lnTo>
                  <a:lnTo>
                    <a:pt x="54" y="0"/>
                  </a:lnTo>
                  <a:lnTo>
                    <a:pt x="51" y="0"/>
                  </a:lnTo>
                  <a:lnTo>
                    <a:pt x="51" y="0"/>
                  </a:lnTo>
                  <a:lnTo>
                    <a:pt x="54" y="2"/>
                  </a:lnTo>
                  <a:lnTo>
                    <a:pt x="51" y="2"/>
                  </a:lnTo>
                  <a:lnTo>
                    <a:pt x="44" y="2"/>
                  </a:lnTo>
                  <a:lnTo>
                    <a:pt x="40" y="5"/>
                  </a:lnTo>
                  <a:lnTo>
                    <a:pt x="35" y="2"/>
                  </a:lnTo>
                  <a:lnTo>
                    <a:pt x="33" y="5"/>
                  </a:lnTo>
                  <a:lnTo>
                    <a:pt x="30" y="5"/>
                  </a:lnTo>
                  <a:lnTo>
                    <a:pt x="33" y="7"/>
                  </a:lnTo>
                  <a:lnTo>
                    <a:pt x="28" y="7"/>
                  </a:lnTo>
                  <a:lnTo>
                    <a:pt x="26" y="7"/>
                  </a:lnTo>
                  <a:lnTo>
                    <a:pt x="23" y="9"/>
                  </a:lnTo>
                  <a:lnTo>
                    <a:pt x="23" y="9"/>
                  </a:lnTo>
                  <a:lnTo>
                    <a:pt x="23" y="12"/>
                  </a:lnTo>
                  <a:lnTo>
                    <a:pt x="23" y="12"/>
                  </a:lnTo>
                  <a:lnTo>
                    <a:pt x="23" y="12"/>
                  </a:lnTo>
                  <a:lnTo>
                    <a:pt x="23" y="14"/>
                  </a:lnTo>
                  <a:lnTo>
                    <a:pt x="23" y="14"/>
                  </a:lnTo>
                  <a:lnTo>
                    <a:pt x="23" y="17"/>
                  </a:lnTo>
                  <a:lnTo>
                    <a:pt x="23" y="17"/>
                  </a:lnTo>
                  <a:lnTo>
                    <a:pt x="26" y="17"/>
                  </a:lnTo>
                  <a:lnTo>
                    <a:pt x="28" y="17"/>
                  </a:lnTo>
                  <a:lnTo>
                    <a:pt x="26" y="17"/>
                  </a:lnTo>
                  <a:lnTo>
                    <a:pt x="26" y="19"/>
                  </a:lnTo>
                  <a:lnTo>
                    <a:pt x="26" y="19"/>
                  </a:lnTo>
                  <a:lnTo>
                    <a:pt x="26" y="21"/>
                  </a:lnTo>
                  <a:lnTo>
                    <a:pt x="28" y="21"/>
                  </a:lnTo>
                  <a:lnTo>
                    <a:pt x="28" y="24"/>
                  </a:lnTo>
                  <a:lnTo>
                    <a:pt x="28" y="26"/>
                  </a:lnTo>
                  <a:lnTo>
                    <a:pt x="33" y="26"/>
                  </a:lnTo>
                  <a:lnTo>
                    <a:pt x="35" y="26"/>
                  </a:lnTo>
                  <a:lnTo>
                    <a:pt x="35" y="26"/>
                  </a:lnTo>
                  <a:lnTo>
                    <a:pt x="37" y="26"/>
                  </a:lnTo>
                  <a:lnTo>
                    <a:pt x="37" y="24"/>
                  </a:lnTo>
                  <a:lnTo>
                    <a:pt x="37" y="24"/>
                  </a:lnTo>
                  <a:lnTo>
                    <a:pt x="40" y="26"/>
                  </a:lnTo>
                  <a:lnTo>
                    <a:pt x="40" y="26"/>
                  </a:lnTo>
                  <a:lnTo>
                    <a:pt x="40" y="26"/>
                  </a:lnTo>
                  <a:lnTo>
                    <a:pt x="40" y="26"/>
                  </a:lnTo>
                  <a:lnTo>
                    <a:pt x="40" y="31"/>
                  </a:lnTo>
                  <a:lnTo>
                    <a:pt x="37" y="33"/>
                  </a:lnTo>
                  <a:lnTo>
                    <a:pt x="37" y="35"/>
                  </a:lnTo>
                  <a:lnTo>
                    <a:pt x="40" y="35"/>
                  </a:lnTo>
                  <a:lnTo>
                    <a:pt x="40" y="33"/>
                  </a:lnTo>
                  <a:lnTo>
                    <a:pt x="44" y="33"/>
                  </a:lnTo>
                  <a:lnTo>
                    <a:pt x="47" y="33"/>
                  </a:lnTo>
                  <a:lnTo>
                    <a:pt x="47" y="33"/>
                  </a:lnTo>
                  <a:lnTo>
                    <a:pt x="49" y="31"/>
                  </a:lnTo>
                  <a:lnTo>
                    <a:pt x="51" y="31"/>
                  </a:lnTo>
                  <a:lnTo>
                    <a:pt x="51" y="33"/>
                  </a:lnTo>
                  <a:lnTo>
                    <a:pt x="51" y="33"/>
                  </a:lnTo>
                  <a:lnTo>
                    <a:pt x="51" y="31"/>
                  </a:lnTo>
                  <a:lnTo>
                    <a:pt x="51" y="31"/>
                  </a:lnTo>
                  <a:lnTo>
                    <a:pt x="51" y="31"/>
                  </a:lnTo>
                  <a:lnTo>
                    <a:pt x="54" y="31"/>
                  </a:lnTo>
                  <a:lnTo>
                    <a:pt x="56" y="33"/>
                  </a:lnTo>
                  <a:lnTo>
                    <a:pt x="59" y="33"/>
                  </a:lnTo>
                  <a:lnTo>
                    <a:pt x="59" y="33"/>
                  </a:lnTo>
                  <a:lnTo>
                    <a:pt x="61" y="35"/>
                  </a:lnTo>
                  <a:lnTo>
                    <a:pt x="63" y="35"/>
                  </a:lnTo>
                  <a:lnTo>
                    <a:pt x="63" y="35"/>
                  </a:lnTo>
                  <a:lnTo>
                    <a:pt x="63" y="35"/>
                  </a:lnTo>
                  <a:lnTo>
                    <a:pt x="68" y="38"/>
                  </a:lnTo>
                  <a:lnTo>
                    <a:pt x="68" y="40"/>
                  </a:lnTo>
                  <a:lnTo>
                    <a:pt x="70" y="40"/>
                  </a:lnTo>
                  <a:lnTo>
                    <a:pt x="73" y="40"/>
                  </a:lnTo>
                  <a:lnTo>
                    <a:pt x="77" y="40"/>
                  </a:lnTo>
                  <a:lnTo>
                    <a:pt x="77" y="40"/>
                  </a:lnTo>
                  <a:lnTo>
                    <a:pt x="80" y="40"/>
                  </a:lnTo>
                  <a:lnTo>
                    <a:pt x="80" y="40"/>
                  </a:lnTo>
                  <a:lnTo>
                    <a:pt x="82" y="40"/>
                  </a:lnTo>
                  <a:lnTo>
                    <a:pt x="84" y="43"/>
                  </a:lnTo>
                  <a:lnTo>
                    <a:pt x="84" y="40"/>
                  </a:lnTo>
                  <a:lnTo>
                    <a:pt x="84" y="40"/>
                  </a:lnTo>
                  <a:lnTo>
                    <a:pt x="84" y="40"/>
                  </a:lnTo>
                  <a:lnTo>
                    <a:pt x="84" y="38"/>
                  </a:lnTo>
                  <a:lnTo>
                    <a:pt x="87" y="38"/>
                  </a:lnTo>
                  <a:lnTo>
                    <a:pt x="87" y="38"/>
                  </a:lnTo>
                  <a:lnTo>
                    <a:pt x="87" y="35"/>
                  </a:lnTo>
                  <a:lnTo>
                    <a:pt x="89" y="35"/>
                  </a:lnTo>
                  <a:lnTo>
                    <a:pt x="92" y="35"/>
                  </a:lnTo>
                  <a:lnTo>
                    <a:pt x="92" y="35"/>
                  </a:lnTo>
                  <a:lnTo>
                    <a:pt x="89" y="35"/>
                  </a:lnTo>
                  <a:lnTo>
                    <a:pt x="89" y="33"/>
                  </a:lnTo>
                  <a:lnTo>
                    <a:pt x="89" y="33"/>
                  </a:lnTo>
                  <a:lnTo>
                    <a:pt x="89" y="31"/>
                  </a:lnTo>
                  <a:lnTo>
                    <a:pt x="87" y="28"/>
                  </a:lnTo>
                  <a:lnTo>
                    <a:pt x="84" y="28"/>
                  </a:lnTo>
                  <a:lnTo>
                    <a:pt x="84" y="26"/>
                  </a:lnTo>
                  <a:lnTo>
                    <a:pt x="84" y="26"/>
                  </a:lnTo>
                  <a:lnTo>
                    <a:pt x="84" y="24"/>
                  </a:lnTo>
                  <a:lnTo>
                    <a:pt x="84" y="24"/>
                  </a:lnTo>
                  <a:lnTo>
                    <a:pt x="82" y="19"/>
                  </a:lnTo>
                  <a:lnTo>
                    <a:pt x="82" y="17"/>
                  </a:lnTo>
                  <a:lnTo>
                    <a:pt x="84" y="17"/>
                  </a:lnTo>
                  <a:lnTo>
                    <a:pt x="84" y="14"/>
                  </a:lnTo>
                  <a:lnTo>
                    <a:pt x="84" y="14"/>
                  </a:lnTo>
                  <a:lnTo>
                    <a:pt x="87" y="12"/>
                  </a:lnTo>
                  <a:lnTo>
                    <a:pt x="89" y="9"/>
                  </a:lnTo>
                  <a:lnTo>
                    <a:pt x="89" y="7"/>
                  </a:lnTo>
                  <a:lnTo>
                    <a:pt x="89" y="7"/>
                  </a:lnTo>
                  <a:lnTo>
                    <a:pt x="92" y="7"/>
                  </a:lnTo>
                  <a:lnTo>
                    <a:pt x="92" y="7"/>
                  </a:lnTo>
                  <a:lnTo>
                    <a:pt x="92" y="5"/>
                  </a:lnTo>
                  <a:lnTo>
                    <a:pt x="92" y="5"/>
                  </a:lnTo>
                  <a:lnTo>
                    <a:pt x="92" y="5"/>
                  </a:lnTo>
                  <a:lnTo>
                    <a:pt x="92"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2" name="Freeform 348"/>
            <p:cNvSpPr>
              <a:spLocks/>
            </p:cNvSpPr>
            <p:nvPr userDrawn="1"/>
          </p:nvSpPr>
          <p:spPr bwMode="auto">
            <a:xfrm>
              <a:off x="4325" y="2427"/>
              <a:ext cx="125" cy="121"/>
            </a:xfrm>
            <a:custGeom>
              <a:avLst/>
              <a:gdLst>
                <a:gd name="T0" fmla="*/ 122 w 125"/>
                <a:gd name="T1" fmla="*/ 111 h 121"/>
                <a:gd name="T2" fmla="*/ 113 w 125"/>
                <a:gd name="T3" fmla="*/ 102 h 121"/>
                <a:gd name="T4" fmla="*/ 108 w 125"/>
                <a:gd name="T5" fmla="*/ 95 h 121"/>
                <a:gd name="T6" fmla="*/ 89 w 125"/>
                <a:gd name="T7" fmla="*/ 71 h 121"/>
                <a:gd name="T8" fmla="*/ 75 w 125"/>
                <a:gd name="T9" fmla="*/ 66 h 121"/>
                <a:gd name="T10" fmla="*/ 70 w 125"/>
                <a:gd name="T11" fmla="*/ 64 h 121"/>
                <a:gd name="T12" fmla="*/ 66 w 125"/>
                <a:gd name="T13" fmla="*/ 57 h 121"/>
                <a:gd name="T14" fmla="*/ 63 w 125"/>
                <a:gd name="T15" fmla="*/ 54 h 121"/>
                <a:gd name="T16" fmla="*/ 63 w 125"/>
                <a:gd name="T17" fmla="*/ 59 h 121"/>
                <a:gd name="T18" fmla="*/ 59 w 125"/>
                <a:gd name="T19" fmla="*/ 54 h 121"/>
                <a:gd name="T20" fmla="*/ 54 w 125"/>
                <a:gd name="T21" fmla="*/ 47 h 121"/>
                <a:gd name="T22" fmla="*/ 49 w 125"/>
                <a:gd name="T23" fmla="*/ 28 h 121"/>
                <a:gd name="T24" fmla="*/ 37 w 125"/>
                <a:gd name="T25" fmla="*/ 0 h 121"/>
                <a:gd name="T26" fmla="*/ 35 w 125"/>
                <a:gd name="T27" fmla="*/ 5 h 121"/>
                <a:gd name="T28" fmla="*/ 33 w 125"/>
                <a:gd name="T29" fmla="*/ 7 h 121"/>
                <a:gd name="T30" fmla="*/ 33 w 125"/>
                <a:gd name="T31" fmla="*/ 9 h 121"/>
                <a:gd name="T32" fmla="*/ 30 w 125"/>
                <a:gd name="T33" fmla="*/ 9 h 121"/>
                <a:gd name="T34" fmla="*/ 26 w 125"/>
                <a:gd name="T35" fmla="*/ 12 h 121"/>
                <a:gd name="T36" fmla="*/ 23 w 125"/>
                <a:gd name="T37" fmla="*/ 12 h 121"/>
                <a:gd name="T38" fmla="*/ 21 w 125"/>
                <a:gd name="T39" fmla="*/ 14 h 121"/>
                <a:gd name="T40" fmla="*/ 18 w 125"/>
                <a:gd name="T41" fmla="*/ 17 h 121"/>
                <a:gd name="T42" fmla="*/ 16 w 125"/>
                <a:gd name="T43" fmla="*/ 21 h 121"/>
                <a:gd name="T44" fmla="*/ 11 w 125"/>
                <a:gd name="T45" fmla="*/ 21 h 121"/>
                <a:gd name="T46" fmla="*/ 9 w 125"/>
                <a:gd name="T47" fmla="*/ 24 h 121"/>
                <a:gd name="T48" fmla="*/ 7 w 125"/>
                <a:gd name="T49" fmla="*/ 31 h 121"/>
                <a:gd name="T50" fmla="*/ 7 w 125"/>
                <a:gd name="T51" fmla="*/ 43 h 121"/>
                <a:gd name="T52" fmla="*/ 4 w 125"/>
                <a:gd name="T53" fmla="*/ 50 h 121"/>
                <a:gd name="T54" fmla="*/ 0 w 125"/>
                <a:gd name="T55" fmla="*/ 61 h 121"/>
                <a:gd name="T56" fmla="*/ 2 w 125"/>
                <a:gd name="T57" fmla="*/ 73 h 121"/>
                <a:gd name="T58" fmla="*/ 4 w 125"/>
                <a:gd name="T59" fmla="*/ 78 h 121"/>
                <a:gd name="T60" fmla="*/ 11 w 125"/>
                <a:gd name="T61" fmla="*/ 80 h 121"/>
                <a:gd name="T62" fmla="*/ 14 w 125"/>
                <a:gd name="T63" fmla="*/ 76 h 121"/>
                <a:gd name="T64" fmla="*/ 18 w 125"/>
                <a:gd name="T65" fmla="*/ 78 h 121"/>
                <a:gd name="T66" fmla="*/ 21 w 125"/>
                <a:gd name="T67" fmla="*/ 83 h 121"/>
                <a:gd name="T68" fmla="*/ 26 w 125"/>
                <a:gd name="T69" fmla="*/ 71 h 121"/>
                <a:gd name="T70" fmla="*/ 30 w 125"/>
                <a:gd name="T71" fmla="*/ 69 h 121"/>
                <a:gd name="T72" fmla="*/ 33 w 125"/>
                <a:gd name="T73" fmla="*/ 71 h 121"/>
                <a:gd name="T74" fmla="*/ 37 w 125"/>
                <a:gd name="T75" fmla="*/ 76 h 121"/>
                <a:gd name="T76" fmla="*/ 47 w 125"/>
                <a:gd name="T77" fmla="*/ 73 h 121"/>
                <a:gd name="T78" fmla="*/ 51 w 125"/>
                <a:gd name="T79" fmla="*/ 73 h 121"/>
                <a:gd name="T80" fmla="*/ 54 w 125"/>
                <a:gd name="T81" fmla="*/ 76 h 121"/>
                <a:gd name="T82" fmla="*/ 59 w 125"/>
                <a:gd name="T83" fmla="*/ 73 h 121"/>
                <a:gd name="T84" fmla="*/ 66 w 125"/>
                <a:gd name="T85" fmla="*/ 76 h 121"/>
                <a:gd name="T86" fmla="*/ 70 w 125"/>
                <a:gd name="T87" fmla="*/ 76 h 121"/>
                <a:gd name="T88" fmla="*/ 80 w 125"/>
                <a:gd name="T89" fmla="*/ 83 h 121"/>
                <a:gd name="T90" fmla="*/ 87 w 125"/>
                <a:gd name="T91" fmla="*/ 90 h 121"/>
                <a:gd name="T92" fmla="*/ 101 w 125"/>
                <a:gd name="T93" fmla="*/ 102 h 121"/>
                <a:gd name="T94" fmla="*/ 106 w 125"/>
                <a:gd name="T95" fmla="*/ 111 h 121"/>
                <a:gd name="T96" fmla="*/ 110 w 125"/>
                <a:gd name="T97" fmla="*/ 116 h 121"/>
                <a:gd name="T98" fmla="*/ 113 w 125"/>
                <a:gd name="T99" fmla="*/ 116 h 121"/>
                <a:gd name="T100" fmla="*/ 117 w 125"/>
                <a:gd name="T101" fmla="*/ 118 h 121"/>
                <a:gd name="T102" fmla="*/ 120 w 125"/>
                <a:gd name="T103" fmla="*/ 113 h 121"/>
                <a:gd name="T104" fmla="*/ 125 w 125"/>
                <a:gd name="T105" fmla="*/ 1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 h="121">
                  <a:moveTo>
                    <a:pt x="125" y="111"/>
                  </a:moveTo>
                  <a:lnTo>
                    <a:pt x="122" y="109"/>
                  </a:lnTo>
                  <a:lnTo>
                    <a:pt x="122" y="111"/>
                  </a:lnTo>
                  <a:lnTo>
                    <a:pt x="120" y="109"/>
                  </a:lnTo>
                  <a:lnTo>
                    <a:pt x="117" y="106"/>
                  </a:lnTo>
                  <a:lnTo>
                    <a:pt x="113" y="102"/>
                  </a:lnTo>
                  <a:lnTo>
                    <a:pt x="113" y="102"/>
                  </a:lnTo>
                  <a:lnTo>
                    <a:pt x="110" y="97"/>
                  </a:lnTo>
                  <a:lnTo>
                    <a:pt x="108" y="95"/>
                  </a:lnTo>
                  <a:lnTo>
                    <a:pt x="96" y="85"/>
                  </a:lnTo>
                  <a:lnTo>
                    <a:pt x="94" y="80"/>
                  </a:lnTo>
                  <a:lnTo>
                    <a:pt x="89" y="71"/>
                  </a:lnTo>
                  <a:lnTo>
                    <a:pt x="82" y="69"/>
                  </a:lnTo>
                  <a:lnTo>
                    <a:pt x="77" y="66"/>
                  </a:lnTo>
                  <a:lnTo>
                    <a:pt x="75" y="66"/>
                  </a:lnTo>
                  <a:lnTo>
                    <a:pt x="75" y="64"/>
                  </a:lnTo>
                  <a:lnTo>
                    <a:pt x="73" y="64"/>
                  </a:lnTo>
                  <a:lnTo>
                    <a:pt x="70" y="64"/>
                  </a:lnTo>
                  <a:lnTo>
                    <a:pt x="68" y="61"/>
                  </a:lnTo>
                  <a:lnTo>
                    <a:pt x="68" y="59"/>
                  </a:lnTo>
                  <a:lnTo>
                    <a:pt x="66" y="57"/>
                  </a:lnTo>
                  <a:lnTo>
                    <a:pt x="66" y="57"/>
                  </a:lnTo>
                  <a:lnTo>
                    <a:pt x="63" y="54"/>
                  </a:lnTo>
                  <a:lnTo>
                    <a:pt x="63" y="54"/>
                  </a:lnTo>
                  <a:lnTo>
                    <a:pt x="61" y="57"/>
                  </a:lnTo>
                  <a:lnTo>
                    <a:pt x="63" y="59"/>
                  </a:lnTo>
                  <a:lnTo>
                    <a:pt x="63" y="59"/>
                  </a:lnTo>
                  <a:lnTo>
                    <a:pt x="61" y="61"/>
                  </a:lnTo>
                  <a:lnTo>
                    <a:pt x="61" y="59"/>
                  </a:lnTo>
                  <a:lnTo>
                    <a:pt x="59" y="54"/>
                  </a:lnTo>
                  <a:lnTo>
                    <a:pt x="59" y="52"/>
                  </a:lnTo>
                  <a:lnTo>
                    <a:pt x="56" y="52"/>
                  </a:lnTo>
                  <a:lnTo>
                    <a:pt x="54" y="47"/>
                  </a:lnTo>
                  <a:lnTo>
                    <a:pt x="51" y="45"/>
                  </a:lnTo>
                  <a:lnTo>
                    <a:pt x="51" y="38"/>
                  </a:lnTo>
                  <a:lnTo>
                    <a:pt x="49" y="28"/>
                  </a:lnTo>
                  <a:lnTo>
                    <a:pt x="47" y="19"/>
                  </a:lnTo>
                  <a:lnTo>
                    <a:pt x="44" y="12"/>
                  </a:lnTo>
                  <a:lnTo>
                    <a:pt x="37" y="0"/>
                  </a:lnTo>
                  <a:lnTo>
                    <a:pt x="37" y="2"/>
                  </a:lnTo>
                  <a:lnTo>
                    <a:pt x="35" y="5"/>
                  </a:lnTo>
                  <a:lnTo>
                    <a:pt x="35" y="5"/>
                  </a:lnTo>
                  <a:lnTo>
                    <a:pt x="35" y="7"/>
                  </a:lnTo>
                  <a:lnTo>
                    <a:pt x="35" y="7"/>
                  </a:lnTo>
                  <a:lnTo>
                    <a:pt x="33" y="7"/>
                  </a:lnTo>
                  <a:lnTo>
                    <a:pt x="33" y="9"/>
                  </a:lnTo>
                  <a:lnTo>
                    <a:pt x="33" y="9"/>
                  </a:lnTo>
                  <a:lnTo>
                    <a:pt x="33" y="9"/>
                  </a:lnTo>
                  <a:lnTo>
                    <a:pt x="30" y="9"/>
                  </a:lnTo>
                  <a:lnTo>
                    <a:pt x="30" y="9"/>
                  </a:lnTo>
                  <a:lnTo>
                    <a:pt x="30" y="9"/>
                  </a:lnTo>
                  <a:lnTo>
                    <a:pt x="30" y="12"/>
                  </a:lnTo>
                  <a:lnTo>
                    <a:pt x="28" y="9"/>
                  </a:lnTo>
                  <a:lnTo>
                    <a:pt x="26" y="12"/>
                  </a:lnTo>
                  <a:lnTo>
                    <a:pt x="26" y="12"/>
                  </a:lnTo>
                  <a:lnTo>
                    <a:pt x="26" y="12"/>
                  </a:lnTo>
                  <a:lnTo>
                    <a:pt x="23" y="12"/>
                  </a:lnTo>
                  <a:lnTo>
                    <a:pt x="23" y="12"/>
                  </a:lnTo>
                  <a:lnTo>
                    <a:pt x="23" y="12"/>
                  </a:lnTo>
                  <a:lnTo>
                    <a:pt x="21" y="14"/>
                  </a:lnTo>
                  <a:lnTo>
                    <a:pt x="21" y="14"/>
                  </a:lnTo>
                  <a:lnTo>
                    <a:pt x="18" y="14"/>
                  </a:lnTo>
                  <a:lnTo>
                    <a:pt x="18" y="17"/>
                  </a:lnTo>
                  <a:lnTo>
                    <a:pt x="18" y="19"/>
                  </a:lnTo>
                  <a:lnTo>
                    <a:pt x="16" y="21"/>
                  </a:lnTo>
                  <a:lnTo>
                    <a:pt x="16" y="21"/>
                  </a:lnTo>
                  <a:lnTo>
                    <a:pt x="14" y="21"/>
                  </a:lnTo>
                  <a:lnTo>
                    <a:pt x="11" y="21"/>
                  </a:lnTo>
                  <a:lnTo>
                    <a:pt x="11" y="21"/>
                  </a:lnTo>
                  <a:lnTo>
                    <a:pt x="9" y="21"/>
                  </a:lnTo>
                  <a:lnTo>
                    <a:pt x="9" y="21"/>
                  </a:lnTo>
                  <a:lnTo>
                    <a:pt x="9" y="24"/>
                  </a:lnTo>
                  <a:lnTo>
                    <a:pt x="9" y="26"/>
                  </a:lnTo>
                  <a:lnTo>
                    <a:pt x="9" y="28"/>
                  </a:lnTo>
                  <a:lnTo>
                    <a:pt x="7" y="31"/>
                  </a:lnTo>
                  <a:lnTo>
                    <a:pt x="9" y="33"/>
                  </a:lnTo>
                  <a:lnTo>
                    <a:pt x="9" y="38"/>
                  </a:lnTo>
                  <a:lnTo>
                    <a:pt x="7" y="43"/>
                  </a:lnTo>
                  <a:lnTo>
                    <a:pt x="7" y="43"/>
                  </a:lnTo>
                  <a:lnTo>
                    <a:pt x="4" y="47"/>
                  </a:lnTo>
                  <a:lnTo>
                    <a:pt x="4" y="50"/>
                  </a:lnTo>
                  <a:lnTo>
                    <a:pt x="2" y="57"/>
                  </a:lnTo>
                  <a:lnTo>
                    <a:pt x="2" y="59"/>
                  </a:lnTo>
                  <a:lnTo>
                    <a:pt x="0" y="61"/>
                  </a:lnTo>
                  <a:lnTo>
                    <a:pt x="0" y="66"/>
                  </a:lnTo>
                  <a:lnTo>
                    <a:pt x="2" y="69"/>
                  </a:lnTo>
                  <a:lnTo>
                    <a:pt x="2" y="73"/>
                  </a:lnTo>
                  <a:lnTo>
                    <a:pt x="2" y="80"/>
                  </a:lnTo>
                  <a:lnTo>
                    <a:pt x="2" y="80"/>
                  </a:lnTo>
                  <a:lnTo>
                    <a:pt x="4" y="78"/>
                  </a:lnTo>
                  <a:lnTo>
                    <a:pt x="7" y="78"/>
                  </a:lnTo>
                  <a:lnTo>
                    <a:pt x="11" y="80"/>
                  </a:lnTo>
                  <a:lnTo>
                    <a:pt x="11" y="80"/>
                  </a:lnTo>
                  <a:lnTo>
                    <a:pt x="11" y="78"/>
                  </a:lnTo>
                  <a:lnTo>
                    <a:pt x="14" y="78"/>
                  </a:lnTo>
                  <a:lnTo>
                    <a:pt x="14" y="76"/>
                  </a:lnTo>
                  <a:lnTo>
                    <a:pt x="14" y="76"/>
                  </a:lnTo>
                  <a:lnTo>
                    <a:pt x="16" y="76"/>
                  </a:lnTo>
                  <a:lnTo>
                    <a:pt x="18" y="78"/>
                  </a:lnTo>
                  <a:lnTo>
                    <a:pt x="21" y="83"/>
                  </a:lnTo>
                  <a:lnTo>
                    <a:pt x="21" y="83"/>
                  </a:lnTo>
                  <a:lnTo>
                    <a:pt x="21" y="83"/>
                  </a:lnTo>
                  <a:lnTo>
                    <a:pt x="23" y="78"/>
                  </a:lnTo>
                  <a:lnTo>
                    <a:pt x="23" y="76"/>
                  </a:lnTo>
                  <a:lnTo>
                    <a:pt x="26" y="71"/>
                  </a:lnTo>
                  <a:lnTo>
                    <a:pt x="28" y="66"/>
                  </a:lnTo>
                  <a:lnTo>
                    <a:pt x="28" y="69"/>
                  </a:lnTo>
                  <a:lnTo>
                    <a:pt x="30" y="69"/>
                  </a:lnTo>
                  <a:lnTo>
                    <a:pt x="30" y="71"/>
                  </a:lnTo>
                  <a:lnTo>
                    <a:pt x="33" y="71"/>
                  </a:lnTo>
                  <a:lnTo>
                    <a:pt x="33" y="71"/>
                  </a:lnTo>
                  <a:lnTo>
                    <a:pt x="33" y="71"/>
                  </a:lnTo>
                  <a:lnTo>
                    <a:pt x="37" y="76"/>
                  </a:lnTo>
                  <a:lnTo>
                    <a:pt x="37" y="76"/>
                  </a:lnTo>
                  <a:lnTo>
                    <a:pt x="40" y="76"/>
                  </a:lnTo>
                  <a:lnTo>
                    <a:pt x="44" y="76"/>
                  </a:lnTo>
                  <a:lnTo>
                    <a:pt x="47" y="73"/>
                  </a:lnTo>
                  <a:lnTo>
                    <a:pt x="49" y="71"/>
                  </a:lnTo>
                  <a:lnTo>
                    <a:pt x="49" y="71"/>
                  </a:lnTo>
                  <a:lnTo>
                    <a:pt x="51" y="73"/>
                  </a:lnTo>
                  <a:lnTo>
                    <a:pt x="51" y="73"/>
                  </a:lnTo>
                  <a:lnTo>
                    <a:pt x="51" y="76"/>
                  </a:lnTo>
                  <a:lnTo>
                    <a:pt x="54" y="76"/>
                  </a:lnTo>
                  <a:lnTo>
                    <a:pt x="56" y="73"/>
                  </a:lnTo>
                  <a:lnTo>
                    <a:pt x="59" y="73"/>
                  </a:lnTo>
                  <a:lnTo>
                    <a:pt x="59" y="73"/>
                  </a:lnTo>
                  <a:lnTo>
                    <a:pt x="61" y="76"/>
                  </a:lnTo>
                  <a:lnTo>
                    <a:pt x="61" y="76"/>
                  </a:lnTo>
                  <a:lnTo>
                    <a:pt x="66" y="76"/>
                  </a:lnTo>
                  <a:lnTo>
                    <a:pt x="68" y="76"/>
                  </a:lnTo>
                  <a:lnTo>
                    <a:pt x="68" y="76"/>
                  </a:lnTo>
                  <a:lnTo>
                    <a:pt x="70" y="76"/>
                  </a:lnTo>
                  <a:lnTo>
                    <a:pt x="73" y="78"/>
                  </a:lnTo>
                  <a:lnTo>
                    <a:pt x="77" y="80"/>
                  </a:lnTo>
                  <a:lnTo>
                    <a:pt x="80" y="83"/>
                  </a:lnTo>
                  <a:lnTo>
                    <a:pt x="82" y="83"/>
                  </a:lnTo>
                  <a:lnTo>
                    <a:pt x="84" y="85"/>
                  </a:lnTo>
                  <a:lnTo>
                    <a:pt x="87" y="90"/>
                  </a:lnTo>
                  <a:lnTo>
                    <a:pt x="92" y="97"/>
                  </a:lnTo>
                  <a:lnTo>
                    <a:pt x="96" y="99"/>
                  </a:lnTo>
                  <a:lnTo>
                    <a:pt x="101" y="102"/>
                  </a:lnTo>
                  <a:lnTo>
                    <a:pt x="101" y="106"/>
                  </a:lnTo>
                  <a:lnTo>
                    <a:pt x="103" y="109"/>
                  </a:lnTo>
                  <a:lnTo>
                    <a:pt x="106" y="111"/>
                  </a:lnTo>
                  <a:lnTo>
                    <a:pt x="108" y="111"/>
                  </a:lnTo>
                  <a:lnTo>
                    <a:pt x="108" y="113"/>
                  </a:lnTo>
                  <a:lnTo>
                    <a:pt x="110" y="116"/>
                  </a:lnTo>
                  <a:lnTo>
                    <a:pt x="113" y="118"/>
                  </a:lnTo>
                  <a:lnTo>
                    <a:pt x="113" y="116"/>
                  </a:lnTo>
                  <a:lnTo>
                    <a:pt x="113" y="116"/>
                  </a:lnTo>
                  <a:lnTo>
                    <a:pt x="113" y="116"/>
                  </a:lnTo>
                  <a:lnTo>
                    <a:pt x="117" y="121"/>
                  </a:lnTo>
                  <a:lnTo>
                    <a:pt x="117" y="118"/>
                  </a:lnTo>
                  <a:lnTo>
                    <a:pt x="120" y="118"/>
                  </a:lnTo>
                  <a:lnTo>
                    <a:pt x="120" y="116"/>
                  </a:lnTo>
                  <a:lnTo>
                    <a:pt x="120" y="113"/>
                  </a:lnTo>
                  <a:lnTo>
                    <a:pt x="120" y="113"/>
                  </a:lnTo>
                  <a:lnTo>
                    <a:pt x="122" y="113"/>
                  </a:lnTo>
                  <a:lnTo>
                    <a:pt x="125" y="113"/>
                  </a:lnTo>
                  <a:lnTo>
                    <a:pt x="125" y="11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3" name="Freeform 349"/>
            <p:cNvSpPr>
              <a:spLocks noEditPoints="1"/>
            </p:cNvSpPr>
            <p:nvPr userDrawn="1"/>
          </p:nvSpPr>
          <p:spPr bwMode="auto">
            <a:xfrm>
              <a:off x="3808" y="2727"/>
              <a:ext cx="55" cy="59"/>
            </a:xfrm>
            <a:custGeom>
              <a:avLst/>
              <a:gdLst>
                <a:gd name="T0" fmla="*/ 55 w 55"/>
                <a:gd name="T1" fmla="*/ 52 h 59"/>
                <a:gd name="T2" fmla="*/ 55 w 55"/>
                <a:gd name="T3" fmla="*/ 43 h 59"/>
                <a:gd name="T4" fmla="*/ 55 w 55"/>
                <a:gd name="T5" fmla="*/ 36 h 59"/>
                <a:gd name="T6" fmla="*/ 45 w 55"/>
                <a:gd name="T7" fmla="*/ 36 h 59"/>
                <a:gd name="T8" fmla="*/ 36 w 55"/>
                <a:gd name="T9" fmla="*/ 36 h 59"/>
                <a:gd name="T10" fmla="*/ 29 w 55"/>
                <a:gd name="T11" fmla="*/ 33 h 59"/>
                <a:gd name="T12" fmla="*/ 26 w 55"/>
                <a:gd name="T13" fmla="*/ 33 h 59"/>
                <a:gd name="T14" fmla="*/ 26 w 55"/>
                <a:gd name="T15" fmla="*/ 31 h 59"/>
                <a:gd name="T16" fmla="*/ 26 w 55"/>
                <a:gd name="T17" fmla="*/ 40 h 59"/>
                <a:gd name="T18" fmla="*/ 24 w 55"/>
                <a:gd name="T19" fmla="*/ 48 h 59"/>
                <a:gd name="T20" fmla="*/ 24 w 55"/>
                <a:gd name="T21" fmla="*/ 48 h 59"/>
                <a:gd name="T22" fmla="*/ 19 w 55"/>
                <a:gd name="T23" fmla="*/ 52 h 59"/>
                <a:gd name="T24" fmla="*/ 19 w 55"/>
                <a:gd name="T25" fmla="*/ 57 h 59"/>
                <a:gd name="T26" fmla="*/ 24 w 55"/>
                <a:gd name="T27" fmla="*/ 59 h 59"/>
                <a:gd name="T28" fmla="*/ 24 w 55"/>
                <a:gd name="T29" fmla="*/ 59 h 59"/>
                <a:gd name="T30" fmla="*/ 24 w 55"/>
                <a:gd name="T31" fmla="*/ 57 h 59"/>
                <a:gd name="T32" fmla="*/ 26 w 55"/>
                <a:gd name="T33" fmla="*/ 59 h 59"/>
                <a:gd name="T34" fmla="*/ 29 w 55"/>
                <a:gd name="T35" fmla="*/ 59 h 59"/>
                <a:gd name="T36" fmla="*/ 29 w 55"/>
                <a:gd name="T37" fmla="*/ 59 h 59"/>
                <a:gd name="T38" fmla="*/ 31 w 55"/>
                <a:gd name="T39" fmla="*/ 59 h 59"/>
                <a:gd name="T40" fmla="*/ 36 w 55"/>
                <a:gd name="T41" fmla="*/ 59 h 59"/>
                <a:gd name="T42" fmla="*/ 48 w 55"/>
                <a:gd name="T43" fmla="*/ 59 h 59"/>
                <a:gd name="T44" fmla="*/ 55 w 55"/>
                <a:gd name="T45" fmla="*/ 59 h 59"/>
                <a:gd name="T46" fmla="*/ 8 w 55"/>
                <a:gd name="T47" fmla="*/ 3 h 59"/>
                <a:gd name="T48" fmla="*/ 5 w 55"/>
                <a:gd name="T49" fmla="*/ 3 h 59"/>
                <a:gd name="T50" fmla="*/ 5 w 55"/>
                <a:gd name="T51" fmla="*/ 5 h 59"/>
                <a:gd name="T52" fmla="*/ 3 w 55"/>
                <a:gd name="T53" fmla="*/ 7 h 59"/>
                <a:gd name="T54" fmla="*/ 3 w 55"/>
                <a:gd name="T55" fmla="*/ 7 h 59"/>
                <a:gd name="T56" fmla="*/ 3 w 55"/>
                <a:gd name="T57" fmla="*/ 12 h 59"/>
                <a:gd name="T58" fmla="*/ 5 w 55"/>
                <a:gd name="T59" fmla="*/ 12 h 59"/>
                <a:gd name="T60" fmla="*/ 8 w 55"/>
                <a:gd name="T61" fmla="*/ 12 h 59"/>
                <a:gd name="T62" fmla="*/ 12 w 55"/>
                <a:gd name="T63" fmla="*/ 5 h 59"/>
                <a:gd name="T64" fmla="*/ 10 w 55"/>
                <a:gd name="T6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9">
                  <a:moveTo>
                    <a:pt x="55" y="57"/>
                  </a:moveTo>
                  <a:lnTo>
                    <a:pt x="55" y="52"/>
                  </a:lnTo>
                  <a:lnTo>
                    <a:pt x="55" y="48"/>
                  </a:lnTo>
                  <a:lnTo>
                    <a:pt x="55" y="43"/>
                  </a:lnTo>
                  <a:lnTo>
                    <a:pt x="55" y="40"/>
                  </a:lnTo>
                  <a:lnTo>
                    <a:pt x="55" y="36"/>
                  </a:lnTo>
                  <a:lnTo>
                    <a:pt x="50" y="36"/>
                  </a:lnTo>
                  <a:lnTo>
                    <a:pt x="45" y="36"/>
                  </a:lnTo>
                  <a:lnTo>
                    <a:pt x="41" y="36"/>
                  </a:lnTo>
                  <a:lnTo>
                    <a:pt x="36" y="36"/>
                  </a:lnTo>
                  <a:lnTo>
                    <a:pt x="31" y="36"/>
                  </a:lnTo>
                  <a:lnTo>
                    <a:pt x="29" y="33"/>
                  </a:lnTo>
                  <a:lnTo>
                    <a:pt x="29" y="33"/>
                  </a:lnTo>
                  <a:lnTo>
                    <a:pt x="26" y="33"/>
                  </a:lnTo>
                  <a:lnTo>
                    <a:pt x="26" y="33"/>
                  </a:lnTo>
                  <a:lnTo>
                    <a:pt x="26" y="31"/>
                  </a:lnTo>
                  <a:lnTo>
                    <a:pt x="26" y="38"/>
                  </a:lnTo>
                  <a:lnTo>
                    <a:pt x="26" y="40"/>
                  </a:lnTo>
                  <a:lnTo>
                    <a:pt x="26" y="43"/>
                  </a:lnTo>
                  <a:lnTo>
                    <a:pt x="24" y="48"/>
                  </a:lnTo>
                  <a:lnTo>
                    <a:pt x="24" y="48"/>
                  </a:lnTo>
                  <a:lnTo>
                    <a:pt x="24" y="48"/>
                  </a:lnTo>
                  <a:lnTo>
                    <a:pt x="22" y="50"/>
                  </a:lnTo>
                  <a:lnTo>
                    <a:pt x="19" y="52"/>
                  </a:lnTo>
                  <a:lnTo>
                    <a:pt x="19" y="57"/>
                  </a:lnTo>
                  <a:lnTo>
                    <a:pt x="19" y="57"/>
                  </a:lnTo>
                  <a:lnTo>
                    <a:pt x="22" y="57"/>
                  </a:lnTo>
                  <a:lnTo>
                    <a:pt x="24" y="59"/>
                  </a:lnTo>
                  <a:lnTo>
                    <a:pt x="24" y="59"/>
                  </a:lnTo>
                  <a:lnTo>
                    <a:pt x="24" y="59"/>
                  </a:lnTo>
                  <a:lnTo>
                    <a:pt x="24" y="57"/>
                  </a:lnTo>
                  <a:lnTo>
                    <a:pt x="24" y="57"/>
                  </a:lnTo>
                  <a:lnTo>
                    <a:pt x="26" y="57"/>
                  </a:lnTo>
                  <a:lnTo>
                    <a:pt x="26" y="59"/>
                  </a:lnTo>
                  <a:lnTo>
                    <a:pt x="26" y="59"/>
                  </a:lnTo>
                  <a:lnTo>
                    <a:pt x="29" y="59"/>
                  </a:lnTo>
                  <a:lnTo>
                    <a:pt x="29" y="59"/>
                  </a:lnTo>
                  <a:lnTo>
                    <a:pt x="29" y="59"/>
                  </a:lnTo>
                  <a:lnTo>
                    <a:pt x="31" y="59"/>
                  </a:lnTo>
                  <a:lnTo>
                    <a:pt x="31" y="59"/>
                  </a:lnTo>
                  <a:lnTo>
                    <a:pt x="33" y="59"/>
                  </a:lnTo>
                  <a:lnTo>
                    <a:pt x="36" y="59"/>
                  </a:lnTo>
                  <a:lnTo>
                    <a:pt x="41" y="59"/>
                  </a:lnTo>
                  <a:lnTo>
                    <a:pt x="48" y="59"/>
                  </a:lnTo>
                  <a:lnTo>
                    <a:pt x="52" y="59"/>
                  </a:lnTo>
                  <a:lnTo>
                    <a:pt x="55" y="59"/>
                  </a:lnTo>
                  <a:lnTo>
                    <a:pt x="55" y="57"/>
                  </a:lnTo>
                  <a:close/>
                  <a:moveTo>
                    <a:pt x="8" y="3"/>
                  </a:moveTo>
                  <a:lnTo>
                    <a:pt x="8" y="0"/>
                  </a:lnTo>
                  <a:lnTo>
                    <a:pt x="5" y="3"/>
                  </a:lnTo>
                  <a:lnTo>
                    <a:pt x="5" y="3"/>
                  </a:lnTo>
                  <a:lnTo>
                    <a:pt x="5" y="5"/>
                  </a:lnTo>
                  <a:lnTo>
                    <a:pt x="5" y="7"/>
                  </a:lnTo>
                  <a:lnTo>
                    <a:pt x="3" y="7"/>
                  </a:lnTo>
                  <a:lnTo>
                    <a:pt x="3" y="7"/>
                  </a:lnTo>
                  <a:lnTo>
                    <a:pt x="3" y="7"/>
                  </a:lnTo>
                  <a:lnTo>
                    <a:pt x="0" y="10"/>
                  </a:lnTo>
                  <a:lnTo>
                    <a:pt x="3" y="12"/>
                  </a:lnTo>
                  <a:lnTo>
                    <a:pt x="3" y="12"/>
                  </a:lnTo>
                  <a:lnTo>
                    <a:pt x="5" y="12"/>
                  </a:lnTo>
                  <a:lnTo>
                    <a:pt x="8" y="12"/>
                  </a:lnTo>
                  <a:lnTo>
                    <a:pt x="8" y="12"/>
                  </a:lnTo>
                  <a:lnTo>
                    <a:pt x="8" y="10"/>
                  </a:lnTo>
                  <a:lnTo>
                    <a:pt x="12" y="5"/>
                  </a:lnTo>
                  <a:lnTo>
                    <a:pt x="12" y="3"/>
                  </a:lnTo>
                  <a:lnTo>
                    <a:pt x="10" y="0"/>
                  </a:lnTo>
                  <a:lnTo>
                    <a:pt x="8"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4" name="Freeform 350"/>
            <p:cNvSpPr>
              <a:spLocks/>
            </p:cNvSpPr>
            <p:nvPr userDrawn="1"/>
          </p:nvSpPr>
          <p:spPr bwMode="auto">
            <a:xfrm>
              <a:off x="1994" y="2503"/>
              <a:ext cx="45" cy="26"/>
            </a:xfrm>
            <a:custGeom>
              <a:avLst/>
              <a:gdLst>
                <a:gd name="T0" fmla="*/ 42 w 45"/>
                <a:gd name="T1" fmla="*/ 19 h 26"/>
                <a:gd name="T2" fmla="*/ 45 w 45"/>
                <a:gd name="T3" fmla="*/ 14 h 26"/>
                <a:gd name="T4" fmla="*/ 42 w 45"/>
                <a:gd name="T5" fmla="*/ 11 h 26"/>
                <a:gd name="T6" fmla="*/ 37 w 45"/>
                <a:gd name="T7" fmla="*/ 11 h 26"/>
                <a:gd name="T8" fmla="*/ 37 w 45"/>
                <a:gd name="T9" fmla="*/ 9 h 26"/>
                <a:gd name="T10" fmla="*/ 33 w 45"/>
                <a:gd name="T11" fmla="*/ 11 h 26"/>
                <a:gd name="T12" fmla="*/ 30 w 45"/>
                <a:gd name="T13" fmla="*/ 11 h 26"/>
                <a:gd name="T14" fmla="*/ 30 w 45"/>
                <a:gd name="T15" fmla="*/ 11 h 26"/>
                <a:gd name="T16" fmla="*/ 28 w 45"/>
                <a:gd name="T17" fmla="*/ 9 h 26"/>
                <a:gd name="T18" fmla="*/ 26 w 45"/>
                <a:gd name="T19" fmla="*/ 9 h 26"/>
                <a:gd name="T20" fmla="*/ 26 w 45"/>
                <a:gd name="T21" fmla="*/ 7 h 26"/>
                <a:gd name="T22" fmla="*/ 23 w 45"/>
                <a:gd name="T23" fmla="*/ 7 h 26"/>
                <a:gd name="T24" fmla="*/ 21 w 45"/>
                <a:gd name="T25" fmla="*/ 2 h 26"/>
                <a:gd name="T26" fmla="*/ 19 w 45"/>
                <a:gd name="T27" fmla="*/ 2 h 26"/>
                <a:gd name="T28" fmla="*/ 14 w 45"/>
                <a:gd name="T29" fmla="*/ 0 h 26"/>
                <a:gd name="T30" fmla="*/ 14 w 45"/>
                <a:gd name="T31" fmla="*/ 0 h 26"/>
                <a:gd name="T32" fmla="*/ 12 w 45"/>
                <a:gd name="T33" fmla="*/ 0 h 26"/>
                <a:gd name="T34" fmla="*/ 12 w 45"/>
                <a:gd name="T35" fmla="*/ 2 h 26"/>
                <a:gd name="T36" fmla="*/ 12 w 45"/>
                <a:gd name="T37" fmla="*/ 4 h 26"/>
                <a:gd name="T38" fmla="*/ 9 w 45"/>
                <a:gd name="T39" fmla="*/ 4 h 26"/>
                <a:gd name="T40" fmla="*/ 7 w 45"/>
                <a:gd name="T41" fmla="*/ 7 h 26"/>
                <a:gd name="T42" fmla="*/ 7 w 45"/>
                <a:gd name="T43" fmla="*/ 9 h 26"/>
                <a:gd name="T44" fmla="*/ 4 w 45"/>
                <a:gd name="T45" fmla="*/ 9 h 26"/>
                <a:gd name="T46" fmla="*/ 0 w 45"/>
                <a:gd name="T47" fmla="*/ 11 h 26"/>
                <a:gd name="T48" fmla="*/ 0 w 45"/>
                <a:gd name="T49" fmla="*/ 14 h 26"/>
                <a:gd name="T50" fmla="*/ 2 w 45"/>
                <a:gd name="T51" fmla="*/ 16 h 26"/>
                <a:gd name="T52" fmla="*/ 9 w 45"/>
                <a:gd name="T53" fmla="*/ 19 h 26"/>
                <a:gd name="T54" fmla="*/ 21 w 45"/>
                <a:gd name="T55" fmla="*/ 23 h 26"/>
                <a:gd name="T56" fmla="*/ 28 w 45"/>
                <a:gd name="T57" fmla="*/ 26 h 26"/>
                <a:gd name="T58" fmla="*/ 26 w 45"/>
                <a:gd name="T59" fmla="*/ 26 h 26"/>
                <a:gd name="T60" fmla="*/ 26 w 45"/>
                <a:gd name="T61" fmla="*/ 23 h 26"/>
                <a:gd name="T62" fmla="*/ 33 w 45"/>
                <a:gd name="T63" fmla="*/ 26 h 26"/>
                <a:gd name="T64" fmla="*/ 37 w 45"/>
                <a:gd name="T65" fmla="*/ 26 h 26"/>
                <a:gd name="T66" fmla="*/ 40 w 45"/>
                <a:gd name="T67" fmla="*/ 23 h 26"/>
                <a:gd name="T68" fmla="*/ 40 w 45"/>
                <a:gd name="T69" fmla="*/ 21 h 26"/>
                <a:gd name="T70" fmla="*/ 42 w 45"/>
                <a:gd name="T71" fmla="*/ 21 h 26"/>
                <a:gd name="T72" fmla="*/ 42 w 45"/>
                <a:gd name="T73"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 h="26">
                  <a:moveTo>
                    <a:pt x="42" y="19"/>
                  </a:moveTo>
                  <a:lnTo>
                    <a:pt x="42" y="19"/>
                  </a:lnTo>
                  <a:lnTo>
                    <a:pt x="42" y="16"/>
                  </a:lnTo>
                  <a:lnTo>
                    <a:pt x="45" y="14"/>
                  </a:lnTo>
                  <a:lnTo>
                    <a:pt x="42" y="11"/>
                  </a:lnTo>
                  <a:lnTo>
                    <a:pt x="42" y="11"/>
                  </a:lnTo>
                  <a:lnTo>
                    <a:pt x="40" y="11"/>
                  </a:lnTo>
                  <a:lnTo>
                    <a:pt x="37" y="11"/>
                  </a:lnTo>
                  <a:lnTo>
                    <a:pt x="37" y="11"/>
                  </a:lnTo>
                  <a:lnTo>
                    <a:pt x="37" y="9"/>
                  </a:lnTo>
                  <a:lnTo>
                    <a:pt x="35" y="9"/>
                  </a:lnTo>
                  <a:lnTo>
                    <a:pt x="33" y="11"/>
                  </a:lnTo>
                  <a:lnTo>
                    <a:pt x="30" y="11"/>
                  </a:lnTo>
                  <a:lnTo>
                    <a:pt x="30" y="11"/>
                  </a:lnTo>
                  <a:lnTo>
                    <a:pt x="30" y="11"/>
                  </a:lnTo>
                  <a:lnTo>
                    <a:pt x="30" y="11"/>
                  </a:lnTo>
                  <a:lnTo>
                    <a:pt x="30" y="9"/>
                  </a:lnTo>
                  <a:lnTo>
                    <a:pt x="28" y="9"/>
                  </a:lnTo>
                  <a:lnTo>
                    <a:pt x="28" y="9"/>
                  </a:lnTo>
                  <a:lnTo>
                    <a:pt x="26" y="9"/>
                  </a:lnTo>
                  <a:lnTo>
                    <a:pt x="26" y="9"/>
                  </a:lnTo>
                  <a:lnTo>
                    <a:pt x="26" y="7"/>
                  </a:lnTo>
                  <a:lnTo>
                    <a:pt x="23" y="7"/>
                  </a:lnTo>
                  <a:lnTo>
                    <a:pt x="23" y="7"/>
                  </a:lnTo>
                  <a:lnTo>
                    <a:pt x="21" y="4"/>
                  </a:lnTo>
                  <a:lnTo>
                    <a:pt x="21" y="2"/>
                  </a:lnTo>
                  <a:lnTo>
                    <a:pt x="21" y="2"/>
                  </a:lnTo>
                  <a:lnTo>
                    <a:pt x="19" y="2"/>
                  </a:lnTo>
                  <a:lnTo>
                    <a:pt x="19" y="2"/>
                  </a:lnTo>
                  <a:lnTo>
                    <a:pt x="14" y="0"/>
                  </a:lnTo>
                  <a:lnTo>
                    <a:pt x="14" y="0"/>
                  </a:lnTo>
                  <a:lnTo>
                    <a:pt x="14" y="0"/>
                  </a:lnTo>
                  <a:lnTo>
                    <a:pt x="14" y="0"/>
                  </a:lnTo>
                  <a:lnTo>
                    <a:pt x="12" y="0"/>
                  </a:lnTo>
                  <a:lnTo>
                    <a:pt x="12" y="0"/>
                  </a:lnTo>
                  <a:lnTo>
                    <a:pt x="12" y="2"/>
                  </a:lnTo>
                  <a:lnTo>
                    <a:pt x="12" y="2"/>
                  </a:lnTo>
                  <a:lnTo>
                    <a:pt x="12" y="4"/>
                  </a:lnTo>
                  <a:lnTo>
                    <a:pt x="12" y="4"/>
                  </a:lnTo>
                  <a:lnTo>
                    <a:pt x="9" y="4"/>
                  </a:lnTo>
                  <a:lnTo>
                    <a:pt x="9" y="4"/>
                  </a:lnTo>
                  <a:lnTo>
                    <a:pt x="7" y="7"/>
                  </a:lnTo>
                  <a:lnTo>
                    <a:pt x="7" y="7"/>
                  </a:lnTo>
                  <a:lnTo>
                    <a:pt x="7" y="9"/>
                  </a:lnTo>
                  <a:lnTo>
                    <a:pt x="4" y="9"/>
                  </a:lnTo>
                  <a:lnTo>
                    <a:pt x="4" y="9"/>
                  </a:lnTo>
                  <a:lnTo>
                    <a:pt x="2" y="9"/>
                  </a:lnTo>
                  <a:lnTo>
                    <a:pt x="0" y="11"/>
                  </a:lnTo>
                  <a:lnTo>
                    <a:pt x="0" y="14"/>
                  </a:lnTo>
                  <a:lnTo>
                    <a:pt x="0" y="14"/>
                  </a:lnTo>
                  <a:lnTo>
                    <a:pt x="0" y="14"/>
                  </a:lnTo>
                  <a:lnTo>
                    <a:pt x="2" y="16"/>
                  </a:lnTo>
                  <a:lnTo>
                    <a:pt x="4" y="19"/>
                  </a:lnTo>
                  <a:lnTo>
                    <a:pt x="9" y="19"/>
                  </a:lnTo>
                  <a:lnTo>
                    <a:pt x="14" y="21"/>
                  </a:lnTo>
                  <a:lnTo>
                    <a:pt x="21" y="23"/>
                  </a:lnTo>
                  <a:lnTo>
                    <a:pt x="28" y="26"/>
                  </a:lnTo>
                  <a:lnTo>
                    <a:pt x="28" y="26"/>
                  </a:lnTo>
                  <a:lnTo>
                    <a:pt x="26" y="26"/>
                  </a:lnTo>
                  <a:lnTo>
                    <a:pt x="26" y="26"/>
                  </a:lnTo>
                  <a:lnTo>
                    <a:pt x="23" y="23"/>
                  </a:lnTo>
                  <a:lnTo>
                    <a:pt x="26" y="23"/>
                  </a:lnTo>
                  <a:lnTo>
                    <a:pt x="30" y="26"/>
                  </a:lnTo>
                  <a:lnTo>
                    <a:pt x="33" y="26"/>
                  </a:lnTo>
                  <a:lnTo>
                    <a:pt x="37" y="26"/>
                  </a:lnTo>
                  <a:lnTo>
                    <a:pt x="37" y="26"/>
                  </a:lnTo>
                  <a:lnTo>
                    <a:pt x="40" y="26"/>
                  </a:lnTo>
                  <a:lnTo>
                    <a:pt x="40" y="23"/>
                  </a:lnTo>
                  <a:lnTo>
                    <a:pt x="40" y="23"/>
                  </a:lnTo>
                  <a:lnTo>
                    <a:pt x="40" y="21"/>
                  </a:lnTo>
                  <a:lnTo>
                    <a:pt x="42" y="21"/>
                  </a:lnTo>
                  <a:lnTo>
                    <a:pt x="42" y="21"/>
                  </a:lnTo>
                  <a:lnTo>
                    <a:pt x="42" y="19"/>
                  </a:lnTo>
                  <a:lnTo>
                    <a:pt x="42"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5" name="Freeform 351"/>
            <p:cNvSpPr>
              <a:spLocks/>
            </p:cNvSpPr>
            <p:nvPr userDrawn="1"/>
          </p:nvSpPr>
          <p:spPr bwMode="auto">
            <a:xfrm>
              <a:off x="4101" y="2139"/>
              <a:ext cx="226" cy="205"/>
            </a:xfrm>
            <a:custGeom>
              <a:avLst/>
              <a:gdLst>
                <a:gd name="T0" fmla="*/ 214 w 226"/>
                <a:gd name="T1" fmla="*/ 191 h 205"/>
                <a:gd name="T2" fmla="*/ 205 w 226"/>
                <a:gd name="T3" fmla="*/ 184 h 205"/>
                <a:gd name="T4" fmla="*/ 200 w 226"/>
                <a:gd name="T5" fmla="*/ 165 h 205"/>
                <a:gd name="T6" fmla="*/ 205 w 226"/>
                <a:gd name="T7" fmla="*/ 163 h 205"/>
                <a:gd name="T8" fmla="*/ 195 w 226"/>
                <a:gd name="T9" fmla="*/ 153 h 205"/>
                <a:gd name="T10" fmla="*/ 176 w 226"/>
                <a:gd name="T11" fmla="*/ 120 h 205"/>
                <a:gd name="T12" fmla="*/ 167 w 226"/>
                <a:gd name="T13" fmla="*/ 94 h 205"/>
                <a:gd name="T14" fmla="*/ 162 w 226"/>
                <a:gd name="T15" fmla="*/ 87 h 205"/>
                <a:gd name="T16" fmla="*/ 158 w 226"/>
                <a:gd name="T17" fmla="*/ 78 h 205"/>
                <a:gd name="T18" fmla="*/ 148 w 226"/>
                <a:gd name="T19" fmla="*/ 63 h 205"/>
                <a:gd name="T20" fmla="*/ 143 w 226"/>
                <a:gd name="T21" fmla="*/ 56 h 205"/>
                <a:gd name="T22" fmla="*/ 139 w 226"/>
                <a:gd name="T23" fmla="*/ 44 h 205"/>
                <a:gd name="T24" fmla="*/ 139 w 226"/>
                <a:gd name="T25" fmla="*/ 37 h 205"/>
                <a:gd name="T26" fmla="*/ 146 w 226"/>
                <a:gd name="T27" fmla="*/ 47 h 205"/>
                <a:gd name="T28" fmla="*/ 153 w 226"/>
                <a:gd name="T29" fmla="*/ 56 h 205"/>
                <a:gd name="T30" fmla="*/ 158 w 226"/>
                <a:gd name="T31" fmla="*/ 70 h 205"/>
                <a:gd name="T32" fmla="*/ 174 w 226"/>
                <a:gd name="T33" fmla="*/ 82 h 205"/>
                <a:gd name="T34" fmla="*/ 176 w 226"/>
                <a:gd name="T35" fmla="*/ 70 h 205"/>
                <a:gd name="T36" fmla="*/ 184 w 226"/>
                <a:gd name="T37" fmla="*/ 47 h 205"/>
                <a:gd name="T38" fmla="*/ 179 w 226"/>
                <a:gd name="T39" fmla="*/ 30 h 205"/>
                <a:gd name="T40" fmla="*/ 172 w 226"/>
                <a:gd name="T41" fmla="*/ 18 h 205"/>
                <a:gd name="T42" fmla="*/ 169 w 226"/>
                <a:gd name="T43" fmla="*/ 7 h 205"/>
                <a:gd name="T44" fmla="*/ 155 w 226"/>
                <a:gd name="T45" fmla="*/ 11 h 205"/>
                <a:gd name="T46" fmla="*/ 146 w 226"/>
                <a:gd name="T47" fmla="*/ 11 h 205"/>
                <a:gd name="T48" fmla="*/ 139 w 226"/>
                <a:gd name="T49" fmla="*/ 11 h 205"/>
                <a:gd name="T50" fmla="*/ 134 w 226"/>
                <a:gd name="T51" fmla="*/ 9 h 205"/>
                <a:gd name="T52" fmla="*/ 132 w 226"/>
                <a:gd name="T53" fmla="*/ 11 h 205"/>
                <a:gd name="T54" fmla="*/ 127 w 226"/>
                <a:gd name="T55" fmla="*/ 7 h 205"/>
                <a:gd name="T56" fmla="*/ 129 w 226"/>
                <a:gd name="T57" fmla="*/ 4 h 205"/>
                <a:gd name="T58" fmla="*/ 120 w 226"/>
                <a:gd name="T59" fmla="*/ 4 h 205"/>
                <a:gd name="T60" fmla="*/ 113 w 226"/>
                <a:gd name="T61" fmla="*/ 4 h 205"/>
                <a:gd name="T62" fmla="*/ 103 w 226"/>
                <a:gd name="T63" fmla="*/ 7 h 205"/>
                <a:gd name="T64" fmla="*/ 101 w 226"/>
                <a:gd name="T65" fmla="*/ 4 h 205"/>
                <a:gd name="T66" fmla="*/ 99 w 226"/>
                <a:gd name="T67" fmla="*/ 9 h 205"/>
                <a:gd name="T68" fmla="*/ 87 w 226"/>
                <a:gd name="T69" fmla="*/ 14 h 205"/>
                <a:gd name="T70" fmla="*/ 77 w 226"/>
                <a:gd name="T71" fmla="*/ 18 h 205"/>
                <a:gd name="T72" fmla="*/ 59 w 226"/>
                <a:gd name="T73" fmla="*/ 11 h 205"/>
                <a:gd name="T74" fmla="*/ 44 w 226"/>
                <a:gd name="T75" fmla="*/ 7 h 205"/>
                <a:gd name="T76" fmla="*/ 12 w 226"/>
                <a:gd name="T77" fmla="*/ 4 h 205"/>
                <a:gd name="T78" fmla="*/ 7 w 226"/>
                <a:gd name="T79" fmla="*/ 2 h 205"/>
                <a:gd name="T80" fmla="*/ 2 w 226"/>
                <a:gd name="T81" fmla="*/ 11 h 205"/>
                <a:gd name="T82" fmla="*/ 4 w 226"/>
                <a:gd name="T83" fmla="*/ 21 h 205"/>
                <a:gd name="T84" fmla="*/ 0 w 226"/>
                <a:gd name="T85" fmla="*/ 30 h 205"/>
                <a:gd name="T86" fmla="*/ 4 w 226"/>
                <a:gd name="T87" fmla="*/ 44 h 205"/>
                <a:gd name="T88" fmla="*/ 7 w 226"/>
                <a:gd name="T89" fmla="*/ 56 h 205"/>
                <a:gd name="T90" fmla="*/ 7 w 226"/>
                <a:gd name="T91" fmla="*/ 75 h 205"/>
                <a:gd name="T92" fmla="*/ 7 w 226"/>
                <a:gd name="T93" fmla="*/ 96 h 205"/>
                <a:gd name="T94" fmla="*/ 9 w 226"/>
                <a:gd name="T95" fmla="*/ 115 h 205"/>
                <a:gd name="T96" fmla="*/ 9 w 226"/>
                <a:gd name="T97" fmla="*/ 134 h 205"/>
                <a:gd name="T98" fmla="*/ 9 w 226"/>
                <a:gd name="T99" fmla="*/ 153 h 205"/>
                <a:gd name="T100" fmla="*/ 9 w 226"/>
                <a:gd name="T101" fmla="*/ 172 h 205"/>
                <a:gd name="T102" fmla="*/ 12 w 226"/>
                <a:gd name="T103" fmla="*/ 191 h 205"/>
                <a:gd name="T104" fmla="*/ 26 w 226"/>
                <a:gd name="T105" fmla="*/ 205 h 205"/>
                <a:gd name="T106" fmla="*/ 59 w 226"/>
                <a:gd name="T107" fmla="*/ 205 h 205"/>
                <a:gd name="T108" fmla="*/ 87 w 226"/>
                <a:gd name="T109" fmla="*/ 205 h 205"/>
                <a:gd name="T110" fmla="*/ 115 w 226"/>
                <a:gd name="T111" fmla="*/ 205 h 205"/>
                <a:gd name="T112" fmla="*/ 127 w 226"/>
                <a:gd name="T113" fmla="*/ 201 h 205"/>
                <a:gd name="T114" fmla="*/ 129 w 226"/>
                <a:gd name="T115" fmla="*/ 203 h 205"/>
                <a:gd name="T116" fmla="*/ 143 w 226"/>
                <a:gd name="T117" fmla="*/ 205 h 205"/>
                <a:gd name="T118" fmla="*/ 179 w 226"/>
                <a:gd name="T119" fmla="*/ 205 h 205"/>
                <a:gd name="T120" fmla="*/ 202 w 226"/>
                <a:gd name="T121" fmla="*/ 205 h 205"/>
                <a:gd name="T122" fmla="*/ 226 w 226"/>
                <a:gd name="T12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 h="205">
                  <a:moveTo>
                    <a:pt x="226" y="203"/>
                  </a:moveTo>
                  <a:lnTo>
                    <a:pt x="226" y="203"/>
                  </a:lnTo>
                  <a:lnTo>
                    <a:pt x="219" y="196"/>
                  </a:lnTo>
                  <a:lnTo>
                    <a:pt x="214" y="191"/>
                  </a:lnTo>
                  <a:lnTo>
                    <a:pt x="209" y="189"/>
                  </a:lnTo>
                  <a:lnTo>
                    <a:pt x="207" y="189"/>
                  </a:lnTo>
                  <a:lnTo>
                    <a:pt x="207" y="186"/>
                  </a:lnTo>
                  <a:lnTo>
                    <a:pt x="205" y="184"/>
                  </a:lnTo>
                  <a:lnTo>
                    <a:pt x="202" y="177"/>
                  </a:lnTo>
                  <a:lnTo>
                    <a:pt x="202" y="174"/>
                  </a:lnTo>
                  <a:lnTo>
                    <a:pt x="200" y="167"/>
                  </a:lnTo>
                  <a:lnTo>
                    <a:pt x="200" y="165"/>
                  </a:lnTo>
                  <a:lnTo>
                    <a:pt x="202" y="163"/>
                  </a:lnTo>
                  <a:lnTo>
                    <a:pt x="202" y="163"/>
                  </a:lnTo>
                  <a:lnTo>
                    <a:pt x="202" y="163"/>
                  </a:lnTo>
                  <a:lnTo>
                    <a:pt x="205" y="163"/>
                  </a:lnTo>
                  <a:lnTo>
                    <a:pt x="202" y="160"/>
                  </a:lnTo>
                  <a:lnTo>
                    <a:pt x="200" y="158"/>
                  </a:lnTo>
                  <a:lnTo>
                    <a:pt x="198" y="156"/>
                  </a:lnTo>
                  <a:lnTo>
                    <a:pt x="195" y="153"/>
                  </a:lnTo>
                  <a:lnTo>
                    <a:pt x="188" y="139"/>
                  </a:lnTo>
                  <a:lnTo>
                    <a:pt x="184" y="132"/>
                  </a:lnTo>
                  <a:lnTo>
                    <a:pt x="181" y="127"/>
                  </a:lnTo>
                  <a:lnTo>
                    <a:pt x="176" y="120"/>
                  </a:lnTo>
                  <a:lnTo>
                    <a:pt x="172" y="108"/>
                  </a:lnTo>
                  <a:lnTo>
                    <a:pt x="169" y="106"/>
                  </a:lnTo>
                  <a:lnTo>
                    <a:pt x="169" y="99"/>
                  </a:lnTo>
                  <a:lnTo>
                    <a:pt x="167" y="94"/>
                  </a:lnTo>
                  <a:lnTo>
                    <a:pt x="167" y="94"/>
                  </a:lnTo>
                  <a:lnTo>
                    <a:pt x="165" y="92"/>
                  </a:lnTo>
                  <a:lnTo>
                    <a:pt x="165" y="89"/>
                  </a:lnTo>
                  <a:lnTo>
                    <a:pt x="162" y="87"/>
                  </a:lnTo>
                  <a:lnTo>
                    <a:pt x="162" y="85"/>
                  </a:lnTo>
                  <a:lnTo>
                    <a:pt x="162" y="80"/>
                  </a:lnTo>
                  <a:lnTo>
                    <a:pt x="160" y="78"/>
                  </a:lnTo>
                  <a:lnTo>
                    <a:pt x="158" y="78"/>
                  </a:lnTo>
                  <a:lnTo>
                    <a:pt x="155" y="73"/>
                  </a:lnTo>
                  <a:lnTo>
                    <a:pt x="151" y="68"/>
                  </a:lnTo>
                  <a:lnTo>
                    <a:pt x="148" y="66"/>
                  </a:lnTo>
                  <a:lnTo>
                    <a:pt x="148" y="63"/>
                  </a:lnTo>
                  <a:lnTo>
                    <a:pt x="148" y="63"/>
                  </a:lnTo>
                  <a:lnTo>
                    <a:pt x="146" y="61"/>
                  </a:lnTo>
                  <a:lnTo>
                    <a:pt x="143" y="59"/>
                  </a:lnTo>
                  <a:lnTo>
                    <a:pt x="143" y="56"/>
                  </a:lnTo>
                  <a:lnTo>
                    <a:pt x="143" y="52"/>
                  </a:lnTo>
                  <a:lnTo>
                    <a:pt x="143" y="49"/>
                  </a:lnTo>
                  <a:lnTo>
                    <a:pt x="141" y="49"/>
                  </a:lnTo>
                  <a:lnTo>
                    <a:pt x="139" y="44"/>
                  </a:lnTo>
                  <a:lnTo>
                    <a:pt x="139" y="42"/>
                  </a:lnTo>
                  <a:lnTo>
                    <a:pt x="139" y="40"/>
                  </a:lnTo>
                  <a:lnTo>
                    <a:pt x="141" y="40"/>
                  </a:lnTo>
                  <a:lnTo>
                    <a:pt x="139" y="37"/>
                  </a:lnTo>
                  <a:lnTo>
                    <a:pt x="141" y="35"/>
                  </a:lnTo>
                  <a:lnTo>
                    <a:pt x="143" y="40"/>
                  </a:lnTo>
                  <a:lnTo>
                    <a:pt x="143" y="44"/>
                  </a:lnTo>
                  <a:lnTo>
                    <a:pt x="146" y="47"/>
                  </a:lnTo>
                  <a:lnTo>
                    <a:pt x="146" y="49"/>
                  </a:lnTo>
                  <a:lnTo>
                    <a:pt x="148" y="52"/>
                  </a:lnTo>
                  <a:lnTo>
                    <a:pt x="151" y="54"/>
                  </a:lnTo>
                  <a:lnTo>
                    <a:pt x="153" y="56"/>
                  </a:lnTo>
                  <a:lnTo>
                    <a:pt x="155" y="61"/>
                  </a:lnTo>
                  <a:lnTo>
                    <a:pt x="155" y="63"/>
                  </a:lnTo>
                  <a:lnTo>
                    <a:pt x="155" y="66"/>
                  </a:lnTo>
                  <a:lnTo>
                    <a:pt x="158" y="70"/>
                  </a:lnTo>
                  <a:lnTo>
                    <a:pt x="162" y="73"/>
                  </a:lnTo>
                  <a:lnTo>
                    <a:pt x="165" y="78"/>
                  </a:lnTo>
                  <a:lnTo>
                    <a:pt x="169" y="82"/>
                  </a:lnTo>
                  <a:lnTo>
                    <a:pt x="174" y="82"/>
                  </a:lnTo>
                  <a:lnTo>
                    <a:pt x="174" y="80"/>
                  </a:lnTo>
                  <a:lnTo>
                    <a:pt x="176" y="78"/>
                  </a:lnTo>
                  <a:lnTo>
                    <a:pt x="176" y="75"/>
                  </a:lnTo>
                  <a:lnTo>
                    <a:pt x="176" y="70"/>
                  </a:lnTo>
                  <a:lnTo>
                    <a:pt x="179" y="61"/>
                  </a:lnTo>
                  <a:lnTo>
                    <a:pt x="181" y="52"/>
                  </a:lnTo>
                  <a:lnTo>
                    <a:pt x="184" y="47"/>
                  </a:lnTo>
                  <a:lnTo>
                    <a:pt x="184" y="47"/>
                  </a:lnTo>
                  <a:lnTo>
                    <a:pt x="184" y="44"/>
                  </a:lnTo>
                  <a:lnTo>
                    <a:pt x="181" y="40"/>
                  </a:lnTo>
                  <a:lnTo>
                    <a:pt x="179" y="35"/>
                  </a:lnTo>
                  <a:lnTo>
                    <a:pt x="179" y="30"/>
                  </a:lnTo>
                  <a:lnTo>
                    <a:pt x="176" y="26"/>
                  </a:lnTo>
                  <a:lnTo>
                    <a:pt x="176" y="26"/>
                  </a:lnTo>
                  <a:lnTo>
                    <a:pt x="174" y="23"/>
                  </a:lnTo>
                  <a:lnTo>
                    <a:pt x="172" y="18"/>
                  </a:lnTo>
                  <a:lnTo>
                    <a:pt x="172" y="14"/>
                  </a:lnTo>
                  <a:lnTo>
                    <a:pt x="169" y="9"/>
                  </a:lnTo>
                  <a:lnTo>
                    <a:pt x="169" y="9"/>
                  </a:lnTo>
                  <a:lnTo>
                    <a:pt x="169" y="7"/>
                  </a:lnTo>
                  <a:lnTo>
                    <a:pt x="167" y="9"/>
                  </a:lnTo>
                  <a:lnTo>
                    <a:pt x="162" y="11"/>
                  </a:lnTo>
                  <a:lnTo>
                    <a:pt x="160" y="11"/>
                  </a:lnTo>
                  <a:lnTo>
                    <a:pt x="155" y="11"/>
                  </a:lnTo>
                  <a:lnTo>
                    <a:pt x="151" y="14"/>
                  </a:lnTo>
                  <a:lnTo>
                    <a:pt x="151" y="11"/>
                  </a:lnTo>
                  <a:lnTo>
                    <a:pt x="151" y="11"/>
                  </a:lnTo>
                  <a:lnTo>
                    <a:pt x="146" y="11"/>
                  </a:lnTo>
                  <a:lnTo>
                    <a:pt x="146" y="11"/>
                  </a:lnTo>
                  <a:lnTo>
                    <a:pt x="141" y="14"/>
                  </a:lnTo>
                  <a:lnTo>
                    <a:pt x="141" y="14"/>
                  </a:lnTo>
                  <a:lnTo>
                    <a:pt x="139" y="11"/>
                  </a:lnTo>
                  <a:lnTo>
                    <a:pt x="136" y="9"/>
                  </a:lnTo>
                  <a:lnTo>
                    <a:pt x="134" y="9"/>
                  </a:lnTo>
                  <a:lnTo>
                    <a:pt x="134" y="9"/>
                  </a:lnTo>
                  <a:lnTo>
                    <a:pt x="134" y="9"/>
                  </a:lnTo>
                  <a:lnTo>
                    <a:pt x="134" y="11"/>
                  </a:lnTo>
                  <a:lnTo>
                    <a:pt x="134" y="11"/>
                  </a:lnTo>
                  <a:lnTo>
                    <a:pt x="132" y="11"/>
                  </a:lnTo>
                  <a:lnTo>
                    <a:pt x="132" y="11"/>
                  </a:lnTo>
                  <a:lnTo>
                    <a:pt x="129" y="9"/>
                  </a:lnTo>
                  <a:lnTo>
                    <a:pt x="127" y="9"/>
                  </a:lnTo>
                  <a:lnTo>
                    <a:pt x="125" y="9"/>
                  </a:lnTo>
                  <a:lnTo>
                    <a:pt x="127" y="7"/>
                  </a:lnTo>
                  <a:lnTo>
                    <a:pt x="127" y="4"/>
                  </a:lnTo>
                  <a:lnTo>
                    <a:pt x="132" y="7"/>
                  </a:lnTo>
                  <a:lnTo>
                    <a:pt x="132" y="7"/>
                  </a:lnTo>
                  <a:lnTo>
                    <a:pt x="129" y="4"/>
                  </a:lnTo>
                  <a:lnTo>
                    <a:pt x="127" y="2"/>
                  </a:lnTo>
                  <a:lnTo>
                    <a:pt x="127" y="4"/>
                  </a:lnTo>
                  <a:lnTo>
                    <a:pt x="122" y="4"/>
                  </a:lnTo>
                  <a:lnTo>
                    <a:pt x="120" y="4"/>
                  </a:lnTo>
                  <a:lnTo>
                    <a:pt x="115" y="2"/>
                  </a:lnTo>
                  <a:lnTo>
                    <a:pt x="113" y="2"/>
                  </a:lnTo>
                  <a:lnTo>
                    <a:pt x="113" y="2"/>
                  </a:lnTo>
                  <a:lnTo>
                    <a:pt x="113" y="4"/>
                  </a:lnTo>
                  <a:lnTo>
                    <a:pt x="110" y="4"/>
                  </a:lnTo>
                  <a:lnTo>
                    <a:pt x="108" y="4"/>
                  </a:lnTo>
                  <a:lnTo>
                    <a:pt x="106" y="7"/>
                  </a:lnTo>
                  <a:lnTo>
                    <a:pt x="103" y="7"/>
                  </a:lnTo>
                  <a:lnTo>
                    <a:pt x="110" y="4"/>
                  </a:lnTo>
                  <a:lnTo>
                    <a:pt x="110" y="2"/>
                  </a:lnTo>
                  <a:lnTo>
                    <a:pt x="103" y="4"/>
                  </a:lnTo>
                  <a:lnTo>
                    <a:pt x="101" y="4"/>
                  </a:lnTo>
                  <a:lnTo>
                    <a:pt x="101" y="7"/>
                  </a:lnTo>
                  <a:lnTo>
                    <a:pt x="99" y="7"/>
                  </a:lnTo>
                  <a:lnTo>
                    <a:pt x="99" y="7"/>
                  </a:lnTo>
                  <a:lnTo>
                    <a:pt x="99" y="9"/>
                  </a:lnTo>
                  <a:lnTo>
                    <a:pt x="96" y="9"/>
                  </a:lnTo>
                  <a:lnTo>
                    <a:pt x="94" y="9"/>
                  </a:lnTo>
                  <a:lnTo>
                    <a:pt x="94" y="9"/>
                  </a:lnTo>
                  <a:lnTo>
                    <a:pt x="87" y="14"/>
                  </a:lnTo>
                  <a:lnTo>
                    <a:pt x="85" y="16"/>
                  </a:lnTo>
                  <a:lnTo>
                    <a:pt x="82" y="16"/>
                  </a:lnTo>
                  <a:lnTo>
                    <a:pt x="80" y="18"/>
                  </a:lnTo>
                  <a:lnTo>
                    <a:pt x="77" y="18"/>
                  </a:lnTo>
                  <a:lnTo>
                    <a:pt x="75" y="18"/>
                  </a:lnTo>
                  <a:lnTo>
                    <a:pt x="73" y="16"/>
                  </a:lnTo>
                  <a:lnTo>
                    <a:pt x="68" y="14"/>
                  </a:lnTo>
                  <a:lnTo>
                    <a:pt x="59" y="11"/>
                  </a:lnTo>
                  <a:lnTo>
                    <a:pt x="56" y="11"/>
                  </a:lnTo>
                  <a:lnTo>
                    <a:pt x="52" y="11"/>
                  </a:lnTo>
                  <a:lnTo>
                    <a:pt x="49" y="9"/>
                  </a:lnTo>
                  <a:lnTo>
                    <a:pt x="44" y="7"/>
                  </a:lnTo>
                  <a:lnTo>
                    <a:pt x="37" y="4"/>
                  </a:lnTo>
                  <a:lnTo>
                    <a:pt x="30" y="4"/>
                  </a:lnTo>
                  <a:lnTo>
                    <a:pt x="21" y="2"/>
                  </a:lnTo>
                  <a:lnTo>
                    <a:pt x="12" y="4"/>
                  </a:lnTo>
                  <a:lnTo>
                    <a:pt x="9" y="4"/>
                  </a:lnTo>
                  <a:lnTo>
                    <a:pt x="7" y="0"/>
                  </a:lnTo>
                  <a:lnTo>
                    <a:pt x="7" y="2"/>
                  </a:lnTo>
                  <a:lnTo>
                    <a:pt x="7" y="2"/>
                  </a:lnTo>
                  <a:lnTo>
                    <a:pt x="4" y="4"/>
                  </a:lnTo>
                  <a:lnTo>
                    <a:pt x="4" y="4"/>
                  </a:lnTo>
                  <a:lnTo>
                    <a:pt x="2" y="7"/>
                  </a:lnTo>
                  <a:lnTo>
                    <a:pt x="2" y="11"/>
                  </a:lnTo>
                  <a:lnTo>
                    <a:pt x="2" y="14"/>
                  </a:lnTo>
                  <a:lnTo>
                    <a:pt x="4" y="16"/>
                  </a:lnTo>
                  <a:lnTo>
                    <a:pt x="4" y="18"/>
                  </a:lnTo>
                  <a:lnTo>
                    <a:pt x="4" y="21"/>
                  </a:lnTo>
                  <a:lnTo>
                    <a:pt x="4" y="23"/>
                  </a:lnTo>
                  <a:lnTo>
                    <a:pt x="4" y="26"/>
                  </a:lnTo>
                  <a:lnTo>
                    <a:pt x="2" y="30"/>
                  </a:lnTo>
                  <a:lnTo>
                    <a:pt x="0" y="30"/>
                  </a:lnTo>
                  <a:lnTo>
                    <a:pt x="2" y="33"/>
                  </a:lnTo>
                  <a:lnTo>
                    <a:pt x="2" y="37"/>
                  </a:lnTo>
                  <a:lnTo>
                    <a:pt x="2" y="40"/>
                  </a:lnTo>
                  <a:lnTo>
                    <a:pt x="4" y="44"/>
                  </a:lnTo>
                  <a:lnTo>
                    <a:pt x="4" y="49"/>
                  </a:lnTo>
                  <a:lnTo>
                    <a:pt x="7" y="52"/>
                  </a:lnTo>
                  <a:lnTo>
                    <a:pt x="7" y="52"/>
                  </a:lnTo>
                  <a:lnTo>
                    <a:pt x="7" y="56"/>
                  </a:lnTo>
                  <a:lnTo>
                    <a:pt x="7" y="61"/>
                  </a:lnTo>
                  <a:lnTo>
                    <a:pt x="7" y="66"/>
                  </a:lnTo>
                  <a:lnTo>
                    <a:pt x="7" y="70"/>
                  </a:lnTo>
                  <a:lnTo>
                    <a:pt x="7" y="75"/>
                  </a:lnTo>
                  <a:lnTo>
                    <a:pt x="7" y="80"/>
                  </a:lnTo>
                  <a:lnTo>
                    <a:pt x="7" y="85"/>
                  </a:lnTo>
                  <a:lnTo>
                    <a:pt x="7" y="92"/>
                  </a:lnTo>
                  <a:lnTo>
                    <a:pt x="7" y="96"/>
                  </a:lnTo>
                  <a:lnTo>
                    <a:pt x="9" y="101"/>
                  </a:lnTo>
                  <a:lnTo>
                    <a:pt x="9" y="106"/>
                  </a:lnTo>
                  <a:lnTo>
                    <a:pt x="9" y="111"/>
                  </a:lnTo>
                  <a:lnTo>
                    <a:pt x="9" y="115"/>
                  </a:lnTo>
                  <a:lnTo>
                    <a:pt x="9" y="120"/>
                  </a:lnTo>
                  <a:lnTo>
                    <a:pt x="9" y="125"/>
                  </a:lnTo>
                  <a:lnTo>
                    <a:pt x="9" y="130"/>
                  </a:lnTo>
                  <a:lnTo>
                    <a:pt x="9" y="134"/>
                  </a:lnTo>
                  <a:lnTo>
                    <a:pt x="9" y="139"/>
                  </a:lnTo>
                  <a:lnTo>
                    <a:pt x="9" y="144"/>
                  </a:lnTo>
                  <a:lnTo>
                    <a:pt x="9" y="148"/>
                  </a:lnTo>
                  <a:lnTo>
                    <a:pt x="9" y="153"/>
                  </a:lnTo>
                  <a:lnTo>
                    <a:pt x="9" y="158"/>
                  </a:lnTo>
                  <a:lnTo>
                    <a:pt x="9" y="163"/>
                  </a:lnTo>
                  <a:lnTo>
                    <a:pt x="9" y="167"/>
                  </a:lnTo>
                  <a:lnTo>
                    <a:pt x="9" y="172"/>
                  </a:lnTo>
                  <a:lnTo>
                    <a:pt x="9" y="177"/>
                  </a:lnTo>
                  <a:lnTo>
                    <a:pt x="9" y="182"/>
                  </a:lnTo>
                  <a:lnTo>
                    <a:pt x="9" y="186"/>
                  </a:lnTo>
                  <a:lnTo>
                    <a:pt x="12" y="191"/>
                  </a:lnTo>
                  <a:lnTo>
                    <a:pt x="12" y="196"/>
                  </a:lnTo>
                  <a:lnTo>
                    <a:pt x="12" y="201"/>
                  </a:lnTo>
                  <a:lnTo>
                    <a:pt x="12" y="205"/>
                  </a:lnTo>
                  <a:lnTo>
                    <a:pt x="26" y="205"/>
                  </a:lnTo>
                  <a:lnTo>
                    <a:pt x="33" y="205"/>
                  </a:lnTo>
                  <a:lnTo>
                    <a:pt x="37" y="205"/>
                  </a:lnTo>
                  <a:lnTo>
                    <a:pt x="44" y="205"/>
                  </a:lnTo>
                  <a:lnTo>
                    <a:pt x="59" y="205"/>
                  </a:lnTo>
                  <a:lnTo>
                    <a:pt x="66" y="205"/>
                  </a:lnTo>
                  <a:lnTo>
                    <a:pt x="73" y="205"/>
                  </a:lnTo>
                  <a:lnTo>
                    <a:pt x="80" y="205"/>
                  </a:lnTo>
                  <a:lnTo>
                    <a:pt x="87" y="205"/>
                  </a:lnTo>
                  <a:lnTo>
                    <a:pt x="94" y="205"/>
                  </a:lnTo>
                  <a:lnTo>
                    <a:pt x="101" y="205"/>
                  </a:lnTo>
                  <a:lnTo>
                    <a:pt x="108" y="205"/>
                  </a:lnTo>
                  <a:lnTo>
                    <a:pt x="115" y="205"/>
                  </a:lnTo>
                  <a:lnTo>
                    <a:pt x="122" y="205"/>
                  </a:lnTo>
                  <a:lnTo>
                    <a:pt x="125" y="205"/>
                  </a:lnTo>
                  <a:lnTo>
                    <a:pt x="125" y="205"/>
                  </a:lnTo>
                  <a:lnTo>
                    <a:pt x="127" y="201"/>
                  </a:lnTo>
                  <a:lnTo>
                    <a:pt x="127" y="201"/>
                  </a:lnTo>
                  <a:lnTo>
                    <a:pt x="129" y="201"/>
                  </a:lnTo>
                  <a:lnTo>
                    <a:pt x="129" y="201"/>
                  </a:lnTo>
                  <a:lnTo>
                    <a:pt x="129" y="203"/>
                  </a:lnTo>
                  <a:lnTo>
                    <a:pt x="129" y="205"/>
                  </a:lnTo>
                  <a:lnTo>
                    <a:pt x="132" y="205"/>
                  </a:lnTo>
                  <a:lnTo>
                    <a:pt x="136" y="205"/>
                  </a:lnTo>
                  <a:lnTo>
                    <a:pt x="143" y="205"/>
                  </a:lnTo>
                  <a:lnTo>
                    <a:pt x="151" y="205"/>
                  </a:lnTo>
                  <a:lnTo>
                    <a:pt x="155" y="205"/>
                  </a:lnTo>
                  <a:lnTo>
                    <a:pt x="174" y="205"/>
                  </a:lnTo>
                  <a:lnTo>
                    <a:pt x="179" y="205"/>
                  </a:lnTo>
                  <a:lnTo>
                    <a:pt x="186" y="205"/>
                  </a:lnTo>
                  <a:lnTo>
                    <a:pt x="191" y="205"/>
                  </a:lnTo>
                  <a:lnTo>
                    <a:pt x="198" y="205"/>
                  </a:lnTo>
                  <a:lnTo>
                    <a:pt x="202" y="205"/>
                  </a:lnTo>
                  <a:lnTo>
                    <a:pt x="209" y="205"/>
                  </a:lnTo>
                  <a:lnTo>
                    <a:pt x="214" y="205"/>
                  </a:lnTo>
                  <a:lnTo>
                    <a:pt x="221" y="205"/>
                  </a:lnTo>
                  <a:lnTo>
                    <a:pt x="226" y="205"/>
                  </a:lnTo>
                  <a:lnTo>
                    <a:pt x="226" y="20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6" name="Freeform 352"/>
            <p:cNvSpPr>
              <a:spLocks noEditPoints="1"/>
            </p:cNvSpPr>
            <p:nvPr userDrawn="1"/>
          </p:nvSpPr>
          <p:spPr bwMode="auto">
            <a:xfrm>
              <a:off x="2147" y="2777"/>
              <a:ext cx="106" cy="137"/>
            </a:xfrm>
            <a:custGeom>
              <a:avLst/>
              <a:gdLst>
                <a:gd name="T0" fmla="*/ 19 w 106"/>
                <a:gd name="T1" fmla="*/ 90 h 137"/>
                <a:gd name="T2" fmla="*/ 14 w 106"/>
                <a:gd name="T3" fmla="*/ 90 h 137"/>
                <a:gd name="T4" fmla="*/ 16 w 106"/>
                <a:gd name="T5" fmla="*/ 95 h 137"/>
                <a:gd name="T6" fmla="*/ 38 w 106"/>
                <a:gd name="T7" fmla="*/ 5 h 137"/>
                <a:gd name="T8" fmla="*/ 106 w 106"/>
                <a:gd name="T9" fmla="*/ 42 h 137"/>
                <a:gd name="T10" fmla="*/ 101 w 106"/>
                <a:gd name="T11" fmla="*/ 35 h 137"/>
                <a:gd name="T12" fmla="*/ 104 w 106"/>
                <a:gd name="T13" fmla="*/ 33 h 137"/>
                <a:gd name="T14" fmla="*/ 97 w 106"/>
                <a:gd name="T15" fmla="*/ 28 h 137"/>
                <a:gd name="T16" fmla="*/ 87 w 106"/>
                <a:gd name="T17" fmla="*/ 21 h 137"/>
                <a:gd name="T18" fmla="*/ 85 w 106"/>
                <a:gd name="T19" fmla="*/ 26 h 137"/>
                <a:gd name="T20" fmla="*/ 80 w 106"/>
                <a:gd name="T21" fmla="*/ 26 h 137"/>
                <a:gd name="T22" fmla="*/ 73 w 106"/>
                <a:gd name="T23" fmla="*/ 24 h 137"/>
                <a:gd name="T24" fmla="*/ 66 w 106"/>
                <a:gd name="T25" fmla="*/ 16 h 137"/>
                <a:gd name="T26" fmla="*/ 61 w 106"/>
                <a:gd name="T27" fmla="*/ 14 h 137"/>
                <a:gd name="T28" fmla="*/ 49 w 106"/>
                <a:gd name="T29" fmla="*/ 9 h 137"/>
                <a:gd name="T30" fmla="*/ 40 w 106"/>
                <a:gd name="T31" fmla="*/ 0 h 137"/>
                <a:gd name="T32" fmla="*/ 28 w 106"/>
                <a:gd name="T33" fmla="*/ 9 h 137"/>
                <a:gd name="T34" fmla="*/ 19 w 106"/>
                <a:gd name="T35" fmla="*/ 14 h 137"/>
                <a:gd name="T36" fmla="*/ 16 w 106"/>
                <a:gd name="T37" fmla="*/ 31 h 137"/>
                <a:gd name="T38" fmla="*/ 12 w 106"/>
                <a:gd name="T39" fmla="*/ 42 h 137"/>
                <a:gd name="T40" fmla="*/ 7 w 106"/>
                <a:gd name="T41" fmla="*/ 50 h 137"/>
                <a:gd name="T42" fmla="*/ 5 w 106"/>
                <a:gd name="T43" fmla="*/ 59 h 137"/>
                <a:gd name="T44" fmla="*/ 2 w 106"/>
                <a:gd name="T45" fmla="*/ 76 h 137"/>
                <a:gd name="T46" fmla="*/ 7 w 106"/>
                <a:gd name="T47" fmla="*/ 80 h 137"/>
                <a:gd name="T48" fmla="*/ 14 w 106"/>
                <a:gd name="T49" fmla="*/ 87 h 137"/>
                <a:gd name="T50" fmla="*/ 19 w 106"/>
                <a:gd name="T51" fmla="*/ 85 h 137"/>
                <a:gd name="T52" fmla="*/ 21 w 106"/>
                <a:gd name="T53" fmla="*/ 76 h 137"/>
                <a:gd name="T54" fmla="*/ 23 w 106"/>
                <a:gd name="T55" fmla="*/ 90 h 137"/>
                <a:gd name="T56" fmla="*/ 16 w 106"/>
                <a:gd name="T57" fmla="*/ 102 h 137"/>
                <a:gd name="T58" fmla="*/ 14 w 106"/>
                <a:gd name="T59" fmla="*/ 104 h 137"/>
                <a:gd name="T60" fmla="*/ 16 w 106"/>
                <a:gd name="T61" fmla="*/ 109 h 137"/>
                <a:gd name="T62" fmla="*/ 16 w 106"/>
                <a:gd name="T63" fmla="*/ 113 h 137"/>
                <a:gd name="T64" fmla="*/ 12 w 106"/>
                <a:gd name="T65" fmla="*/ 116 h 137"/>
                <a:gd name="T66" fmla="*/ 12 w 106"/>
                <a:gd name="T67" fmla="*/ 121 h 137"/>
                <a:gd name="T68" fmla="*/ 12 w 106"/>
                <a:gd name="T69" fmla="*/ 125 h 137"/>
                <a:gd name="T70" fmla="*/ 16 w 106"/>
                <a:gd name="T71" fmla="*/ 121 h 137"/>
                <a:gd name="T72" fmla="*/ 26 w 106"/>
                <a:gd name="T73" fmla="*/ 125 h 137"/>
                <a:gd name="T74" fmla="*/ 31 w 106"/>
                <a:gd name="T75" fmla="*/ 132 h 137"/>
                <a:gd name="T76" fmla="*/ 38 w 106"/>
                <a:gd name="T77" fmla="*/ 137 h 137"/>
                <a:gd name="T78" fmla="*/ 40 w 106"/>
                <a:gd name="T79" fmla="*/ 132 h 137"/>
                <a:gd name="T80" fmla="*/ 45 w 106"/>
                <a:gd name="T81" fmla="*/ 128 h 137"/>
                <a:gd name="T82" fmla="*/ 45 w 106"/>
                <a:gd name="T83" fmla="*/ 123 h 137"/>
                <a:gd name="T84" fmla="*/ 47 w 106"/>
                <a:gd name="T85" fmla="*/ 113 h 137"/>
                <a:gd name="T86" fmla="*/ 49 w 106"/>
                <a:gd name="T87" fmla="*/ 109 h 137"/>
                <a:gd name="T88" fmla="*/ 52 w 106"/>
                <a:gd name="T89" fmla="*/ 102 h 137"/>
                <a:gd name="T90" fmla="*/ 54 w 106"/>
                <a:gd name="T91" fmla="*/ 104 h 137"/>
                <a:gd name="T92" fmla="*/ 54 w 106"/>
                <a:gd name="T93" fmla="*/ 99 h 137"/>
                <a:gd name="T94" fmla="*/ 66 w 106"/>
                <a:gd name="T95" fmla="*/ 92 h 137"/>
                <a:gd name="T96" fmla="*/ 85 w 106"/>
                <a:gd name="T97" fmla="*/ 83 h 137"/>
                <a:gd name="T98" fmla="*/ 99 w 106"/>
                <a:gd name="T99" fmla="*/ 66 h 137"/>
                <a:gd name="T100" fmla="*/ 104 w 106"/>
                <a:gd name="T101" fmla="*/ 52 h 137"/>
                <a:gd name="T102" fmla="*/ 106 w 106"/>
                <a:gd name="T103" fmla="*/ 5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 h="137">
                  <a:moveTo>
                    <a:pt x="16" y="95"/>
                  </a:moveTo>
                  <a:lnTo>
                    <a:pt x="16" y="95"/>
                  </a:lnTo>
                  <a:lnTo>
                    <a:pt x="16" y="90"/>
                  </a:lnTo>
                  <a:lnTo>
                    <a:pt x="19" y="90"/>
                  </a:lnTo>
                  <a:lnTo>
                    <a:pt x="19" y="90"/>
                  </a:lnTo>
                  <a:lnTo>
                    <a:pt x="21" y="87"/>
                  </a:lnTo>
                  <a:lnTo>
                    <a:pt x="19" y="87"/>
                  </a:lnTo>
                  <a:lnTo>
                    <a:pt x="19" y="87"/>
                  </a:lnTo>
                  <a:lnTo>
                    <a:pt x="16" y="87"/>
                  </a:lnTo>
                  <a:lnTo>
                    <a:pt x="14" y="90"/>
                  </a:lnTo>
                  <a:lnTo>
                    <a:pt x="14" y="90"/>
                  </a:lnTo>
                  <a:lnTo>
                    <a:pt x="14" y="92"/>
                  </a:lnTo>
                  <a:lnTo>
                    <a:pt x="14" y="95"/>
                  </a:lnTo>
                  <a:lnTo>
                    <a:pt x="14" y="95"/>
                  </a:lnTo>
                  <a:lnTo>
                    <a:pt x="16" y="95"/>
                  </a:lnTo>
                  <a:close/>
                  <a:moveTo>
                    <a:pt x="40" y="5"/>
                  </a:moveTo>
                  <a:lnTo>
                    <a:pt x="40" y="2"/>
                  </a:lnTo>
                  <a:lnTo>
                    <a:pt x="38" y="2"/>
                  </a:lnTo>
                  <a:lnTo>
                    <a:pt x="38" y="2"/>
                  </a:lnTo>
                  <a:lnTo>
                    <a:pt x="38" y="5"/>
                  </a:lnTo>
                  <a:lnTo>
                    <a:pt x="40" y="5"/>
                  </a:lnTo>
                  <a:close/>
                  <a:moveTo>
                    <a:pt x="106" y="45"/>
                  </a:moveTo>
                  <a:lnTo>
                    <a:pt x="106" y="45"/>
                  </a:lnTo>
                  <a:lnTo>
                    <a:pt x="106" y="42"/>
                  </a:lnTo>
                  <a:lnTo>
                    <a:pt x="106" y="42"/>
                  </a:lnTo>
                  <a:lnTo>
                    <a:pt x="106" y="42"/>
                  </a:lnTo>
                  <a:lnTo>
                    <a:pt x="104" y="40"/>
                  </a:lnTo>
                  <a:lnTo>
                    <a:pt x="104" y="38"/>
                  </a:lnTo>
                  <a:lnTo>
                    <a:pt x="101" y="35"/>
                  </a:lnTo>
                  <a:lnTo>
                    <a:pt x="101" y="35"/>
                  </a:lnTo>
                  <a:lnTo>
                    <a:pt x="99" y="33"/>
                  </a:lnTo>
                  <a:lnTo>
                    <a:pt x="99" y="33"/>
                  </a:lnTo>
                  <a:lnTo>
                    <a:pt x="101" y="33"/>
                  </a:lnTo>
                  <a:lnTo>
                    <a:pt x="104" y="33"/>
                  </a:lnTo>
                  <a:lnTo>
                    <a:pt x="104" y="33"/>
                  </a:lnTo>
                  <a:lnTo>
                    <a:pt x="106" y="33"/>
                  </a:lnTo>
                  <a:lnTo>
                    <a:pt x="106" y="33"/>
                  </a:lnTo>
                  <a:lnTo>
                    <a:pt x="104" y="31"/>
                  </a:lnTo>
                  <a:lnTo>
                    <a:pt x="99" y="28"/>
                  </a:lnTo>
                  <a:lnTo>
                    <a:pt x="97" y="28"/>
                  </a:lnTo>
                  <a:lnTo>
                    <a:pt x="94" y="28"/>
                  </a:lnTo>
                  <a:lnTo>
                    <a:pt x="94" y="26"/>
                  </a:lnTo>
                  <a:lnTo>
                    <a:pt x="92" y="24"/>
                  </a:lnTo>
                  <a:lnTo>
                    <a:pt x="92" y="24"/>
                  </a:lnTo>
                  <a:lnTo>
                    <a:pt x="87" y="21"/>
                  </a:lnTo>
                  <a:lnTo>
                    <a:pt x="87" y="21"/>
                  </a:lnTo>
                  <a:lnTo>
                    <a:pt x="85" y="21"/>
                  </a:lnTo>
                  <a:lnTo>
                    <a:pt x="85" y="24"/>
                  </a:lnTo>
                  <a:lnTo>
                    <a:pt x="85" y="24"/>
                  </a:lnTo>
                  <a:lnTo>
                    <a:pt x="85" y="26"/>
                  </a:lnTo>
                  <a:lnTo>
                    <a:pt x="82" y="26"/>
                  </a:lnTo>
                  <a:lnTo>
                    <a:pt x="82" y="26"/>
                  </a:lnTo>
                  <a:lnTo>
                    <a:pt x="80" y="26"/>
                  </a:lnTo>
                  <a:lnTo>
                    <a:pt x="80" y="26"/>
                  </a:lnTo>
                  <a:lnTo>
                    <a:pt x="80" y="26"/>
                  </a:lnTo>
                  <a:lnTo>
                    <a:pt x="78" y="26"/>
                  </a:lnTo>
                  <a:lnTo>
                    <a:pt x="78" y="26"/>
                  </a:lnTo>
                  <a:lnTo>
                    <a:pt x="75" y="26"/>
                  </a:lnTo>
                  <a:lnTo>
                    <a:pt x="73" y="24"/>
                  </a:lnTo>
                  <a:lnTo>
                    <a:pt x="73" y="24"/>
                  </a:lnTo>
                  <a:lnTo>
                    <a:pt x="71" y="24"/>
                  </a:lnTo>
                  <a:lnTo>
                    <a:pt x="68" y="24"/>
                  </a:lnTo>
                  <a:lnTo>
                    <a:pt x="66" y="24"/>
                  </a:lnTo>
                  <a:lnTo>
                    <a:pt x="66" y="21"/>
                  </a:lnTo>
                  <a:lnTo>
                    <a:pt x="66" y="16"/>
                  </a:lnTo>
                  <a:lnTo>
                    <a:pt x="66" y="16"/>
                  </a:lnTo>
                  <a:lnTo>
                    <a:pt x="64" y="16"/>
                  </a:lnTo>
                  <a:lnTo>
                    <a:pt x="64" y="16"/>
                  </a:lnTo>
                  <a:lnTo>
                    <a:pt x="61" y="16"/>
                  </a:lnTo>
                  <a:lnTo>
                    <a:pt x="61" y="14"/>
                  </a:lnTo>
                  <a:lnTo>
                    <a:pt x="61" y="14"/>
                  </a:lnTo>
                  <a:lnTo>
                    <a:pt x="59" y="14"/>
                  </a:lnTo>
                  <a:lnTo>
                    <a:pt x="54" y="12"/>
                  </a:lnTo>
                  <a:lnTo>
                    <a:pt x="52" y="9"/>
                  </a:lnTo>
                  <a:lnTo>
                    <a:pt x="49" y="9"/>
                  </a:lnTo>
                  <a:lnTo>
                    <a:pt x="47" y="5"/>
                  </a:lnTo>
                  <a:lnTo>
                    <a:pt x="45" y="5"/>
                  </a:lnTo>
                  <a:lnTo>
                    <a:pt x="42" y="5"/>
                  </a:lnTo>
                  <a:lnTo>
                    <a:pt x="42" y="2"/>
                  </a:lnTo>
                  <a:lnTo>
                    <a:pt x="40" y="0"/>
                  </a:lnTo>
                  <a:lnTo>
                    <a:pt x="40" y="0"/>
                  </a:lnTo>
                  <a:lnTo>
                    <a:pt x="40" y="2"/>
                  </a:lnTo>
                  <a:lnTo>
                    <a:pt x="40" y="5"/>
                  </a:lnTo>
                  <a:lnTo>
                    <a:pt x="33" y="7"/>
                  </a:lnTo>
                  <a:lnTo>
                    <a:pt x="28" y="9"/>
                  </a:lnTo>
                  <a:lnTo>
                    <a:pt x="26" y="9"/>
                  </a:lnTo>
                  <a:lnTo>
                    <a:pt x="23" y="9"/>
                  </a:lnTo>
                  <a:lnTo>
                    <a:pt x="21" y="12"/>
                  </a:lnTo>
                  <a:lnTo>
                    <a:pt x="21" y="12"/>
                  </a:lnTo>
                  <a:lnTo>
                    <a:pt x="19" y="14"/>
                  </a:lnTo>
                  <a:lnTo>
                    <a:pt x="16" y="14"/>
                  </a:lnTo>
                  <a:lnTo>
                    <a:pt x="16" y="19"/>
                  </a:lnTo>
                  <a:lnTo>
                    <a:pt x="19" y="21"/>
                  </a:lnTo>
                  <a:lnTo>
                    <a:pt x="16" y="28"/>
                  </a:lnTo>
                  <a:lnTo>
                    <a:pt x="16" y="31"/>
                  </a:lnTo>
                  <a:lnTo>
                    <a:pt x="14" y="33"/>
                  </a:lnTo>
                  <a:lnTo>
                    <a:pt x="12" y="35"/>
                  </a:lnTo>
                  <a:lnTo>
                    <a:pt x="9" y="38"/>
                  </a:lnTo>
                  <a:lnTo>
                    <a:pt x="9" y="40"/>
                  </a:lnTo>
                  <a:lnTo>
                    <a:pt x="12" y="42"/>
                  </a:lnTo>
                  <a:lnTo>
                    <a:pt x="14" y="45"/>
                  </a:lnTo>
                  <a:lnTo>
                    <a:pt x="12" y="45"/>
                  </a:lnTo>
                  <a:lnTo>
                    <a:pt x="9" y="42"/>
                  </a:lnTo>
                  <a:lnTo>
                    <a:pt x="9" y="45"/>
                  </a:lnTo>
                  <a:lnTo>
                    <a:pt x="7" y="50"/>
                  </a:lnTo>
                  <a:lnTo>
                    <a:pt x="7" y="50"/>
                  </a:lnTo>
                  <a:lnTo>
                    <a:pt x="2" y="52"/>
                  </a:lnTo>
                  <a:lnTo>
                    <a:pt x="2" y="54"/>
                  </a:lnTo>
                  <a:lnTo>
                    <a:pt x="2" y="59"/>
                  </a:lnTo>
                  <a:lnTo>
                    <a:pt x="5" y="59"/>
                  </a:lnTo>
                  <a:lnTo>
                    <a:pt x="2" y="66"/>
                  </a:lnTo>
                  <a:lnTo>
                    <a:pt x="5" y="69"/>
                  </a:lnTo>
                  <a:lnTo>
                    <a:pt x="5" y="71"/>
                  </a:lnTo>
                  <a:lnTo>
                    <a:pt x="5" y="76"/>
                  </a:lnTo>
                  <a:lnTo>
                    <a:pt x="2" y="76"/>
                  </a:lnTo>
                  <a:lnTo>
                    <a:pt x="0" y="78"/>
                  </a:lnTo>
                  <a:lnTo>
                    <a:pt x="2" y="78"/>
                  </a:lnTo>
                  <a:lnTo>
                    <a:pt x="2" y="78"/>
                  </a:lnTo>
                  <a:lnTo>
                    <a:pt x="2" y="80"/>
                  </a:lnTo>
                  <a:lnTo>
                    <a:pt x="7" y="80"/>
                  </a:lnTo>
                  <a:lnTo>
                    <a:pt x="12" y="85"/>
                  </a:lnTo>
                  <a:lnTo>
                    <a:pt x="12" y="87"/>
                  </a:lnTo>
                  <a:lnTo>
                    <a:pt x="14" y="87"/>
                  </a:lnTo>
                  <a:lnTo>
                    <a:pt x="14" y="87"/>
                  </a:lnTo>
                  <a:lnTo>
                    <a:pt x="14" y="87"/>
                  </a:lnTo>
                  <a:lnTo>
                    <a:pt x="16" y="85"/>
                  </a:lnTo>
                  <a:lnTo>
                    <a:pt x="19" y="80"/>
                  </a:lnTo>
                  <a:lnTo>
                    <a:pt x="19" y="80"/>
                  </a:lnTo>
                  <a:lnTo>
                    <a:pt x="19" y="85"/>
                  </a:lnTo>
                  <a:lnTo>
                    <a:pt x="19" y="85"/>
                  </a:lnTo>
                  <a:lnTo>
                    <a:pt x="21" y="85"/>
                  </a:lnTo>
                  <a:lnTo>
                    <a:pt x="21" y="83"/>
                  </a:lnTo>
                  <a:lnTo>
                    <a:pt x="21" y="76"/>
                  </a:lnTo>
                  <a:lnTo>
                    <a:pt x="21" y="73"/>
                  </a:lnTo>
                  <a:lnTo>
                    <a:pt x="21" y="76"/>
                  </a:lnTo>
                  <a:lnTo>
                    <a:pt x="21" y="76"/>
                  </a:lnTo>
                  <a:lnTo>
                    <a:pt x="21" y="80"/>
                  </a:lnTo>
                  <a:lnTo>
                    <a:pt x="23" y="83"/>
                  </a:lnTo>
                  <a:lnTo>
                    <a:pt x="23" y="85"/>
                  </a:lnTo>
                  <a:lnTo>
                    <a:pt x="23" y="90"/>
                  </a:lnTo>
                  <a:lnTo>
                    <a:pt x="21" y="97"/>
                  </a:lnTo>
                  <a:lnTo>
                    <a:pt x="21" y="97"/>
                  </a:lnTo>
                  <a:lnTo>
                    <a:pt x="19" y="99"/>
                  </a:lnTo>
                  <a:lnTo>
                    <a:pt x="19" y="99"/>
                  </a:lnTo>
                  <a:lnTo>
                    <a:pt x="16" y="102"/>
                  </a:lnTo>
                  <a:lnTo>
                    <a:pt x="14" y="102"/>
                  </a:lnTo>
                  <a:lnTo>
                    <a:pt x="14" y="102"/>
                  </a:lnTo>
                  <a:lnTo>
                    <a:pt x="14" y="102"/>
                  </a:lnTo>
                  <a:lnTo>
                    <a:pt x="14" y="104"/>
                  </a:lnTo>
                  <a:lnTo>
                    <a:pt x="14" y="104"/>
                  </a:lnTo>
                  <a:lnTo>
                    <a:pt x="14" y="104"/>
                  </a:lnTo>
                  <a:lnTo>
                    <a:pt x="14" y="104"/>
                  </a:lnTo>
                  <a:lnTo>
                    <a:pt x="14" y="106"/>
                  </a:lnTo>
                  <a:lnTo>
                    <a:pt x="16" y="106"/>
                  </a:lnTo>
                  <a:lnTo>
                    <a:pt x="16" y="109"/>
                  </a:lnTo>
                  <a:lnTo>
                    <a:pt x="16" y="109"/>
                  </a:lnTo>
                  <a:lnTo>
                    <a:pt x="16" y="109"/>
                  </a:lnTo>
                  <a:lnTo>
                    <a:pt x="16" y="111"/>
                  </a:lnTo>
                  <a:lnTo>
                    <a:pt x="16" y="113"/>
                  </a:lnTo>
                  <a:lnTo>
                    <a:pt x="16" y="113"/>
                  </a:lnTo>
                  <a:lnTo>
                    <a:pt x="16" y="113"/>
                  </a:lnTo>
                  <a:lnTo>
                    <a:pt x="14" y="113"/>
                  </a:lnTo>
                  <a:lnTo>
                    <a:pt x="14" y="116"/>
                  </a:lnTo>
                  <a:lnTo>
                    <a:pt x="14" y="116"/>
                  </a:lnTo>
                  <a:lnTo>
                    <a:pt x="12" y="116"/>
                  </a:lnTo>
                  <a:lnTo>
                    <a:pt x="12" y="116"/>
                  </a:lnTo>
                  <a:lnTo>
                    <a:pt x="12" y="116"/>
                  </a:lnTo>
                  <a:lnTo>
                    <a:pt x="12" y="118"/>
                  </a:lnTo>
                  <a:lnTo>
                    <a:pt x="12" y="118"/>
                  </a:lnTo>
                  <a:lnTo>
                    <a:pt x="12" y="121"/>
                  </a:lnTo>
                  <a:lnTo>
                    <a:pt x="14" y="121"/>
                  </a:lnTo>
                  <a:lnTo>
                    <a:pt x="12" y="123"/>
                  </a:lnTo>
                  <a:lnTo>
                    <a:pt x="12" y="123"/>
                  </a:lnTo>
                  <a:lnTo>
                    <a:pt x="12" y="125"/>
                  </a:lnTo>
                  <a:lnTo>
                    <a:pt x="12" y="125"/>
                  </a:lnTo>
                  <a:lnTo>
                    <a:pt x="14" y="125"/>
                  </a:lnTo>
                  <a:lnTo>
                    <a:pt x="14" y="123"/>
                  </a:lnTo>
                  <a:lnTo>
                    <a:pt x="16" y="123"/>
                  </a:lnTo>
                  <a:lnTo>
                    <a:pt x="16" y="123"/>
                  </a:lnTo>
                  <a:lnTo>
                    <a:pt x="16" y="121"/>
                  </a:lnTo>
                  <a:lnTo>
                    <a:pt x="19" y="123"/>
                  </a:lnTo>
                  <a:lnTo>
                    <a:pt x="21" y="123"/>
                  </a:lnTo>
                  <a:lnTo>
                    <a:pt x="23" y="125"/>
                  </a:lnTo>
                  <a:lnTo>
                    <a:pt x="23" y="125"/>
                  </a:lnTo>
                  <a:lnTo>
                    <a:pt x="26" y="125"/>
                  </a:lnTo>
                  <a:lnTo>
                    <a:pt x="26" y="125"/>
                  </a:lnTo>
                  <a:lnTo>
                    <a:pt x="28" y="125"/>
                  </a:lnTo>
                  <a:lnTo>
                    <a:pt x="28" y="128"/>
                  </a:lnTo>
                  <a:lnTo>
                    <a:pt x="31" y="130"/>
                  </a:lnTo>
                  <a:lnTo>
                    <a:pt x="31" y="132"/>
                  </a:lnTo>
                  <a:lnTo>
                    <a:pt x="33" y="132"/>
                  </a:lnTo>
                  <a:lnTo>
                    <a:pt x="33" y="135"/>
                  </a:lnTo>
                  <a:lnTo>
                    <a:pt x="35" y="135"/>
                  </a:lnTo>
                  <a:lnTo>
                    <a:pt x="35" y="135"/>
                  </a:lnTo>
                  <a:lnTo>
                    <a:pt x="38" y="137"/>
                  </a:lnTo>
                  <a:lnTo>
                    <a:pt x="38" y="135"/>
                  </a:lnTo>
                  <a:lnTo>
                    <a:pt x="40" y="135"/>
                  </a:lnTo>
                  <a:lnTo>
                    <a:pt x="40" y="135"/>
                  </a:lnTo>
                  <a:lnTo>
                    <a:pt x="40" y="132"/>
                  </a:lnTo>
                  <a:lnTo>
                    <a:pt x="40" y="132"/>
                  </a:lnTo>
                  <a:lnTo>
                    <a:pt x="40" y="132"/>
                  </a:lnTo>
                  <a:lnTo>
                    <a:pt x="40" y="130"/>
                  </a:lnTo>
                  <a:lnTo>
                    <a:pt x="42" y="130"/>
                  </a:lnTo>
                  <a:lnTo>
                    <a:pt x="45" y="128"/>
                  </a:lnTo>
                  <a:lnTo>
                    <a:pt x="45" y="128"/>
                  </a:lnTo>
                  <a:lnTo>
                    <a:pt x="45" y="125"/>
                  </a:lnTo>
                  <a:lnTo>
                    <a:pt x="45" y="125"/>
                  </a:lnTo>
                  <a:lnTo>
                    <a:pt x="45" y="125"/>
                  </a:lnTo>
                  <a:lnTo>
                    <a:pt x="45" y="123"/>
                  </a:lnTo>
                  <a:lnTo>
                    <a:pt x="45" y="123"/>
                  </a:lnTo>
                  <a:lnTo>
                    <a:pt x="45" y="121"/>
                  </a:lnTo>
                  <a:lnTo>
                    <a:pt x="47" y="118"/>
                  </a:lnTo>
                  <a:lnTo>
                    <a:pt x="47" y="116"/>
                  </a:lnTo>
                  <a:lnTo>
                    <a:pt x="47" y="116"/>
                  </a:lnTo>
                  <a:lnTo>
                    <a:pt x="47" y="113"/>
                  </a:lnTo>
                  <a:lnTo>
                    <a:pt x="47" y="113"/>
                  </a:lnTo>
                  <a:lnTo>
                    <a:pt x="49" y="111"/>
                  </a:lnTo>
                  <a:lnTo>
                    <a:pt x="49" y="111"/>
                  </a:lnTo>
                  <a:lnTo>
                    <a:pt x="49" y="109"/>
                  </a:lnTo>
                  <a:lnTo>
                    <a:pt x="49" y="109"/>
                  </a:lnTo>
                  <a:lnTo>
                    <a:pt x="49" y="106"/>
                  </a:lnTo>
                  <a:lnTo>
                    <a:pt x="49" y="104"/>
                  </a:lnTo>
                  <a:lnTo>
                    <a:pt x="49" y="102"/>
                  </a:lnTo>
                  <a:lnTo>
                    <a:pt x="52" y="102"/>
                  </a:lnTo>
                  <a:lnTo>
                    <a:pt x="52" y="102"/>
                  </a:lnTo>
                  <a:lnTo>
                    <a:pt x="52" y="104"/>
                  </a:lnTo>
                  <a:lnTo>
                    <a:pt x="52" y="104"/>
                  </a:lnTo>
                  <a:lnTo>
                    <a:pt x="52" y="104"/>
                  </a:lnTo>
                  <a:lnTo>
                    <a:pt x="54" y="104"/>
                  </a:lnTo>
                  <a:lnTo>
                    <a:pt x="54" y="104"/>
                  </a:lnTo>
                  <a:lnTo>
                    <a:pt x="54" y="104"/>
                  </a:lnTo>
                  <a:lnTo>
                    <a:pt x="54" y="102"/>
                  </a:lnTo>
                  <a:lnTo>
                    <a:pt x="54" y="102"/>
                  </a:lnTo>
                  <a:lnTo>
                    <a:pt x="54" y="102"/>
                  </a:lnTo>
                  <a:lnTo>
                    <a:pt x="54" y="99"/>
                  </a:lnTo>
                  <a:lnTo>
                    <a:pt x="56" y="99"/>
                  </a:lnTo>
                  <a:lnTo>
                    <a:pt x="56" y="95"/>
                  </a:lnTo>
                  <a:lnTo>
                    <a:pt x="59" y="95"/>
                  </a:lnTo>
                  <a:lnTo>
                    <a:pt x="64" y="92"/>
                  </a:lnTo>
                  <a:lnTo>
                    <a:pt x="66" y="92"/>
                  </a:lnTo>
                  <a:lnTo>
                    <a:pt x="68" y="90"/>
                  </a:lnTo>
                  <a:lnTo>
                    <a:pt x="73" y="87"/>
                  </a:lnTo>
                  <a:lnTo>
                    <a:pt x="78" y="87"/>
                  </a:lnTo>
                  <a:lnTo>
                    <a:pt x="80" y="85"/>
                  </a:lnTo>
                  <a:lnTo>
                    <a:pt x="85" y="83"/>
                  </a:lnTo>
                  <a:lnTo>
                    <a:pt x="87" y="80"/>
                  </a:lnTo>
                  <a:lnTo>
                    <a:pt x="89" y="78"/>
                  </a:lnTo>
                  <a:lnTo>
                    <a:pt x="92" y="76"/>
                  </a:lnTo>
                  <a:lnTo>
                    <a:pt x="94" y="71"/>
                  </a:lnTo>
                  <a:lnTo>
                    <a:pt x="99" y="66"/>
                  </a:lnTo>
                  <a:lnTo>
                    <a:pt x="99" y="64"/>
                  </a:lnTo>
                  <a:lnTo>
                    <a:pt x="101" y="64"/>
                  </a:lnTo>
                  <a:lnTo>
                    <a:pt x="101" y="59"/>
                  </a:lnTo>
                  <a:lnTo>
                    <a:pt x="104" y="54"/>
                  </a:lnTo>
                  <a:lnTo>
                    <a:pt x="104" y="52"/>
                  </a:lnTo>
                  <a:lnTo>
                    <a:pt x="104" y="50"/>
                  </a:lnTo>
                  <a:lnTo>
                    <a:pt x="104" y="50"/>
                  </a:lnTo>
                  <a:lnTo>
                    <a:pt x="106" y="52"/>
                  </a:lnTo>
                  <a:lnTo>
                    <a:pt x="106" y="52"/>
                  </a:lnTo>
                  <a:lnTo>
                    <a:pt x="106" y="52"/>
                  </a:lnTo>
                  <a:lnTo>
                    <a:pt x="106" y="52"/>
                  </a:lnTo>
                  <a:lnTo>
                    <a:pt x="106" y="4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7" name="Freeform 353"/>
            <p:cNvSpPr>
              <a:spLocks noEditPoints="1"/>
            </p:cNvSpPr>
            <p:nvPr userDrawn="1"/>
          </p:nvSpPr>
          <p:spPr bwMode="auto">
            <a:xfrm>
              <a:off x="5951" y="2983"/>
              <a:ext cx="61" cy="26"/>
            </a:xfrm>
            <a:custGeom>
              <a:avLst/>
              <a:gdLst>
                <a:gd name="T0" fmla="*/ 0 w 61"/>
                <a:gd name="T1" fmla="*/ 23 h 26"/>
                <a:gd name="T2" fmla="*/ 0 w 61"/>
                <a:gd name="T3" fmla="*/ 23 h 26"/>
                <a:gd name="T4" fmla="*/ 5 w 61"/>
                <a:gd name="T5" fmla="*/ 23 h 26"/>
                <a:gd name="T6" fmla="*/ 5 w 61"/>
                <a:gd name="T7" fmla="*/ 23 h 26"/>
                <a:gd name="T8" fmla="*/ 7 w 61"/>
                <a:gd name="T9" fmla="*/ 21 h 26"/>
                <a:gd name="T10" fmla="*/ 2 w 61"/>
                <a:gd name="T11" fmla="*/ 21 h 26"/>
                <a:gd name="T12" fmla="*/ 61 w 61"/>
                <a:gd name="T13" fmla="*/ 2 h 26"/>
                <a:gd name="T14" fmla="*/ 56 w 61"/>
                <a:gd name="T15" fmla="*/ 2 h 26"/>
                <a:gd name="T16" fmla="*/ 54 w 61"/>
                <a:gd name="T17" fmla="*/ 2 h 26"/>
                <a:gd name="T18" fmla="*/ 52 w 61"/>
                <a:gd name="T19" fmla="*/ 2 h 26"/>
                <a:gd name="T20" fmla="*/ 47 w 61"/>
                <a:gd name="T21" fmla="*/ 4 h 26"/>
                <a:gd name="T22" fmla="*/ 35 w 61"/>
                <a:gd name="T23" fmla="*/ 4 h 26"/>
                <a:gd name="T24" fmla="*/ 26 w 61"/>
                <a:gd name="T25" fmla="*/ 7 h 26"/>
                <a:gd name="T26" fmla="*/ 21 w 61"/>
                <a:gd name="T27" fmla="*/ 7 h 26"/>
                <a:gd name="T28" fmla="*/ 19 w 61"/>
                <a:gd name="T29" fmla="*/ 11 h 26"/>
                <a:gd name="T30" fmla="*/ 16 w 61"/>
                <a:gd name="T31" fmla="*/ 16 h 26"/>
                <a:gd name="T32" fmla="*/ 16 w 61"/>
                <a:gd name="T33" fmla="*/ 16 h 26"/>
                <a:gd name="T34" fmla="*/ 21 w 61"/>
                <a:gd name="T35" fmla="*/ 16 h 26"/>
                <a:gd name="T36" fmla="*/ 21 w 61"/>
                <a:gd name="T37" fmla="*/ 16 h 26"/>
                <a:gd name="T38" fmla="*/ 16 w 61"/>
                <a:gd name="T39" fmla="*/ 19 h 26"/>
                <a:gd name="T40" fmla="*/ 16 w 61"/>
                <a:gd name="T41" fmla="*/ 21 h 26"/>
                <a:gd name="T42" fmla="*/ 16 w 61"/>
                <a:gd name="T43" fmla="*/ 21 h 26"/>
                <a:gd name="T44" fmla="*/ 19 w 61"/>
                <a:gd name="T45" fmla="*/ 26 h 26"/>
                <a:gd name="T46" fmla="*/ 26 w 61"/>
                <a:gd name="T47" fmla="*/ 21 h 26"/>
                <a:gd name="T48" fmla="*/ 33 w 61"/>
                <a:gd name="T49" fmla="*/ 19 h 26"/>
                <a:gd name="T50" fmla="*/ 35 w 61"/>
                <a:gd name="T51" fmla="*/ 16 h 26"/>
                <a:gd name="T52" fmla="*/ 40 w 61"/>
                <a:gd name="T53" fmla="*/ 14 h 26"/>
                <a:gd name="T54" fmla="*/ 45 w 61"/>
                <a:gd name="T55" fmla="*/ 14 h 26"/>
                <a:gd name="T56" fmla="*/ 47 w 61"/>
                <a:gd name="T57" fmla="*/ 11 h 26"/>
                <a:gd name="T58" fmla="*/ 52 w 61"/>
                <a:gd name="T59" fmla="*/ 9 h 26"/>
                <a:gd name="T60" fmla="*/ 59 w 61"/>
                <a:gd name="T61" fmla="*/ 7 h 26"/>
                <a:gd name="T62" fmla="*/ 61 w 61"/>
                <a:gd name="T63"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 h="26">
                  <a:moveTo>
                    <a:pt x="0" y="21"/>
                  </a:moveTo>
                  <a:lnTo>
                    <a:pt x="0" y="23"/>
                  </a:lnTo>
                  <a:lnTo>
                    <a:pt x="0" y="23"/>
                  </a:lnTo>
                  <a:lnTo>
                    <a:pt x="0" y="23"/>
                  </a:lnTo>
                  <a:lnTo>
                    <a:pt x="2" y="23"/>
                  </a:lnTo>
                  <a:lnTo>
                    <a:pt x="5" y="23"/>
                  </a:lnTo>
                  <a:lnTo>
                    <a:pt x="5" y="23"/>
                  </a:lnTo>
                  <a:lnTo>
                    <a:pt x="5" y="23"/>
                  </a:lnTo>
                  <a:lnTo>
                    <a:pt x="7" y="21"/>
                  </a:lnTo>
                  <a:lnTo>
                    <a:pt x="7" y="21"/>
                  </a:lnTo>
                  <a:lnTo>
                    <a:pt x="7" y="19"/>
                  </a:lnTo>
                  <a:lnTo>
                    <a:pt x="2" y="21"/>
                  </a:lnTo>
                  <a:lnTo>
                    <a:pt x="0" y="21"/>
                  </a:lnTo>
                  <a:close/>
                  <a:moveTo>
                    <a:pt x="61" y="2"/>
                  </a:moveTo>
                  <a:lnTo>
                    <a:pt x="59" y="2"/>
                  </a:lnTo>
                  <a:lnTo>
                    <a:pt x="56" y="2"/>
                  </a:lnTo>
                  <a:lnTo>
                    <a:pt x="56" y="0"/>
                  </a:lnTo>
                  <a:lnTo>
                    <a:pt x="54" y="2"/>
                  </a:lnTo>
                  <a:lnTo>
                    <a:pt x="54" y="2"/>
                  </a:lnTo>
                  <a:lnTo>
                    <a:pt x="52" y="2"/>
                  </a:lnTo>
                  <a:lnTo>
                    <a:pt x="49" y="4"/>
                  </a:lnTo>
                  <a:lnTo>
                    <a:pt x="47" y="4"/>
                  </a:lnTo>
                  <a:lnTo>
                    <a:pt x="40" y="4"/>
                  </a:lnTo>
                  <a:lnTo>
                    <a:pt x="35" y="4"/>
                  </a:lnTo>
                  <a:lnTo>
                    <a:pt x="33" y="4"/>
                  </a:lnTo>
                  <a:lnTo>
                    <a:pt x="26" y="7"/>
                  </a:lnTo>
                  <a:lnTo>
                    <a:pt x="23" y="7"/>
                  </a:lnTo>
                  <a:lnTo>
                    <a:pt x="21" y="7"/>
                  </a:lnTo>
                  <a:lnTo>
                    <a:pt x="21" y="9"/>
                  </a:lnTo>
                  <a:lnTo>
                    <a:pt x="19" y="11"/>
                  </a:lnTo>
                  <a:lnTo>
                    <a:pt x="16" y="14"/>
                  </a:lnTo>
                  <a:lnTo>
                    <a:pt x="16" y="16"/>
                  </a:lnTo>
                  <a:lnTo>
                    <a:pt x="16" y="16"/>
                  </a:lnTo>
                  <a:lnTo>
                    <a:pt x="16" y="16"/>
                  </a:lnTo>
                  <a:lnTo>
                    <a:pt x="19" y="14"/>
                  </a:lnTo>
                  <a:lnTo>
                    <a:pt x="21" y="16"/>
                  </a:lnTo>
                  <a:lnTo>
                    <a:pt x="21" y="16"/>
                  </a:lnTo>
                  <a:lnTo>
                    <a:pt x="21" y="16"/>
                  </a:lnTo>
                  <a:lnTo>
                    <a:pt x="19" y="19"/>
                  </a:lnTo>
                  <a:lnTo>
                    <a:pt x="16" y="19"/>
                  </a:lnTo>
                  <a:lnTo>
                    <a:pt x="16" y="19"/>
                  </a:lnTo>
                  <a:lnTo>
                    <a:pt x="16" y="21"/>
                  </a:lnTo>
                  <a:lnTo>
                    <a:pt x="16" y="21"/>
                  </a:lnTo>
                  <a:lnTo>
                    <a:pt x="16" y="21"/>
                  </a:lnTo>
                  <a:lnTo>
                    <a:pt x="19" y="23"/>
                  </a:lnTo>
                  <a:lnTo>
                    <a:pt x="19" y="26"/>
                  </a:lnTo>
                  <a:lnTo>
                    <a:pt x="21" y="23"/>
                  </a:lnTo>
                  <a:lnTo>
                    <a:pt x="26" y="21"/>
                  </a:lnTo>
                  <a:lnTo>
                    <a:pt x="30" y="19"/>
                  </a:lnTo>
                  <a:lnTo>
                    <a:pt x="33" y="19"/>
                  </a:lnTo>
                  <a:lnTo>
                    <a:pt x="35" y="19"/>
                  </a:lnTo>
                  <a:lnTo>
                    <a:pt x="35" y="16"/>
                  </a:lnTo>
                  <a:lnTo>
                    <a:pt x="38" y="16"/>
                  </a:lnTo>
                  <a:lnTo>
                    <a:pt x="40" y="14"/>
                  </a:lnTo>
                  <a:lnTo>
                    <a:pt x="42" y="14"/>
                  </a:lnTo>
                  <a:lnTo>
                    <a:pt x="45" y="14"/>
                  </a:lnTo>
                  <a:lnTo>
                    <a:pt x="45" y="14"/>
                  </a:lnTo>
                  <a:lnTo>
                    <a:pt x="47" y="11"/>
                  </a:lnTo>
                  <a:lnTo>
                    <a:pt x="49" y="9"/>
                  </a:lnTo>
                  <a:lnTo>
                    <a:pt x="52" y="9"/>
                  </a:lnTo>
                  <a:lnTo>
                    <a:pt x="54" y="9"/>
                  </a:lnTo>
                  <a:lnTo>
                    <a:pt x="59" y="7"/>
                  </a:lnTo>
                  <a:lnTo>
                    <a:pt x="61" y="2"/>
                  </a:lnTo>
                  <a:lnTo>
                    <a:pt x="61"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8" name="Freeform 354"/>
            <p:cNvSpPr>
              <a:spLocks/>
            </p:cNvSpPr>
            <p:nvPr userDrawn="1"/>
          </p:nvSpPr>
          <p:spPr bwMode="auto">
            <a:xfrm>
              <a:off x="2338" y="2387"/>
              <a:ext cx="68" cy="49"/>
            </a:xfrm>
            <a:custGeom>
              <a:avLst/>
              <a:gdLst>
                <a:gd name="T0" fmla="*/ 66 w 68"/>
                <a:gd name="T1" fmla="*/ 26 h 49"/>
                <a:gd name="T2" fmla="*/ 59 w 68"/>
                <a:gd name="T3" fmla="*/ 19 h 49"/>
                <a:gd name="T4" fmla="*/ 54 w 68"/>
                <a:gd name="T5" fmla="*/ 19 h 49"/>
                <a:gd name="T6" fmla="*/ 49 w 68"/>
                <a:gd name="T7" fmla="*/ 19 h 49"/>
                <a:gd name="T8" fmla="*/ 45 w 68"/>
                <a:gd name="T9" fmla="*/ 16 h 49"/>
                <a:gd name="T10" fmla="*/ 45 w 68"/>
                <a:gd name="T11" fmla="*/ 16 h 49"/>
                <a:gd name="T12" fmla="*/ 49 w 68"/>
                <a:gd name="T13" fmla="*/ 16 h 49"/>
                <a:gd name="T14" fmla="*/ 52 w 68"/>
                <a:gd name="T15" fmla="*/ 14 h 49"/>
                <a:gd name="T16" fmla="*/ 42 w 68"/>
                <a:gd name="T17" fmla="*/ 14 h 49"/>
                <a:gd name="T18" fmla="*/ 40 w 68"/>
                <a:gd name="T19" fmla="*/ 9 h 49"/>
                <a:gd name="T20" fmla="*/ 40 w 68"/>
                <a:gd name="T21" fmla="*/ 5 h 49"/>
                <a:gd name="T22" fmla="*/ 38 w 68"/>
                <a:gd name="T23" fmla="*/ 7 h 49"/>
                <a:gd name="T24" fmla="*/ 33 w 68"/>
                <a:gd name="T25" fmla="*/ 5 h 49"/>
                <a:gd name="T26" fmla="*/ 30 w 68"/>
                <a:gd name="T27" fmla="*/ 2 h 49"/>
                <a:gd name="T28" fmla="*/ 28 w 68"/>
                <a:gd name="T29" fmla="*/ 2 h 49"/>
                <a:gd name="T30" fmla="*/ 26 w 68"/>
                <a:gd name="T31" fmla="*/ 0 h 49"/>
                <a:gd name="T32" fmla="*/ 21 w 68"/>
                <a:gd name="T33" fmla="*/ 0 h 49"/>
                <a:gd name="T34" fmla="*/ 16 w 68"/>
                <a:gd name="T35" fmla="*/ 2 h 49"/>
                <a:gd name="T36" fmla="*/ 12 w 68"/>
                <a:gd name="T37" fmla="*/ 0 h 49"/>
                <a:gd name="T38" fmla="*/ 9 w 68"/>
                <a:gd name="T39" fmla="*/ 2 h 49"/>
                <a:gd name="T40" fmla="*/ 7 w 68"/>
                <a:gd name="T41" fmla="*/ 5 h 49"/>
                <a:gd name="T42" fmla="*/ 7 w 68"/>
                <a:gd name="T43" fmla="*/ 5 h 49"/>
                <a:gd name="T44" fmla="*/ 7 w 68"/>
                <a:gd name="T45" fmla="*/ 12 h 49"/>
                <a:gd name="T46" fmla="*/ 7 w 68"/>
                <a:gd name="T47" fmla="*/ 14 h 49"/>
                <a:gd name="T48" fmla="*/ 7 w 68"/>
                <a:gd name="T49" fmla="*/ 16 h 49"/>
                <a:gd name="T50" fmla="*/ 7 w 68"/>
                <a:gd name="T51" fmla="*/ 19 h 49"/>
                <a:gd name="T52" fmla="*/ 5 w 68"/>
                <a:gd name="T53" fmla="*/ 21 h 49"/>
                <a:gd name="T54" fmla="*/ 5 w 68"/>
                <a:gd name="T55" fmla="*/ 23 h 49"/>
                <a:gd name="T56" fmla="*/ 2 w 68"/>
                <a:gd name="T57" fmla="*/ 28 h 49"/>
                <a:gd name="T58" fmla="*/ 0 w 68"/>
                <a:gd name="T59" fmla="*/ 28 h 49"/>
                <a:gd name="T60" fmla="*/ 0 w 68"/>
                <a:gd name="T61" fmla="*/ 31 h 49"/>
                <a:gd name="T62" fmla="*/ 5 w 68"/>
                <a:gd name="T63" fmla="*/ 33 h 49"/>
                <a:gd name="T64" fmla="*/ 2 w 68"/>
                <a:gd name="T65" fmla="*/ 35 h 49"/>
                <a:gd name="T66" fmla="*/ 5 w 68"/>
                <a:gd name="T67" fmla="*/ 40 h 49"/>
                <a:gd name="T68" fmla="*/ 5 w 68"/>
                <a:gd name="T69" fmla="*/ 42 h 49"/>
                <a:gd name="T70" fmla="*/ 5 w 68"/>
                <a:gd name="T71" fmla="*/ 45 h 49"/>
                <a:gd name="T72" fmla="*/ 7 w 68"/>
                <a:gd name="T73" fmla="*/ 47 h 49"/>
                <a:gd name="T74" fmla="*/ 9 w 68"/>
                <a:gd name="T75" fmla="*/ 47 h 49"/>
                <a:gd name="T76" fmla="*/ 12 w 68"/>
                <a:gd name="T77" fmla="*/ 45 h 49"/>
                <a:gd name="T78" fmla="*/ 16 w 68"/>
                <a:gd name="T79" fmla="*/ 38 h 49"/>
                <a:gd name="T80" fmla="*/ 16 w 68"/>
                <a:gd name="T81" fmla="*/ 35 h 49"/>
                <a:gd name="T82" fmla="*/ 19 w 68"/>
                <a:gd name="T83" fmla="*/ 35 h 49"/>
                <a:gd name="T84" fmla="*/ 23 w 68"/>
                <a:gd name="T85" fmla="*/ 33 h 49"/>
                <a:gd name="T86" fmla="*/ 26 w 68"/>
                <a:gd name="T87" fmla="*/ 35 h 49"/>
                <a:gd name="T88" fmla="*/ 33 w 68"/>
                <a:gd name="T89" fmla="*/ 35 h 49"/>
                <a:gd name="T90" fmla="*/ 35 w 68"/>
                <a:gd name="T91" fmla="*/ 33 h 49"/>
                <a:gd name="T92" fmla="*/ 40 w 68"/>
                <a:gd name="T93" fmla="*/ 31 h 49"/>
                <a:gd name="T94" fmla="*/ 45 w 68"/>
                <a:gd name="T95" fmla="*/ 33 h 49"/>
                <a:gd name="T96" fmla="*/ 49 w 68"/>
                <a:gd name="T97" fmla="*/ 31 h 49"/>
                <a:gd name="T98" fmla="*/ 56 w 68"/>
                <a:gd name="T99" fmla="*/ 33 h 49"/>
                <a:gd name="T100" fmla="*/ 59 w 68"/>
                <a:gd name="T101" fmla="*/ 35 h 49"/>
                <a:gd name="T102" fmla="*/ 59 w 68"/>
                <a:gd name="T103" fmla="*/ 35 h 49"/>
                <a:gd name="T104" fmla="*/ 61 w 68"/>
                <a:gd name="T105" fmla="*/ 35 h 49"/>
                <a:gd name="T106" fmla="*/ 63 w 68"/>
                <a:gd name="T107" fmla="*/ 33 h 49"/>
                <a:gd name="T108" fmla="*/ 66 w 68"/>
                <a:gd name="T109" fmla="*/ 31 h 49"/>
                <a:gd name="T110" fmla="*/ 66 w 68"/>
                <a:gd name="T111"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49">
                  <a:moveTo>
                    <a:pt x="66" y="26"/>
                  </a:moveTo>
                  <a:lnTo>
                    <a:pt x="66" y="26"/>
                  </a:lnTo>
                  <a:lnTo>
                    <a:pt x="61" y="21"/>
                  </a:lnTo>
                  <a:lnTo>
                    <a:pt x="59" y="19"/>
                  </a:lnTo>
                  <a:lnTo>
                    <a:pt x="56" y="19"/>
                  </a:lnTo>
                  <a:lnTo>
                    <a:pt x="54" y="19"/>
                  </a:lnTo>
                  <a:lnTo>
                    <a:pt x="52" y="19"/>
                  </a:lnTo>
                  <a:lnTo>
                    <a:pt x="49" y="19"/>
                  </a:lnTo>
                  <a:lnTo>
                    <a:pt x="47" y="16"/>
                  </a:lnTo>
                  <a:lnTo>
                    <a:pt x="45" y="16"/>
                  </a:lnTo>
                  <a:lnTo>
                    <a:pt x="45" y="16"/>
                  </a:lnTo>
                  <a:lnTo>
                    <a:pt x="45" y="16"/>
                  </a:lnTo>
                  <a:lnTo>
                    <a:pt x="47" y="14"/>
                  </a:lnTo>
                  <a:lnTo>
                    <a:pt x="49" y="16"/>
                  </a:lnTo>
                  <a:lnTo>
                    <a:pt x="52" y="14"/>
                  </a:lnTo>
                  <a:lnTo>
                    <a:pt x="52" y="14"/>
                  </a:lnTo>
                  <a:lnTo>
                    <a:pt x="52" y="12"/>
                  </a:lnTo>
                  <a:lnTo>
                    <a:pt x="42" y="14"/>
                  </a:lnTo>
                  <a:lnTo>
                    <a:pt x="42" y="12"/>
                  </a:lnTo>
                  <a:lnTo>
                    <a:pt x="40" y="9"/>
                  </a:lnTo>
                  <a:lnTo>
                    <a:pt x="40" y="7"/>
                  </a:lnTo>
                  <a:lnTo>
                    <a:pt x="40" y="5"/>
                  </a:lnTo>
                  <a:lnTo>
                    <a:pt x="40" y="5"/>
                  </a:lnTo>
                  <a:lnTo>
                    <a:pt x="38" y="7"/>
                  </a:lnTo>
                  <a:lnTo>
                    <a:pt x="35" y="7"/>
                  </a:lnTo>
                  <a:lnTo>
                    <a:pt x="33" y="5"/>
                  </a:lnTo>
                  <a:lnTo>
                    <a:pt x="30" y="5"/>
                  </a:lnTo>
                  <a:lnTo>
                    <a:pt x="30" y="2"/>
                  </a:lnTo>
                  <a:lnTo>
                    <a:pt x="28" y="2"/>
                  </a:lnTo>
                  <a:lnTo>
                    <a:pt x="28" y="2"/>
                  </a:lnTo>
                  <a:lnTo>
                    <a:pt x="26" y="2"/>
                  </a:lnTo>
                  <a:lnTo>
                    <a:pt x="26" y="0"/>
                  </a:lnTo>
                  <a:lnTo>
                    <a:pt x="23" y="0"/>
                  </a:lnTo>
                  <a:lnTo>
                    <a:pt x="21" y="0"/>
                  </a:lnTo>
                  <a:lnTo>
                    <a:pt x="16" y="2"/>
                  </a:lnTo>
                  <a:lnTo>
                    <a:pt x="16" y="2"/>
                  </a:lnTo>
                  <a:lnTo>
                    <a:pt x="14" y="0"/>
                  </a:lnTo>
                  <a:lnTo>
                    <a:pt x="12" y="0"/>
                  </a:lnTo>
                  <a:lnTo>
                    <a:pt x="9" y="2"/>
                  </a:lnTo>
                  <a:lnTo>
                    <a:pt x="9" y="2"/>
                  </a:lnTo>
                  <a:lnTo>
                    <a:pt x="9" y="2"/>
                  </a:lnTo>
                  <a:lnTo>
                    <a:pt x="7" y="5"/>
                  </a:lnTo>
                  <a:lnTo>
                    <a:pt x="7" y="5"/>
                  </a:lnTo>
                  <a:lnTo>
                    <a:pt x="7" y="5"/>
                  </a:lnTo>
                  <a:lnTo>
                    <a:pt x="7" y="9"/>
                  </a:lnTo>
                  <a:lnTo>
                    <a:pt x="7" y="12"/>
                  </a:lnTo>
                  <a:lnTo>
                    <a:pt x="7" y="12"/>
                  </a:lnTo>
                  <a:lnTo>
                    <a:pt x="7" y="14"/>
                  </a:lnTo>
                  <a:lnTo>
                    <a:pt x="7" y="16"/>
                  </a:lnTo>
                  <a:lnTo>
                    <a:pt x="7" y="16"/>
                  </a:lnTo>
                  <a:lnTo>
                    <a:pt x="7" y="16"/>
                  </a:lnTo>
                  <a:lnTo>
                    <a:pt x="7" y="19"/>
                  </a:lnTo>
                  <a:lnTo>
                    <a:pt x="5" y="21"/>
                  </a:lnTo>
                  <a:lnTo>
                    <a:pt x="5" y="21"/>
                  </a:lnTo>
                  <a:lnTo>
                    <a:pt x="5" y="23"/>
                  </a:lnTo>
                  <a:lnTo>
                    <a:pt x="5" y="23"/>
                  </a:lnTo>
                  <a:lnTo>
                    <a:pt x="5" y="26"/>
                  </a:lnTo>
                  <a:lnTo>
                    <a:pt x="2" y="28"/>
                  </a:lnTo>
                  <a:lnTo>
                    <a:pt x="2" y="28"/>
                  </a:lnTo>
                  <a:lnTo>
                    <a:pt x="0" y="28"/>
                  </a:lnTo>
                  <a:lnTo>
                    <a:pt x="0" y="28"/>
                  </a:lnTo>
                  <a:lnTo>
                    <a:pt x="0" y="31"/>
                  </a:lnTo>
                  <a:lnTo>
                    <a:pt x="2" y="33"/>
                  </a:lnTo>
                  <a:lnTo>
                    <a:pt x="5" y="33"/>
                  </a:lnTo>
                  <a:lnTo>
                    <a:pt x="5" y="35"/>
                  </a:lnTo>
                  <a:lnTo>
                    <a:pt x="2" y="35"/>
                  </a:lnTo>
                  <a:lnTo>
                    <a:pt x="2" y="40"/>
                  </a:lnTo>
                  <a:lnTo>
                    <a:pt x="5" y="40"/>
                  </a:lnTo>
                  <a:lnTo>
                    <a:pt x="5" y="42"/>
                  </a:lnTo>
                  <a:lnTo>
                    <a:pt x="5" y="42"/>
                  </a:lnTo>
                  <a:lnTo>
                    <a:pt x="5" y="45"/>
                  </a:lnTo>
                  <a:lnTo>
                    <a:pt x="5" y="45"/>
                  </a:lnTo>
                  <a:lnTo>
                    <a:pt x="7" y="45"/>
                  </a:lnTo>
                  <a:lnTo>
                    <a:pt x="7" y="47"/>
                  </a:lnTo>
                  <a:lnTo>
                    <a:pt x="7" y="49"/>
                  </a:lnTo>
                  <a:lnTo>
                    <a:pt x="9" y="47"/>
                  </a:lnTo>
                  <a:lnTo>
                    <a:pt x="9" y="47"/>
                  </a:lnTo>
                  <a:lnTo>
                    <a:pt x="12" y="45"/>
                  </a:lnTo>
                  <a:lnTo>
                    <a:pt x="14" y="40"/>
                  </a:lnTo>
                  <a:lnTo>
                    <a:pt x="16" y="38"/>
                  </a:lnTo>
                  <a:lnTo>
                    <a:pt x="16" y="35"/>
                  </a:lnTo>
                  <a:lnTo>
                    <a:pt x="16" y="35"/>
                  </a:lnTo>
                  <a:lnTo>
                    <a:pt x="16" y="35"/>
                  </a:lnTo>
                  <a:lnTo>
                    <a:pt x="19" y="35"/>
                  </a:lnTo>
                  <a:lnTo>
                    <a:pt x="21" y="33"/>
                  </a:lnTo>
                  <a:lnTo>
                    <a:pt x="23" y="33"/>
                  </a:lnTo>
                  <a:lnTo>
                    <a:pt x="26" y="35"/>
                  </a:lnTo>
                  <a:lnTo>
                    <a:pt x="26" y="35"/>
                  </a:lnTo>
                  <a:lnTo>
                    <a:pt x="33" y="35"/>
                  </a:lnTo>
                  <a:lnTo>
                    <a:pt x="33" y="35"/>
                  </a:lnTo>
                  <a:lnTo>
                    <a:pt x="35" y="33"/>
                  </a:lnTo>
                  <a:lnTo>
                    <a:pt x="35" y="33"/>
                  </a:lnTo>
                  <a:lnTo>
                    <a:pt x="38" y="33"/>
                  </a:lnTo>
                  <a:lnTo>
                    <a:pt x="40" y="31"/>
                  </a:lnTo>
                  <a:lnTo>
                    <a:pt x="42" y="31"/>
                  </a:lnTo>
                  <a:lnTo>
                    <a:pt x="45" y="33"/>
                  </a:lnTo>
                  <a:lnTo>
                    <a:pt x="47" y="33"/>
                  </a:lnTo>
                  <a:lnTo>
                    <a:pt x="49" y="31"/>
                  </a:lnTo>
                  <a:lnTo>
                    <a:pt x="54" y="33"/>
                  </a:lnTo>
                  <a:lnTo>
                    <a:pt x="56" y="33"/>
                  </a:lnTo>
                  <a:lnTo>
                    <a:pt x="59" y="33"/>
                  </a:lnTo>
                  <a:lnTo>
                    <a:pt x="59" y="35"/>
                  </a:lnTo>
                  <a:lnTo>
                    <a:pt x="59" y="35"/>
                  </a:lnTo>
                  <a:lnTo>
                    <a:pt x="59" y="35"/>
                  </a:lnTo>
                  <a:lnTo>
                    <a:pt x="61" y="35"/>
                  </a:lnTo>
                  <a:lnTo>
                    <a:pt x="61" y="35"/>
                  </a:lnTo>
                  <a:lnTo>
                    <a:pt x="63" y="33"/>
                  </a:lnTo>
                  <a:lnTo>
                    <a:pt x="63" y="33"/>
                  </a:lnTo>
                  <a:lnTo>
                    <a:pt x="63" y="33"/>
                  </a:lnTo>
                  <a:lnTo>
                    <a:pt x="66" y="31"/>
                  </a:lnTo>
                  <a:lnTo>
                    <a:pt x="68" y="28"/>
                  </a:lnTo>
                  <a:lnTo>
                    <a:pt x="66"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9" name="Freeform 355"/>
            <p:cNvSpPr>
              <a:spLocks/>
            </p:cNvSpPr>
            <p:nvPr userDrawn="1"/>
          </p:nvSpPr>
          <p:spPr bwMode="auto">
            <a:xfrm>
              <a:off x="2524" y="2477"/>
              <a:ext cx="5" cy="9"/>
            </a:xfrm>
            <a:custGeom>
              <a:avLst/>
              <a:gdLst>
                <a:gd name="T0" fmla="*/ 5 w 5"/>
                <a:gd name="T1" fmla="*/ 2 h 9"/>
                <a:gd name="T2" fmla="*/ 2 w 5"/>
                <a:gd name="T3" fmla="*/ 2 h 9"/>
                <a:gd name="T4" fmla="*/ 0 w 5"/>
                <a:gd name="T5" fmla="*/ 0 h 9"/>
                <a:gd name="T6" fmla="*/ 0 w 5"/>
                <a:gd name="T7" fmla="*/ 2 h 9"/>
                <a:gd name="T8" fmla="*/ 0 w 5"/>
                <a:gd name="T9" fmla="*/ 2 h 9"/>
                <a:gd name="T10" fmla="*/ 0 w 5"/>
                <a:gd name="T11" fmla="*/ 7 h 9"/>
                <a:gd name="T12" fmla="*/ 2 w 5"/>
                <a:gd name="T13" fmla="*/ 9 h 9"/>
                <a:gd name="T14" fmla="*/ 2 w 5"/>
                <a:gd name="T15" fmla="*/ 9 h 9"/>
                <a:gd name="T16" fmla="*/ 5 w 5"/>
                <a:gd name="T17" fmla="*/ 7 h 9"/>
                <a:gd name="T18" fmla="*/ 5 w 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5" y="2"/>
                  </a:moveTo>
                  <a:lnTo>
                    <a:pt x="2" y="2"/>
                  </a:lnTo>
                  <a:lnTo>
                    <a:pt x="0" y="0"/>
                  </a:lnTo>
                  <a:lnTo>
                    <a:pt x="0" y="2"/>
                  </a:lnTo>
                  <a:lnTo>
                    <a:pt x="0" y="2"/>
                  </a:lnTo>
                  <a:lnTo>
                    <a:pt x="0" y="7"/>
                  </a:lnTo>
                  <a:lnTo>
                    <a:pt x="2" y="9"/>
                  </a:lnTo>
                  <a:lnTo>
                    <a:pt x="2" y="9"/>
                  </a:lnTo>
                  <a:lnTo>
                    <a:pt x="5" y="7"/>
                  </a:lnTo>
                  <a:lnTo>
                    <a:pt x="5"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0" name="Freeform 356"/>
            <p:cNvSpPr>
              <a:spLocks/>
            </p:cNvSpPr>
            <p:nvPr userDrawn="1"/>
          </p:nvSpPr>
          <p:spPr bwMode="auto">
            <a:xfrm>
              <a:off x="4426" y="2540"/>
              <a:ext cx="31" cy="36"/>
            </a:xfrm>
            <a:custGeom>
              <a:avLst/>
              <a:gdLst>
                <a:gd name="T0" fmla="*/ 28 w 31"/>
                <a:gd name="T1" fmla="*/ 8 h 36"/>
                <a:gd name="T2" fmla="*/ 28 w 31"/>
                <a:gd name="T3" fmla="*/ 5 h 36"/>
                <a:gd name="T4" fmla="*/ 24 w 31"/>
                <a:gd name="T5" fmla="*/ 0 h 36"/>
                <a:gd name="T6" fmla="*/ 24 w 31"/>
                <a:gd name="T7" fmla="*/ 0 h 36"/>
                <a:gd name="T8" fmla="*/ 21 w 31"/>
                <a:gd name="T9" fmla="*/ 0 h 36"/>
                <a:gd name="T10" fmla="*/ 19 w 31"/>
                <a:gd name="T11" fmla="*/ 0 h 36"/>
                <a:gd name="T12" fmla="*/ 19 w 31"/>
                <a:gd name="T13" fmla="*/ 0 h 36"/>
                <a:gd name="T14" fmla="*/ 19 w 31"/>
                <a:gd name="T15" fmla="*/ 3 h 36"/>
                <a:gd name="T16" fmla="*/ 19 w 31"/>
                <a:gd name="T17" fmla="*/ 5 h 36"/>
                <a:gd name="T18" fmla="*/ 16 w 31"/>
                <a:gd name="T19" fmla="*/ 5 h 36"/>
                <a:gd name="T20" fmla="*/ 16 w 31"/>
                <a:gd name="T21" fmla="*/ 8 h 36"/>
                <a:gd name="T22" fmla="*/ 12 w 31"/>
                <a:gd name="T23" fmla="*/ 3 h 36"/>
                <a:gd name="T24" fmla="*/ 12 w 31"/>
                <a:gd name="T25" fmla="*/ 3 h 36"/>
                <a:gd name="T26" fmla="*/ 12 w 31"/>
                <a:gd name="T27" fmla="*/ 3 h 36"/>
                <a:gd name="T28" fmla="*/ 12 w 31"/>
                <a:gd name="T29" fmla="*/ 5 h 36"/>
                <a:gd name="T30" fmla="*/ 9 w 31"/>
                <a:gd name="T31" fmla="*/ 8 h 36"/>
                <a:gd name="T32" fmla="*/ 7 w 31"/>
                <a:gd name="T33" fmla="*/ 12 h 36"/>
                <a:gd name="T34" fmla="*/ 5 w 31"/>
                <a:gd name="T35" fmla="*/ 17 h 36"/>
                <a:gd name="T36" fmla="*/ 2 w 31"/>
                <a:gd name="T37" fmla="*/ 17 h 36"/>
                <a:gd name="T38" fmla="*/ 0 w 31"/>
                <a:gd name="T39" fmla="*/ 19 h 36"/>
                <a:gd name="T40" fmla="*/ 0 w 31"/>
                <a:gd name="T41" fmla="*/ 22 h 36"/>
                <a:gd name="T42" fmla="*/ 0 w 31"/>
                <a:gd name="T43" fmla="*/ 24 h 36"/>
                <a:gd name="T44" fmla="*/ 0 w 31"/>
                <a:gd name="T45" fmla="*/ 26 h 36"/>
                <a:gd name="T46" fmla="*/ 0 w 31"/>
                <a:gd name="T47" fmla="*/ 31 h 36"/>
                <a:gd name="T48" fmla="*/ 0 w 31"/>
                <a:gd name="T49" fmla="*/ 36 h 36"/>
                <a:gd name="T50" fmla="*/ 2 w 31"/>
                <a:gd name="T51" fmla="*/ 36 h 36"/>
                <a:gd name="T52" fmla="*/ 5 w 31"/>
                <a:gd name="T53" fmla="*/ 36 h 36"/>
                <a:gd name="T54" fmla="*/ 5 w 31"/>
                <a:gd name="T55" fmla="*/ 36 h 36"/>
                <a:gd name="T56" fmla="*/ 7 w 31"/>
                <a:gd name="T57" fmla="*/ 36 h 36"/>
                <a:gd name="T58" fmla="*/ 9 w 31"/>
                <a:gd name="T59" fmla="*/ 36 h 36"/>
                <a:gd name="T60" fmla="*/ 14 w 31"/>
                <a:gd name="T61" fmla="*/ 34 h 36"/>
                <a:gd name="T62" fmla="*/ 14 w 31"/>
                <a:gd name="T63" fmla="*/ 34 h 36"/>
                <a:gd name="T64" fmla="*/ 16 w 31"/>
                <a:gd name="T65" fmla="*/ 34 h 36"/>
                <a:gd name="T66" fmla="*/ 19 w 31"/>
                <a:gd name="T67" fmla="*/ 34 h 36"/>
                <a:gd name="T68" fmla="*/ 19 w 31"/>
                <a:gd name="T69" fmla="*/ 36 h 36"/>
                <a:gd name="T70" fmla="*/ 21 w 31"/>
                <a:gd name="T71" fmla="*/ 36 h 36"/>
                <a:gd name="T72" fmla="*/ 21 w 31"/>
                <a:gd name="T73" fmla="*/ 36 h 36"/>
                <a:gd name="T74" fmla="*/ 24 w 31"/>
                <a:gd name="T75" fmla="*/ 31 h 36"/>
                <a:gd name="T76" fmla="*/ 26 w 31"/>
                <a:gd name="T77" fmla="*/ 29 h 36"/>
                <a:gd name="T78" fmla="*/ 28 w 31"/>
                <a:gd name="T79" fmla="*/ 24 h 36"/>
                <a:gd name="T80" fmla="*/ 26 w 31"/>
                <a:gd name="T81" fmla="*/ 24 h 36"/>
                <a:gd name="T82" fmla="*/ 24 w 31"/>
                <a:gd name="T83" fmla="*/ 24 h 36"/>
                <a:gd name="T84" fmla="*/ 21 w 31"/>
                <a:gd name="T85" fmla="*/ 24 h 36"/>
                <a:gd name="T86" fmla="*/ 19 w 31"/>
                <a:gd name="T87" fmla="*/ 24 h 36"/>
                <a:gd name="T88" fmla="*/ 16 w 31"/>
                <a:gd name="T89" fmla="*/ 24 h 36"/>
                <a:gd name="T90" fmla="*/ 14 w 31"/>
                <a:gd name="T91" fmla="*/ 24 h 36"/>
                <a:gd name="T92" fmla="*/ 14 w 31"/>
                <a:gd name="T93" fmla="*/ 24 h 36"/>
                <a:gd name="T94" fmla="*/ 14 w 31"/>
                <a:gd name="T95" fmla="*/ 24 h 36"/>
                <a:gd name="T96" fmla="*/ 16 w 31"/>
                <a:gd name="T97" fmla="*/ 24 h 36"/>
                <a:gd name="T98" fmla="*/ 19 w 31"/>
                <a:gd name="T99" fmla="*/ 19 h 36"/>
                <a:gd name="T100" fmla="*/ 24 w 31"/>
                <a:gd name="T101" fmla="*/ 17 h 36"/>
                <a:gd name="T102" fmla="*/ 28 w 31"/>
                <a:gd name="T103" fmla="*/ 15 h 36"/>
                <a:gd name="T104" fmla="*/ 28 w 31"/>
                <a:gd name="T105" fmla="*/ 15 h 36"/>
                <a:gd name="T106" fmla="*/ 28 w 31"/>
                <a:gd name="T107" fmla="*/ 12 h 36"/>
                <a:gd name="T108" fmla="*/ 31 w 31"/>
                <a:gd name="T109" fmla="*/ 10 h 36"/>
                <a:gd name="T110" fmla="*/ 28 w 31"/>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36">
                  <a:moveTo>
                    <a:pt x="28" y="8"/>
                  </a:moveTo>
                  <a:lnTo>
                    <a:pt x="28" y="5"/>
                  </a:lnTo>
                  <a:lnTo>
                    <a:pt x="24" y="0"/>
                  </a:lnTo>
                  <a:lnTo>
                    <a:pt x="24" y="0"/>
                  </a:lnTo>
                  <a:lnTo>
                    <a:pt x="21" y="0"/>
                  </a:lnTo>
                  <a:lnTo>
                    <a:pt x="19" y="0"/>
                  </a:lnTo>
                  <a:lnTo>
                    <a:pt x="19" y="0"/>
                  </a:lnTo>
                  <a:lnTo>
                    <a:pt x="19" y="3"/>
                  </a:lnTo>
                  <a:lnTo>
                    <a:pt x="19" y="5"/>
                  </a:lnTo>
                  <a:lnTo>
                    <a:pt x="16" y="5"/>
                  </a:lnTo>
                  <a:lnTo>
                    <a:pt x="16" y="8"/>
                  </a:lnTo>
                  <a:lnTo>
                    <a:pt x="12" y="3"/>
                  </a:lnTo>
                  <a:lnTo>
                    <a:pt x="12" y="3"/>
                  </a:lnTo>
                  <a:lnTo>
                    <a:pt x="12" y="3"/>
                  </a:lnTo>
                  <a:lnTo>
                    <a:pt x="12" y="5"/>
                  </a:lnTo>
                  <a:lnTo>
                    <a:pt x="9" y="8"/>
                  </a:lnTo>
                  <a:lnTo>
                    <a:pt x="7" y="12"/>
                  </a:lnTo>
                  <a:lnTo>
                    <a:pt x="5" y="17"/>
                  </a:lnTo>
                  <a:lnTo>
                    <a:pt x="2" y="17"/>
                  </a:lnTo>
                  <a:lnTo>
                    <a:pt x="0" y="19"/>
                  </a:lnTo>
                  <a:lnTo>
                    <a:pt x="0" y="22"/>
                  </a:lnTo>
                  <a:lnTo>
                    <a:pt x="0" y="24"/>
                  </a:lnTo>
                  <a:lnTo>
                    <a:pt x="0" y="26"/>
                  </a:lnTo>
                  <a:lnTo>
                    <a:pt x="0" y="31"/>
                  </a:lnTo>
                  <a:lnTo>
                    <a:pt x="0" y="36"/>
                  </a:lnTo>
                  <a:lnTo>
                    <a:pt x="2" y="36"/>
                  </a:lnTo>
                  <a:lnTo>
                    <a:pt x="5" y="36"/>
                  </a:lnTo>
                  <a:lnTo>
                    <a:pt x="5" y="36"/>
                  </a:lnTo>
                  <a:lnTo>
                    <a:pt x="7" y="36"/>
                  </a:lnTo>
                  <a:lnTo>
                    <a:pt x="9" y="36"/>
                  </a:lnTo>
                  <a:lnTo>
                    <a:pt x="14" y="34"/>
                  </a:lnTo>
                  <a:lnTo>
                    <a:pt x="14" y="34"/>
                  </a:lnTo>
                  <a:lnTo>
                    <a:pt x="16" y="34"/>
                  </a:lnTo>
                  <a:lnTo>
                    <a:pt x="19" y="34"/>
                  </a:lnTo>
                  <a:lnTo>
                    <a:pt x="19" y="36"/>
                  </a:lnTo>
                  <a:lnTo>
                    <a:pt x="21" y="36"/>
                  </a:lnTo>
                  <a:lnTo>
                    <a:pt x="21" y="36"/>
                  </a:lnTo>
                  <a:lnTo>
                    <a:pt x="24" y="31"/>
                  </a:lnTo>
                  <a:lnTo>
                    <a:pt x="26" y="29"/>
                  </a:lnTo>
                  <a:lnTo>
                    <a:pt x="28" y="24"/>
                  </a:lnTo>
                  <a:lnTo>
                    <a:pt x="26" y="24"/>
                  </a:lnTo>
                  <a:lnTo>
                    <a:pt x="24" y="24"/>
                  </a:lnTo>
                  <a:lnTo>
                    <a:pt x="21" y="24"/>
                  </a:lnTo>
                  <a:lnTo>
                    <a:pt x="19" y="24"/>
                  </a:lnTo>
                  <a:lnTo>
                    <a:pt x="16" y="24"/>
                  </a:lnTo>
                  <a:lnTo>
                    <a:pt x="14" y="24"/>
                  </a:lnTo>
                  <a:lnTo>
                    <a:pt x="14" y="24"/>
                  </a:lnTo>
                  <a:lnTo>
                    <a:pt x="14" y="24"/>
                  </a:lnTo>
                  <a:lnTo>
                    <a:pt x="16" y="24"/>
                  </a:lnTo>
                  <a:lnTo>
                    <a:pt x="19" y="19"/>
                  </a:lnTo>
                  <a:lnTo>
                    <a:pt x="24" y="17"/>
                  </a:lnTo>
                  <a:lnTo>
                    <a:pt x="28" y="15"/>
                  </a:lnTo>
                  <a:lnTo>
                    <a:pt x="28" y="15"/>
                  </a:lnTo>
                  <a:lnTo>
                    <a:pt x="28" y="12"/>
                  </a:lnTo>
                  <a:lnTo>
                    <a:pt x="31" y="10"/>
                  </a:lnTo>
                  <a:lnTo>
                    <a:pt x="28" y="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1" name="Freeform 357"/>
            <p:cNvSpPr>
              <a:spLocks noEditPoints="1"/>
            </p:cNvSpPr>
            <p:nvPr userDrawn="1"/>
          </p:nvSpPr>
          <p:spPr bwMode="auto">
            <a:xfrm>
              <a:off x="3813" y="1602"/>
              <a:ext cx="109" cy="61"/>
            </a:xfrm>
            <a:custGeom>
              <a:avLst/>
              <a:gdLst>
                <a:gd name="T0" fmla="*/ 47 w 109"/>
                <a:gd name="T1" fmla="*/ 54 h 61"/>
                <a:gd name="T2" fmla="*/ 54 w 109"/>
                <a:gd name="T3" fmla="*/ 59 h 61"/>
                <a:gd name="T4" fmla="*/ 33 w 109"/>
                <a:gd name="T5" fmla="*/ 54 h 61"/>
                <a:gd name="T6" fmla="*/ 36 w 109"/>
                <a:gd name="T7" fmla="*/ 57 h 61"/>
                <a:gd name="T8" fmla="*/ 66 w 109"/>
                <a:gd name="T9" fmla="*/ 52 h 61"/>
                <a:gd name="T10" fmla="*/ 64 w 109"/>
                <a:gd name="T11" fmla="*/ 54 h 61"/>
                <a:gd name="T12" fmla="*/ 66 w 109"/>
                <a:gd name="T13" fmla="*/ 54 h 61"/>
                <a:gd name="T14" fmla="*/ 28 w 109"/>
                <a:gd name="T15" fmla="*/ 54 h 61"/>
                <a:gd name="T16" fmla="*/ 26 w 109"/>
                <a:gd name="T17" fmla="*/ 57 h 61"/>
                <a:gd name="T18" fmla="*/ 43 w 109"/>
                <a:gd name="T19" fmla="*/ 52 h 61"/>
                <a:gd name="T20" fmla="*/ 40 w 109"/>
                <a:gd name="T21" fmla="*/ 59 h 61"/>
                <a:gd name="T22" fmla="*/ 43 w 109"/>
                <a:gd name="T23" fmla="*/ 49 h 61"/>
                <a:gd name="T24" fmla="*/ 102 w 109"/>
                <a:gd name="T25" fmla="*/ 52 h 61"/>
                <a:gd name="T26" fmla="*/ 109 w 109"/>
                <a:gd name="T27" fmla="*/ 49 h 61"/>
                <a:gd name="T28" fmla="*/ 36 w 109"/>
                <a:gd name="T29" fmla="*/ 42 h 61"/>
                <a:gd name="T30" fmla="*/ 26 w 109"/>
                <a:gd name="T31" fmla="*/ 42 h 61"/>
                <a:gd name="T32" fmla="*/ 33 w 109"/>
                <a:gd name="T33" fmla="*/ 52 h 61"/>
                <a:gd name="T34" fmla="*/ 40 w 109"/>
                <a:gd name="T35" fmla="*/ 47 h 61"/>
                <a:gd name="T36" fmla="*/ 69 w 109"/>
                <a:gd name="T37" fmla="*/ 40 h 61"/>
                <a:gd name="T38" fmla="*/ 71 w 109"/>
                <a:gd name="T39" fmla="*/ 40 h 61"/>
                <a:gd name="T40" fmla="*/ 38 w 109"/>
                <a:gd name="T41" fmla="*/ 38 h 61"/>
                <a:gd name="T42" fmla="*/ 38 w 109"/>
                <a:gd name="T43" fmla="*/ 35 h 61"/>
                <a:gd name="T44" fmla="*/ 66 w 109"/>
                <a:gd name="T45" fmla="*/ 45 h 61"/>
                <a:gd name="T46" fmla="*/ 66 w 109"/>
                <a:gd name="T47" fmla="*/ 40 h 61"/>
                <a:gd name="T48" fmla="*/ 69 w 109"/>
                <a:gd name="T49" fmla="*/ 35 h 61"/>
                <a:gd name="T50" fmla="*/ 66 w 109"/>
                <a:gd name="T51" fmla="*/ 31 h 61"/>
                <a:gd name="T52" fmla="*/ 59 w 109"/>
                <a:gd name="T53" fmla="*/ 35 h 61"/>
                <a:gd name="T54" fmla="*/ 57 w 109"/>
                <a:gd name="T55" fmla="*/ 40 h 61"/>
                <a:gd name="T56" fmla="*/ 54 w 109"/>
                <a:gd name="T57" fmla="*/ 35 h 61"/>
                <a:gd name="T58" fmla="*/ 50 w 109"/>
                <a:gd name="T59" fmla="*/ 38 h 61"/>
                <a:gd name="T60" fmla="*/ 45 w 109"/>
                <a:gd name="T61" fmla="*/ 40 h 61"/>
                <a:gd name="T62" fmla="*/ 47 w 109"/>
                <a:gd name="T63" fmla="*/ 47 h 61"/>
                <a:gd name="T64" fmla="*/ 54 w 109"/>
                <a:gd name="T65" fmla="*/ 49 h 61"/>
                <a:gd name="T66" fmla="*/ 57 w 109"/>
                <a:gd name="T67" fmla="*/ 59 h 61"/>
                <a:gd name="T68" fmla="*/ 61 w 109"/>
                <a:gd name="T69" fmla="*/ 49 h 61"/>
                <a:gd name="T70" fmla="*/ 21 w 109"/>
                <a:gd name="T71" fmla="*/ 52 h 61"/>
                <a:gd name="T72" fmla="*/ 24 w 109"/>
                <a:gd name="T73" fmla="*/ 47 h 61"/>
                <a:gd name="T74" fmla="*/ 26 w 109"/>
                <a:gd name="T75" fmla="*/ 40 h 61"/>
                <a:gd name="T76" fmla="*/ 28 w 109"/>
                <a:gd name="T77" fmla="*/ 38 h 61"/>
                <a:gd name="T78" fmla="*/ 33 w 109"/>
                <a:gd name="T79" fmla="*/ 33 h 61"/>
                <a:gd name="T80" fmla="*/ 38 w 109"/>
                <a:gd name="T81" fmla="*/ 31 h 61"/>
                <a:gd name="T82" fmla="*/ 43 w 109"/>
                <a:gd name="T83" fmla="*/ 23 h 61"/>
                <a:gd name="T84" fmla="*/ 33 w 109"/>
                <a:gd name="T85" fmla="*/ 19 h 61"/>
                <a:gd name="T86" fmla="*/ 38 w 109"/>
                <a:gd name="T87" fmla="*/ 9 h 61"/>
                <a:gd name="T88" fmla="*/ 36 w 109"/>
                <a:gd name="T89" fmla="*/ 0 h 61"/>
                <a:gd name="T90" fmla="*/ 26 w 109"/>
                <a:gd name="T91" fmla="*/ 5 h 61"/>
                <a:gd name="T92" fmla="*/ 12 w 109"/>
                <a:gd name="T93" fmla="*/ 12 h 61"/>
                <a:gd name="T94" fmla="*/ 3 w 109"/>
                <a:gd name="T95" fmla="*/ 16 h 61"/>
                <a:gd name="T96" fmla="*/ 10 w 109"/>
                <a:gd name="T97" fmla="*/ 19 h 61"/>
                <a:gd name="T98" fmla="*/ 17 w 109"/>
                <a:gd name="T99" fmla="*/ 16 h 61"/>
                <a:gd name="T100" fmla="*/ 12 w 109"/>
                <a:gd name="T101" fmla="*/ 19 h 61"/>
                <a:gd name="T102" fmla="*/ 7 w 109"/>
                <a:gd name="T103" fmla="*/ 23 h 61"/>
                <a:gd name="T104" fmla="*/ 0 w 109"/>
                <a:gd name="T105" fmla="*/ 28 h 61"/>
                <a:gd name="T106" fmla="*/ 3 w 109"/>
                <a:gd name="T107" fmla="*/ 42 h 61"/>
                <a:gd name="T108" fmla="*/ 7 w 109"/>
                <a:gd name="T109" fmla="*/ 52 h 61"/>
                <a:gd name="T110" fmla="*/ 12 w 109"/>
                <a:gd name="T111" fmla="*/ 57 h 61"/>
                <a:gd name="T112" fmla="*/ 24 w 109"/>
                <a:gd name="T113" fmla="*/ 57 h 61"/>
                <a:gd name="T114" fmla="*/ 24 w 109"/>
                <a:gd name="T115"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61">
                  <a:moveTo>
                    <a:pt x="57" y="57"/>
                  </a:moveTo>
                  <a:lnTo>
                    <a:pt x="54" y="57"/>
                  </a:lnTo>
                  <a:lnTo>
                    <a:pt x="52" y="57"/>
                  </a:lnTo>
                  <a:lnTo>
                    <a:pt x="50" y="57"/>
                  </a:lnTo>
                  <a:lnTo>
                    <a:pt x="47" y="54"/>
                  </a:lnTo>
                  <a:lnTo>
                    <a:pt x="45" y="54"/>
                  </a:lnTo>
                  <a:lnTo>
                    <a:pt x="45" y="57"/>
                  </a:lnTo>
                  <a:lnTo>
                    <a:pt x="45" y="59"/>
                  </a:lnTo>
                  <a:lnTo>
                    <a:pt x="52" y="61"/>
                  </a:lnTo>
                  <a:lnTo>
                    <a:pt x="54" y="59"/>
                  </a:lnTo>
                  <a:lnTo>
                    <a:pt x="54" y="61"/>
                  </a:lnTo>
                  <a:lnTo>
                    <a:pt x="57" y="59"/>
                  </a:lnTo>
                  <a:lnTo>
                    <a:pt x="57" y="59"/>
                  </a:lnTo>
                  <a:lnTo>
                    <a:pt x="57" y="57"/>
                  </a:lnTo>
                  <a:close/>
                  <a:moveTo>
                    <a:pt x="33" y="54"/>
                  </a:moveTo>
                  <a:lnTo>
                    <a:pt x="33" y="54"/>
                  </a:lnTo>
                  <a:lnTo>
                    <a:pt x="31" y="54"/>
                  </a:lnTo>
                  <a:lnTo>
                    <a:pt x="33" y="54"/>
                  </a:lnTo>
                  <a:lnTo>
                    <a:pt x="33" y="57"/>
                  </a:lnTo>
                  <a:lnTo>
                    <a:pt x="36" y="57"/>
                  </a:lnTo>
                  <a:lnTo>
                    <a:pt x="36" y="57"/>
                  </a:lnTo>
                  <a:lnTo>
                    <a:pt x="36" y="57"/>
                  </a:lnTo>
                  <a:lnTo>
                    <a:pt x="36" y="57"/>
                  </a:lnTo>
                  <a:lnTo>
                    <a:pt x="33" y="54"/>
                  </a:lnTo>
                  <a:close/>
                  <a:moveTo>
                    <a:pt x="66" y="52"/>
                  </a:moveTo>
                  <a:lnTo>
                    <a:pt x="66" y="52"/>
                  </a:lnTo>
                  <a:lnTo>
                    <a:pt x="64" y="52"/>
                  </a:lnTo>
                  <a:lnTo>
                    <a:pt x="64" y="52"/>
                  </a:lnTo>
                  <a:lnTo>
                    <a:pt x="64" y="52"/>
                  </a:lnTo>
                  <a:lnTo>
                    <a:pt x="64" y="54"/>
                  </a:lnTo>
                  <a:lnTo>
                    <a:pt x="61" y="54"/>
                  </a:lnTo>
                  <a:lnTo>
                    <a:pt x="61" y="54"/>
                  </a:lnTo>
                  <a:lnTo>
                    <a:pt x="61" y="54"/>
                  </a:lnTo>
                  <a:lnTo>
                    <a:pt x="64" y="57"/>
                  </a:lnTo>
                  <a:lnTo>
                    <a:pt x="66" y="54"/>
                  </a:lnTo>
                  <a:lnTo>
                    <a:pt x="69" y="54"/>
                  </a:lnTo>
                  <a:lnTo>
                    <a:pt x="69" y="54"/>
                  </a:lnTo>
                  <a:lnTo>
                    <a:pt x="69" y="54"/>
                  </a:lnTo>
                  <a:lnTo>
                    <a:pt x="66" y="52"/>
                  </a:lnTo>
                  <a:close/>
                  <a:moveTo>
                    <a:pt x="28" y="54"/>
                  </a:moveTo>
                  <a:lnTo>
                    <a:pt x="26" y="52"/>
                  </a:lnTo>
                  <a:lnTo>
                    <a:pt x="26" y="52"/>
                  </a:lnTo>
                  <a:lnTo>
                    <a:pt x="26" y="52"/>
                  </a:lnTo>
                  <a:lnTo>
                    <a:pt x="26" y="54"/>
                  </a:lnTo>
                  <a:lnTo>
                    <a:pt x="26" y="57"/>
                  </a:lnTo>
                  <a:lnTo>
                    <a:pt x="28" y="57"/>
                  </a:lnTo>
                  <a:lnTo>
                    <a:pt x="31" y="57"/>
                  </a:lnTo>
                  <a:lnTo>
                    <a:pt x="31" y="54"/>
                  </a:lnTo>
                  <a:lnTo>
                    <a:pt x="28" y="54"/>
                  </a:lnTo>
                  <a:close/>
                  <a:moveTo>
                    <a:pt x="43" y="52"/>
                  </a:moveTo>
                  <a:lnTo>
                    <a:pt x="40" y="54"/>
                  </a:lnTo>
                  <a:lnTo>
                    <a:pt x="40" y="54"/>
                  </a:lnTo>
                  <a:lnTo>
                    <a:pt x="38" y="57"/>
                  </a:lnTo>
                  <a:lnTo>
                    <a:pt x="38" y="57"/>
                  </a:lnTo>
                  <a:lnTo>
                    <a:pt x="40" y="59"/>
                  </a:lnTo>
                  <a:lnTo>
                    <a:pt x="40" y="59"/>
                  </a:lnTo>
                  <a:lnTo>
                    <a:pt x="40" y="57"/>
                  </a:lnTo>
                  <a:lnTo>
                    <a:pt x="43" y="52"/>
                  </a:lnTo>
                  <a:lnTo>
                    <a:pt x="43" y="49"/>
                  </a:lnTo>
                  <a:lnTo>
                    <a:pt x="43" y="49"/>
                  </a:lnTo>
                  <a:lnTo>
                    <a:pt x="43" y="52"/>
                  </a:lnTo>
                  <a:close/>
                  <a:moveTo>
                    <a:pt x="109" y="49"/>
                  </a:moveTo>
                  <a:lnTo>
                    <a:pt x="102" y="47"/>
                  </a:lnTo>
                  <a:lnTo>
                    <a:pt x="102" y="49"/>
                  </a:lnTo>
                  <a:lnTo>
                    <a:pt x="102" y="52"/>
                  </a:lnTo>
                  <a:lnTo>
                    <a:pt x="104" y="52"/>
                  </a:lnTo>
                  <a:lnTo>
                    <a:pt x="106" y="54"/>
                  </a:lnTo>
                  <a:lnTo>
                    <a:pt x="109" y="52"/>
                  </a:lnTo>
                  <a:lnTo>
                    <a:pt x="109" y="52"/>
                  </a:lnTo>
                  <a:lnTo>
                    <a:pt x="109" y="49"/>
                  </a:lnTo>
                  <a:close/>
                  <a:moveTo>
                    <a:pt x="40" y="45"/>
                  </a:moveTo>
                  <a:lnTo>
                    <a:pt x="40" y="42"/>
                  </a:lnTo>
                  <a:lnTo>
                    <a:pt x="38" y="42"/>
                  </a:lnTo>
                  <a:lnTo>
                    <a:pt x="38" y="40"/>
                  </a:lnTo>
                  <a:lnTo>
                    <a:pt x="36" y="42"/>
                  </a:lnTo>
                  <a:lnTo>
                    <a:pt x="36" y="42"/>
                  </a:lnTo>
                  <a:lnTo>
                    <a:pt x="33" y="42"/>
                  </a:lnTo>
                  <a:lnTo>
                    <a:pt x="33" y="42"/>
                  </a:lnTo>
                  <a:lnTo>
                    <a:pt x="28" y="42"/>
                  </a:lnTo>
                  <a:lnTo>
                    <a:pt x="26" y="42"/>
                  </a:lnTo>
                  <a:lnTo>
                    <a:pt x="26" y="47"/>
                  </a:lnTo>
                  <a:lnTo>
                    <a:pt x="28" y="49"/>
                  </a:lnTo>
                  <a:lnTo>
                    <a:pt x="28" y="49"/>
                  </a:lnTo>
                  <a:lnTo>
                    <a:pt x="28" y="49"/>
                  </a:lnTo>
                  <a:lnTo>
                    <a:pt x="33" y="52"/>
                  </a:lnTo>
                  <a:lnTo>
                    <a:pt x="36" y="52"/>
                  </a:lnTo>
                  <a:lnTo>
                    <a:pt x="38" y="52"/>
                  </a:lnTo>
                  <a:lnTo>
                    <a:pt x="40" y="52"/>
                  </a:lnTo>
                  <a:lnTo>
                    <a:pt x="40" y="49"/>
                  </a:lnTo>
                  <a:lnTo>
                    <a:pt x="40" y="47"/>
                  </a:lnTo>
                  <a:lnTo>
                    <a:pt x="43" y="47"/>
                  </a:lnTo>
                  <a:lnTo>
                    <a:pt x="40" y="45"/>
                  </a:lnTo>
                  <a:close/>
                  <a:moveTo>
                    <a:pt x="69" y="40"/>
                  </a:moveTo>
                  <a:lnTo>
                    <a:pt x="69" y="40"/>
                  </a:lnTo>
                  <a:lnTo>
                    <a:pt x="69" y="40"/>
                  </a:lnTo>
                  <a:lnTo>
                    <a:pt x="69" y="40"/>
                  </a:lnTo>
                  <a:lnTo>
                    <a:pt x="69" y="42"/>
                  </a:lnTo>
                  <a:lnTo>
                    <a:pt x="69" y="42"/>
                  </a:lnTo>
                  <a:lnTo>
                    <a:pt x="71" y="42"/>
                  </a:lnTo>
                  <a:lnTo>
                    <a:pt x="71" y="40"/>
                  </a:lnTo>
                  <a:lnTo>
                    <a:pt x="69" y="40"/>
                  </a:lnTo>
                  <a:close/>
                  <a:moveTo>
                    <a:pt x="38" y="38"/>
                  </a:moveTo>
                  <a:lnTo>
                    <a:pt x="38" y="38"/>
                  </a:lnTo>
                  <a:lnTo>
                    <a:pt x="38" y="38"/>
                  </a:lnTo>
                  <a:lnTo>
                    <a:pt x="38" y="38"/>
                  </a:lnTo>
                  <a:lnTo>
                    <a:pt x="40" y="35"/>
                  </a:lnTo>
                  <a:lnTo>
                    <a:pt x="38" y="35"/>
                  </a:lnTo>
                  <a:lnTo>
                    <a:pt x="38" y="33"/>
                  </a:lnTo>
                  <a:lnTo>
                    <a:pt x="38" y="35"/>
                  </a:lnTo>
                  <a:lnTo>
                    <a:pt x="38" y="35"/>
                  </a:lnTo>
                  <a:lnTo>
                    <a:pt x="38" y="38"/>
                  </a:lnTo>
                  <a:lnTo>
                    <a:pt x="38" y="38"/>
                  </a:lnTo>
                  <a:close/>
                  <a:moveTo>
                    <a:pt x="64" y="49"/>
                  </a:moveTo>
                  <a:lnTo>
                    <a:pt x="66" y="47"/>
                  </a:lnTo>
                  <a:lnTo>
                    <a:pt x="66" y="45"/>
                  </a:lnTo>
                  <a:lnTo>
                    <a:pt x="64" y="45"/>
                  </a:lnTo>
                  <a:lnTo>
                    <a:pt x="64" y="45"/>
                  </a:lnTo>
                  <a:lnTo>
                    <a:pt x="64" y="42"/>
                  </a:lnTo>
                  <a:lnTo>
                    <a:pt x="64" y="42"/>
                  </a:lnTo>
                  <a:lnTo>
                    <a:pt x="66" y="40"/>
                  </a:lnTo>
                  <a:lnTo>
                    <a:pt x="69" y="40"/>
                  </a:lnTo>
                  <a:lnTo>
                    <a:pt x="69" y="40"/>
                  </a:lnTo>
                  <a:lnTo>
                    <a:pt x="69" y="40"/>
                  </a:lnTo>
                  <a:lnTo>
                    <a:pt x="69" y="38"/>
                  </a:lnTo>
                  <a:lnTo>
                    <a:pt x="69" y="35"/>
                  </a:lnTo>
                  <a:lnTo>
                    <a:pt x="69" y="35"/>
                  </a:lnTo>
                  <a:lnTo>
                    <a:pt x="69" y="33"/>
                  </a:lnTo>
                  <a:lnTo>
                    <a:pt x="69" y="33"/>
                  </a:lnTo>
                  <a:lnTo>
                    <a:pt x="69" y="33"/>
                  </a:lnTo>
                  <a:lnTo>
                    <a:pt x="66" y="31"/>
                  </a:lnTo>
                  <a:lnTo>
                    <a:pt x="64" y="31"/>
                  </a:lnTo>
                  <a:lnTo>
                    <a:pt x="64" y="31"/>
                  </a:lnTo>
                  <a:lnTo>
                    <a:pt x="61" y="33"/>
                  </a:lnTo>
                  <a:lnTo>
                    <a:pt x="57" y="35"/>
                  </a:lnTo>
                  <a:lnTo>
                    <a:pt x="59" y="35"/>
                  </a:lnTo>
                  <a:lnTo>
                    <a:pt x="59" y="35"/>
                  </a:lnTo>
                  <a:lnTo>
                    <a:pt x="59" y="38"/>
                  </a:lnTo>
                  <a:lnTo>
                    <a:pt x="59" y="38"/>
                  </a:lnTo>
                  <a:lnTo>
                    <a:pt x="57" y="38"/>
                  </a:lnTo>
                  <a:lnTo>
                    <a:pt x="57" y="40"/>
                  </a:lnTo>
                  <a:lnTo>
                    <a:pt x="57" y="40"/>
                  </a:lnTo>
                  <a:lnTo>
                    <a:pt x="54" y="40"/>
                  </a:lnTo>
                  <a:lnTo>
                    <a:pt x="54" y="38"/>
                  </a:lnTo>
                  <a:lnTo>
                    <a:pt x="54" y="35"/>
                  </a:lnTo>
                  <a:lnTo>
                    <a:pt x="54" y="35"/>
                  </a:lnTo>
                  <a:lnTo>
                    <a:pt x="52" y="35"/>
                  </a:lnTo>
                  <a:lnTo>
                    <a:pt x="52" y="35"/>
                  </a:lnTo>
                  <a:lnTo>
                    <a:pt x="52" y="35"/>
                  </a:lnTo>
                  <a:lnTo>
                    <a:pt x="50" y="38"/>
                  </a:lnTo>
                  <a:lnTo>
                    <a:pt x="50" y="38"/>
                  </a:lnTo>
                  <a:lnTo>
                    <a:pt x="47" y="38"/>
                  </a:lnTo>
                  <a:lnTo>
                    <a:pt x="45" y="38"/>
                  </a:lnTo>
                  <a:lnTo>
                    <a:pt x="45" y="40"/>
                  </a:lnTo>
                  <a:lnTo>
                    <a:pt x="45" y="40"/>
                  </a:lnTo>
                  <a:lnTo>
                    <a:pt x="45" y="40"/>
                  </a:lnTo>
                  <a:lnTo>
                    <a:pt x="47" y="42"/>
                  </a:lnTo>
                  <a:lnTo>
                    <a:pt x="47" y="42"/>
                  </a:lnTo>
                  <a:lnTo>
                    <a:pt x="47" y="42"/>
                  </a:lnTo>
                  <a:lnTo>
                    <a:pt x="47" y="45"/>
                  </a:lnTo>
                  <a:lnTo>
                    <a:pt x="47" y="47"/>
                  </a:lnTo>
                  <a:lnTo>
                    <a:pt x="50" y="49"/>
                  </a:lnTo>
                  <a:lnTo>
                    <a:pt x="50" y="49"/>
                  </a:lnTo>
                  <a:lnTo>
                    <a:pt x="50" y="49"/>
                  </a:lnTo>
                  <a:lnTo>
                    <a:pt x="52" y="49"/>
                  </a:lnTo>
                  <a:lnTo>
                    <a:pt x="54" y="49"/>
                  </a:lnTo>
                  <a:lnTo>
                    <a:pt x="54" y="52"/>
                  </a:lnTo>
                  <a:lnTo>
                    <a:pt x="54" y="52"/>
                  </a:lnTo>
                  <a:lnTo>
                    <a:pt x="57" y="54"/>
                  </a:lnTo>
                  <a:lnTo>
                    <a:pt x="57" y="54"/>
                  </a:lnTo>
                  <a:lnTo>
                    <a:pt x="57" y="59"/>
                  </a:lnTo>
                  <a:lnTo>
                    <a:pt x="61" y="57"/>
                  </a:lnTo>
                  <a:lnTo>
                    <a:pt x="61" y="54"/>
                  </a:lnTo>
                  <a:lnTo>
                    <a:pt x="61" y="54"/>
                  </a:lnTo>
                  <a:lnTo>
                    <a:pt x="61" y="52"/>
                  </a:lnTo>
                  <a:lnTo>
                    <a:pt x="61" y="49"/>
                  </a:lnTo>
                  <a:lnTo>
                    <a:pt x="64" y="49"/>
                  </a:lnTo>
                  <a:close/>
                  <a:moveTo>
                    <a:pt x="24" y="54"/>
                  </a:moveTo>
                  <a:lnTo>
                    <a:pt x="24" y="54"/>
                  </a:lnTo>
                  <a:lnTo>
                    <a:pt x="24" y="52"/>
                  </a:lnTo>
                  <a:lnTo>
                    <a:pt x="21" y="52"/>
                  </a:lnTo>
                  <a:lnTo>
                    <a:pt x="21" y="52"/>
                  </a:lnTo>
                  <a:lnTo>
                    <a:pt x="21" y="52"/>
                  </a:lnTo>
                  <a:lnTo>
                    <a:pt x="24" y="49"/>
                  </a:lnTo>
                  <a:lnTo>
                    <a:pt x="24" y="47"/>
                  </a:lnTo>
                  <a:lnTo>
                    <a:pt x="24" y="47"/>
                  </a:lnTo>
                  <a:lnTo>
                    <a:pt x="24" y="45"/>
                  </a:lnTo>
                  <a:lnTo>
                    <a:pt x="21" y="42"/>
                  </a:lnTo>
                  <a:lnTo>
                    <a:pt x="24" y="42"/>
                  </a:lnTo>
                  <a:lnTo>
                    <a:pt x="26" y="42"/>
                  </a:lnTo>
                  <a:lnTo>
                    <a:pt x="26" y="40"/>
                  </a:lnTo>
                  <a:lnTo>
                    <a:pt x="28" y="40"/>
                  </a:lnTo>
                  <a:lnTo>
                    <a:pt x="28" y="38"/>
                  </a:lnTo>
                  <a:lnTo>
                    <a:pt x="28" y="38"/>
                  </a:lnTo>
                  <a:lnTo>
                    <a:pt x="28" y="38"/>
                  </a:lnTo>
                  <a:lnTo>
                    <a:pt x="28" y="38"/>
                  </a:lnTo>
                  <a:lnTo>
                    <a:pt x="28" y="35"/>
                  </a:lnTo>
                  <a:lnTo>
                    <a:pt x="31" y="35"/>
                  </a:lnTo>
                  <a:lnTo>
                    <a:pt x="31" y="35"/>
                  </a:lnTo>
                  <a:lnTo>
                    <a:pt x="31" y="35"/>
                  </a:lnTo>
                  <a:lnTo>
                    <a:pt x="33" y="33"/>
                  </a:lnTo>
                  <a:lnTo>
                    <a:pt x="33" y="28"/>
                  </a:lnTo>
                  <a:lnTo>
                    <a:pt x="36" y="28"/>
                  </a:lnTo>
                  <a:lnTo>
                    <a:pt x="36" y="28"/>
                  </a:lnTo>
                  <a:lnTo>
                    <a:pt x="38" y="31"/>
                  </a:lnTo>
                  <a:lnTo>
                    <a:pt x="38" y="31"/>
                  </a:lnTo>
                  <a:lnTo>
                    <a:pt x="40" y="28"/>
                  </a:lnTo>
                  <a:lnTo>
                    <a:pt x="43" y="28"/>
                  </a:lnTo>
                  <a:lnTo>
                    <a:pt x="43" y="26"/>
                  </a:lnTo>
                  <a:lnTo>
                    <a:pt x="43" y="26"/>
                  </a:lnTo>
                  <a:lnTo>
                    <a:pt x="43" y="23"/>
                  </a:lnTo>
                  <a:lnTo>
                    <a:pt x="43" y="23"/>
                  </a:lnTo>
                  <a:lnTo>
                    <a:pt x="36" y="23"/>
                  </a:lnTo>
                  <a:lnTo>
                    <a:pt x="36" y="23"/>
                  </a:lnTo>
                  <a:lnTo>
                    <a:pt x="33" y="21"/>
                  </a:lnTo>
                  <a:lnTo>
                    <a:pt x="33" y="19"/>
                  </a:lnTo>
                  <a:lnTo>
                    <a:pt x="33" y="16"/>
                  </a:lnTo>
                  <a:lnTo>
                    <a:pt x="33" y="14"/>
                  </a:lnTo>
                  <a:lnTo>
                    <a:pt x="33" y="14"/>
                  </a:lnTo>
                  <a:lnTo>
                    <a:pt x="36" y="9"/>
                  </a:lnTo>
                  <a:lnTo>
                    <a:pt x="38" y="9"/>
                  </a:lnTo>
                  <a:lnTo>
                    <a:pt x="38" y="7"/>
                  </a:lnTo>
                  <a:lnTo>
                    <a:pt x="38" y="5"/>
                  </a:lnTo>
                  <a:lnTo>
                    <a:pt x="36" y="2"/>
                  </a:lnTo>
                  <a:lnTo>
                    <a:pt x="36" y="2"/>
                  </a:lnTo>
                  <a:lnTo>
                    <a:pt x="36" y="0"/>
                  </a:lnTo>
                  <a:lnTo>
                    <a:pt x="38" y="0"/>
                  </a:lnTo>
                  <a:lnTo>
                    <a:pt x="38" y="0"/>
                  </a:lnTo>
                  <a:lnTo>
                    <a:pt x="33" y="2"/>
                  </a:lnTo>
                  <a:lnTo>
                    <a:pt x="28" y="2"/>
                  </a:lnTo>
                  <a:lnTo>
                    <a:pt x="26" y="5"/>
                  </a:lnTo>
                  <a:lnTo>
                    <a:pt x="21" y="9"/>
                  </a:lnTo>
                  <a:lnTo>
                    <a:pt x="21" y="9"/>
                  </a:lnTo>
                  <a:lnTo>
                    <a:pt x="19" y="12"/>
                  </a:lnTo>
                  <a:lnTo>
                    <a:pt x="14" y="12"/>
                  </a:lnTo>
                  <a:lnTo>
                    <a:pt x="12" y="12"/>
                  </a:lnTo>
                  <a:lnTo>
                    <a:pt x="12" y="12"/>
                  </a:lnTo>
                  <a:lnTo>
                    <a:pt x="7" y="12"/>
                  </a:lnTo>
                  <a:lnTo>
                    <a:pt x="5" y="14"/>
                  </a:lnTo>
                  <a:lnTo>
                    <a:pt x="3" y="16"/>
                  </a:lnTo>
                  <a:lnTo>
                    <a:pt x="3" y="16"/>
                  </a:lnTo>
                  <a:lnTo>
                    <a:pt x="3" y="19"/>
                  </a:lnTo>
                  <a:lnTo>
                    <a:pt x="3" y="19"/>
                  </a:lnTo>
                  <a:lnTo>
                    <a:pt x="5" y="21"/>
                  </a:lnTo>
                  <a:lnTo>
                    <a:pt x="7" y="19"/>
                  </a:lnTo>
                  <a:lnTo>
                    <a:pt x="10" y="19"/>
                  </a:lnTo>
                  <a:lnTo>
                    <a:pt x="12" y="16"/>
                  </a:lnTo>
                  <a:lnTo>
                    <a:pt x="14" y="14"/>
                  </a:lnTo>
                  <a:lnTo>
                    <a:pt x="14" y="14"/>
                  </a:lnTo>
                  <a:lnTo>
                    <a:pt x="17" y="14"/>
                  </a:lnTo>
                  <a:lnTo>
                    <a:pt x="17" y="16"/>
                  </a:lnTo>
                  <a:lnTo>
                    <a:pt x="17" y="19"/>
                  </a:lnTo>
                  <a:lnTo>
                    <a:pt x="17" y="19"/>
                  </a:lnTo>
                  <a:lnTo>
                    <a:pt x="14" y="19"/>
                  </a:lnTo>
                  <a:lnTo>
                    <a:pt x="14" y="19"/>
                  </a:lnTo>
                  <a:lnTo>
                    <a:pt x="12" y="19"/>
                  </a:lnTo>
                  <a:lnTo>
                    <a:pt x="10" y="21"/>
                  </a:lnTo>
                  <a:lnTo>
                    <a:pt x="10" y="23"/>
                  </a:lnTo>
                  <a:lnTo>
                    <a:pt x="10" y="23"/>
                  </a:lnTo>
                  <a:lnTo>
                    <a:pt x="7" y="23"/>
                  </a:lnTo>
                  <a:lnTo>
                    <a:pt x="7" y="23"/>
                  </a:lnTo>
                  <a:lnTo>
                    <a:pt x="5" y="23"/>
                  </a:lnTo>
                  <a:lnTo>
                    <a:pt x="3" y="21"/>
                  </a:lnTo>
                  <a:lnTo>
                    <a:pt x="3" y="21"/>
                  </a:lnTo>
                  <a:lnTo>
                    <a:pt x="0" y="21"/>
                  </a:lnTo>
                  <a:lnTo>
                    <a:pt x="0" y="28"/>
                  </a:lnTo>
                  <a:lnTo>
                    <a:pt x="0" y="31"/>
                  </a:lnTo>
                  <a:lnTo>
                    <a:pt x="0" y="33"/>
                  </a:lnTo>
                  <a:lnTo>
                    <a:pt x="0" y="35"/>
                  </a:lnTo>
                  <a:lnTo>
                    <a:pt x="0" y="42"/>
                  </a:lnTo>
                  <a:lnTo>
                    <a:pt x="3" y="42"/>
                  </a:lnTo>
                  <a:lnTo>
                    <a:pt x="7" y="45"/>
                  </a:lnTo>
                  <a:lnTo>
                    <a:pt x="7" y="47"/>
                  </a:lnTo>
                  <a:lnTo>
                    <a:pt x="7" y="49"/>
                  </a:lnTo>
                  <a:lnTo>
                    <a:pt x="7" y="52"/>
                  </a:lnTo>
                  <a:lnTo>
                    <a:pt x="7" y="52"/>
                  </a:lnTo>
                  <a:lnTo>
                    <a:pt x="7" y="54"/>
                  </a:lnTo>
                  <a:lnTo>
                    <a:pt x="7" y="54"/>
                  </a:lnTo>
                  <a:lnTo>
                    <a:pt x="7" y="54"/>
                  </a:lnTo>
                  <a:lnTo>
                    <a:pt x="12" y="54"/>
                  </a:lnTo>
                  <a:lnTo>
                    <a:pt x="12" y="57"/>
                  </a:lnTo>
                  <a:lnTo>
                    <a:pt x="17" y="57"/>
                  </a:lnTo>
                  <a:lnTo>
                    <a:pt x="17" y="57"/>
                  </a:lnTo>
                  <a:lnTo>
                    <a:pt x="19" y="57"/>
                  </a:lnTo>
                  <a:lnTo>
                    <a:pt x="21" y="57"/>
                  </a:lnTo>
                  <a:lnTo>
                    <a:pt x="24" y="57"/>
                  </a:lnTo>
                  <a:lnTo>
                    <a:pt x="24" y="57"/>
                  </a:lnTo>
                  <a:lnTo>
                    <a:pt x="24" y="57"/>
                  </a:lnTo>
                  <a:lnTo>
                    <a:pt x="24" y="57"/>
                  </a:lnTo>
                  <a:lnTo>
                    <a:pt x="24" y="54"/>
                  </a:lnTo>
                  <a:lnTo>
                    <a:pt x="24"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2" name="Freeform 358"/>
            <p:cNvSpPr>
              <a:spLocks/>
            </p:cNvSpPr>
            <p:nvPr userDrawn="1"/>
          </p:nvSpPr>
          <p:spPr bwMode="auto">
            <a:xfrm>
              <a:off x="3879" y="2697"/>
              <a:ext cx="356" cy="394"/>
            </a:xfrm>
            <a:custGeom>
              <a:avLst/>
              <a:gdLst>
                <a:gd name="T0" fmla="*/ 344 w 356"/>
                <a:gd name="T1" fmla="*/ 59 h 394"/>
                <a:gd name="T2" fmla="*/ 347 w 356"/>
                <a:gd name="T3" fmla="*/ 42 h 394"/>
                <a:gd name="T4" fmla="*/ 342 w 356"/>
                <a:gd name="T5" fmla="*/ 35 h 394"/>
                <a:gd name="T6" fmla="*/ 328 w 356"/>
                <a:gd name="T7" fmla="*/ 16 h 394"/>
                <a:gd name="T8" fmla="*/ 307 w 356"/>
                <a:gd name="T9" fmla="*/ 16 h 394"/>
                <a:gd name="T10" fmla="*/ 292 w 356"/>
                <a:gd name="T11" fmla="*/ 14 h 394"/>
                <a:gd name="T12" fmla="*/ 276 w 356"/>
                <a:gd name="T13" fmla="*/ 2 h 394"/>
                <a:gd name="T14" fmla="*/ 245 w 356"/>
                <a:gd name="T15" fmla="*/ 0 h 394"/>
                <a:gd name="T16" fmla="*/ 217 w 356"/>
                <a:gd name="T17" fmla="*/ 9 h 394"/>
                <a:gd name="T18" fmla="*/ 196 w 356"/>
                <a:gd name="T19" fmla="*/ 14 h 394"/>
                <a:gd name="T20" fmla="*/ 170 w 356"/>
                <a:gd name="T21" fmla="*/ 18 h 394"/>
                <a:gd name="T22" fmla="*/ 146 w 356"/>
                <a:gd name="T23" fmla="*/ 7 h 394"/>
                <a:gd name="T24" fmla="*/ 118 w 356"/>
                <a:gd name="T25" fmla="*/ 21 h 394"/>
                <a:gd name="T26" fmla="*/ 109 w 356"/>
                <a:gd name="T27" fmla="*/ 68 h 394"/>
                <a:gd name="T28" fmla="*/ 104 w 356"/>
                <a:gd name="T29" fmla="*/ 122 h 394"/>
                <a:gd name="T30" fmla="*/ 80 w 356"/>
                <a:gd name="T31" fmla="*/ 153 h 394"/>
                <a:gd name="T32" fmla="*/ 66 w 356"/>
                <a:gd name="T33" fmla="*/ 196 h 394"/>
                <a:gd name="T34" fmla="*/ 45 w 356"/>
                <a:gd name="T35" fmla="*/ 215 h 394"/>
                <a:gd name="T36" fmla="*/ 43 w 356"/>
                <a:gd name="T37" fmla="*/ 205 h 394"/>
                <a:gd name="T38" fmla="*/ 31 w 356"/>
                <a:gd name="T39" fmla="*/ 205 h 394"/>
                <a:gd name="T40" fmla="*/ 24 w 356"/>
                <a:gd name="T41" fmla="*/ 212 h 394"/>
                <a:gd name="T42" fmla="*/ 17 w 356"/>
                <a:gd name="T43" fmla="*/ 210 h 394"/>
                <a:gd name="T44" fmla="*/ 7 w 356"/>
                <a:gd name="T45" fmla="*/ 219 h 394"/>
                <a:gd name="T46" fmla="*/ 5 w 356"/>
                <a:gd name="T47" fmla="*/ 238 h 394"/>
                <a:gd name="T48" fmla="*/ 21 w 356"/>
                <a:gd name="T49" fmla="*/ 234 h 394"/>
                <a:gd name="T50" fmla="*/ 61 w 356"/>
                <a:gd name="T51" fmla="*/ 234 h 394"/>
                <a:gd name="T52" fmla="*/ 85 w 356"/>
                <a:gd name="T53" fmla="*/ 243 h 394"/>
                <a:gd name="T54" fmla="*/ 92 w 356"/>
                <a:gd name="T55" fmla="*/ 267 h 394"/>
                <a:gd name="T56" fmla="*/ 109 w 356"/>
                <a:gd name="T57" fmla="*/ 281 h 394"/>
                <a:gd name="T58" fmla="*/ 135 w 356"/>
                <a:gd name="T59" fmla="*/ 274 h 394"/>
                <a:gd name="T60" fmla="*/ 149 w 356"/>
                <a:gd name="T61" fmla="*/ 257 h 394"/>
                <a:gd name="T62" fmla="*/ 172 w 356"/>
                <a:gd name="T63" fmla="*/ 264 h 394"/>
                <a:gd name="T64" fmla="*/ 179 w 356"/>
                <a:gd name="T65" fmla="*/ 300 h 394"/>
                <a:gd name="T66" fmla="*/ 186 w 356"/>
                <a:gd name="T67" fmla="*/ 333 h 394"/>
                <a:gd name="T68" fmla="*/ 189 w 356"/>
                <a:gd name="T69" fmla="*/ 347 h 394"/>
                <a:gd name="T70" fmla="*/ 212 w 356"/>
                <a:gd name="T71" fmla="*/ 342 h 394"/>
                <a:gd name="T72" fmla="*/ 222 w 356"/>
                <a:gd name="T73" fmla="*/ 345 h 394"/>
                <a:gd name="T74" fmla="*/ 231 w 356"/>
                <a:gd name="T75" fmla="*/ 349 h 394"/>
                <a:gd name="T76" fmla="*/ 243 w 356"/>
                <a:gd name="T77" fmla="*/ 354 h 394"/>
                <a:gd name="T78" fmla="*/ 262 w 356"/>
                <a:gd name="T79" fmla="*/ 364 h 394"/>
                <a:gd name="T80" fmla="*/ 276 w 356"/>
                <a:gd name="T81" fmla="*/ 357 h 394"/>
                <a:gd name="T82" fmla="*/ 288 w 356"/>
                <a:gd name="T83" fmla="*/ 371 h 394"/>
                <a:gd name="T84" fmla="*/ 304 w 356"/>
                <a:gd name="T85" fmla="*/ 383 h 394"/>
                <a:gd name="T86" fmla="*/ 316 w 356"/>
                <a:gd name="T87" fmla="*/ 392 h 394"/>
                <a:gd name="T88" fmla="*/ 325 w 356"/>
                <a:gd name="T89" fmla="*/ 394 h 394"/>
                <a:gd name="T90" fmla="*/ 323 w 356"/>
                <a:gd name="T91" fmla="*/ 368 h 394"/>
                <a:gd name="T92" fmla="*/ 311 w 356"/>
                <a:gd name="T93" fmla="*/ 371 h 394"/>
                <a:gd name="T94" fmla="*/ 299 w 356"/>
                <a:gd name="T95" fmla="*/ 354 h 394"/>
                <a:gd name="T96" fmla="*/ 304 w 356"/>
                <a:gd name="T97" fmla="*/ 321 h 394"/>
                <a:gd name="T98" fmla="*/ 309 w 356"/>
                <a:gd name="T99" fmla="*/ 297 h 394"/>
                <a:gd name="T100" fmla="*/ 337 w 356"/>
                <a:gd name="T101" fmla="*/ 286 h 394"/>
                <a:gd name="T102" fmla="*/ 335 w 356"/>
                <a:gd name="T103" fmla="*/ 260 h 394"/>
                <a:gd name="T104" fmla="*/ 321 w 356"/>
                <a:gd name="T105" fmla="*/ 236 h 394"/>
                <a:gd name="T106" fmla="*/ 318 w 356"/>
                <a:gd name="T107" fmla="*/ 212 h 394"/>
                <a:gd name="T108" fmla="*/ 316 w 356"/>
                <a:gd name="T109" fmla="*/ 182 h 394"/>
                <a:gd name="T110" fmla="*/ 311 w 356"/>
                <a:gd name="T111" fmla="*/ 167 h 394"/>
                <a:gd name="T112" fmla="*/ 316 w 356"/>
                <a:gd name="T113" fmla="*/ 151 h 394"/>
                <a:gd name="T114" fmla="*/ 323 w 356"/>
                <a:gd name="T115" fmla="*/ 134 h 394"/>
                <a:gd name="T116" fmla="*/ 328 w 356"/>
                <a:gd name="T117" fmla="*/ 108 h 394"/>
                <a:gd name="T118" fmla="*/ 335 w 356"/>
                <a:gd name="T119" fmla="*/ 8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94">
                  <a:moveTo>
                    <a:pt x="354" y="63"/>
                  </a:moveTo>
                  <a:lnTo>
                    <a:pt x="354" y="63"/>
                  </a:lnTo>
                  <a:lnTo>
                    <a:pt x="354" y="63"/>
                  </a:lnTo>
                  <a:lnTo>
                    <a:pt x="354" y="63"/>
                  </a:lnTo>
                  <a:lnTo>
                    <a:pt x="351" y="63"/>
                  </a:lnTo>
                  <a:lnTo>
                    <a:pt x="351" y="61"/>
                  </a:lnTo>
                  <a:lnTo>
                    <a:pt x="349" y="61"/>
                  </a:lnTo>
                  <a:lnTo>
                    <a:pt x="349" y="61"/>
                  </a:lnTo>
                  <a:lnTo>
                    <a:pt x="347" y="61"/>
                  </a:lnTo>
                  <a:lnTo>
                    <a:pt x="344" y="59"/>
                  </a:lnTo>
                  <a:lnTo>
                    <a:pt x="344" y="56"/>
                  </a:lnTo>
                  <a:lnTo>
                    <a:pt x="347" y="54"/>
                  </a:lnTo>
                  <a:lnTo>
                    <a:pt x="347" y="52"/>
                  </a:lnTo>
                  <a:lnTo>
                    <a:pt x="347" y="49"/>
                  </a:lnTo>
                  <a:lnTo>
                    <a:pt x="347" y="49"/>
                  </a:lnTo>
                  <a:lnTo>
                    <a:pt x="347" y="49"/>
                  </a:lnTo>
                  <a:lnTo>
                    <a:pt x="347" y="47"/>
                  </a:lnTo>
                  <a:lnTo>
                    <a:pt x="344" y="47"/>
                  </a:lnTo>
                  <a:lnTo>
                    <a:pt x="347" y="44"/>
                  </a:lnTo>
                  <a:lnTo>
                    <a:pt x="347" y="42"/>
                  </a:lnTo>
                  <a:lnTo>
                    <a:pt x="347" y="40"/>
                  </a:lnTo>
                  <a:lnTo>
                    <a:pt x="349" y="40"/>
                  </a:lnTo>
                  <a:lnTo>
                    <a:pt x="349" y="37"/>
                  </a:lnTo>
                  <a:lnTo>
                    <a:pt x="347" y="37"/>
                  </a:lnTo>
                  <a:lnTo>
                    <a:pt x="347" y="35"/>
                  </a:lnTo>
                  <a:lnTo>
                    <a:pt x="347" y="35"/>
                  </a:lnTo>
                  <a:lnTo>
                    <a:pt x="344" y="35"/>
                  </a:lnTo>
                  <a:lnTo>
                    <a:pt x="344" y="33"/>
                  </a:lnTo>
                  <a:lnTo>
                    <a:pt x="344" y="35"/>
                  </a:lnTo>
                  <a:lnTo>
                    <a:pt x="342" y="35"/>
                  </a:lnTo>
                  <a:lnTo>
                    <a:pt x="342" y="33"/>
                  </a:lnTo>
                  <a:lnTo>
                    <a:pt x="342" y="33"/>
                  </a:lnTo>
                  <a:lnTo>
                    <a:pt x="342" y="30"/>
                  </a:lnTo>
                  <a:lnTo>
                    <a:pt x="340" y="30"/>
                  </a:lnTo>
                  <a:lnTo>
                    <a:pt x="340" y="28"/>
                  </a:lnTo>
                  <a:lnTo>
                    <a:pt x="335" y="26"/>
                  </a:lnTo>
                  <a:lnTo>
                    <a:pt x="332" y="23"/>
                  </a:lnTo>
                  <a:lnTo>
                    <a:pt x="330" y="21"/>
                  </a:lnTo>
                  <a:lnTo>
                    <a:pt x="328" y="18"/>
                  </a:lnTo>
                  <a:lnTo>
                    <a:pt x="328" y="16"/>
                  </a:lnTo>
                  <a:lnTo>
                    <a:pt x="325" y="14"/>
                  </a:lnTo>
                  <a:lnTo>
                    <a:pt x="323" y="14"/>
                  </a:lnTo>
                  <a:lnTo>
                    <a:pt x="321" y="14"/>
                  </a:lnTo>
                  <a:lnTo>
                    <a:pt x="321" y="16"/>
                  </a:lnTo>
                  <a:lnTo>
                    <a:pt x="316" y="18"/>
                  </a:lnTo>
                  <a:lnTo>
                    <a:pt x="316" y="18"/>
                  </a:lnTo>
                  <a:lnTo>
                    <a:pt x="314" y="16"/>
                  </a:lnTo>
                  <a:lnTo>
                    <a:pt x="311" y="16"/>
                  </a:lnTo>
                  <a:lnTo>
                    <a:pt x="307" y="16"/>
                  </a:lnTo>
                  <a:lnTo>
                    <a:pt x="307" y="16"/>
                  </a:lnTo>
                  <a:lnTo>
                    <a:pt x="304" y="18"/>
                  </a:lnTo>
                  <a:lnTo>
                    <a:pt x="302" y="18"/>
                  </a:lnTo>
                  <a:lnTo>
                    <a:pt x="302" y="18"/>
                  </a:lnTo>
                  <a:lnTo>
                    <a:pt x="299" y="18"/>
                  </a:lnTo>
                  <a:lnTo>
                    <a:pt x="299" y="18"/>
                  </a:lnTo>
                  <a:lnTo>
                    <a:pt x="297" y="18"/>
                  </a:lnTo>
                  <a:lnTo>
                    <a:pt x="295" y="18"/>
                  </a:lnTo>
                  <a:lnTo>
                    <a:pt x="295" y="16"/>
                  </a:lnTo>
                  <a:lnTo>
                    <a:pt x="295" y="16"/>
                  </a:lnTo>
                  <a:lnTo>
                    <a:pt x="292" y="14"/>
                  </a:lnTo>
                  <a:lnTo>
                    <a:pt x="290" y="14"/>
                  </a:lnTo>
                  <a:lnTo>
                    <a:pt x="290" y="14"/>
                  </a:lnTo>
                  <a:lnTo>
                    <a:pt x="290" y="11"/>
                  </a:lnTo>
                  <a:lnTo>
                    <a:pt x="288" y="9"/>
                  </a:lnTo>
                  <a:lnTo>
                    <a:pt x="288" y="9"/>
                  </a:lnTo>
                  <a:lnTo>
                    <a:pt x="285" y="7"/>
                  </a:lnTo>
                  <a:lnTo>
                    <a:pt x="283" y="4"/>
                  </a:lnTo>
                  <a:lnTo>
                    <a:pt x="283" y="2"/>
                  </a:lnTo>
                  <a:lnTo>
                    <a:pt x="278" y="2"/>
                  </a:lnTo>
                  <a:lnTo>
                    <a:pt x="276" y="2"/>
                  </a:lnTo>
                  <a:lnTo>
                    <a:pt x="276" y="2"/>
                  </a:lnTo>
                  <a:lnTo>
                    <a:pt x="274" y="4"/>
                  </a:lnTo>
                  <a:lnTo>
                    <a:pt x="271" y="4"/>
                  </a:lnTo>
                  <a:lnTo>
                    <a:pt x="271" y="4"/>
                  </a:lnTo>
                  <a:lnTo>
                    <a:pt x="269" y="4"/>
                  </a:lnTo>
                  <a:lnTo>
                    <a:pt x="259" y="2"/>
                  </a:lnTo>
                  <a:lnTo>
                    <a:pt x="252" y="0"/>
                  </a:lnTo>
                  <a:lnTo>
                    <a:pt x="252" y="0"/>
                  </a:lnTo>
                  <a:lnTo>
                    <a:pt x="248" y="0"/>
                  </a:lnTo>
                  <a:lnTo>
                    <a:pt x="245" y="0"/>
                  </a:lnTo>
                  <a:lnTo>
                    <a:pt x="243" y="4"/>
                  </a:lnTo>
                  <a:lnTo>
                    <a:pt x="243" y="4"/>
                  </a:lnTo>
                  <a:lnTo>
                    <a:pt x="241" y="7"/>
                  </a:lnTo>
                  <a:lnTo>
                    <a:pt x="238" y="7"/>
                  </a:lnTo>
                  <a:lnTo>
                    <a:pt x="234" y="7"/>
                  </a:lnTo>
                  <a:lnTo>
                    <a:pt x="229" y="4"/>
                  </a:lnTo>
                  <a:lnTo>
                    <a:pt x="226" y="4"/>
                  </a:lnTo>
                  <a:lnTo>
                    <a:pt x="224" y="7"/>
                  </a:lnTo>
                  <a:lnTo>
                    <a:pt x="219" y="9"/>
                  </a:lnTo>
                  <a:lnTo>
                    <a:pt x="217" y="9"/>
                  </a:lnTo>
                  <a:lnTo>
                    <a:pt x="215" y="9"/>
                  </a:lnTo>
                  <a:lnTo>
                    <a:pt x="210" y="11"/>
                  </a:lnTo>
                  <a:lnTo>
                    <a:pt x="210" y="11"/>
                  </a:lnTo>
                  <a:lnTo>
                    <a:pt x="208" y="11"/>
                  </a:lnTo>
                  <a:lnTo>
                    <a:pt x="205" y="11"/>
                  </a:lnTo>
                  <a:lnTo>
                    <a:pt x="203" y="11"/>
                  </a:lnTo>
                  <a:lnTo>
                    <a:pt x="201" y="11"/>
                  </a:lnTo>
                  <a:lnTo>
                    <a:pt x="198" y="11"/>
                  </a:lnTo>
                  <a:lnTo>
                    <a:pt x="196" y="14"/>
                  </a:lnTo>
                  <a:lnTo>
                    <a:pt x="196" y="14"/>
                  </a:lnTo>
                  <a:lnTo>
                    <a:pt x="193" y="16"/>
                  </a:lnTo>
                  <a:lnTo>
                    <a:pt x="191" y="21"/>
                  </a:lnTo>
                  <a:lnTo>
                    <a:pt x="191" y="23"/>
                  </a:lnTo>
                  <a:lnTo>
                    <a:pt x="191" y="23"/>
                  </a:lnTo>
                  <a:lnTo>
                    <a:pt x="191" y="23"/>
                  </a:lnTo>
                  <a:lnTo>
                    <a:pt x="182" y="21"/>
                  </a:lnTo>
                  <a:lnTo>
                    <a:pt x="177" y="21"/>
                  </a:lnTo>
                  <a:lnTo>
                    <a:pt x="175" y="21"/>
                  </a:lnTo>
                  <a:lnTo>
                    <a:pt x="170" y="21"/>
                  </a:lnTo>
                  <a:lnTo>
                    <a:pt x="170" y="18"/>
                  </a:lnTo>
                  <a:lnTo>
                    <a:pt x="168" y="21"/>
                  </a:lnTo>
                  <a:lnTo>
                    <a:pt x="168" y="18"/>
                  </a:lnTo>
                  <a:lnTo>
                    <a:pt x="163" y="18"/>
                  </a:lnTo>
                  <a:lnTo>
                    <a:pt x="160" y="16"/>
                  </a:lnTo>
                  <a:lnTo>
                    <a:pt x="158" y="16"/>
                  </a:lnTo>
                  <a:lnTo>
                    <a:pt x="156" y="16"/>
                  </a:lnTo>
                  <a:lnTo>
                    <a:pt x="153" y="14"/>
                  </a:lnTo>
                  <a:lnTo>
                    <a:pt x="153" y="11"/>
                  </a:lnTo>
                  <a:lnTo>
                    <a:pt x="149" y="9"/>
                  </a:lnTo>
                  <a:lnTo>
                    <a:pt x="146" y="7"/>
                  </a:lnTo>
                  <a:lnTo>
                    <a:pt x="144" y="4"/>
                  </a:lnTo>
                  <a:lnTo>
                    <a:pt x="142" y="4"/>
                  </a:lnTo>
                  <a:lnTo>
                    <a:pt x="139" y="2"/>
                  </a:lnTo>
                  <a:lnTo>
                    <a:pt x="137" y="2"/>
                  </a:lnTo>
                  <a:lnTo>
                    <a:pt x="132" y="4"/>
                  </a:lnTo>
                  <a:lnTo>
                    <a:pt x="127" y="7"/>
                  </a:lnTo>
                  <a:lnTo>
                    <a:pt x="123" y="16"/>
                  </a:lnTo>
                  <a:lnTo>
                    <a:pt x="120" y="18"/>
                  </a:lnTo>
                  <a:lnTo>
                    <a:pt x="120" y="18"/>
                  </a:lnTo>
                  <a:lnTo>
                    <a:pt x="118" y="21"/>
                  </a:lnTo>
                  <a:lnTo>
                    <a:pt x="120" y="23"/>
                  </a:lnTo>
                  <a:lnTo>
                    <a:pt x="120" y="28"/>
                  </a:lnTo>
                  <a:lnTo>
                    <a:pt x="120" y="33"/>
                  </a:lnTo>
                  <a:lnTo>
                    <a:pt x="120" y="37"/>
                  </a:lnTo>
                  <a:lnTo>
                    <a:pt x="120" y="42"/>
                  </a:lnTo>
                  <a:lnTo>
                    <a:pt x="118" y="44"/>
                  </a:lnTo>
                  <a:lnTo>
                    <a:pt x="118" y="49"/>
                  </a:lnTo>
                  <a:lnTo>
                    <a:pt x="116" y="54"/>
                  </a:lnTo>
                  <a:lnTo>
                    <a:pt x="113" y="59"/>
                  </a:lnTo>
                  <a:lnTo>
                    <a:pt x="109" y="68"/>
                  </a:lnTo>
                  <a:lnTo>
                    <a:pt x="111" y="75"/>
                  </a:lnTo>
                  <a:lnTo>
                    <a:pt x="109" y="78"/>
                  </a:lnTo>
                  <a:lnTo>
                    <a:pt x="109" y="80"/>
                  </a:lnTo>
                  <a:lnTo>
                    <a:pt x="106" y="87"/>
                  </a:lnTo>
                  <a:lnTo>
                    <a:pt x="106" y="92"/>
                  </a:lnTo>
                  <a:lnTo>
                    <a:pt x="106" y="99"/>
                  </a:lnTo>
                  <a:lnTo>
                    <a:pt x="106" y="106"/>
                  </a:lnTo>
                  <a:lnTo>
                    <a:pt x="104" y="111"/>
                  </a:lnTo>
                  <a:lnTo>
                    <a:pt x="104" y="118"/>
                  </a:lnTo>
                  <a:lnTo>
                    <a:pt x="104" y="122"/>
                  </a:lnTo>
                  <a:lnTo>
                    <a:pt x="99" y="127"/>
                  </a:lnTo>
                  <a:lnTo>
                    <a:pt x="94" y="132"/>
                  </a:lnTo>
                  <a:lnTo>
                    <a:pt x="92" y="134"/>
                  </a:lnTo>
                  <a:lnTo>
                    <a:pt x="90" y="134"/>
                  </a:lnTo>
                  <a:lnTo>
                    <a:pt x="87" y="137"/>
                  </a:lnTo>
                  <a:lnTo>
                    <a:pt x="87" y="137"/>
                  </a:lnTo>
                  <a:lnTo>
                    <a:pt x="85" y="139"/>
                  </a:lnTo>
                  <a:lnTo>
                    <a:pt x="83" y="146"/>
                  </a:lnTo>
                  <a:lnTo>
                    <a:pt x="80" y="149"/>
                  </a:lnTo>
                  <a:lnTo>
                    <a:pt x="80" y="153"/>
                  </a:lnTo>
                  <a:lnTo>
                    <a:pt x="76" y="156"/>
                  </a:lnTo>
                  <a:lnTo>
                    <a:pt x="76" y="156"/>
                  </a:lnTo>
                  <a:lnTo>
                    <a:pt x="76" y="158"/>
                  </a:lnTo>
                  <a:lnTo>
                    <a:pt x="76" y="163"/>
                  </a:lnTo>
                  <a:lnTo>
                    <a:pt x="76" y="175"/>
                  </a:lnTo>
                  <a:lnTo>
                    <a:pt x="76" y="179"/>
                  </a:lnTo>
                  <a:lnTo>
                    <a:pt x="73" y="184"/>
                  </a:lnTo>
                  <a:lnTo>
                    <a:pt x="71" y="191"/>
                  </a:lnTo>
                  <a:lnTo>
                    <a:pt x="69" y="193"/>
                  </a:lnTo>
                  <a:lnTo>
                    <a:pt x="66" y="196"/>
                  </a:lnTo>
                  <a:lnTo>
                    <a:pt x="64" y="196"/>
                  </a:lnTo>
                  <a:lnTo>
                    <a:pt x="61" y="198"/>
                  </a:lnTo>
                  <a:lnTo>
                    <a:pt x="61" y="198"/>
                  </a:lnTo>
                  <a:lnTo>
                    <a:pt x="59" y="201"/>
                  </a:lnTo>
                  <a:lnTo>
                    <a:pt x="57" y="201"/>
                  </a:lnTo>
                  <a:lnTo>
                    <a:pt x="54" y="205"/>
                  </a:lnTo>
                  <a:lnTo>
                    <a:pt x="52" y="210"/>
                  </a:lnTo>
                  <a:lnTo>
                    <a:pt x="47" y="212"/>
                  </a:lnTo>
                  <a:lnTo>
                    <a:pt x="47" y="215"/>
                  </a:lnTo>
                  <a:lnTo>
                    <a:pt x="45" y="215"/>
                  </a:lnTo>
                  <a:lnTo>
                    <a:pt x="45" y="212"/>
                  </a:lnTo>
                  <a:lnTo>
                    <a:pt x="43" y="212"/>
                  </a:lnTo>
                  <a:lnTo>
                    <a:pt x="43" y="212"/>
                  </a:lnTo>
                  <a:lnTo>
                    <a:pt x="43" y="212"/>
                  </a:lnTo>
                  <a:lnTo>
                    <a:pt x="43" y="212"/>
                  </a:lnTo>
                  <a:lnTo>
                    <a:pt x="43" y="212"/>
                  </a:lnTo>
                  <a:lnTo>
                    <a:pt x="43" y="210"/>
                  </a:lnTo>
                  <a:lnTo>
                    <a:pt x="40" y="208"/>
                  </a:lnTo>
                  <a:lnTo>
                    <a:pt x="43" y="205"/>
                  </a:lnTo>
                  <a:lnTo>
                    <a:pt x="43" y="205"/>
                  </a:lnTo>
                  <a:lnTo>
                    <a:pt x="43" y="203"/>
                  </a:lnTo>
                  <a:lnTo>
                    <a:pt x="43" y="203"/>
                  </a:lnTo>
                  <a:lnTo>
                    <a:pt x="40" y="201"/>
                  </a:lnTo>
                  <a:lnTo>
                    <a:pt x="40" y="201"/>
                  </a:lnTo>
                  <a:lnTo>
                    <a:pt x="38" y="203"/>
                  </a:lnTo>
                  <a:lnTo>
                    <a:pt x="36" y="203"/>
                  </a:lnTo>
                  <a:lnTo>
                    <a:pt x="36" y="203"/>
                  </a:lnTo>
                  <a:lnTo>
                    <a:pt x="33" y="205"/>
                  </a:lnTo>
                  <a:lnTo>
                    <a:pt x="33" y="205"/>
                  </a:lnTo>
                  <a:lnTo>
                    <a:pt x="31" y="205"/>
                  </a:lnTo>
                  <a:lnTo>
                    <a:pt x="31" y="205"/>
                  </a:lnTo>
                  <a:lnTo>
                    <a:pt x="31" y="205"/>
                  </a:lnTo>
                  <a:lnTo>
                    <a:pt x="28" y="205"/>
                  </a:lnTo>
                  <a:lnTo>
                    <a:pt x="28" y="205"/>
                  </a:lnTo>
                  <a:lnTo>
                    <a:pt x="28" y="208"/>
                  </a:lnTo>
                  <a:lnTo>
                    <a:pt x="28" y="208"/>
                  </a:lnTo>
                  <a:lnTo>
                    <a:pt x="28" y="210"/>
                  </a:lnTo>
                  <a:lnTo>
                    <a:pt x="28" y="210"/>
                  </a:lnTo>
                  <a:lnTo>
                    <a:pt x="26" y="212"/>
                  </a:lnTo>
                  <a:lnTo>
                    <a:pt x="24" y="212"/>
                  </a:lnTo>
                  <a:lnTo>
                    <a:pt x="24" y="212"/>
                  </a:lnTo>
                  <a:lnTo>
                    <a:pt x="21" y="212"/>
                  </a:lnTo>
                  <a:lnTo>
                    <a:pt x="21" y="212"/>
                  </a:lnTo>
                  <a:lnTo>
                    <a:pt x="19" y="210"/>
                  </a:lnTo>
                  <a:lnTo>
                    <a:pt x="19" y="210"/>
                  </a:lnTo>
                  <a:lnTo>
                    <a:pt x="19" y="208"/>
                  </a:lnTo>
                  <a:lnTo>
                    <a:pt x="19" y="208"/>
                  </a:lnTo>
                  <a:lnTo>
                    <a:pt x="17" y="208"/>
                  </a:lnTo>
                  <a:lnTo>
                    <a:pt x="17" y="208"/>
                  </a:lnTo>
                  <a:lnTo>
                    <a:pt x="17" y="210"/>
                  </a:lnTo>
                  <a:lnTo>
                    <a:pt x="14" y="210"/>
                  </a:lnTo>
                  <a:lnTo>
                    <a:pt x="12" y="210"/>
                  </a:lnTo>
                  <a:lnTo>
                    <a:pt x="10" y="215"/>
                  </a:lnTo>
                  <a:lnTo>
                    <a:pt x="7" y="215"/>
                  </a:lnTo>
                  <a:lnTo>
                    <a:pt x="7" y="217"/>
                  </a:lnTo>
                  <a:lnTo>
                    <a:pt x="7" y="217"/>
                  </a:lnTo>
                  <a:lnTo>
                    <a:pt x="5" y="217"/>
                  </a:lnTo>
                  <a:lnTo>
                    <a:pt x="5" y="217"/>
                  </a:lnTo>
                  <a:lnTo>
                    <a:pt x="5" y="219"/>
                  </a:lnTo>
                  <a:lnTo>
                    <a:pt x="7" y="219"/>
                  </a:lnTo>
                  <a:lnTo>
                    <a:pt x="7" y="224"/>
                  </a:lnTo>
                  <a:lnTo>
                    <a:pt x="7" y="231"/>
                  </a:lnTo>
                  <a:lnTo>
                    <a:pt x="5" y="231"/>
                  </a:lnTo>
                  <a:lnTo>
                    <a:pt x="5" y="231"/>
                  </a:lnTo>
                  <a:lnTo>
                    <a:pt x="3" y="231"/>
                  </a:lnTo>
                  <a:lnTo>
                    <a:pt x="0" y="231"/>
                  </a:lnTo>
                  <a:lnTo>
                    <a:pt x="0" y="234"/>
                  </a:lnTo>
                  <a:lnTo>
                    <a:pt x="3" y="236"/>
                  </a:lnTo>
                  <a:lnTo>
                    <a:pt x="5" y="236"/>
                  </a:lnTo>
                  <a:lnTo>
                    <a:pt x="5" y="238"/>
                  </a:lnTo>
                  <a:lnTo>
                    <a:pt x="7" y="238"/>
                  </a:lnTo>
                  <a:lnTo>
                    <a:pt x="10" y="236"/>
                  </a:lnTo>
                  <a:lnTo>
                    <a:pt x="12" y="236"/>
                  </a:lnTo>
                  <a:lnTo>
                    <a:pt x="12" y="234"/>
                  </a:lnTo>
                  <a:lnTo>
                    <a:pt x="14" y="234"/>
                  </a:lnTo>
                  <a:lnTo>
                    <a:pt x="17" y="234"/>
                  </a:lnTo>
                  <a:lnTo>
                    <a:pt x="19" y="234"/>
                  </a:lnTo>
                  <a:lnTo>
                    <a:pt x="21" y="236"/>
                  </a:lnTo>
                  <a:lnTo>
                    <a:pt x="21" y="234"/>
                  </a:lnTo>
                  <a:lnTo>
                    <a:pt x="21" y="234"/>
                  </a:lnTo>
                  <a:lnTo>
                    <a:pt x="28" y="234"/>
                  </a:lnTo>
                  <a:lnTo>
                    <a:pt x="28" y="234"/>
                  </a:lnTo>
                  <a:lnTo>
                    <a:pt x="33" y="234"/>
                  </a:lnTo>
                  <a:lnTo>
                    <a:pt x="36" y="234"/>
                  </a:lnTo>
                  <a:lnTo>
                    <a:pt x="38" y="234"/>
                  </a:lnTo>
                  <a:lnTo>
                    <a:pt x="40" y="236"/>
                  </a:lnTo>
                  <a:lnTo>
                    <a:pt x="47" y="236"/>
                  </a:lnTo>
                  <a:lnTo>
                    <a:pt x="47" y="236"/>
                  </a:lnTo>
                  <a:lnTo>
                    <a:pt x="54" y="234"/>
                  </a:lnTo>
                  <a:lnTo>
                    <a:pt x="61" y="234"/>
                  </a:lnTo>
                  <a:lnTo>
                    <a:pt x="66" y="234"/>
                  </a:lnTo>
                  <a:lnTo>
                    <a:pt x="73" y="234"/>
                  </a:lnTo>
                  <a:lnTo>
                    <a:pt x="78" y="234"/>
                  </a:lnTo>
                  <a:lnTo>
                    <a:pt x="78" y="236"/>
                  </a:lnTo>
                  <a:lnTo>
                    <a:pt x="80" y="236"/>
                  </a:lnTo>
                  <a:lnTo>
                    <a:pt x="83" y="238"/>
                  </a:lnTo>
                  <a:lnTo>
                    <a:pt x="83" y="238"/>
                  </a:lnTo>
                  <a:lnTo>
                    <a:pt x="83" y="241"/>
                  </a:lnTo>
                  <a:lnTo>
                    <a:pt x="85" y="241"/>
                  </a:lnTo>
                  <a:lnTo>
                    <a:pt x="85" y="243"/>
                  </a:lnTo>
                  <a:lnTo>
                    <a:pt x="85" y="245"/>
                  </a:lnTo>
                  <a:lnTo>
                    <a:pt x="85" y="248"/>
                  </a:lnTo>
                  <a:lnTo>
                    <a:pt x="85" y="250"/>
                  </a:lnTo>
                  <a:lnTo>
                    <a:pt x="85" y="253"/>
                  </a:lnTo>
                  <a:lnTo>
                    <a:pt x="87" y="257"/>
                  </a:lnTo>
                  <a:lnTo>
                    <a:pt x="90" y="260"/>
                  </a:lnTo>
                  <a:lnTo>
                    <a:pt x="90" y="262"/>
                  </a:lnTo>
                  <a:lnTo>
                    <a:pt x="90" y="264"/>
                  </a:lnTo>
                  <a:lnTo>
                    <a:pt x="90" y="267"/>
                  </a:lnTo>
                  <a:lnTo>
                    <a:pt x="92" y="267"/>
                  </a:lnTo>
                  <a:lnTo>
                    <a:pt x="92" y="269"/>
                  </a:lnTo>
                  <a:lnTo>
                    <a:pt x="94" y="271"/>
                  </a:lnTo>
                  <a:lnTo>
                    <a:pt x="97" y="276"/>
                  </a:lnTo>
                  <a:lnTo>
                    <a:pt x="99" y="281"/>
                  </a:lnTo>
                  <a:lnTo>
                    <a:pt x="99" y="281"/>
                  </a:lnTo>
                  <a:lnTo>
                    <a:pt x="102" y="281"/>
                  </a:lnTo>
                  <a:lnTo>
                    <a:pt x="104" y="281"/>
                  </a:lnTo>
                  <a:lnTo>
                    <a:pt x="106" y="281"/>
                  </a:lnTo>
                  <a:lnTo>
                    <a:pt x="109" y="281"/>
                  </a:lnTo>
                  <a:lnTo>
                    <a:pt x="109" y="281"/>
                  </a:lnTo>
                  <a:lnTo>
                    <a:pt x="111" y="281"/>
                  </a:lnTo>
                  <a:lnTo>
                    <a:pt x="113" y="279"/>
                  </a:lnTo>
                  <a:lnTo>
                    <a:pt x="118" y="279"/>
                  </a:lnTo>
                  <a:lnTo>
                    <a:pt x="118" y="279"/>
                  </a:lnTo>
                  <a:lnTo>
                    <a:pt x="120" y="279"/>
                  </a:lnTo>
                  <a:lnTo>
                    <a:pt x="125" y="279"/>
                  </a:lnTo>
                  <a:lnTo>
                    <a:pt x="125" y="279"/>
                  </a:lnTo>
                  <a:lnTo>
                    <a:pt x="130" y="279"/>
                  </a:lnTo>
                  <a:lnTo>
                    <a:pt x="132" y="279"/>
                  </a:lnTo>
                  <a:lnTo>
                    <a:pt x="135" y="274"/>
                  </a:lnTo>
                  <a:lnTo>
                    <a:pt x="135" y="271"/>
                  </a:lnTo>
                  <a:lnTo>
                    <a:pt x="135" y="271"/>
                  </a:lnTo>
                  <a:lnTo>
                    <a:pt x="135" y="269"/>
                  </a:lnTo>
                  <a:lnTo>
                    <a:pt x="135" y="267"/>
                  </a:lnTo>
                  <a:lnTo>
                    <a:pt x="135" y="264"/>
                  </a:lnTo>
                  <a:lnTo>
                    <a:pt x="137" y="262"/>
                  </a:lnTo>
                  <a:lnTo>
                    <a:pt x="139" y="260"/>
                  </a:lnTo>
                  <a:lnTo>
                    <a:pt x="144" y="257"/>
                  </a:lnTo>
                  <a:lnTo>
                    <a:pt x="146" y="257"/>
                  </a:lnTo>
                  <a:lnTo>
                    <a:pt x="149" y="257"/>
                  </a:lnTo>
                  <a:lnTo>
                    <a:pt x="153" y="257"/>
                  </a:lnTo>
                  <a:lnTo>
                    <a:pt x="156" y="257"/>
                  </a:lnTo>
                  <a:lnTo>
                    <a:pt x="156" y="257"/>
                  </a:lnTo>
                  <a:lnTo>
                    <a:pt x="156" y="262"/>
                  </a:lnTo>
                  <a:lnTo>
                    <a:pt x="156" y="262"/>
                  </a:lnTo>
                  <a:lnTo>
                    <a:pt x="156" y="264"/>
                  </a:lnTo>
                  <a:lnTo>
                    <a:pt x="156" y="264"/>
                  </a:lnTo>
                  <a:lnTo>
                    <a:pt x="163" y="264"/>
                  </a:lnTo>
                  <a:lnTo>
                    <a:pt x="168" y="264"/>
                  </a:lnTo>
                  <a:lnTo>
                    <a:pt x="172" y="264"/>
                  </a:lnTo>
                  <a:lnTo>
                    <a:pt x="177" y="264"/>
                  </a:lnTo>
                  <a:lnTo>
                    <a:pt x="179" y="264"/>
                  </a:lnTo>
                  <a:lnTo>
                    <a:pt x="179" y="264"/>
                  </a:lnTo>
                  <a:lnTo>
                    <a:pt x="179" y="267"/>
                  </a:lnTo>
                  <a:lnTo>
                    <a:pt x="179" y="271"/>
                  </a:lnTo>
                  <a:lnTo>
                    <a:pt x="179" y="276"/>
                  </a:lnTo>
                  <a:lnTo>
                    <a:pt x="179" y="281"/>
                  </a:lnTo>
                  <a:lnTo>
                    <a:pt x="179" y="288"/>
                  </a:lnTo>
                  <a:lnTo>
                    <a:pt x="179" y="295"/>
                  </a:lnTo>
                  <a:lnTo>
                    <a:pt x="179" y="300"/>
                  </a:lnTo>
                  <a:lnTo>
                    <a:pt x="179" y="305"/>
                  </a:lnTo>
                  <a:lnTo>
                    <a:pt x="179" y="312"/>
                  </a:lnTo>
                  <a:lnTo>
                    <a:pt x="179" y="314"/>
                  </a:lnTo>
                  <a:lnTo>
                    <a:pt x="182" y="316"/>
                  </a:lnTo>
                  <a:lnTo>
                    <a:pt x="184" y="319"/>
                  </a:lnTo>
                  <a:lnTo>
                    <a:pt x="186" y="323"/>
                  </a:lnTo>
                  <a:lnTo>
                    <a:pt x="186" y="328"/>
                  </a:lnTo>
                  <a:lnTo>
                    <a:pt x="186" y="331"/>
                  </a:lnTo>
                  <a:lnTo>
                    <a:pt x="186" y="331"/>
                  </a:lnTo>
                  <a:lnTo>
                    <a:pt x="186" y="333"/>
                  </a:lnTo>
                  <a:lnTo>
                    <a:pt x="186" y="335"/>
                  </a:lnTo>
                  <a:lnTo>
                    <a:pt x="186" y="338"/>
                  </a:lnTo>
                  <a:lnTo>
                    <a:pt x="186" y="340"/>
                  </a:lnTo>
                  <a:lnTo>
                    <a:pt x="184" y="340"/>
                  </a:lnTo>
                  <a:lnTo>
                    <a:pt x="186" y="342"/>
                  </a:lnTo>
                  <a:lnTo>
                    <a:pt x="186" y="345"/>
                  </a:lnTo>
                  <a:lnTo>
                    <a:pt x="186" y="347"/>
                  </a:lnTo>
                  <a:lnTo>
                    <a:pt x="186" y="347"/>
                  </a:lnTo>
                  <a:lnTo>
                    <a:pt x="186" y="347"/>
                  </a:lnTo>
                  <a:lnTo>
                    <a:pt x="189" y="347"/>
                  </a:lnTo>
                  <a:lnTo>
                    <a:pt x="191" y="345"/>
                  </a:lnTo>
                  <a:lnTo>
                    <a:pt x="191" y="345"/>
                  </a:lnTo>
                  <a:lnTo>
                    <a:pt x="193" y="345"/>
                  </a:lnTo>
                  <a:lnTo>
                    <a:pt x="196" y="345"/>
                  </a:lnTo>
                  <a:lnTo>
                    <a:pt x="201" y="345"/>
                  </a:lnTo>
                  <a:lnTo>
                    <a:pt x="203" y="345"/>
                  </a:lnTo>
                  <a:lnTo>
                    <a:pt x="208" y="342"/>
                  </a:lnTo>
                  <a:lnTo>
                    <a:pt x="210" y="342"/>
                  </a:lnTo>
                  <a:lnTo>
                    <a:pt x="210" y="342"/>
                  </a:lnTo>
                  <a:lnTo>
                    <a:pt x="212" y="342"/>
                  </a:lnTo>
                  <a:lnTo>
                    <a:pt x="215" y="342"/>
                  </a:lnTo>
                  <a:lnTo>
                    <a:pt x="217" y="342"/>
                  </a:lnTo>
                  <a:lnTo>
                    <a:pt x="217" y="342"/>
                  </a:lnTo>
                  <a:lnTo>
                    <a:pt x="217" y="340"/>
                  </a:lnTo>
                  <a:lnTo>
                    <a:pt x="217" y="340"/>
                  </a:lnTo>
                  <a:lnTo>
                    <a:pt x="219" y="340"/>
                  </a:lnTo>
                  <a:lnTo>
                    <a:pt x="219" y="340"/>
                  </a:lnTo>
                  <a:lnTo>
                    <a:pt x="222" y="342"/>
                  </a:lnTo>
                  <a:lnTo>
                    <a:pt x="222" y="342"/>
                  </a:lnTo>
                  <a:lnTo>
                    <a:pt x="222" y="345"/>
                  </a:lnTo>
                  <a:lnTo>
                    <a:pt x="224" y="345"/>
                  </a:lnTo>
                  <a:lnTo>
                    <a:pt x="226" y="345"/>
                  </a:lnTo>
                  <a:lnTo>
                    <a:pt x="226" y="349"/>
                  </a:lnTo>
                  <a:lnTo>
                    <a:pt x="226" y="349"/>
                  </a:lnTo>
                  <a:lnTo>
                    <a:pt x="224" y="352"/>
                  </a:lnTo>
                  <a:lnTo>
                    <a:pt x="226" y="352"/>
                  </a:lnTo>
                  <a:lnTo>
                    <a:pt x="226" y="352"/>
                  </a:lnTo>
                  <a:lnTo>
                    <a:pt x="229" y="352"/>
                  </a:lnTo>
                  <a:lnTo>
                    <a:pt x="231" y="349"/>
                  </a:lnTo>
                  <a:lnTo>
                    <a:pt x="231" y="349"/>
                  </a:lnTo>
                  <a:lnTo>
                    <a:pt x="234" y="349"/>
                  </a:lnTo>
                  <a:lnTo>
                    <a:pt x="236" y="349"/>
                  </a:lnTo>
                  <a:lnTo>
                    <a:pt x="238" y="349"/>
                  </a:lnTo>
                  <a:lnTo>
                    <a:pt x="241" y="347"/>
                  </a:lnTo>
                  <a:lnTo>
                    <a:pt x="241" y="347"/>
                  </a:lnTo>
                  <a:lnTo>
                    <a:pt x="243" y="347"/>
                  </a:lnTo>
                  <a:lnTo>
                    <a:pt x="243" y="347"/>
                  </a:lnTo>
                  <a:lnTo>
                    <a:pt x="243" y="349"/>
                  </a:lnTo>
                  <a:lnTo>
                    <a:pt x="243" y="352"/>
                  </a:lnTo>
                  <a:lnTo>
                    <a:pt x="243" y="354"/>
                  </a:lnTo>
                  <a:lnTo>
                    <a:pt x="243" y="357"/>
                  </a:lnTo>
                  <a:lnTo>
                    <a:pt x="245" y="357"/>
                  </a:lnTo>
                  <a:lnTo>
                    <a:pt x="245" y="357"/>
                  </a:lnTo>
                  <a:lnTo>
                    <a:pt x="245" y="359"/>
                  </a:lnTo>
                  <a:lnTo>
                    <a:pt x="248" y="359"/>
                  </a:lnTo>
                  <a:lnTo>
                    <a:pt x="252" y="361"/>
                  </a:lnTo>
                  <a:lnTo>
                    <a:pt x="255" y="361"/>
                  </a:lnTo>
                  <a:lnTo>
                    <a:pt x="257" y="361"/>
                  </a:lnTo>
                  <a:lnTo>
                    <a:pt x="257" y="361"/>
                  </a:lnTo>
                  <a:lnTo>
                    <a:pt x="262" y="364"/>
                  </a:lnTo>
                  <a:lnTo>
                    <a:pt x="264" y="364"/>
                  </a:lnTo>
                  <a:lnTo>
                    <a:pt x="266" y="364"/>
                  </a:lnTo>
                  <a:lnTo>
                    <a:pt x="269" y="364"/>
                  </a:lnTo>
                  <a:lnTo>
                    <a:pt x="271" y="364"/>
                  </a:lnTo>
                  <a:lnTo>
                    <a:pt x="271" y="364"/>
                  </a:lnTo>
                  <a:lnTo>
                    <a:pt x="274" y="361"/>
                  </a:lnTo>
                  <a:lnTo>
                    <a:pt x="274" y="361"/>
                  </a:lnTo>
                  <a:lnTo>
                    <a:pt x="274" y="361"/>
                  </a:lnTo>
                  <a:lnTo>
                    <a:pt x="274" y="357"/>
                  </a:lnTo>
                  <a:lnTo>
                    <a:pt x="276" y="357"/>
                  </a:lnTo>
                  <a:lnTo>
                    <a:pt x="276" y="357"/>
                  </a:lnTo>
                  <a:lnTo>
                    <a:pt x="276" y="354"/>
                  </a:lnTo>
                  <a:lnTo>
                    <a:pt x="278" y="357"/>
                  </a:lnTo>
                  <a:lnTo>
                    <a:pt x="278" y="359"/>
                  </a:lnTo>
                  <a:lnTo>
                    <a:pt x="281" y="364"/>
                  </a:lnTo>
                  <a:lnTo>
                    <a:pt x="283" y="366"/>
                  </a:lnTo>
                  <a:lnTo>
                    <a:pt x="283" y="368"/>
                  </a:lnTo>
                  <a:lnTo>
                    <a:pt x="285" y="368"/>
                  </a:lnTo>
                  <a:lnTo>
                    <a:pt x="285" y="371"/>
                  </a:lnTo>
                  <a:lnTo>
                    <a:pt x="288" y="371"/>
                  </a:lnTo>
                  <a:lnTo>
                    <a:pt x="290" y="371"/>
                  </a:lnTo>
                  <a:lnTo>
                    <a:pt x="292" y="371"/>
                  </a:lnTo>
                  <a:lnTo>
                    <a:pt x="297" y="373"/>
                  </a:lnTo>
                  <a:lnTo>
                    <a:pt x="299" y="373"/>
                  </a:lnTo>
                  <a:lnTo>
                    <a:pt x="299" y="375"/>
                  </a:lnTo>
                  <a:lnTo>
                    <a:pt x="299" y="375"/>
                  </a:lnTo>
                  <a:lnTo>
                    <a:pt x="302" y="378"/>
                  </a:lnTo>
                  <a:lnTo>
                    <a:pt x="302" y="380"/>
                  </a:lnTo>
                  <a:lnTo>
                    <a:pt x="302" y="383"/>
                  </a:lnTo>
                  <a:lnTo>
                    <a:pt x="304" y="383"/>
                  </a:lnTo>
                  <a:lnTo>
                    <a:pt x="304" y="383"/>
                  </a:lnTo>
                  <a:lnTo>
                    <a:pt x="307" y="383"/>
                  </a:lnTo>
                  <a:lnTo>
                    <a:pt x="307" y="385"/>
                  </a:lnTo>
                  <a:lnTo>
                    <a:pt x="309" y="387"/>
                  </a:lnTo>
                  <a:lnTo>
                    <a:pt x="309" y="390"/>
                  </a:lnTo>
                  <a:lnTo>
                    <a:pt x="309" y="392"/>
                  </a:lnTo>
                  <a:lnTo>
                    <a:pt x="311" y="392"/>
                  </a:lnTo>
                  <a:lnTo>
                    <a:pt x="311" y="394"/>
                  </a:lnTo>
                  <a:lnTo>
                    <a:pt x="314" y="394"/>
                  </a:lnTo>
                  <a:lnTo>
                    <a:pt x="316" y="392"/>
                  </a:lnTo>
                  <a:lnTo>
                    <a:pt x="318" y="392"/>
                  </a:lnTo>
                  <a:lnTo>
                    <a:pt x="318" y="390"/>
                  </a:lnTo>
                  <a:lnTo>
                    <a:pt x="321" y="390"/>
                  </a:lnTo>
                  <a:lnTo>
                    <a:pt x="321" y="390"/>
                  </a:lnTo>
                  <a:lnTo>
                    <a:pt x="323" y="392"/>
                  </a:lnTo>
                  <a:lnTo>
                    <a:pt x="323" y="392"/>
                  </a:lnTo>
                  <a:lnTo>
                    <a:pt x="323" y="394"/>
                  </a:lnTo>
                  <a:lnTo>
                    <a:pt x="323" y="394"/>
                  </a:lnTo>
                  <a:lnTo>
                    <a:pt x="325" y="394"/>
                  </a:lnTo>
                  <a:lnTo>
                    <a:pt x="325" y="394"/>
                  </a:lnTo>
                  <a:lnTo>
                    <a:pt x="325" y="392"/>
                  </a:lnTo>
                  <a:lnTo>
                    <a:pt x="325" y="390"/>
                  </a:lnTo>
                  <a:lnTo>
                    <a:pt x="325" y="385"/>
                  </a:lnTo>
                  <a:lnTo>
                    <a:pt x="325" y="383"/>
                  </a:lnTo>
                  <a:lnTo>
                    <a:pt x="325" y="378"/>
                  </a:lnTo>
                  <a:lnTo>
                    <a:pt x="325" y="373"/>
                  </a:lnTo>
                  <a:lnTo>
                    <a:pt x="325" y="371"/>
                  </a:lnTo>
                  <a:lnTo>
                    <a:pt x="325" y="368"/>
                  </a:lnTo>
                  <a:lnTo>
                    <a:pt x="325" y="368"/>
                  </a:lnTo>
                  <a:lnTo>
                    <a:pt x="323" y="368"/>
                  </a:lnTo>
                  <a:lnTo>
                    <a:pt x="321" y="368"/>
                  </a:lnTo>
                  <a:lnTo>
                    <a:pt x="321" y="368"/>
                  </a:lnTo>
                  <a:lnTo>
                    <a:pt x="321" y="371"/>
                  </a:lnTo>
                  <a:lnTo>
                    <a:pt x="321" y="371"/>
                  </a:lnTo>
                  <a:lnTo>
                    <a:pt x="321" y="373"/>
                  </a:lnTo>
                  <a:lnTo>
                    <a:pt x="321" y="373"/>
                  </a:lnTo>
                  <a:lnTo>
                    <a:pt x="318" y="373"/>
                  </a:lnTo>
                  <a:lnTo>
                    <a:pt x="316" y="373"/>
                  </a:lnTo>
                  <a:lnTo>
                    <a:pt x="314" y="371"/>
                  </a:lnTo>
                  <a:lnTo>
                    <a:pt x="311" y="371"/>
                  </a:lnTo>
                  <a:lnTo>
                    <a:pt x="311" y="368"/>
                  </a:lnTo>
                  <a:lnTo>
                    <a:pt x="309" y="366"/>
                  </a:lnTo>
                  <a:lnTo>
                    <a:pt x="307" y="366"/>
                  </a:lnTo>
                  <a:lnTo>
                    <a:pt x="302" y="361"/>
                  </a:lnTo>
                  <a:lnTo>
                    <a:pt x="302" y="361"/>
                  </a:lnTo>
                  <a:lnTo>
                    <a:pt x="302" y="359"/>
                  </a:lnTo>
                  <a:lnTo>
                    <a:pt x="299" y="357"/>
                  </a:lnTo>
                  <a:lnTo>
                    <a:pt x="299" y="357"/>
                  </a:lnTo>
                  <a:lnTo>
                    <a:pt x="299" y="354"/>
                  </a:lnTo>
                  <a:lnTo>
                    <a:pt x="299" y="354"/>
                  </a:lnTo>
                  <a:lnTo>
                    <a:pt x="299" y="349"/>
                  </a:lnTo>
                  <a:lnTo>
                    <a:pt x="302" y="345"/>
                  </a:lnTo>
                  <a:lnTo>
                    <a:pt x="302" y="342"/>
                  </a:lnTo>
                  <a:lnTo>
                    <a:pt x="302" y="338"/>
                  </a:lnTo>
                  <a:lnTo>
                    <a:pt x="304" y="335"/>
                  </a:lnTo>
                  <a:lnTo>
                    <a:pt x="304" y="333"/>
                  </a:lnTo>
                  <a:lnTo>
                    <a:pt x="304" y="331"/>
                  </a:lnTo>
                  <a:lnTo>
                    <a:pt x="304" y="328"/>
                  </a:lnTo>
                  <a:lnTo>
                    <a:pt x="304" y="323"/>
                  </a:lnTo>
                  <a:lnTo>
                    <a:pt x="304" y="321"/>
                  </a:lnTo>
                  <a:lnTo>
                    <a:pt x="304" y="319"/>
                  </a:lnTo>
                  <a:lnTo>
                    <a:pt x="304" y="314"/>
                  </a:lnTo>
                  <a:lnTo>
                    <a:pt x="304" y="312"/>
                  </a:lnTo>
                  <a:lnTo>
                    <a:pt x="299" y="307"/>
                  </a:lnTo>
                  <a:lnTo>
                    <a:pt x="299" y="305"/>
                  </a:lnTo>
                  <a:lnTo>
                    <a:pt x="302" y="305"/>
                  </a:lnTo>
                  <a:lnTo>
                    <a:pt x="304" y="302"/>
                  </a:lnTo>
                  <a:lnTo>
                    <a:pt x="307" y="302"/>
                  </a:lnTo>
                  <a:lnTo>
                    <a:pt x="307" y="300"/>
                  </a:lnTo>
                  <a:lnTo>
                    <a:pt x="309" y="297"/>
                  </a:lnTo>
                  <a:lnTo>
                    <a:pt x="309" y="295"/>
                  </a:lnTo>
                  <a:lnTo>
                    <a:pt x="311" y="295"/>
                  </a:lnTo>
                  <a:lnTo>
                    <a:pt x="311" y="293"/>
                  </a:lnTo>
                  <a:lnTo>
                    <a:pt x="309" y="290"/>
                  </a:lnTo>
                  <a:lnTo>
                    <a:pt x="311" y="290"/>
                  </a:lnTo>
                  <a:lnTo>
                    <a:pt x="316" y="288"/>
                  </a:lnTo>
                  <a:lnTo>
                    <a:pt x="321" y="288"/>
                  </a:lnTo>
                  <a:lnTo>
                    <a:pt x="325" y="288"/>
                  </a:lnTo>
                  <a:lnTo>
                    <a:pt x="332" y="286"/>
                  </a:lnTo>
                  <a:lnTo>
                    <a:pt x="337" y="286"/>
                  </a:lnTo>
                  <a:lnTo>
                    <a:pt x="342" y="283"/>
                  </a:lnTo>
                  <a:lnTo>
                    <a:pt x="344" y="283"/>
                  </a:lnTo>
                  <a:lnTo>
                    <a:pt x="344" y="281"/>
                  </a:lnTo>
                  <a:lnTo>
                    <a:pt x="342" y="279"/>
                  </a:lnTo>
                  <a:lnTo>
                    <a:pt x="342" y="276"/>
                  </a:lnTo>
                  <a:lnTo>
                    <a:pt x="340" y="271"/>
                  </a:lnTo>
                  <a:lnTo>
                    <a:pt x="337" y="269"/>
                  </a:lnTo>
                  <a:lnTo>
                    <a:pt x="337" y="267"/>
                  </a:lnTo>
                  <a:lnTo>
                    <a:pt x="337" y="262"/>
                  </a:lnTo>
                  <a:lnTo>
                    <a:pt x="335" y="260"/>
                  </a:lnTo>
                  <a:lnTo>
                    <a:pt x="335" y="257"/>
                  </a:lnTo>
                  <a:lnTo>
                    <a:pt x="332" y="257"/>
                  </a:lnTo>
                  <a:lnTo>
                    <a:pt x="330" y="255"/>
                  </a:lnTo>
                  <a:lnTo>
                    <a:pt x="328" y="253"/>
                  </a:lnTo>
                  <a:lnTo>
                    <a:pt x="325" y="250"/>
                  </a:lnTo>
                  <a:lnTo>
                    <a:pt x="323" y="245"/>
                  </a:lnTo>
                  <a:lnTo>
                    <a:pt x="323" y="243"/>
                  </a:lnTo>
                  <a:lnTo>
                    <a:pt x="321" y="241"/>
                  </a:lnTo>
                  <a:lnTo>
                    <a:pt x="321" y="238"/>
                  </a:lnTo>
                  <a:lnTo>
                    <a:pt x="321" y="236"/>
                  </a:lnTo>
                  <a:lnTo>
                    <a:pt x="323" y="234"/>
                  </a:lnTo>
                  <a:lnTo>
                    <a:pt x="323" y="231"/>
                  </a:lnTo>
                  <a:lnTo>
                    <a:pt x="323" y="229"/>
                  </a:lnTo>
                  <a:lnTo>
                    <a:pt x="323" y="227"/>
                  </a:lnTo>
                  <a:lnTo>
                    <a:pt x="321" y="224"/>
                  </a:lnTo>
                  <a:lnTo>
                    <a:pt x="321" y="222"/>
                  </a:lnTo>
                  <a:lnTo>
                    <a:pt x="321" y="219"/>
                  </a:lnTo>
                  <a:lnTo>
                    <a:pt x="318" y="217"/>
                  </a:lnTo>
                  <a:lnTo>
                    <a:pt x="318" y="215"/>
                  </a:lnTo>
                  <a:lnTo>
                    <a:pt x="318" y="212"/>
                  </a:lnTo>
                  <a:lnTo>
                    <a:pt x="318" y="210"/>
                  </a:lnTo>
                  <a:lnTo>
                    <a:pt x="321" y="205"/>
                  </a:lnTo>
                  <a:lnTo>
                    <a:pt x="321" y="205"/>
                  </a:lnTo>
                  <a:lnTo>
                    <a:pt x="321" y="201"/>
                  </a:lnTo>
                  <a:lnTo>
                    <a:pt x="318" y="198"/>
                  </a:lnTo>
                  <a:lnTo>
                    <a:pt x="316" y="193"/>
                  </a:lnTo>
                  <a:lnTo>
                    <a:pt x="316" y="191"/>
                  </a:lnTo>
                  <a:lnTo>
                    <a:pt x="316" y="189"/>
                  </a:lnTo>
                  <a:lnTo>
                    <a:pt x="316" y="184"/>
                  </a:lnTo>
                  <a:lnTo>
                    <a:pt x="316" y="182"/>
                  </a:lnTo>
                  <a:lnTo>
                    <a:pt x="316" y="179"/>
                  </a:lnTo>
                  <a:lnTo>
                    <a:pt x="316" y="177"/>
                  </a:lnTo>
                  <a:lnTo>
                    <a:pt x="316" y="175"/>
                  </a:lnTo>
                  <a:lnTo>
                    <a:pt x="316" y="172"/>
                  </a:lnTo>
                  <a:lnTo>
                    <a:pt x="314" y="170"/>
                  </a:lnTo>
                  <a:lnTo>
                    <a:pt x="314" y="170"/>
                  </a:lnTo>
                  <a:lnTo>
                    <a:pt x="314" y="170"/>
                  </a:lnTo>
                  <a:lnTo>
                    <a:pt x="314" y="167"/>
                  </a:lnTo>
                  <a:lnTo>
                    <a:pt x="311" y="167"/>
                  </a:lnTo>
                  <a:lnTo>
                    <a:pt x="311" y="167"/>
                  </a:lnTo>
                  <a:lnTo>
                    <a:pt x="311" y="165"/>
                  </a:lnTo>
                  <a:lnTo>
                    <a:pt x="311" y="163"/>
                  </a:lnTo>
                  <a:lnTo>
                    <a:pt x="311" y="160"/>
                  </a:lnTo>
                  <a:lnTo>
                    <a:pt x="311" y="160"/>
                  </a:lnTo>
                  <a:lnTo>
                    <a:pt x="314" y="160"/>
                  </a:lnTo>
                  <a:lnTo>
                    <a:pt x="316" y="158"/>
                  </a:lnTo>
                  <a:lnTo>
                    <a:pt x="316" y="158"/>
                  </a:lnTo>
                  <a:lnTo>
                    <a:pt x="316" y="156"/>
                  </a:lnTo>
                  <a:lnTo>
                    <a:pt x="316" y="153"/>
                  </a:lnTo>
                  <a:lnTo>
                    <a:pt x="316" y="151"/>
                  </a:lnTo>
                  <a:lnTo>
                    <a:pt x="316" y="149"/>
                  </a:lnTo>
                  <a:lnTo>
                    <a:pt x="316" y="146"/>
                  </a:lnTo>
                  <a:lnTo>
                    <a:pt x="318" y="146"/>
                  </a:lnTo>
                  <a:lnTo>
                    <a:pt x="318" y="144"/>
                  </a:lnTo>
                  <a:lnTo>
                    <a:pt x="321" y="141"/>
                  </a:lnTo>
                  <a:lnTo>
                    <a:pt x="321" y="141"/>
                  </a:lnTo>
                  <a:lnTo>
                    <a:pt x="323" y="141"/>
                  </a:lnTo>
                  <a:lnTo>
                    <a:pt x="323" y="139"/>
                  </a:lnTo>
                  <a:lnTo>
                    <a:pt x="323" y="139"/>
                  </a:lnTo>
                  <a:lnTo>
                    <a:pt x="323" y="134"/>
                  </a:lnTo>
                  <a:lnTo>
                    <a:pt x="323" y="132"/>
                  </a:lnTo>
                  <a:lnTo>
                    <a:pt x="323" y="130"/>
                  </a:lnTo>
                  <a:lnTo>
                    <a:pt x="323" y="127"/>
                  </a:lnTo>
                  <a:lnTo>
                    <a:pt x="325" y="125"/>
                  </a:lnTo>
                  <a:lnTo>
                    <a:pt x="325" y="122"/>
                  </a:lnTo>
                  <a:lnTo>
                    <a:pt x="325" y="120"/>
                  </a:lnTo>
                  <a:lnTo>
                    <a:pt x="325" y="113"/>
                  </a:lnTo>
                  <a:lnTo>
                    <a:pt x="325" y="113"/>
                  </a:lnTo>
                  <a:lnTo>
                    <a:pt x="325" y="108"/>
                  </a:lnTo>
                  <a:lnTo>
                    <a:pt x="328" y="108"/>
                  </a:lnTo>
                  <a:lnTo>
                    <a:pt x="328" y="108"/>
                  </a:lnTo>
                  <a:lnTo>
                    <a:pt x="328" y="106"/>
                  </a:lnTo>
                  <a:lnTo>
                    <a:pt x="330" y="101"/>
                  </a:lnTo>
                  <a:lnTo>
                    <a:pt x="330" y="101"/>
                  </a:lnTo>
                  <a:lnTo>
                    <a:pt x="330" y="96"/>
                  </a:lnTo>
                  <a:lnTo>
                    <a:pt x="330" y="94"/>
                  </a:lnTo>
                  <a:lnTo>
                    <a:pt x="330" y="94"/>
                  </a:lnTo>
                  <a:lnTo>
                    <a:pt x="332" y="92"/>
                  </a:lnTo>
                  <a:lnTo>
                    <a:pt x="335" y="89"/>
                  </a:lnTo>
                  <a:lnTo>
                    <a:pt x="335" y="87"/>
                  </a:lnTo>
                  <a:lnTo>
                    <a:pt x="337" y="85"/>
                  </a:lnTo>
                  <a:lnTo>
                    <a:pt x="340" y="85"/>
                  </a:lnTo>
                  <a:lnTo>
                    <a:pt x="340" y="85"/>
                  </a:lnTo>
                  <a:lnTo>
                    <a:pt x="349" y="75"/>
                  </a:lnTo>
                  <a:lnTo>
                    <a:pt x="354" y="70"/>
                  </a:lnTo>
                  <a:lnTo>
                    <a:pt x="354" y="68"/>
                  </a:lnTo>
                  <a:lnTo>
                    <a:pt x="354" y="66"/>
                  </a:lnTo>
                  <a:lnTo>
                    <a:pt x="356" y="66"/>
                  </a:lnTo>
                  <a:lnTo>
                    <a:pt x="354" y="6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3" name="Freeform 359"/>
            <p:cNvSpPr>
              <a:spLocks/>
            </p:cNvSpPr>
            <p:nvPr userDrawn="1"/>
          </p:nvSpPr>
          <p:spPr bwMode="auto">
            <a:xfrm>
              <a:off x="3874" y="1734"/>
              <a:ext cx="111" cy="52"/>
            </a:xfrm>
            <a:custGeom>
              <a:avLst/>
              <a:gdLst>
                <a:gd name="T0" fmla="*/ 107 w 111"/>
                <a:gd name="T1" fmla="*/ 26 h 52"/>
                <a:gd name="T2" fmla="*/ 102 w 111"/>
                <a:gd name="T3" fmla="*/ 24 h 52"/>
                <a:gd name="T4" fmla="*/ 97 w 111"/>
                <a:gd name="T5" fmla="*/ 21 h 52"/>
                <a:gd name="T6" fmla="*/ 97 w 111"/>
                <a:gd name="T7" fmla="*/ 21 h 52"/>
                <a:gd name="T8" fmla="*/ 92 w 111"/>
                <a:gd name="T9" fmla="*/ 21 h 52"/>
                <a:gd name="T10" fmla="*/ 90 w 111"/>
                <a:gd name="T11" fmla="*/ 19 h 52"/>
                <a:gd name="T12" fmla="*/ 92 w 111"/>
                <a:gd name="T13" fmla="*/ 17 h 52"/>
                <a:gd name="T14" fmla="*/ 88 w 111"/>
                <a:gd name="T15" fmla="*/ 17 h 52"/>
                <a:gd name="T16" fmla="*/ 78 w 111"/>
                <a:gd name="T17" fmla="*/ 14 h 52"/>
                <a:gd name="T18" fmla="*/ 81 w 111"/>
                <a:gd name="T19" fmla="*/ 17 h 52"/>
                <a:gd name="T20" fmla="*/ 76 w 111"/>
                <a:gd name="T21" fmla="*/ 19 h 52"/>
                <a:gd name="T22" fmla="*/ 71 w 111"/>
                <a:gd name="T23" fmla="*/ 17 h 52"/>
                <a:gd name="T24" fmla="*/ 66 w 111"/>
                <a:gd name="T25" fmla="*/ 14 h 52"/>
                <a:gd name="T26" fmla="*/ 69 w 111"/>
                <a:gd name="T27" fmla="*/ 12 h 52"/>
                <a:gd name="T28" fmla="*/ 71 w 111"/>
                <a:gd name="T29" fmla="*/ 10 h 52"/>
                <a:gd name="T30" fmla="*/ 64 w 111"/>
                <a:gd name="T31" fmla="*/ 10 h 52"/>
                <a:gd name="T32" fmla="*/ 62 w 111"/>
                <a:gd name="T33" fmla="*/ 7 h 52"/>
                <a:gd name="T34" fmla="*/ 55 w 111"/>
                <a:gd name="T35" fmla="*/ 5 h 52"/>
                <a:gd name="T36" fmla="*/ 52 w 111"/>
                <a:gd name="T37" fmla="*/ 3 h 52"/>
                <a:gd name="T38" fmla="*/ 48 w 111"/>
                <a:gd name="T39" fmla="*/ 3 h 52"/>
                <a:gd name="T40" fmla="*/ 45 w 111"/>
                <a:gd name="T41" fmla="*/ 5 h 52"/>
                <a:gd name="T42" fmla="*/ 41 w 111"/>
                <a:gd name="T43" fmla="*/ 5 h 52"/>
                <a:gd name="T44" fmla="*/ 41 w 111"/>
                <a:gd name="T45" fmla="*/ 3 h 52"/>
                <a:gd name="T46" fmla="*/ 36 w 111"/>
                <a:gd name="T47" fmla="*/ 0 h 52"/>
                <a:gd name="T48" fmla="*/ 38 w 111"/>
                <a:gd name="T49" fmla="*/ 3 h 52"/>
                <a:gd name="T50" fmla="*/ 31 w 111"/>
                <a:gd name="T51" fmla="*/ 5 h 52"/>
                <a:gd name="T52" fmla="*/ 24 w 111"/>
                <a:gd name="T53" fmla="*/ 7 h 52"/>
                <a:gd name="T54" fmla="*/ 22 w 111"/>
                <a:gd name="T55" fmla="*/ 10 h 52"/>
                <a:gd name="T56" fmla="*/ 19 w 111"/>
                <a:gd name="T57" fmla="*/ 10 h 52"/>
                <a:gd name="T58" fmla="*/ 15 w 111"/>
                <a:gd name="T59" fmla="*/ 14 h 52"/>
                <a:gd name="T60" fmla="*/ 10 w 111"/>
                <a:gd name="T61" fmla="*/ 14 h 52"/>
                <a:gd name="T62" fmla="*/ 5 w 111"/>
                <a:gd name="T63" fmla="*/ 17 h 52"/>
                <a:gd name="T64" fmla="*/ 3 w 111"/>
                <a:gd name="T65" fmla="*/ 17 h 52"/>
                <a:gd name="T66" fmla="*/ 0 w 111"/>
                <a:gd name="T67" fmla="*/ 17 h 52"/>
                <a:gd name="T68" fmla="*/ 3 w 111"/>
                <a:gd name="T69" fmla="*/ 19 h 52"/>
                <a:gd name="T70" fmla="*/ 8 w 111"/>
                <a:gd name="T71" fmla="*/ 24 h 52"/>
                <a:gd name="T72" fmla="*/ 8 w 111"/>
                <a:gd name="T73" fmla="*/ 26 h 52"/>
                <a:gd name="T74" fmla="*/ 8 w 111"/>
                <a:gd name="T75" fmla="*/ 29 h 52"/>
                <a:gd name="T76" fmla="*/ 12 w 111"/>
                <a:gd name="T77" fmla="*/ 36 h 52"/>
                <a:gd name="T78" fmla="*/ 17 w 111"/>
                <a:gd name="T79" fmla="*/ 40 h 52"/>
                <a:gd name="T80" fmla="*/ 22 w 111"/>
                <a:gd name="T81" fmla="*/ 43 h 52"/>
                <a:gd name="T82" fmla="*/ 26 w 111"/>
                <a:gd name="T83" fmla="*/ 45 h 52"/>
                <a:gd name="T84" fmla="*/ 31 w 111"/>
                <a:gd name="T85" fmla="*/ 47 h 52"/>
                <a:gd name="T86" fmla="*/ 38 w 111"/>
                <a:gd name="T87" fmla="*/ 52 h 52"/>
                <a:gd name="T88" fmla="*/ 43 w 111"/>
                <a:gd name="T89" fmla="*/ 52 h 52"/>
                <a:gd name="T90" fmla="*/ 48 w 111"/>
                <a:gd name="T91" fmla="*/ 47 h 52"/>
                <a:gd name="T92" fmla="*/ 50 w 111"/>
                <a:gd name="T93" fmla="*/ 43 h 52"/>
                <a:gd name="T94" fmla="*/ 52 w 111"/>
                <a:gd name="T95" fmla="*/ 43 h 52"/>
                <a:gd name="T96" fmla="*/ 59 w 111"/>
                <a:gd name="T97" fmla="*/ 45 h 52"/>
                <a:gd name="T98" fmla="*/ 69 w 111"/>
                <a:gd name="T99" fmla="*/ 47 h 52"/>
                <a:gd name="T100" fmla="*/ 74 w 111"/>
                <a:gd name="T101" fmla="*/ 47 h 52"/>
                <a:gd name="T102" fmla="*/ 78 w 111"/>
                <a:gd name="T103" fmla="*/ 50 h 52"/>
                <a:gd name="T104" fmla="*/ 81 w 111"/>
                <a:gd name="T105" fmla="*/ 50 h 52"/>
                <a:gd name="T106" fmla="*/ 85 w 111"/>
                <a:gd name="T107" fmla="*/ 45 h 52"/>
                <a:gd name="T108" fmla="*/ 95 w 111"/>
                <a:gd name="T109" fmla="*/ 45 h 52"/>
                <a:gd name="T110" fmla="*/ 97 w 111"/>
                <a:gd name="T111" fmla="*/ 43 h 52"/>
                <a:gd name="T112" fmla="*/ 99 w 111"/>
                <a:gd name="T113" fmla="*/ 38 h 52"/>
                <a:gd name="T114" fmla="*/ 104 w 111"/>
                <a:gd name="T115" fmla="*/ 36 h 52"/>
                <a:gd name="T116" fmla="*/ 107 w 111"/>
                <a:gd name="T117" fmla="*/ 33 h 52"/>
                <a:gd name="T118" fmla="*/ 109 w 111"/>
                <a:gd name="T119" fmla="*/ 3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52">
                  <a:moveTo>
                    <a:pt x="109" y="31"/>
                  </a:moveTo>
                  <a:lnTo>
                    <a:pt x="109" y="31"/>
                  </a:lnTo>
                  <a:lnTo>
                    <a:pt x="107" y="26"/>
                  </a:lnTo>
                  <a:lnTo>
                    <a:pt x="107" y="26"/>
                  </a:lnTo>
                  <a:lnTo>
                    <a:pt x="107" y="26"/>
                  </a:lnTo>
                  <a:lnTo>
                    <a:pt x="107" y="24"/>
                  </a:lnTo>
                  <a:lnTo>
                    <a:pt x="104" y="24"/>
                  </a:lnTo>
                  <a:lnTo>
                    <a:pt x="102" y="24"/>
                  </a:lnTo>
                  <a:lnTo>
                    <a:pt x="102" y="24"/>
                  </a:lnTo>
                  <a:lnTo>
                    <a:pt x="99" y="24"/>
                  </a:lnTo>
                  <a:lnTo>
                    <a:pt x="99" y="24"/>
                  </a:lnTo>
                  <a:lnTo>
                    <a:pt x="97" y="21"/>
                  </a:lnTo>
                  <a:lnTo>
                    <a:pt x="97" y="21"/>
                  </a:lnTo>
                  <a:lnTo>
                    <a:pt x="97" y="21"/>
                  </a:lnTo>
                  <a:lnTo>
                    <a:pt x="97" y="21"/>
                  </a:lnTo>
                  <a:lnTo>
                    <a:pt x="97" y="21"/>
                  </a:lnTo>
                  <a:lnTo>
                    <a:pt x="97" y="21"/>
                  </a:lnTo>
                  <a:lnTo>
                    <a:pt x="95" y="24"/>
                  </a:lnTo>
                  <a:lnTo>
                    <a:pt x="92" y="21"/>
                  </a:lnTo>
                  <a:lnTo>
                    <a:pt x="92" y="21"/>
                  </a:lnTo>
                  <a:lnTo>
                    <a:pt x="92" y="21"/>
                  </a:lnTo>
                  <a:lnTo>
                    <a:pt x="90" y="19"/>
                  </a:lnTo>
                  <a:lnTo>
                    <a:pt x="90" y="19"/>
                  </a:lnTo>
                  <a:lnTo>
                    <a:pt x="90" y="19"/>
                  </a:lnTo>
                  <a:lnTo>
                    <a:pt x="90" y="19"/>
                  </a:lnTo>
                  <a:lnTo>
                    <a:pt x="92" y="19"/>
                  </a:lnTo>
                  <a:lnTo>
                    <a:pt x="92" y="17"/>
                  </a:lnTo>
                  <a:lnTo>
                    <a:pt x="92" y="17"/>
                  </a:lnTo>
                  <a:lnTo>
                    <a:pt x="92" y="17"/>
                  </a:lnTo>
                  <a:lnTo>
                    <a:pt x="90" y="17"/>
                  </a:lnTo>
                  <a:lnTo>
                    <a:pt x="90" y="17"/>
                  </a:lnTo>
                  <a:lnTo>
                    <a:pt x="88" y="17"/>
                  </a:lnTo>
                  <a:lnTo>
                    <a:pt x="88" y="17"/>
                  </a:lnTo>
                  <a:lnTo>
                    <a:pt x="83" y="14"/>
                  </a:lnTo>
                  <a:lnTo>
                    <a:pt x="81" y="14"/>
                  </a:lnTo>
                  <a:lnTo>
                    <a:pt x="78" y="14"/>
                  </a:lnTo>
                  <a:lnTo>
                    <a:pt x="78" y="14"/>
                  </a:lnTo>
                  <a:lnTo>
                    <a:pt x="78" y="14"/>
                  </a:lnTo>
                  <a:lnTo>
                    <a:pt x="81" y="17"/>
                  </a:lnTo>
                  <a:lnTo>
                    <a:pt x="81" y="17"/>
                  </a:lnTo>
                  <a:lnTo>
                    <a:pt x="78" y="19"/>
                  </a:lnTo>
                  <a:lnTo>
                    <a:pt x="78" y="19"/>
                  </a:lnTo>
                  <a:lnTo>
                    <a:pt x="76" y="19"/>
                  </a:lnTo>
                  <a:lnTo>
                    <a:pt x="76" y="19"/>
                  </a:lnTo>
                  <a:lnTo>
                    <a:pt x="76" y="19"/>
                  </a:lnTo>
                  <a:lnTo>
                    <a:pt x="74" y="19"/>
                  </a:lnTo>
                  <a:lnTo>
                    <a:pt x="74" y="19"/>
                  </a:lnTo>
                  <a:lnTo>
                    <a:pt x="71" y="17"/>
                  </a:lnTo>
                  <a:lnTo>
                    <a:pt x="69" y="14"/>
                  </a:lnTo>
                  <a:lnTo>
                    <a:pt x="69" y="14"/>
                  </a:lnTo>
                  <a:lnTo>
                    <a:pt x="69" y="14"/>
                  </a:lnTo>
                  <a:lnTo>
                    <a:pt x="66" y="14"/>
                  </a:lnTo>
                  <a:lnTo>
                    <a:pt x="66" y="14"/>
                  </a:lnTo>
                  <a:lnTo>
                    <a:pt x="66" y="12"/>
                  </a:lnTo>
                  <a:lnTo>
                    <a:pt x="69" y="12"/>
                  </a:lnTo>
                  <a:lnTo>
                    <a:pt x="69" y="12"/>
                  </a:lnTo>
                  <a:lnTo>
                    <a:pt x="69" y="12"/>
                  </a:lnTo>
                  <a:lnTo>
                    <a:pt x="69" y="12"/>
                  </a:lnTo>
                  <a:lnTo>
                    <a:pt x="71" y="10"/>
                  </a:lnTo>
                  <a:lnTo>
                    <a:pt x="71" y="10"/>
                  </a:lnTo>
                  <a:lnTo>
                    <a:pt x="69" y="10"/>
                  </a:lnTo>
                  <a:lnTo>
                    <a:pt x="69" y="10"/>
                  </a:lnTo>
                  <a:lnTo>
                    <a:pt x="64" y="10"/>
                  </a:lnTo>
                  <a:lnTo>
                    <a:pt x="64" y="10"/>
                  </a:lnTo>
                  <a:lnTo>
                    <a:pt x="64" y="10"/>
                  </a:lnTo>
                  <a:lnTo>
                    <a:pt x="62" y="10"/>
                  </a:lnTo>
                  <a:lnTo>
                    <a:pt x="62" y="7"/>
                  </a:lnTo>
                  <a:lnTo>
                    <a:pt x="62" y="7"/>
                  </a:lnTo>
                  <a:lnTo>
                    <a:pt x="59" y="7"/>
                  </a:lnTo>
                  <a:lnTo>
                    <a:pt x="57" y="7"/>
                  </a:lnTo>
                  <a:lnTo>
                    <a:pt x="55" y="5"/>
                  </a:lnTo>
                  <a:lnTo>
                    <a:pt x="55" y="5"/>
                  </a:lnTo>
                  <a:lnTo>
                    <a:pt x="52" y="5"/>
                  </a:lnTo>
                  <a:lnTo>
                    <a:pt x="52" y="5"/>
                  </a:lnTo>
                  <a:lnTo>
                    <a:pt x="52" y="5"/>
                  </a:lnTo>
                  <a:lnTo>
                    <a:pt x="52" y="3"/>
                  </a:lnTo>
                  <a:lnTo>
                    <a:pt x="50" y="3"/>
                  </a:lnTo>
                  <a:lnTo>
                    <a:pt x="48" y="3"/>
                  </a:lnTo>
                  <a:lnTo>
                    <a:pt x="48" y="3"/>
                  </a:lnTo>
                  <a:lnTo>
                    <a:pt x="48" y="3"/>
                  </a:lnTo>
                  <a:lnTo>
                    <a:pt x="48" y="5"/>
                  </a:lnTo>
                  <a:lnTo>
                    <a:pt x="45" y="5"/>
                  </a:lnTo>
                  <a:lnTo>
                    <a:pt x="45" y="5"/>
                  </a:lnTo>
                  <a:lnTo>
                    <a:pt x="45" y="5"/>
                  </a:lnTo>
                  <a:lnTo>
                    <a:pt x="43" y="5"/>
                  </a:lnTo>
                  <a:lnTo>
                    <a:pt x="43" y="5"/>
                  </a:lnTo>
                  <a:lnTo>
                    <a:pt x="43" y="5"/>
                  </a:lnTo>
                  <a:lnTo>
                    <a:pt x="41" y="5"/>
                  </a:lnTo>
                  <a:lnTo>
                    <a:pt x="41" y="3"/>
                  </a:lnTo>
                  <a:lnTo>
                    <a:pt x="41" y="3"/>
                  </a:lnTo>
                  <a:lnTo>
                    <a:pt x="41" y="3"/>
                  </a:lnTo>
                  <a:lnTo>
                    <a:pt x="41" y="3"/>
                  </a:lnTo>
                  <a:lnTo>
                    <a:pt x="41" y="3"/>
                  </a:lnTo>
                  <a:lnTo>
                    <a:pt x="38" y="0"/>
                  </a:lnTo>
                  <a:lnTo>
                    <a:pt x="36" y="0"/>
                  </a:lnTo>
                  <a:lnTo>
                    <a:pt x="36" y="0"/>
                  </a:lnTo>
                  <a:lnTo>
                    <a:pt x="36" y="3"/>
                  </a:lnTo>
                  <a:lnTo>
                    <a:pt x="36" y="3"/>
                  </a:lnTo>
                  <a:lnTo>
                    <a:pt x="36" y="3"/>
                  </a:lnTo>
                  <a:lnTo>
                    <a:pt x="38" y="3"/>
                  </a:lnTo>
                  <a:lnTo>
                    <a:pt x="38" y="5"/>
                  </a:lnTo>
                  <a:lnTo>
                    <a:pt x="36" y="5"/>
                  </a:lnTo>
                  <a:lnTo>
                    <a:pt x="33" y="5"/>
                  </a:lnTo>
                  <a:lnTo>
                    <a:pt x="31" y="5"/>
                  </a:lnTo>
                  <a:lnTo>
                    <a:pt x="29" y="7"/>
                  </a:lnTo>
                  <a:lnTo>
                    <a:pt x="26" y="7"/>
                  </a:lnTo>
                  <a:lnTo>
                    <a:pt x="24" y="7"/>
                  </a:lnTo>
                  <a:lnTo>
                    <a:pt x="24" y="7"/>
                  </a:lnTo>
                  <a:lnTo>
                    <a:pt x="24" y="10"/>
                  </a:lnTo>
                  <a:lnTo>
                    <a:pt x="22" y="10"/>
                  </a:lnTo>
                  <a:lnTo>
                    <a:pt x="22" y="10"/>
                  </a:lnTo>
                  <a:lnTo>
                    <a:pt x="22" y="10"/>
                  </a:lnTo>
                  <a:lnTo>
                    <a:pt x="22" y="10"/>
                  </a:lnTo>
                  <a:lnTo>
                    <a:pt x="19" y="10"/>
                  </a:lnTo>
                  <a:lnTo>
                    <a:pt x="19" y="10"/>
                  </a:lnTo>
                  <a:lnTo>
                    <a:pt x="19" y="10"/>
                  </a:lnTo>
                  <a:lnTo>
                    <a:pt x="19" y="12"/>
                  </a:lnTo>
                  <a:lnTo>
                    <a:pt x="15" y="12"/>
                  </a:lnTo>
                  <a:lnTo>
                    <a:pt x="15" y="12"/>
                  </a:lnTo>
                  <a:lnTo>
                    <a:pt x="15" y="14"/>
                  </a:lnTo>
                  <a:lnTo>
                    <a:pt x="15" y="14"/>
                  </a:lnTo>
                  <a:lnTo>
                    <a:pt x="12" y="14"/>
                  </a:lnTo>
                  <a:lnTo>
                    <a:pt x="12" y="14"/>
                  </a:lnTo>
                  <a:lnTo>
                    <a:pt x="10" y="14"/>
                  </a:lnTo>
                  <a:lnTo>
                    <a:pt x="10" y="14"/>
                  </a:lnTo>
                  <a:lnTo>
                    <a:pt x="8" y="14"/>
                  </a:lnTo>
                  <a:lnTo>
                    <a:pt x="8" y="14"/>
                  </a:lnTo>
                  <a:lnTo>
                    <a:pt x="5" y="17"/>
                  </a:lnTo>
                  <a:lnTo>
                    <a:pt x="5" y="19"/>
                  </a:lnTo>
                  <a:lnTo>
                    <a:pt x="3" y="19"/>
                  </a:lnTo>
                  <a:lnTo>
                    <a:pt x="3" y="17"/>
                  </a:lnTo>
                  <a:lnTo>
                    <a:pt x="3" y="17"/>
                  </a:lnTo>
                  <a:lnTo>
                    <a:pt x="0" y="17"/>
                  </a:lnTo>
                  <a:lnTo>
                    <a:pt x="0" y="17"/>
                  </a:lnTo>
                  <a:lnTo>
                    <a:pt x="0" y="17"/>
                  </a:lnTo>
                  <a:lnTo>
                    <a:pt x="0" y="17"/>
                  </a:lnTo>
                  <a:lnTo>
                    <a:pt x="0" y="17"/>
                  </a:lnTo>
                  <a:lnTo>
                    <a:pt x="3" y="19"/>
                  </a:lnTo>
                  <a:lnTo>
                    <a:pt x="3" y="19"/>
                  </a:lnTo>
                  <a:lnTo>
                    <a:pt x="3" y="19"/>
                  </a:lnTo>
                  <a:lnTo>
                    <a:pt x="3" y="21"/>
                  </a:lnTo>
                  <a:lnTo>
                    <a:pt x="5" y="21"/>
                  </a:lnTo>
                  <a:lnTo>
                    <a:pt x="8" y="24"/>
                  </a:lnTo>
                  <a:lnTo>
                    <a:pt x="8" y="24"/>
                  </a:lnTo>
                  <a:lnTo>
                    <a:pt x="8" y="24"/>
                  </a:lnTo>
                  <a:lnTo>
                    <a:pt x="8" y="26"/>
                  </a:lnTo>
                  <a:lnTo>
                    <a:pt x="8" y="26"/>
                  </a:lnTo>
                  <a:lnTo>
                    <a:pt x="8" y="26"/>
                  </a:lnTo>
                  <a:lnTo>
                    <a:pt x="5" y="29"/>
                  </a:lnTo>
                  <a:lnTo>
                    <a:pt x="5" y="29"/>
                  </a:lnTo>
                  <a:lnTo>
                    <a:pt x="8" y="29"/>
                  </a:lnTo>
                  <a:lnTo>
                    <a:pt x="8" y="29"/>
                  </a:lnTo>
                  <a:lnTo>
                    <a:pt x="8" y="31"/>
                  </a:lnTo>
                  <a:lnTo>
                    <a:pt x="10" y="33"/>
                  </a:lnTo>
                  <a:lnTo>
                    <a:pt x="10" y="33"/>
                  </a:lnTo>
                  <a:lnTo>
                    <a:pt x="12" y="36"/>
                  </a:lnTo>
                  <a:lnTo>
                    <a:pt x="12" y="36"/>
                  </a:lnTo>
                  <a:lnTo>
                    <a:pt x="15" y="36"/>
                  </a:lnTo>
                  <a:lnTo>
                    <a:pt x="17" y="38"/>
                  </a:lnTo>
                  <a:lnTo>
                    <a:pt x="17" y="40"/>
                  </a:lnTo>
                  <a:lnTo>
                    <a:pt x="19" y="40"/>
                  </a:lnTo>
                  <a:lnTo>
                    <a:pt x="19" y="40"/>
                  </a:lnTo>
                  <a:lnTo>
                    <a:pt x="22" y="43"/>
                  </a:lnTo>
                  <a:lnTo>
                    <a:pt x="22" y="43"/>
                  </a:lnTo>
                  <a:lnTo>
                    <a:pt x="22" y="43"/>
                  </a:lnTo>
                  <a:lnTo>
                    <a:pt x="24" y="43"/>
                  </a:lnTo>
                  <a:lnTo>
                    <a:pt x="24" y="43"/>
                  </a:lnTo>
                  <a:lnTo>
                    <a:pt x="26" y="45"/>
                  </a:lnTo>
                  <a:lnTo>
                    <a:pt x="29" y="47"/>
                  </a:lnTo>
                  <a:lnTo>
                    <a:pt x="29" y="47"/>
                  </a:lnTo>
                  <a:lnTo>
                    <a:pt x="29" y="47"/>
                  </a:lnTo>
                  <a:lnTo>
                    <a:pt x="31" y="47"/>
                  </a:lnTo>
                  <a:lnTo>
                    <a:pt x="31" y="50"/>
                  </a:lnTo>
                  <a:lnTo>
                    <a:pt x="33" y="50"/>
                  </a:lnTo>
                  <a:lnTo>
                    <a:pt x="36" y="52"/>
                  </a:lnTo>
                  <a:lnTo>
                    <a:pt x="38" y="52"/>
                  </a:lnTo>
                  <a:lnTo>
                    <a:pt x="38" y="50"/>
                  </a:lnTo>
                  <a:lnTo>
                    <a:pt x="41" y="50"/>
                  </a:lnTo>
                  <a:lnTo>
                    <a:pt x="41" y="50"/>
                  </a:lnTo>
                  <a:lnTo>
                    <a:pt x="43" y="52"/>
                  </a:lnTo>
                  <a:lnTo>
                    <a:pt x="43" y="50"/>
                  </a:lnTo>
                  <a:lnTo>
                    <a:pt x="45" y="47"/>
                  </a:lnTo>
                  <a:lnTo>
                    <a:pt x="45" y="47"/>
                  </a:lnTo>
                  <a:lnTo>
                    <a:pt x="48" y="47"/>
                  </a:lnTo>
                  <a:lnTo>
                    <a:pt x="48" y="47"/>
                  </a:lnTo>
                  <a:lnTo>
                    <a:pt x="48" y="43"/>
                  </a:lnTo>
                  <a:lnTo>
                    <a:pt x="48" y="43"/>
                  </a:lnTo>
                  <a:lnTo>
                    <a:pt x="50" y="43"/>
                  </a:lnTo>
                  <a:lnTo>
                    <a:pt x="50" y="43"/>
                  </a:lnTo>
                  <a:lnTo>
                    <a:pt x="50" y="45"/>
                  </a:lnTo>
                  <a:lnTo>
                    <a:pt x="52" y="43"/>
                  </a:lnTo>
                  <a:lnTo>
                    <a:pt x="52" y="43"/>
                  </a:lnTo>
                  <a:lnTo>
                    <a:pt x="52" y="43"/>
                  </a:lnTo>
                  <a:lnTo>
                    <a:pt x="55" y="43"/>
                  </a:lnTo>
                  <a:lnTo>
                    <a:pt x="57" y="45"/>
                  </a:lnTo>
                  <a:lnTo>
                    <a:pt x="59" y="45"/>
                  </a:lnTo>
                  <a:lnTo>
                    <a:pt x="62" y="45"/>
                  </a:lnTo>
                  <a:lnTo>
                    <a:pt x="62" y="45"/>
                  </a:lnTo>
                  <a:lnTo>
                    <a:pt x="66" y="47"/>
                  </a:lnTo>
                  <a:lnTo>
                    <a:pt x="69" y="47"/>
                  </a:lnTo>
                  <a:lnTo>
                    <a:pt x="71" y="47"/>
                  </a:lnTo>
                  <a:lnTo>
                    <a:pt x="71" y="47"/>
                  </a:lnTo>
                  <a:lnTo>
                    <a:pt x="74" y="47"/>
                  </a:lnTo>
                  <a:lnTo>
                    <a:pt x="74" y="47"/>
                  </a:lnTo>
                  <a:lnTo>
                    <a:pt x="74" y="47"/>
                  </a:lnTo>
                  <a:lnTo>
                    <a:pt x="76" y="47"/>
                  </a:lnTo>
                  <a:lnTo>
                    <a:pt x="78" y="47"/>
                  </a:lnTo>
                  <a:lnTo>
                    <a:pt x="78" y="50"/>
                  </a:lnTo>
                  <a:lnTo>
                    <a:pt x="78" y="50"/>
                  </a:lnTo>
                  <a:lnTo>
                    <a:pt x="81" y="50"/>
                  </a:lnTo>
                  <a:lnTo>
                    <a:pt x="81" y="52"/>
                  </a:lnTo>
                  <a:lnTo>
                    <a:pt x="81" y="50"/>
                  </a:lnTo>
                  <a:lnTo>
                    <a:pt x="83" y="47"/>
                  </a:lnTo>
                  <a:lnTo>
                    <a:pt x="83" y="45"/>
                  </a:lnTo>
                  <a:lnTo>
                    <a:pt x="83" y="45"/>
                  </a:lnTo>
                  <a:lnTo>
                    <a:pt x="85" y="45"/>
                  </a:lnTo>
                  <a:lnTo>
                    <a:pt x="88" y="47"/>
                  </a:lnTo>
                  <a:lnTo>
                    <a:pt x="90" y="45"/>
                  </a:lnTo>
                  <a:lnTo>
                    <a:pt x="92" y="45"/>
                  </a:lnTo>
                  <a:lnTo>
                    <a:pt x="95" y="45"/>
                  </a:lnTo>
                  <a:lnTo>
                    <a:pt x="95" y="43"/>
                  </a:lnTo>
                  <a:lnTo>
                    <a:pt x="95" y="43"/>
                  </a:lnTo>
                  <a:lnTo>
                    <a:pt x="97" y="43"/>
                  </a:lnTo>
                  <a:lnTo>
                    <a:pt x="97" y="43"/>
                  </a:lnTo>
                  <a:lnTo>
                    <a:pt x="99" y="40"/>
                  </a:lnTo>
                  <a:lnTo>
                    <a:pt x="99" y="40"/>
                  </a:lnTo>
                  <a:lnTo>
                    <a:pt x="99" y="38"/>
                  </a:lnTo>
                  <a:lnTo>
                    <a:pt x="99" y="38"/>
                  </a:lnTo>
                  <a:lnTo>
                    <a:pt x="99" y="38"/>
                  </a:lnTo>
                  <a:lnTo>
                    <a:pt x="102" y="36"/>
                  </a:lnTo>
                  <a:lnTo>
                    <a:pt x="102" y="36"/>
                  </a:lnTo>
                  <a:lnTo>
                    <a:pt x="104" y="36"/>
                  </a:lnTo>
                  <a:lnTo>
                    <a:pt x="104" y="33"/>
                  </a:lnTo>
                  <a:lnTo>
                    <a:pt x="104" y="33"/>
                  </a:lnTo>
                  <a:lnTo>
                    <a:pt x="107" y="33"/>
                  </a:lnTo>
                  <a:lnTo>
                    <a:pt x="107" y="33"/>
                  </a:lnTo>
                  <a:lnTo>
                    <a:pt x="109" y="33"/>
                  </a:lnTo>
                  <a:lnTo>
                    <a:pt x="109" y="33"/>
                  </a:lnTo>
                  <a:lnTo>
                    <a:pt x="111" y="33"/>
                  </a:lnTo>
                  <a:lnTo>
                    <a:pt x="109" y="3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4" name="Freeform 360"/>
            <p:cNvSpPr>
              <a:spLocks/>
            </p:cNvSpPr>
            <p:nvPr userDrawn="1"/>
          </p:nvSpPr>
          <p:spPr bwMode="auto">
            <a:xfrm>
              <a:off x="4230" y="2056"/>
              <a:ext cx="38" cy="21"/>
            </a:xfrm>
            <a:custGeom>
              <a:avLst/>
              <a:gdLst>
                <a:gd name="T0" fmla="*/ 38 w 38"/>
                <a:gd name="T1" fmla="*/ 0 h 21"/>
                <a:gd name="T2" fmla="*/ 38 w 38"/>
                <a:gd name="T3" fmla="*/ 0 h 21"/>
                <a:gd name="T4" fmla="*/ 36 w 38"/>
                <a:gd name="T5" fmla="*/ 0 h 21"/>
                <a:gd name="T6" fmla="*/ 33 w 38"/>
                <a:gd name="T7" fmla="*/ 0 h 21"/>
                <a:gd name="T8" fmla="*/ 33 w 38"/>
                <a:gd name="T9" fmla="*/ 2 h 21"/>
                <a:gd name="T10" fmla="*/ 31 w 38"/>
                <a:gd name="T11" fmla="*/ 2 h 21"/>
                <a:gd name="T12" fmla="*/ 24 w 38"/>
                <a:gd name="T13" fmla="*/ 4 h 21"/>
                <a:gd name="T14" fmla="*/ 22 w 38"/>
                <a:gd name="T15" fmla="*/ 4 h 21"/>
                <a:gd name="T16" fmla="*/ 17 w 38"/>
                <a:gd name="T17" fmla="*/ 4 h 21"/>
                <a:gd name="T18" fmla="*/ 14 w 38"/>
                <a:gd name="T19" fmla="*/ 4 h 21"/>
                <a:gd name="T20" fmla="*/ 12 w 38"/>
                <a:gd name="T21" fmla="*/ 4 h 21"/>
                <a:gd name="T22" fmla="*/ 12 w 38"/>
                <a:gd name="T23" fmla="*/ 7 h 21"/>
                <a:gd name="T24" fmla="*/ 10 w 38"/>
                <a:gd name="T25" fmla="*/ 9 h 21"/>
                <a:gd name="T26" fmla="*/ 10 w 38"/>
                <a:gd name="T27" fmla="*/ 9 h 21"/>
                <a:gd name="T28" fmla="*/ 7 w 38"/>
                <a:gd name="T29" fmla="*/ 9 h 21"/>
                <a:gd name="T30" fmla="*/ 7 w 38"/>
                <a:gd name="T31" fmla="*/ 9 h 21"/>
                <a:gd name="T32" fmla="*/ 5 w 38"/>
                <a:gd name="T33" fmla="*/ 9 h 21"/>
                <a:gd name="T34" fmla="*/ 3 w 38"/>
                <a:gd name="T35" fmla="*/ 12 h 21"/>
                <a:gd name="T36" fmla="*/ 3 w 38"/>
                <a:gd name="T37" fmla="*/ 12 h 21"/>
                <a:gd name="T38" fmla="*/ 0 w 38"/>
                <a:gd name="T39" fmla="*/ 12 h 21"/>
                <a:gd name="T40" fmla="*/ 0 w 38"/>
                <a:gd name="T41" fmla="*/ 14 h 21"/>
                <a:gd name="T42" fmla="*/ 3 w 38"/>
                <a:gd name="T43" fmla="*/ 19 h 21"/>
                <a:gd name="T44" fmla="*/ 3 w 38"/>
                <a:gd name="T45" fmla="*/ 19 h 21"/>
                <a:gd name="T46" fmla="*/ 5 w 38"/>
                <a:gd name="T47" fmla="*/ 19 h 21"/>
                <a:gd name="T48" fmla="*/ 7 w 38"/>
                <a:gd name="T49" fmla="*/ 21 h 21"/>
                <a:gd name="T50" fmla="*/ 10 w 38"/>
                <a:gd name="T51" fmla="*/ 21 h 21"/>
                <a:gd name="T52" fmla="*/ 12 w 38"/>
                <a:gd name="T53" fmla="*/ 21 h 21"/>
                <a:gd name="T54" fmla="*/ 12 w 38"/>
                <a:gd name="T55" fmla="*/ 21 h 21"/>
                <a:gd name="T56" fmla="*/ 12 w 38"/>
                <a:gd name="T57" fmla="*/ 21 h 21"/>
                <a:gd name="T58" fmla="*/ 14 w 38"/>
                <a:gd name="T59" fmla="*/ 21 h 21"/>
                <a:gd name="T60" fmla="*/ 14 w 38"/>
                <a:gd name="T61" fmla="*/ 21 h 21"/>
                <a:gd name="T62" fmla="*/ 14 w 38"/>
                <a:gd name="T63" fmla="*/ 21 h 21"/>
                <a:gd name="T64" fmla="*/ 14 w 38"/>
                <a:gd name="T65" fmla="*/ 19 h 21"/>
                <a:gd name="T66" fmla="*/ 14 w 38"/>
                <a:gd name="T67" fmla="*/ 19 h 21"/>
                <a:gd name="T68" fmla="*/ 17 w 38"/>
                <a:gd name="T69" fmla="*/ 19 h 21"/>
                <a:gd name="T70" fmla="*/ 19 w 38"/>
                <a:gd name="T71" fmla="*/ 19 h 21"/>
                <a:gd name="T72" fmla="*/ 22 w 38"/>
                <a:gd name="T73" fmla="*/ 19 h 21"/>
                <a:gd name="T74" fmla="*/ 22 w 38"/>
                <a:gd name="T75" fmla="*/ 16 h 21"/>
                <a:gd name="T76" fmla="*/ 26 w 38"/>
                <a:gd name="T77" fmla="*/ 14 h 21"/>
                <a:gd name="T78" fmla="*/ 26 w 38"/>
                <a:gd name="T79" fmla="*/ 14 h 21"/>
                <a:gd name="T80" fmla="*/ 26 w 38"/>
                <a:gd name="T81" fmla="*/ 14 h 21"/>
                <a:gd name="T82" fmla="*/ 29 w 38"/>
                <a:gd name="T83" fmla="*/ 14 h 21"/>
                <a:gd name="T84" fmla="*/ 31 w 38"/>
                <a:gd name="T85" fmla="*/ 14 h 21"/>
                <a:gd name="T86" fmla="*/ 31 w 38"/>
                <a:gd name="T87" fmla="*/ 12 h 21"/>
                <a:gd name="T88" fmla="*/ 31 w 38"/>
                <a:gd name="T89" fmla="*/ 12 h 21"/>
                <a:gd name="T90" fmla="*/ 29 w 38"/>
                <a:gd name="T91" fmla="*/ 9 h 21"/>
                <a:gd name="T92" fmla="*/ 29 w 38"/>
                <a:gd name="T93" fmla="*/ 9 h 21"/>
                <a:gd name="T94" fmla="*/ 29 w 38"/>
                <a:gd name="T95" fmla="*/ 7 h 21"/>
                <a:gd name="T96" fmla="*/ 38 w 38"/>
                <a:gd name="T9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21">
                  <a:moveTo>
                    <a:pt x="38" y="0"/>
                  </a:moveTo>
                  <a:lnTo>
                    <a:pt x="38" y="0"/>
                  </a:lnTo>
                  <a:lnTo>
                    <a:pt x="36" y="0"/>
                  </a:lnTo>
                  <a:lnTo>
                    <a:pt x="33" y="0"/>
                  </a:lnTo>
                  <a:lnTo>
                    <a:pt x="33" y="2"/>
                  </a:lnTo>
                  <a:lnTo>
                    <a:pt x="31" y="2"/>
                  </a:lnTo>
                  <a:lnTo>
                    <a:pt x="24" y="4"/>
                  </a:lnTo>
                  <a:lnTo>
                    <a:pt x="22" y="4"/>
                  </a:lnTo>
                  <a:lnTo>
                    <a:pt x="17" y="4"/>
                  </a:lnTo>
                  <a:lnTo>
                    <a:pt x="14" y="4"/>
                  </a:lnTo>
                  <a:lnTo>
                    <a:pt x="12" y="4"/>
                  </a:lnTo>
                  <a:lnTo>
                    <a:pt x="12" y="7"/>
                  </a:lnTo>
                  <a:lnTo>
                    <a:pt x="10" y="9"/>
                  </a:lnTo>
                  <a:lnTo>
                    <a:pt x="10" y="9"/>
                  </a:lnTo>
                  <a:lnTo>
                    <a:pt x="7" y="9"/>
                  </a:lnTo>
                  <a:lnTo>
                    <a:pt x="7" y="9"/>
                  </a:lnTo>
                  <a:lnTo>
                    <a:pt x="5" y="9"/>
                  </a:lnTo>
                  <a:lnTo>
                    <a:pt x="3" y="12"/>
                  </a:lnTo>
                  <a:lnTo>
                    <a:pt x="3" y="12"/>
                  </a:lnTo>
                  <a:lnTo>
                    <a:pt x="0" y="12"/>
                  </a:lnTo>
                  <a:lnTo>
                    <a:pt x="0" y="14"/>
                  </a:lnTo>
                  <a:lnTo>
                    <a:pt x="3" y="19"/>
                  </a:lnTo>
                  <a:lnTo>
                    <a:pt x="3" y="19"/>
                  </a:lnTo>
                  <a:lnTo>
                    <a:pt x="5" y="19"/>
                  </a:lnTo>
                  <a:lnTo>
                    <a:pt x="7" y="21"/>
                  </a:lnTo>
                  <a:lnTo>
                    <a:pt x="10" y="21"/>
                  </a:lnTo>
                  <a:lnTo>
                    <a:pt x="12" y="21"/>
                  </a:lnTo>
                  <a:lnTo>
                    <a:pt x="12" y="21"/>
                  </a:lnTo>
                  <a:lnTo>
                    <a:pt x="12" y="21"/>
                  </a:lnTo>
                  <a:lnTo>
                    <a:pt x="14" y="21"/>
                  </a:lnTo>
                  <a:lnTo>
                    <a:pt x="14" y="21"/>
                  </a:lnTo>
                  <a:lnTo>
                    <a:pt x="14" y="21"/>
                  </a:lnTo>
                  <a:lnTo>
                    <a:pt x="14" y="19"/>
                  </a:lnTo>
                  <a:lnTo>
                    <a:pt x="14" y="19"/>
                  </a:lnTo>
                  <a:lnTo>
                    <a:pt x="17" y="19"/>
                  </a:lnTo>
                  <a:lnTo>
                    <a:pt x="19" y="19"/>
                  </a:lnTo>
                  <a:lnTo>
                    <a:pt x="22" y="19"/>
                  </a:lnTo>
                  <a:lnTo>
                    <a:pt x="22" y="16"/>
                  </a:lnTo>
                  <a:lnTo>
                    <a:pt x="26" y="14"/>
                  </a:lnTo>
                  <a:lnTo>
                    <a:pt x="26" y="14"/>
                  </a:lnTo>
                  <a:lnTo>
                    <a:pt x="26" y="14"/>
                  </a:lnTo>
                  <a:lnTo>
                    <a:pt x="29" y="14"/>
                  </a:lnTo>
                  <a:lnTo>
                    <a:pt x="31" y="14"/>
                  </a:lnTo>
                  <a:lnTo>
                    <a:pt x="31" y="12"/>
                  </a:lnTo>
                  <a:lnTo>
                    <a:pt x="31" y="12"/>
                  </a:lnTo>
                  <a:lnTo>
                    <a:pt x="29" y="9"/>
                  </a:lnTo>
                  <a:lnTo>
                    <a:pt x="29" y="9"/>
                  </a:lnTo>
                  <a:lnTo>
                    <a:pt x="29" y="7"/>
                  </a:lnTo>
                  <a:lnTo>
                    <a:pt x="38"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5" name="Freeform 361"/>
            <p:cNvSpPr>
              <a:spLocks noEditPoints="1"/>
            </p:cNvSpPr>
            <p:nvPr userDrawn="1"/>
          </p:nvSpPr>
          <p:spPr bwMode="auto">
            <a:xfrm>
              <a:off x="2112" y="2318"/>
              <a:ext cx="190" cy="71"/>
            </a:xfrm>
            <a:custGeom>
              <a:avLst/>
              <a:gdLst>
                <a:gd name="T0" fmla="*/ 35 w 190"/>
                <a:gd name="T1" fmla="*/ 26 h 71"/>
                <a:gd name="T2" fmla="*/ 33 w 190"/>
                <a:gd name="T3" fmla="*/ 33 h 71"/>
                <a:gd name="T4" fmla="*/ 30 w 190"/>
                <a:gd name="T5" fmla="*/ 33 h 71"/>
                <a:gd name="T6" fmla="*/ 35 w 190"/>
                <a:gd name="T7" fmla="*/ 38 h 71"/>
                <a:gd name="T8" fmla="*/ 40 w 190"/>
                <a:gd name="T9" fmla="*/ 31 h 71"/>
                <a:gd name="T10" fmla="*/ 190 w 190"/>
                <a:gd name="T11" fmla="*/ 62 h 71"/>
                <a:gd name="T12" fmla="*/ 183 w 190"/>
                <a:gd name="T13" fmla="*/ 57 h 71"/>
                <a:gd name="T14" fmla="*/ 174 w 190"/>
                <a:gd name="T15" fmla="*/ 52 h 71"/>
                <a:gd name="T16" fmla="*/ 165 w 190"/>
                <a:gd name="T17" fmla="*/ 52 h 71"/>
                <a:gd name="T18" fmla="*/ 167 w 190"/>
                <a:gd name="T19" fmla="*/ 50 h 71"/>
                <a:gd name="T20" fmla="*/ 167 w 190"/>
                <a:gd name="T21" fmla="*/ 45 h 71"/>
                <a:gd name="T22" fmla="*/ 155 w 190"/>
                <a:gd name="T23" fmla="*/ 43 h 71"/>
                <a:gd name="T24" fmla="*/ 148 w 190"/>
                <a:gd name="T25" fmla="*/ 38 h 71"/>
                <a:gd name="T26" fmla="*/ 146 w 190"/>
                <a:gd name="T27" fmla="*/ 38 h 71"/>
                <a:gd name="T28" fmla="*/ 141 w 190"/>
                <a:gd name="T29" fmla="*/ 36 h 71"/>
                <a:gd name="T30" fmla="*/ 136 w 190"/>
                <a:gd name="T31" fmla="*/ 33 h 71"/>
                <a:gd name="T32" fmla="*/ 139 w 190"/>
                <a:gd name="T33" fmla="*/ 33 h 71"/>
                <a:gd name="T34" fmla="*/ 134 w 190"/>
                <a:gd name="T35" fmla="*/ 29 h 71"/>
                <a:gd name="T36" fmla="*/ 134 w 190"/>
                <a:gd name="T37" fmla="*/ 31 h 71"/>
                <a:gd name="T38" fmla="*/ 124 w 190"/>
                <a:gd name="T39" fmla="*/ 24 h 71"/>
                <a:gd name="T40" fmla="*/ 113 w 190"/>
                <a:gd name="T41" fmla="*/ 17 h 71"/>
                <a:gd name="T42" fmla="*/ 103 w 190"/>
                <a:gd name="T43" fmla="*/ 17 h 71"/>
                <a:gd name="T44" fmla="*/ 94 w 190"/>
                <a:gd name="T45" fmla="*/ 7 h 71"/>
                <a:gd name="T46" fmla="*/ 91 w 190"/>
                <a:gd name="T47" fmla="*/ 5 h 71"/>
                <a:gd name="T48" fmla="*/ 84 w 190"/>
                <a:gd name="T49" fmla="*/ 5 h 71"/>
                <a:gd name="T50" fmla="*/ 75 w 190"/>
                <a:gd name="T51" fmla="*/ 3 h 71"/>
                <a:gd name="T52" fmla="*/ 70 w 190"/>
                <a:gd name="T53" fmla="*/ 0 h 71"/>
                <a:gd name="T54" fmla="*/ 54 w 190"/>
                <a:gd name="T55" fmla="*/ 0 h 71"/>
                <a:gd name="T56" fmla="*/ 35 w 190"/>
                <a:gd name="T57" fmla="*/ 5 h 71"/>
                <a:gd name="T58" fmla="*/ 14 w 190"/>
                <a:gd name="T59" fmla="*/ 14 h 71"/>
                <a:gd name="T60" fmla="*/ 9 w 190"/>
                <a:gd name="T61" fmla="*/ 24 h 71"/>
                <a:gd name="T62" fmla="*/ 0 w 190"/>
                <a:gd name="T63" fmla="*/ 29 h 71"/>
                <a:gd name="T64" fmla="*/ 4 w 190"/>
                <a:gd name="T65" fmla="*/ 29 h 71"/>
                <a:gd name="T66" fmla="*/ 7 w 190"/>
                <a:gd name="T67" fmla="*/ 29 h 71"/>
                <a:gd name="T68" fmla="*/ 14 w 190"/>
                <a:gd name="T69" fmla="*/ 26 h 71"/>
                <a:gd name="T70" fmla="*/ 18 w 190"/>
                <a:gd name="T71" fmla="*/ 22 h 71"/>
                <a:gd name="T72" fmla="*/ 25 w 190"/>
                <a:gd name="T73" fmla="*/ 22 h 71"/>
                <a:gd name="T74" fmla="*/ 30 w 190"/>
                <a:gd name="T75" fmla="*/ 19 h 71"/>
                <a:gd name="T76" fmla="*/ 35 w 190"/>
                <a:gd name="T77" fmla="*/ 14 h 71"/>
                <a:gd name="T78" fmla="*/ 56 w 190"/>
                <a:gd name="T79" fmla="*/ 12 h 71"/>
                <a:gd name="T80" fmla="*/ 61 w 190"/>
                <a:gd name="T81" fmla="*/ 12 h 71"/>
                <a:gd name="T82" fmla="*/ 54 w 190"/>
                <a:gd name="T83" fmla="*/ 17 h 71"/>
                <a:gd name="T84" fmla="*/ 56 w 190"/>
                <a:gd name="T85" fmla="*/ 22 h 71"/>
                <a:gd name="T86" fmla="*/ 68 w 190"/>
                <a:gd name="T87" fmla="*/ 22 h 71"/>
                <a:gd name="T88" fmla="*/ 70 w 190"/>
                <a:gd name="T89" fmla="*/ 22 h 71"/>
                <a:gd name="T90" fmla="*/ 80 w 190"/>
                <a:gd name="T91" fmla="*/ 24 h 71"/>
                <a:gd name="T92" fmla="*/ 84 w 190"/>
                <a:gd name="T93" fmla="*/ 26 h 71"/>
                <a:gd name="T94" fmla="*/ 99 w 190"/>
                <a:gd name="T95" fmla="*/ 33 h 71"/>
                <a:gd name="T96" fmla="*/ 110 w 190"/>
                <a:gd name="T97" fmla="*/ 33 h 71"/>
                <a:gd name="T98" fmla="*/ 115 w 190"/>
                <a:gd name="T99" fmla="*/ 45 h 71"/>
                <a:gd name="T100" fmla="*/ 120 w 190"/>
                <a:gd name="T101" fmla="*/ 52 h 71"/>
                <a:gd name="T102" fmla="*/ 132 w 190"/>
                <a:gd name="T103" fmla="*/ 52 h 71"/>
                <a:gd name="T104" fmla="*/ 136 w 190"/>
                <a:gd name="T105" fmla="*/ 55 h 71"/>
                <a:gd name="T106" fmla="*/ 136 w 190"/>
                <a:gd name="T107" fmla="*/ 59 h 71"/>
                <a:gd name="T108" fmla="*/ 129 w 190"/>
                <a:gd name="T109" fmla="*/ 71 h 71"/>
                <a:gd name="T110" fmla="*/ 141 w 190"/>
                <a:gd name="T111" fmla="*/ 69 h 71"/>
                <a:gd name="T112" fmla="*/ 160 w 190"/>
                <a:gd name="T113" fmla="*/ 69 h 71"/>
                <a:gd name="T114" fmla="*/ 172 w 190"/>
                <a:gd name="T115" fmla="*/ 69 h 71"/>
                <a:gd name="T116" fmla="*/ 172 w 190"/>
                <a:gd name="T117" fmla="*/ 69 h 71"/>
                <a:gd name="T118" fmla="*/ 179 w 190"/>
                <a:gd name="T119" fmla="*/ 66 h 71"/>
                <a:gd name="T120" fmla="*/ 190 w 190"/>
                <a:gd name="T12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 h="71">
                  <a:moveTo>
                    <a:pt x="40" y="29"/>
                  </a:moveTo>
                  <a:lnTo>
                    <a:pt x="40" y="29"/>
                  </a:lnTo>
                  <a:lnTo>
                    <a:pt x="40" y="26"/>
                  </a:lnTo>
                  <a:lnTo>
                    <a:pt x="35" y="26"/>
                  </a:lnTo>
                  <a:lnTo>
                    <a:pt x="33" y="29"/>
                  </a:lnTo>
                  <a:lnTo>
                    <a:pt x="33" y="29"/>
                  </a:lnTo>
                  <a:lnTo>
                    <a:pt x="35" y="33"/>
                  </a:lnTo>
                  <a:lnTo>
                    <a:pt x="33" y="33"/>
                  </a:lnTo>
                  <a:lnTo>
                    <a:pt x="33" y="36"/>
                  </a:lnTo>
                  <a:lnTo>
                    <a:pt x="30" y="33"/>
                  </a:lnTo>
                  <a:lnTo>
                    <a:pt x="30" y="33"/>
                  </a:lnTo>
                  <a:lnTo>
                    <a:pt x="30" y="33"/>
                  </a:lnTo>
                  <a:lnTo>
                    <a:pt x="30" y="36"/>
                  </a:lnTo>
                  <a:lnTo>
                    <a:pt x="33" y="36"/>
                  </a:lnTo>
                  <a:lnTo>
                    <a:pt x="33" y="38"/>
                  </a:lnTo>
                  <a:lnTo>
                    <a:pt x="35" y="38"/>
                  </a:lnTo>
                  <a:lnTo>
                    <a:pt x="40" y="36"/>
                  </a:lnTo>
                  <a:lnTo>
                    <a:pt x="42" y="33"/>
                  </a:lnTo>
                  <a:lnTo>
                    <a:pt x="42" y="33"/>
                  </a:lnTo>
                  <a:lnTo>
                    <a:pt x="40" y="31"/>
                  </a:lnTo>
                  <a:lnTo>
                    <a:pt x="40" y="29"/>
                  </a:lnTo>
                  <a:close/>
                  <a:moveTo>
                    <a:pt x="190" y="62"/>
                  </a:moveTo>
                  <a:lnTo>
                    <a:pt x="190" y="62"/>
                  </a:lnTo>
                  <a:lnTo>
                    <a:pt x="190" y="62"/>
                  </a:lnTo>
                  <a:lnTo>
                    <a:pt x="188" y="62"/>
                  </a:lnTo>
                  <a:lnTo>
                    <a:pt x="186" y="62"/>
                  </a:lnTo>
                  <a:lnTo>
                    <a:pt x="186" y="59"/>
                  </a:lnTo>
                  <a:lnTo>
                    <a:pt x="183" y="57"/>
                  </a:lnTo>
                  <a:lnTo>
                    <a:pt x="181" y="55"/>
                  </a:lnTo>
                  <a:lnTo>
                    <a:pt x="179" y="55"/>
                  </a:lnTo>
                  <a:lnTo>
                    <a:pt x="176" y="52"/>
                  </a:lnTo>
                  <a:lnTo>
                    <a:pt x="174" y="52"/>
                  </a:lnTo>
                  <a:lnTo>
                    <a:pt x="172" y="52"/>
                  </a:lnTo>
                  <a:lnTo>
                    <a:pt x="167" y="52"/>
                  </a:lnTo>
                  <a:lnTo>
                    <a:pt x="165" y="52"/>
                  </a:lnTo>
                  <a:lnTo>
                    <a:pt x="165" y="52"/>
                  </a:lnTo>
                  <a:lnTo>
                    <a:pt x="162" y="52"/>
                  </a:lnTo>
                  <a:lnTo>
                    <a:pt x="162" y="52"/>
                  </a:lnTo>
                  <a:lnTo>
                    <a:pt x="165" y="50"/>
                  </a:lnTo>
                  <a:lnTo>
                    <a:pt x="167" y="50"/>
                  </a:lnTo>
                  <a:lnTo>
                    <a:pt x="165" y="48"/>
                  </a:lnTo>
                  <a:lnTo>
                    <a:pt x="165" y="48"/>
                  </a:lnTo>
                  <a:lnTo>
                    <a:pt x="167" y="48"/>
                  </a:lnTo>
                  <a:lnTo>
                    <a:pt x="167" y="45"/>
                  </a:lnTo>
                  <a:lnTo>
                    <a:pt x="165" y="45"/>
                  </a:lnTo>
                  <a:lnTo>
                    <a:pt x="162" y="45"/>
                  </a:lnTo>
                  <a:lnTo>
                    <a:pt x="157" y="43"/>
                  </a:lnTo>
                  <a:lnTo>
                    <a:pt x="155" y="43"/>
                  </a:lnTo>
                  <a:lnTo>
                    <a:pt x="153" y="40"/>
                  </a:lnTo>
                  <a:lnTo>
                    <a:pt x="150" y="40"/>
                  </a:lnTo>
                  <a:lnTo>
                    <a:pt x="148" y="40"/>
                  </a:lnTo>
                  <a:lnTo>
                    <a:pt x="148" y="38"/>
                  </a:lnTo>
                  <a:lnTo>
                    <a:pt x="148" y="38"/>
                  </a:lnTo>
                  <a:lnTo>
                    <a:pt x="146" y="38"/>
                  </a:lnTo>
                  <a:lnTo>
                    <a:pt x="143" y="40"/>
                  </a:lnTo>
                  <a:lnTo>
                    <a:pt x="146" y="38"/>
                  </a:lnTo>
                  <a:lnTo>
                    <a:pt x="146" y="38"/>
                  </a:lnTo>
                  <a:lnTo>
                    <a:pt x="143" y="36"/>
                  </a:lnTo>
                  <a:lnTo>
                    <a:pt x="141" y="33"/>
                  </a:lnTo>
                  <a:lnTo>
                    <a:pt x="141" y="36"/>
                  </a:lnTo>
                  <a:lnTo>
                    <a:pt x="139" y="36"/>
                  </a:lnTo>
                  <a:lnTo>
                    <a:pt x="139" y="36"/>
                  </a:lnTo>
                  <a:lnTo>
                    <a:pt x="139" y="36"/>
                  </a:lnTo>
                  <a:lnTo>
                    <a:pt x="136" y="33"/>
                  </a:lnTo>
                  <a:lnTo>
                    <a:pt x="139" y="33"/>
                  </a:lnTo>
                  <a:lnTo>
                    <a:pt x="139" y="33"/>
                  </a:lnTo>
                  <a:lnTo>
                    <a:pt x="141" y="33"/>
                  </a:lnTo>
                  <a:lnTo>
                    <a:pt x="139" y="33"/>
                  </a:lnTo>
                  <a:lnTo>
                    <a:pt x="139" y="31"/>
                  </a:lnTo>
                  <a:lnTo>
                    <a:pt x="136" y="31"/>
                  </a:lnTo>
                  <a:lnTo>
                    <a:pt x="134" y="29"/>
                  </a:lnTo>
                  <a:lnTo>
                    <a:pt x="134" y="29"/>
                  </a:lnTo>
                  <a:lnTo>
                    <a:pt x="134" y="29"/>
                  </a:lnTo>
                  <a:lnTo>
                    <a:pt x="134" y="29"/>
                  </a:lnTo>
                  <a:lnTo>
                    <a:pt x="134" y="31"/>
                  </a:lnTo>
                  <a:lnTo>
                    <a:pt x="134" y="31"/>
                  </a:lnTo>
                  <a:lnTo>
                    <a:pt x="132" y="29"/>
                  </a:lnTo>
                  <a:lnTo>
                    <a:pt x="127" y="26"/>
                  </a:lnTo>
                  <a:lnTo>
                    <a:pt x="127" y="26"/>
                  </a:lnTo>
                  <a:lnTo>
                    <a:pt x="124" y="24"/>
                  </a:lnTo>
                  <a:lnTo>
                    <a:pt x="115" y="17"/>
                  </a:lnTo>
                  <a:lnTo>
                    <a:pt x="113" y="17"/>
                  </a:lnTo>
                  <a:lnTo>
                    <a:pt x="113" y="17"/>
                  </a:lnTo>
                  <a:lnTo>
                    <a:pt x="113" y="17"/>
                  </a:lnTo>
                  <a:lnTo>
                    <a:pt x="110" y="17"/>
                  </a:lnTo>
                  <a:lnTo>
                    <a:pt x="106" y="17"/>
                  </a:lnTo>
                  <a:lnTo>
                    <a:pt x="103" y="17"/>
                  </a:lnTo>
                  <a:lnTo>
                    <a:pt x="103" y="17"/>
                  </a:lnTo>
                  <a:lnTo>
                    <a:pt x="101" y="14"/>
                  </a:lnTo>
                  <a:lnTo>
                    <a:pt x="99" y="12"/>
                  </a:lnTo>
                  <a:lnTo>
                    <a:pt x="99" y="10"/>
                  </a:lnTo>
                  <a:lnTo>
                    <a:pt x="94" y="7"/>
                  </a:lnTo>
                  <a:lnTo>
                    <a:pt x="96" y="7"/>
                  </a:lnTo>
                  <a:lnTo>
                    <a:pt x="94" y="7"/>
                  </a:lnTo>
                  <a:lnTo>
                    <a:pt x="91" y="7"/>
                  </a:lnTo>
                  <a:lnTo>
                    <a:pt x="91" y="5"/>
                  </a:lnTo>
                  <a:lnTo>
                    <a:pt x="89" y="5"/>
                  </a:lnTo>
                  <a:lnTo>
                    <a:pt x="87" y="5"/>
                  </a:lnTo>
                  <a:lnTo>
                    <a:pt x="84" y="5"/>
                  </a:lnTo>
                  <a:lnTo>
                    <a:pt x="84" y="5"/>
                  </a:lnTo>
                  <a:lnTo>
                    <a:pt x="82" y="5"/>
                  </a:lnTo>
                  <a:lnTo>
                    <a:pt x="82" y="3"/>
                  </a:lnTo>
                  <a:lnTo>
                    <a:pt x="80" y="3"/>
                  </a:lnTo>
                  <a:lnTo>
                    <a:pt x="75" y="3"/>
                  </a:lnTo>
                  <a:lnTo>
                    <a:pt x="73" y="3"/>
                  </a:lnTo>
                  <a:lnTo>
                    <a:pt x="70" y="3"/>
                  </a:lnTo>
                  <a:lnTo>
                    <a:pt x="70" y="3"/>
                  </a:lnTo>
                  <a:lnTo>
                    <a:pt x="70" y="0"/>
                  </a:lnTo>
                  <a:lnTo>
                    <a:pt x="68" y="3"/>
                  </a:lnTo>
                  <a:lnTo>
                    <a:pt x="63" y="3"/>
                  </a:lnTo>
                  <a:lnTo>
                    <a:pt x="58" y="0"/>
                  </a:lnTo>
                  <a:lnTo>
                    <a:pt x="54" y="0"/>
                  </a:lnTo>
                  <a:lnTo>
                    <a:pt x="49" y="0"/>
                  </a:lnTo>
                  <a:lnTo>
                    <a:pt x="44" y="3"/>
                  </a:lnTo>
                  <a:lnTo>
                    <a:pt x="44" y="3"/>
                  </a:lnTo>
                  <a:lnTo>
                    <a:pt x="35" y="5"/>
                  </a:lnTo>
                  <a:lnTo>
                    <a:pt x="33" y="5"/>
                  </a:lnTo>
                  <a:lnTo>
                    <a:pt x="18" y="12"/>
                  </a:lnTo>
                  <a:lnTo>
                    <a:pt x="16" y="12"/>
                  </a:lnTo>
                  <a:lnTo>
                    <a:pt x="14" y="14"/>
                  </a:lnTo>
                  <a:lnTo>
                    <a:pt x="11" y="17"/>
                  </a:lnTo>
                  <a:lnTo>
                    <a:pt x="11" y="19"/>
                  </a:lnTo>
                  <a:lnTo>
                    <a:pt x="11" y="24"/>
                  </a:lnTo>
                  <a:lnTo>
                    <a:pt x="9" y="24"/>
                  </a:lnTo>
                  <a:lnTo>
                    <a:pt x="9" y="24"/>
                  </a:lnTo>
                  <a:lnTo>
                    <a:pt x="7" y="24"/>
                  </a:lnTo>
                  <a:lnTo>
                    <a:pt x="7" y="24"/>
                  </a:lnTo>
                  <a:lnTo>
                    <a:pt x="0" y="29"/>
                  </a:lnTo>
                  <a:lnTo>
                    <a:pt x="0" y="29"/>
                  </a:lnTo>
                  <a:lnTo>
                    <a:pt x="0" y="29"/>
                  </a:lnTo>
                  <a:lnTo>
                    <a:pt x="2" y="29"/>
                  </a:lnTo>
                  <a:lnTo>
                    <a:pt x="4" y="29"/>
                  </a:lnTo>
                  <a:lnTo>
                    <a:pt x="4" y="26"/>
                  </a:lnTo>
                  <a:lnTo>
                    <a:pt x="7" y="26"/>
                  </a:lnTo>
                  <a:lnTo>
                    <a:pt x="7" y="26"/>
                  </a:lnTo>
                  <a:lnTo>
                    <a:pt x="7" y="29"/>
                  </a:lnTo>
                  <a:lnTo>
                    <a:pt x="7" y="31"/>
                  </a:lnTo>
                  <a:lnTo>
                    <a:pt x="7" y="29"/>
                  </a:lnTo>
                  <a:lnTo>
                    <a:pt x="11" y="29"/>
                  </a:lnTo>
                  <a:lnTo>
                    <a:pt x="14" y="26"/>
                  </a:lnTo>
                  <a:lnTo>
                    <a:pt x="16" y="26"/>
                  </a:lnTo>
                  <a:lnTo>
                    <a:pt x="16" y="26"/>
                  </a:lnTo>
                  <a:lnTo>
                    <a:pt x="18" y="24"/>
                  </a:lnTo>
                  <a:lnTo>
                    <a:pt x="18" y="22"/>
                  </a:lnTo>
                  <a:lnTo>
                    <a:pt x="18" y="22"/>
                  </a:lnTo>
                  <a:lnTo>
                    <a:pt x="23" y="22"/>
                  </a:lnTo>
                  <a:lnTo>
                    <a:pt x="23" y="22"/>
                  </a:lnTo>
                  <a:lnTo>
                    <a:pt x="25" y="22"/>
                  </a:lnTo>
                  <a:lnTo>
                    <a:pt x="25" y="22"/>
                  </a:lnTo>
                  <a:lnTo>
                    <a:pt x="25" y="22"/>
                  </a:lnTo>
                  <a:lnTo>
                    <a:pt x="28" y="22"/>
                  </a:lnTo>
                  <a:lnTo>
                    <a:pt x="30" y="19"/>
                  </a:lnTo>
                  <a:lnTo>
                    <a:pt x="33" y="17"/>
                  </a:lnTo>
                  <a:lnTo>
                    <a:pt x="33" y="17"/>
                  </a:lnTo>
                  <a:lnTo>
                    <a:pt x="35" y="17"/>
                  </a:lnTo>
                  <a:lnTo>
                    <a:pt x="35" y="14"/>
                  </a:lnTo>
                  <a:lnTo>
                    <a:pt x="40" y="12"/>
                  </a:lnTo>
                  <a:lnTo>
                    <a:pt x="40" y="12"/>
                  </a:lnTo>
                  <a:lnTo>
                    <a:pt x="42" y="10"/>
                  </a:lnTo>
                  <a:lnTo>
                    <a:pt x="56" y="12"/>
                  </a:lnTo>
                  <a:lnTo>
                    <a:pt x="58" y="12"/>
                  </a:lnTo>
                  <a:lnTo>
                    <a:pt x="58" y="12"/>
                  </a:lnTo>
                  <a:lnTo>
                    <a:pt x="58" y="12"/>
                  </a:lnTo>
                  <a:lnTo>
                    <a:pt x="61" y="12"/>
                  </a:lnTo>
                  <a:lnTo>
                    <a:pt x="61" y="14"/>
                  </a:lnTo>
                  <a:lnTo>
                    <a:pt x="58" y="14"/>
                  </a:lnTo>
                  <a:lnTo>
                    <a:pt x="58" y="14"/>
                  </a:lnTo>
                  <a:lnTo>
                    <a:pt x="54" y="17"/>
                  </a:lnTo>
                  <a:lnTo>
                    <a:pt x="54" y="17"/>
                  </a:lnTo>
                  <a:lnTo>
                    <a:pt x="54" y="19"/>
                  </a:lnTo>
                  <a:lnTo>
                    <a:pt x="56" y="22"/>
                  </a:lnTo>
                  <a:lnTo>
                    <a:pt x="56" y="22"/>
                  </a:lnTo>
                  <a:lnTo>
                    <a:pt x="63" y="22"/>
                  </a:lnTo>
                  <a:lnTo>
                    <a:pt x="66" y="24"/>
                  </a:lnTo>
                  <a:lnTo>
                    <a:pt x="66" y="24"/>
                  </a:lnTo>
                  <a:lnTo>
                    <a:pt x="68" y="22"/>
                  </a:lnTo>
                  <a:lnTo>
                    <a:pt x="68" y="22"/>
                  </a:lnTo>
                  <a:lnTo>
                    <a:pt x="68" y="19"/>
                  </a:lnTo>
                  <a:lnTo>
                    <a:pt x="70" y="22"/>
                  </a:lnTo>
                  <a:lnTo>
                    <a:pt x="70" y="22"/>
                  </a:lnTo>
                  <a:lnTo>
                    <a:pt x="70" y="24"/>
                  </a:lnTo>
                  <a:lnTo>
                    <a:pt x="70" y="24"/>
                  </a:lnTo>
                  <a:lnTo>
                    <a:pt x="73" y="24"/>
                  </a:lnTo>
                  <a:lnTo>
                    <a:pt x="80" y="24"/>
                  </a:lnTo>
                  <a:lnTo>
                    <a:pt x="80" y="24"/>
                  </a:lnTo>
                  <a:lnTo>
                    <a:pt x="80" y="24"/>
                  </a:lnTo>
                  <a:lnTo>
                    <a:pt x="82" y="24"/>
                  </a:lnTo>
                  <a:lnTo>
                    <a:pt x="84" y="26"/>
                  </a:lnTo>
                  <a:lnTo>
                    <a:pt x="84" y="29"/>
                  </a:lnTo>
                  <a:lnTo>
                    <a:pt x="87" y="29"/>
                  </a:lnTo>
                  <a:lnTo>
                    <a:pt x="89" y="31"/>
                  </a:lnTo>
                  <a:lnTo>
                    <a:pt x="99" y="33"/>
                  </a:lnTo>
                  <a:lnTo>
                    <a:pt x="101" y="36"/>
                  </a:lnTo>
                  <a:lnTo>
                    <a:pt x="103" y="36"/>
                  </a:lnTo>
                  <a:lnTo>
                    <a:pt x="110" y="33"/>
                  </a:lnTo>
                  <a:lnTo>
                    <a:pt x="110" y="33"/>
                  </a:lnTo>
                  <a:lnTo>
                    <a:pt x="113" y="36"/>
                  </a:lnTo>
                  <a:lnTo>
                    <a:pt x="113" y="38"/>
                  </a:lnTo>
                  <a:lnTo>
                    <a:pt x="113" y="40"/>
                  </a:lnTo>
                  <a:lnTo>
                    <a:pt x="115" y="45"/>
                  </a:lnTo>
                  <a:lnTo>
                    <a:pt x="115" y="45"/>
                  </a:lnTo>
                  <a:lnTo>
                    <a:pt x="115" y="48"/>
                  </a:lnTo>
                  <a:lnTo>
                    <a:pt x="117" y="48"/>
                  </a:lnTo>
                  <a:lnTo>
                    <a:pt x="120" y="52"/>
                  </a:lnTo>
                  <a:lnTo>
                    <a:pt x="122" y="52"/>
                  </a:lnTo>
                  <a:lnTo>
                    <a:pt x="124" y="52"/>
                  </a:lnTo>
                  <a:lnTo>
                    <a:pt x="129" y="52"/>
                  </a:lnTo>
                  <a:lnTo>
                    <a:pt x="132" y="52"/>
                  </a:lnTo>
                  <a:lnTo>
                    <a:pt x="134" y="52"/>
                  </a:lnTo>
                  <a:lnTo>
                    <a:pt x="136" y="55"/>
                  </a:lnTo>
                  <a:lnTo>
                    <a:pt x="136" y="55"/>
                  </a:lnTo>
                  <a:lnTo>
                    <a:pt x="136" y="55"/>
                  </a:lnTo>
                  <a:lnTo>
                    <a:pt x="139" y="57"/>
                  </a:lnTo>
                  <a:lnTo>
                    <a:pt x="139" y="57"/>
                  </a:lnTo>
                  <a:lnTo>
                    <a:pt x="139" y="59"/>
                  </a:lnTo>
                  <a:lnTo>
                    <a:pt x="136" y="59"/>
                  </a:lnTo>
                  <a:lnTo>
                    <a:pt x="136" y="62"/>
                  </a:lnTo>
                  <a:lnTo>
                    <a:pt x="129" y="66"/>
                  </a:lnTo>
                  <a:lnTo>
                    <a:pt x="124" y="71"/>
                  </a:lnTo>
                  <a:lnTo>
                    <a:pt x="129" y="71"/>
                  </a:lnTo>
                  <a:lnTo>
                    <a:pt x="134" y="69"/>
                  </a:lnTo>
                  <a:lnTo>
                    <a:pt x="139" y="69"/>
                  </a:lnTo>
                  <a:lnTo>
                    <a:pt x="141" y="69"/>
                  </a:lnTo>
                  <a:lnTo>
                    <a:pt x="141" y="69"/>
                  </a:lnTo>
                  <a:lnTo>
                    <a:pt x="148" y="69"/>
                  </a:lnTo>
                  <a:lnTo>
                    <a:pt x="153" y="69"/>
                  </a:lnTo>
                  <a:lnTo>
                    <a:pt x="153" y="69"/>
                  </a:lnTo>
                  <a:lnTo>
                    <a:pt x="160" y="69"/>
                  </a:lnTo>
                  <a:lnTo>
                    <a:pt x="162" y="69"/>
                  </a:lnTo>
                  <a:lnTo>
                    <a:pt x="165" y="69"/>
                  </a:lnTo>
                  <a:lnTo>
                    <a:pt x="169" y="69"/>
                  </a:lnTo>
                  <a:lnTo>
                    <a:pt x="172" y="69"/>
                  </a:lnTo>
                  <a:lnTo>
                    <a:pt x="172" y="69"/>
                  </a:lnTo>
                  <a:lnTo>
                    <a:pt x="172" y="66"/>
                  </a:lnTo>
                  <a:lnTo>
                    <a:pt x="172" y="69"/>
                  </a:lnTo>
                  <a:lnTo>
                    <a:pt x="172" y="69"/>
                  </a:lnTo>
                  <a:lnTo>
                    <a:pt x="172" y="69"/>
                  </a:lnTo>
                  <a:lnTo>
                    <a:pt x="174" y="69"/>
                  </a:lnTo>
                  <a:lnTo>
                    <a:pt x="176" y="69"/>
                  </a:lnTo>
                  <a:lnTo>
                    <a:pt x="179" y="66"/>
                  </a:lnTo>
                  <a:lnTo>
                    <a:pt x="181" y="66"/>
                  </a:lnTo>
                  <a:lnTo>
                    <a:pt x="186" y="66"/>
                  </a:lnTo>
                  <a:lnTo>
                    <a:pt x="188" y="66"/>
                  </a:lnTo>
                  <a:lnTo>
                    <a:pt x="190" y="64"/>
                  </a:lnTo>
                  <a:lnTo>
                    <a:pt x="190" y="64"/>
                  </a:lnTo>
                  <a:lnTo>
                    <a:pt x="190" y="62"/>
                  </a:lnTo>
                  <a:lnTo>
                    <a:pt x="190" y="6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6" name="Freeform 362"/>
            <p:cNvSpPr>
              <a:spLocks noEditPoints="1"/>
            </p:cNvSpPr>
            <p:nvPr userDrawn="1"/>
          </p:nvSpPr>
          <p:spPr bwMode="auto">
            <a:xfrm>
              <a:off x="3898" y="1829"/>
              <a:ext cx="99" cy="73"/>
            </a:xfrm>
            <a:custGeom>
              <a:avLst/>
              <a:gdLst>
                <a:gd name="T0" fmla="*/ 33 w 99"/>
                <a:gd name="T1" fmla="*/ 52 h 73"/>
                <a:gd name="T2" fmla="*/ 31 w 99"/>
                <a:gd name="T3" fmla="*/ 52 h 73"/>
                <a:gd name="T4" fmla="*/ 26 w 99"/>
                <a:gd name="T5" fmla="*/ 45 h 73"/>
                <a:gd name="T6" fmla="*/ 31 w 99"/>
                <a:gd name="T7" fmla="*/ 45 h 73"/>
                <a:gd name="T8" fmla="*/ 24 w 99"/>
                <a:gd name="T9" fmla="*/ 40 h 73"/>
                <a:gd name="T10" fmla="*/ 24 w 99"/>
                <a:gd name="T11" fmla="*/ 38 h 73"/>
                <a:gd name="T12" fmla="*/ 21 w 99"/>
                <a:gd name="T13" fmla="*/ 35 h 73"/>
                <a:gd name="T14" fmla="*/ 24 w 99"/>
                <a:gd name="T15" fmla="*/ 33 h 73"/>
                <a:gd name="T16" fmla="*/ 19 w 99"/>
                <a:gd name="T17" fmla="*/ 28 h 73"/>
                <a:gd name="T18" fmla="*/ 19 w 99"/>
                <a:gd name="T19" fmla="*/ 33 h 73"/>
                <a:gd name="T20" fmla="*/ 99 w 99"/>
                <a:gd name="T21" fmla="*/ 26 h 73"/>
                <a:gd name="T22" fmla="*/ 92 w 99"/>
                <a:gd name="T23" fmla="*/ 21 h 73"/>
                <a:gd name="T24" fmla="*/ 90 w 99"/>
                <a:gd name="T25" fmla="*/ 19 h 73"/>
                <a:gd name="T26" fmla="*/ 90 w 99"/>
                <a:gd name="T27" fmla="*/ 12 h 73"/>
                <a:gd name="T28" fmla="*/ 87 w 99"/>
                <a:gd name="T29" fmla="*/ 12 h 73"/>
                <a:gd name="T30" fmla="*/ 80 w 99"/>
                <a:gd name="T31" fmla="*/ 14 h 73"/>
                <a:gd name="T32" fmla="*/ 68 w 99"/>
                <a:gd name="T33" fmla="*/ 12 h 73"/>
                <a:gd name="T34" fmla="*/ 64 w 99"/>
                <a:gd name="T35" fmla="*/ 9 h 73"/>
                <a:gd name="T36" fmla="*/ 54 w 99"/>
                <a:gd name="T37" fmla="*/ 2 h 73"/>
                <a:gd name="T38" fmla="*/ 47 w 99"/>
                <a:gd name="T39" fmla="*/ 0 h 73"/>
                <a:gd name="T40" fmla="*/ 45 w 99"/>
                <a:gd name="T41" fmla="*/ 2 h 73"/>
                <a:gd name="T42" fmla="*/ 38 w 99"/>
                <a:gd name="T43" fmla="*/ 5 h 73"/>
                <a:gd name="T44" fmla="*/ 35 w 99"/>
                <a:gd name="T45" fmla="*/ 7 h 73"/>
                <a:gd name="T46" fmla="*/ 35 w 99"/>
                <a:gd name="T47" fmla="*/ 14 h 73"/>
                <a:gd name="T48" fmla="*/ 31 w 99"/>
                <a:gd name="T49" fmla="*/ 16 h 73"/>
                <a:gd name="T50" fmla="*/ 31 w 99"/>
                <a:gd name="T51" fmla="*/ 21 h 73"/>
                <a:gd name="T52" fmla="*/ 24 w 99"/>
                <a:gd name="T53" fmla="*/ 21 h 73"/>
                <a:gd name="T54" fmla="*/ 19 w 99"/>
                <a:gd name="T55" fmla="*/ 16 h 73"/>
                <a:gd name="T56" fmla="*/ 14 w 99"/>
                <a:gd name="T57" fmla="*/ 21 h 73"/>
                <a:gd name="T58" fmla="*/ 9 w 99"/>
                <a:gd name="T59" fmla="*/ 21 h 73"/>
                <a:gd name="T60" fmla="*/ 2 w 99"/>
                <a:gd name="T61" fmla="*/ 19 h 73"/>
                <a:gd name="T62" fmla="*/ 5 w 99"/>
                <a:gd name="T63" fmla="*/ 33 h 73"/>
                <a:gd name="T64" fmla="*/ 12 w 99"/>
                <a:gd name="T65" fmla="*/ 33 h 73"/>
                <a:gd name="T66" fmla="*/ 19 w 99"/>
                <a:gd name="T67" fmla="*/ 23 h 73"/>
                <a:gd name="T68" fmla="*/ 24 w 99"/>
                <a:gd name="T69" fmla="*/ 38 h 73"/>
                <a:gd name="T70" fmla="*/ 33 w 99"/>
                <a:gd name="T71" fmla="*/ 47 h 73"/>
                <a:gd name="T72" fmla="*/ 28 w 99"/>
                <a:gd name="T73" fmla="*/ 49 h 73"/>
                <a:gd name="T74" fmla="*/ 42 w 99"/>
                <a:gd name="T75" fmla="*/ 61 h 73"/>
                <a:gd name="T76" fmla="*/ 47 w 99"/>
                <a:gd name="T77" fmla="*/ 61 h 73"/>
                <a:gd name="T78" fmla="*/ 66 w 99"/>
                <a:gd name="T79" fmla="*/ 71 h 73"/>
                <a:gd name="T80" fmla="*/ 71 w 99"/>
                <a:gd name="T81" fmla="*/ 73 h 73"/>
                <a:gd name="T82" fmla="*/ 64 w 99"/>
                <a:gd name="T83" fmla="*/ 64 h 73"/>
                <a:gd name="T84" fmla="*/ 54 w 99"/>
                <a:gd name="T85" fmla="*/ 57 h 73"/>
                <a:gd name="T86" fmla="*/ 47 w 99"/>
                <a:gd name="T87" fmla="*/ 47 h 73"/>
                <a:gd name="T88" fmla="*/ 40 w 99"/>
                <a:gd name="T89" fmla="*/ 38 h 73"/>
                <a:gd name="T90" fmla="*/ 40 w 99"/>
                <a:gd name="T91" fmla="*/ 26 h 73"/>
                <a:gd name="T92" fmla="*/ 47 w 99"/>
                <a:gd name="T93" fmla="*/ 31 h 73"/>
                <a:gd name="T94" fmla="*/ 57 w 99"/>
                <a:gd name="T95" fmla="*/ 26 h 73"/>
                <a:gd name="T96" fmla="*/ 64 w 99"/>
                <a:gd name="T97" fmla="*/ 26 h 73"/>
                <a:gd name="T98" fmla="*/ 71 w 99"/>
                <a:gd name="T99" fmla="*/ 28 h 73"/>
                <a:gd name="T100" fmla="*/ 78 w 99"/>
                <a:gd name="T101" fmla="*/ 28 h 73"/>
                <a:gd name="T102" fmla="*/ 85 w 99"/>
                <a:gd name="T103" fmla="*/ 28 h 73"/>
                <a:gd name="T104" fmla="*/ 90 w 99"/>
                <a:gd name="T105" fmla="*/ 33 h 73"/>
                <a:gd name="T106" fmla="*/ 92 w 99"/>
                <a:gd name="T107" fmla="*/ 33 h 73"/>
                <a:gd name="T108" fmla="*/ 94 w 99"/>
                <a:gd name="T109" fmla="*/ 28 h 73"/>
                <a:gd name="T110" fmla="*/ 97 w 99"/>
                <a:gd name="T111"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 h="73">
                  <a:moveTo>
                    <a:pt x="31" y="52"/>
                  </a:moveTo>
                  <a:lnTo>
                    <a:pt x="31" y="54"/>
                  </a:lnTo>
                  <a:lnTo>
                    <a:pt x="33" y="54"/>
                  </a:lnTo>
                  <a:lnTo>
                    <a:pt x="33" y="54"/>
                  </a:lnTo>
                  <a:lnTo>
                    <a:pt x="33" y="52"/>
                  </a:lnTo>
                  <a:lnTo>
                    <a:pt x="31" y="52"/>
                  </a:lnTo>
                  <a:close/>
                  <a:moveTo>
                    <a:pt x="28" y="49"/>
                  </a:moveTo>
                  <a:lnTo>
                    <a:pt x="28" y="49"/>
                  </a:lnTo>
                  <a:lnTo>
                    <a:pt x="28" y="49"/>
                  </a:lnTo>
                  <a:lnTo>
                    <a:pt x="31" y="52"/>
                  </a:lnTo>
                  <a:lnTo>
                    <a:pt x="31" y="52"/>
                  </a:lnTo>
                  <a:lnTo>
                    <a:pt x="28" y="49"/>
                  </a:lnTo>
                  <a:close/>
                  <a:moveTo>
                    <a:pt x="24" y="42"/>
                  </a:moveTo>
                  <a:lnTo>
                    <a:pt x="26" y="45"/>
                  </a:lnTo>
                  <a:lnTo>
                    <a:pt x="26" y="45"/>
                  </a:lnTo>
                  <a:lnTo>
                    <a:pt x="28" y="45"/>
                  </a:lnTo>
                  <a:lnTo>
                    <a:pt x="28" y="47"/>
                  </a:lnTo>
                  <a:lnTo>
                    <a:pt x="28" y="45"/>
                  </a:lnTo>
                  <a:lnTo>
                    <a:pt x="31" y="45"/>
                  </a:lnTo>
                  <a:lnTo>
                    <a:pt x="31" y="45"/>
                  </a:lnTo>
                  <a:lnTo>
                    <a:pt x="28" y="45"/>
                  </a:lnTo>
                  <a:lnTo>
                    <a:pt x="26" y="42"/>
                  </a:lnTo>
                  <a:lnTo>
                    <a:pt x="24" y="40"/>
                  </a:lnTo>
                  <a:lnTo>
                    <a:pt x="24" y="40"/>
                  </a:lnTo>
                  <a:lnTo>
                    <a:pt x="24" y="40"/>
                  </a:lnTo>
                  <a:lnTo>
                    <a:pt x="21" y="38"/>
                  </a:lnTo>
                  <a:lnTo>
                    <a:pt x="21" y="40"/>
                  </a:lnTo>
                  <a:lnTo>
                    <a:pt x="24" y="42"/>
                  </a:lnTo>
                  <a:lnTo>
                    <a:pt x="24" y="42"/>
                  </a:lnTo>
                  <a:close/>
                  <a:moveTo>
                    <a:pt x="24" y="38"/>
                  </a:moveTo>
                  <a:lnTo>
                    <a:pt x="24" y="38"/>
                  </a:lnTo>
                  <a:lnTo>
                    <a:pt x="21" y="35"/>
                  </a:lnTo>
                  <a:lnTo>
                    <a:pt x="21" y="35"/>
                  </a:lnTo>
                  <a:lnTo>
                    <a:pt x="21" y="35"/>
                  </a:lnTo>
                  <a:lnTo>
                    <a:pt x="21" y="35"/>
                  </a:lnTo>
                  <a:lnTo>
                    <a:pt x="21" y="35"/>
                  </a:lnTo>
                  <a:lnTo>
                    <a:pt x="21" y="38"/>
                  </a:lnTo>
                  <a:lnTo>
                    <a:pt x="21" y="38"/>
                  </a:lnTo>
                  <a:lnTo>
                    <a:pt x="24" y="38"/>
                  </a:lnTo>
                  <a:close/>
                  <a:moveTo>
                    <a:pt x="24" y="33"/>
                  </a:moveTo>
                  <a:lnTo>
                    <a:pt x="21" y="28"/>
                  </a:lnTo>
                  <a:lnTo>
                    <a:pt x="21" y="28"/>
                  </a:lnTo>
                  <a:lnTo>
                    <a:pt x="19" y="26"/>
                  </a:lnTo>
                  <a:lnTo>
                    <a:pt x="19" y="26"/>
                  </a:lnTo>
                  <a:lnTo>
                    <a:pt x="19" y="28"/>
                  </a:lnTo>
                  <a:lnTo>
                    <a:pt x="17" y="28"/>
                  </a:lnTo>
                  <a:lnTo>
                    <a:pt x="17" y="28"/>
                  </a:lnTo>
                  <a:lnTo>
                    <a:pt x="19" y="31"/>
                  </a:lnTo>
                  <a:lnTo>
                    <a:pt x="19" y="31"/>
                  </a:lnTo>
                  <a:lnTo>
                    <a:pt x="19" y="33"/>
                  </a:lnTo>
                  <a:lnTo>
                    <a:pt x="21" y="33"/>
                  </a:lnTo>
                  <a:lnTo>
                    <a:pt x="24" y="33"/>
                  </a:lnTo>
                  <a:close/>
                  <a:moveTo>
                    <a:pt x="99" y="26"/>
                  </a:moveTo>
                  <a:lnTo>
                    <a:pt x="99" y="26"/>
                  </a:lnTo>
                  <a:lnTo>
                    <a:pt x="99" y="26"/>
                  </a:lnTo>
                  <a:lnTo>
                    <a:pt x="99" y="26"/>
                  </a:lnTo>
                  <a:lnTo>
                    <a:pt x="97" y="23"/>
                  </a:lnTo>
                  <a:lnTo>
                    <a:pt x="94" y="23"/>
                  </a:lnTo>
                  <a:lnTo>
                    <a:pt x="92" y="21"/>
                  </a:lnTo>
                  <a:lnTo>
                    <a:pt x="92" y="21"/>
                  </a:lnTo>
                  <a:lnTo>
                    <a:pt x="92" y="21"/>
                  </a:lnTo>
                  <a:lnTo>
                    <a:pt x="94" y="19"/>
                  </a:lnTo>
                  <a:lnTo>
                    <a:pt x="92" y="19"/>
                  </a:lnTo>
                  <a:lnTo>
                    <a:pt x="92" y="19"/>
                  </a:lnTo>
                  <a:lnTo>
                    <a:pt x="90" y="19"/>
                  </a:lnTo>
                  <a:lnTo>
                    <a:pt x="92" y="16"/>
                  </a:lnTo>
                  <a:lnTo>
                    <a:pt x="90" y="14"/>
                  </a:lnTo>
                  <a:lnTo>
                    <a:pt x="90" y="14"/>
                  </a:lnTo>
                  <a:lnTo>
                    <a:pt x="90" y="12"/>
                  </a:lnTo>
                  <a:lnTo>
                    <a:pt x="90" y="12"/>
                  </a:lnTo>
                  <a:lnTo>
                    <a:pt x="90" y="12"/>
                  </a:lnTo>
                  <a:lnTo>
                    <a:pt x="90" y="12"/>
                  </a:lnTo>
                  <a:lnTo>
                    <a:pt x="90" y="12"/>
                  </a:lnTo>
                  <a:lnTo>
                    <a:pt x="87" y="12"/>
                  </a:lnTo>
                  <a:lnTo>
                    <a:pt x="87" y="12"/>
                  </a:lnTo>
                  <a:lnTo>
                    <a:pt x="85" y="14"/>
                  </a:lnTo>
                  <a:lnTo>
                    <a:pt x="85" y="14"/>
                  </a:lnTo>
                  <a:lnTo>
                    <a:pt x="83" y="14"/>
                  </a:lnTo>
                  <a:lnTo>
                    <a:pt x="83" y="14"/>
                  </a:lnTo>
                  <a:lnTo>
                    <a:pt x="80" y="14"/>
                  </a:lnTo>
                  <a:lnTo>
                    <a:pt x="80" y="14"/>
                  </a:lnTo>
                  <a:lnTo>
                    <a:pt x="75" y="14"/>
                  </a:lnTo>
                  <a:lnTo>
                    <a:pt x="73" y="14"/>
                  </a:lnTo>
                  <a:lnTo>
                    <a:pt x="71" y="14"/>
                  </a:lnTo>
                  <a:lnTo>
                    <a:pt x="68" y="12"/>
                  </a:lnTo>
                  <a:lnTo>
                    <a:pt x="68" y="12"/>
                  </a:lnTo>
                  <a:lnTo>
                    <a:pt x="68" y="12"/>
                  </a:lnTo>
                  <a:lnTo>
                    <a:pt x="66" y="12"/>
                  </a:lnTo>
                  <a:lnTo>
                    <a:pt x="64" y="9"/>
                  </a:lnTo>
                  <a:lnTo>
                    <a:pt x="64" y="9"/>
                  </a:lnTo>
                  <a:lnTo>
                    <a:pt x="61" y="7"/>
                  </a:lnTo>
                  <a:lnTo>
                    <a:pt x="59" y="7"/>
                  </a:lnTo>
                  <a:lnTo>
                    <a:pt x="57" y="5"/>
                  </a:lnTo>
                  <a:lnTo>
                    <a:pt x="57" y="2"/>
                  </a:lnTo>
                  <a:lnTo>
                    <a:pt x="54" y="2"/>
                  </a:lnTo>
                  <a:lnTo>
                    <a:pt x="52" y="0"/>
                  </a:lnTo>
                  <a:lnTo>
                    <a:pt x="50" y="0"/>
                  </a:lnTo>
                  <a:lnTo>
                    <a:pt x="50" y="0"/>
                  </a:lnTo>
                  <a:lnTo>
                    <a:pt x="47" y="0"/>
                  </a:lnTo>
                  <a:lnTo>
                    <a:pt x="47" y="0"/>
                  </a:lnTo>
                  <a:lnTo>
                    <a:pt x="47" y="0"/>
                  </a:lnTo>
                  <a:lnTo>
                    <a:pt x="45" y="0"/>
                  </a:lnTo>
                  <a:lnTo>
                    <a:pt x="47" y="2"/>
                  </a:lnTo>
                  <a:lnTo>
                    <a:pt x="45" y="2"/>
                  </a:lnTo>
                  <a:lnTo>
                    <a:pt x="45" y="2"/>
                  </a:lnTo>
                  <a:lnTo>
                    <a:pt x="42" y="2"/>
                  </a:lnTo>
                  <a:lnTo>
                    <a:pt x="42" y="5"/>
                  </a:lnTo>
                  <a:lnTo>
                    <a:pt x="40" y="5"/>
                  </a:lnTo>
                  <a:lnTo>
                    <a:pt x="40" y="5"/>
                  </a:lnTo>
                  <a:lnTo>
                    <a:pt x="38" y="5"/>
                  </a:lnTo>
                  <a:lnTo>
                    <a:pt x="38" y="5"/>
                  </a:lnTo>
                  <a:lnTo>
                    <a:pt x="35" y="5"/>
                  </a:lnTo>
                  <a:lnTo>
                    <a:pt x="35" y="7"/>
                  </a:lnTo>
                  <a:lnTo>
                    <a:pt x="35" y="7"/>
                  </a:lnTo>
                  <a:lnTo>
                    <a:pt x="35" y="7"/>
                  </a:lnTo>
                  <a:lnTo>
                    <a:pt x="35" y="9"/>
                  </a:lnTo>
                  <a:lnTo>
                    <a:pt x="38" y="9"/>
                  </a:lnTo>
                  <a:lnTo>
                    <a:pt x="38" y="12"/>
                  </a:lnTo>
                  <a:lnTo>
                    <a:pt x="35" y="12"/>
                  </a:lnTo>
                  <a:lnTo>
                    <a:pt x="35" y="14"/>
                  </a:lnTo>
                  <a:lnTo>
                    <a:pt x="33" y="14"/>
                  </a:lnTo>
                  <a:lnTo>
                    <a:pt x="31" y="16"/>
                  </a:lnTo>
                  <a:lnTo>
                    <a:pt x="31" y="16"/>
                  </a:lnTo>
                  <a:lnTo>
                    <a:pt x="31" y="16"/>
                  </a:lnTo>
                  <a:lnTo>
                    <a:pt x="31" y="16"/>
                  </a:lnTo>
                  <a:lnTo>
                    <a:pt x="31" y="19"/>
                  </a:lnTo>
                  <a:lnTo>
                    <a:pt x="31" y="19"/>
                  </a:lnTo>
                  <a:lnTo>
                    <a:pt x="31" y="19"/>
                  </a:lnTo>
                  <a:lnTo>
                    <a:pt x="31" y="21"/>
                  </a:lnTo>
                  <a:lnTo>
                    <a:pt x="31" y="21"/>
                  </a:lnTo>
                  <a:lnTo>
                    <a:pt x="31" y="21"/>
                  </a:lnTo>
                  <a:lnTo>
                    <a:pt x="28" y="21"/>
                  </a:lnTo>
                  <a:lnTo>
                    <a:pt x="26" y="21"/>
                  </a:lnTo>
                  <a:lnTo>
                    <a:pt x="24" y="21"/>
                  </a:lnTo>
                  <a:lnTo>
                    <a:pt x="24" y="21"/>
                  </a:lnTo>
                  <a:lnTo>
                    <a:pt x="21" y="21"/>
                  </a:lnTo>
                  <a:lnTo>
                    <a:pt x="21" y="19"/>
                  </a:lnTo>
                  <a:lnTo>
                    <a:pt x="19" y="19"/>
                  </a:lnTo>
                  <a:lnTo>
                    <a:pt x="19" y="19"/>
                  </a:lnTo>
                  <a:lnTo>
                    <a:pt x="19" y="16"/>
                  </a:lnTo>
                  <a:lnTo>
                    <a:pt x="19" y="16"/>
                  </a:lnTo>
                  <a:lnTo>
                    <a:pt x="19" y="16"/>
                  </a:lnTo>
                  <a:lnTo>
                    <a:pt x="17" y="19"/>
                  </a:lnTo>
                  <a:lnTo>
                    <a:pt x="17" y="21"/>
                  </a:lnTo>
                  <a:lnTo>
                    <a:pt x="14" y="21"/>
                  </a:lnTo>
                  <a:lnTo>
                    <a:pt x="14" y="21"/>
                  </a:lnTo>
                  <a:lnTo>
                    <a:pt x="12" y="21"/>
                  </a:lnTo>
                  <a:lnTo>
                    <a:pt x="9" y="21"/>
                  </a:lnTo>
                  <a:lnTo>
                    <a:pt x="9" y="19"/>
                  </a:lnTo>
                  <a:lnTo>
                    <a:pt x="9" y="21"/>
                  </a:lnTo>
                  <a:lnTo>
                    <a:pt x="9" y="21"/>
                  </a:lnTo>
                  <a:lnTo>
                    <a:pt x="7" y="21"/>
                  </a:lnTo>
                  <a:lnTo>
                    <a:pt x="7" y="21"/>
                  </a:lnTo>
                  <a:lnTo>
                    <a:pt x="2" y="21"/>
                  </a:lnTo>
                  <a:lnTo>
                    <a:pt x="2" y="19"/>
                  </a:lnTo>
                  <a:lnTo>
                    <a:pt x="0" y="21"/>
                  </a:lnTo>
                  <a:lnTo>
                    <a:pt x="2" y="26"/>
                  </a:lnTo>
                  <a:lnTo>
                    <a:pt x="2" y="26"/>
                  </a:lnTo>
                  <a:lnTo>
                    <a:pt x="2" y="28"/>
                  </a:lnTo>
                  <a:lnTo>
                    <a:pt x="5" y="33"/>
                  </a:lnTo>
                  <a:lnTo>
                    <a:pt x="7" y="35"/>
                  </a:lnTo>
                  <a:lnTo>
                    <a:pt x="7" y="35"/>
                  </a:lnTo>
                  <a:lnTo>
                    <a:pt x="9" y="35"/>
                  </a:lnTo>
                  <a:lnTo>
                    <a:pt x="9" y="33"/>
                  </a:lnTo>
                  <a:lnTo>
                    <a:pt x="12" y="33"/>
                  </a:lnTo>
                  <a:lnTo>
                    <a:pt x="14" y="28"/>
                  </a:lnTo>
                  <a:lnTo>
                    <a:pt x="14" y="23"/>
                  </a:lnTo>
                  <a:lnTo>
                    <a:pt x="14" y="23"/>
                  </a:lnTo>
                  <a:lnTo>
                    <a:pt x="17" y="23"/>
                  </a:lnTo>
                  <a:lnTo>
                    <a:pt x="19" y="23"/>
                  </a:lnTo>
                  <a:lnTo>
                    <a:pt x="19" y="26"/>
                  </a:lnTo>
                  <a:lnTo>
                    <a:pt x="24" y="28"/>
                  </a:lnTo>
                  <a:lnTo>
                    <a:pt x="24" y="33"/>
                  </a:lnTo>
                  <a:lnTo>
                    <a:pt x="24" y="35"/>
                  </a:lnTo>
                  <a:lnTo>
                    <a:pt x="24" y="38"/>
                  </a:lnTo>
                  <a:lnTo>
                    <a:pt x="26" y="40"/>
                  </a:lnTo>
                  <a:lnTo>
                    <a:pt x="31" y="45"/>
                  </a:lnTo>
                  <a:lnTo>
                    <a:pt x="33" y="45"/>
                  </a:lnTo>
                  <a:lnTo>
                    <a:pt x="33" y="47"/>
                  </a:lnTo>
                  <a:lnTo>
                    <a:pt x="33" y="47"/>
                  </a:lnTo>
                  <a:lnTo>
                    <a:pt x="31" y="47"/>
                  </a:lnTo>
                  <a:lnTo>
                    <a:pt x="31" y="47"/>
                  </a:lnTo>
                  <a:lnTo>
                    <a:pt x="28" y="47"/>
                  </a:lnTo>
                  <a:lnTo>
                    <a:pt x="28" y="47"/>
                  </a:lnTo>
                  <a:lnTo>
                    <a:pt x="28" y="49"/>
                  </a:lnTo>
                  <a:lnTo>
                    <a:pt x="35" y="54"/>
                  </a:lnTo>
                  <a:lnTo>
                    <a:pt x="38" y="57"/>
                  </a:lnTo>
                  <a:lnTo>
                    <a:pt x="40" y="59"/>
                  </a:lnTo>
                  <a:lnTo>
                    <a:pt x="42" y="59"/>
                  </a:lnTo>
                  <a:lnTo>
                    <a:pt x="42" y="61"/>
                  </a:lnTo>
                  <a:lnTo>
                    <a:pt x="42" y="61"/>
                  </a:lnTo>
                  <a:lnTo>
                    <a:pt x="42" y="61"/>
                  </a:lnTo>
                  <a:lnTo>
                    <a:pt x="45" y="64"/>
                  </a:lnTo>
                  <a:lnTo>
                    <a:pt x="45" y="64"/>
                  </a:lnTo>
                  <a:lnTo>
                    <a:pt x="47" y="61"/>
                  </a:lnTo>
                  <a:lnTo>
                    <a:pt x="50" y="61"/>
                  </a:lnTo>
                  <a:lnTo>
                    <a:pt x="54" y="64"/>
                  </a:lnTo>
                  <a:lnTo>
                    <a:pt x="59" y="66"/>
                  </a:lnTo>
                  <a:lnTo>
                    <a:pt x="64" y="68"/>
                  </a:lnTo>
                  <a:lnTo>
                    <a:pt x="66" y="71"/>
                  </a:lnTo>
                  <a:lnTo>
                    <a:pt x="68" y="73"/>
                  </a:lnTo>
                  <a:lnTo>
                    <a:pt x="71" y="73"/>
                  </a:lnTo>
                  <a:lnTo>
                    <a:pt x="71" y="73"/>
                  </a:lnTo>
                  <a:lnTo>
                    <a:pt x="71" y="73"/>
                  </a:lnTo>
                  <a:lnTo>
                    <a:pt x="71" y="73"/>
                  </a:lnTo>
                  <a:lnTo>
                    <a:pt x="71" y="73"/>
                  </a:lnTo>
                  <a:lnTo>
                    <a:pt x="66" y="68"/>
                  </a:lnTo>
                  <a:lnTo>
                    <a:pt x="66" y="66"/>
                  </a:lnTo>
                  <a:lnTo>
                    <a:pt x="66" y="66"/>
                  </a:lnTo>
                  <a:lnTo>
                    <a:pt x="64" y="64"/>
                  </a:lnTo>
                  <a:lnTo>
                    <a:pt x="64" y="64"/>
                  </a:lnTo>
                  <a:lnTo>
                    <a:pt x="61" y="61"/>
                  </a:lnTo>
                  <a:lnTo>
                    <a:pt x="59" y="59"/>
                  </a:lnTo>
                  <a:lnTo>
                    <a:pt x="54" y="57"/>
                  </a:lnTo>
                  <a:lnTo>
                    <a:pt x="54" y="57"/>
                  </a:lnTo>
                  <a:lnTo>
                    <a:pt x="52" y="54"/>
                  </a:lnTo>
                  <a:lnTo>
                    <a:pt x="52" y="52"/>
                  </a:lnTo>
                  <a:lnTo>
                    <a:pt x="50" y="52"/>
                  </a:lnTo>
                  <a:lnTo>
                    <a:pt x="47" y="49"/>
                  </a:lnTo>
                  <a:lnTo>
                    <a:pt x="47" y="47"/>
                  </a:lnTo>
                  <a:lnTo>
                    <a:pt x="45" y="45"/>
                  </a:lnTo>
                  <a:lnTo>
                    <a:pt x="45" y="42"/>
                  </a:lnTo>
                  <a:lnTo>
                    <a:pt x="45" y="42"/>
                  </a:lnTo>
                  <a:lnTo>
                    <a:pt x="45" y="42"/>
                  </a:lnTo>
                  <a:lnTo>
                    <a:pt x="40" y="38"/>
                  </a:lnTo>
                  <a:lnTo>
                    <a:pt x="38" y="38"/>
                  </a:lnTo>
                  <a:lnTo>
                    <a:pt x="38" y="35"/>
                  </a:lnTo>
                  <a:lnTo>
                    <a:pt x="38" y="31"/>
                  </a:lnTo>
                  <a:lnTo>
                    <a:pt x="40" y="26"/>
                  </a:lnTo>
                  <a:lnTo>
                    <a:pt x="40" y="26"/>
                  </a:lnTo>
                  <a:lnTo>
                    <a:pt x="40" y="26"/>
                  </a:lnTo>
                  <a:lnTo>
                    <a:pt x="42" y="26"/>
                  </a:lnTo>
                  <a:lnTo>
                    <a:pt x="42" y="26"/>
                  </a:lnTo>
                  <a:lnTo>
                    <a:pt x="45" y="28"/>
                  </a:lnTo>
                  <a:lnTo>
                    <a:pt x="47" y="31"/>
                  </a:lnTo>
                  <a:lnTo>
                    <a:pt x="47" y="31"/>
                  </a:lnTo>
                  <a:lnTo>
                    <a:pt x="50" y="28"/>
                  </a:lnTo>
                  <a:lnTo>
                    <a:pt x="50" y="26"/>
                  </a:lnTo>
                  <a:lnTo>
                    <a:pt x="52" y="26"/>
                  </a:lnTo>
                  <a:lnTo>
                    <a:pt x="57" y="26"/>
                  </a:lnTo>
                  <a:lnTo>
                    <a:pt x="57" y="26"/>
                  </a:lnTo>
                  <a:lnTo>
                    <a:pt x="61" y="26"/>
                  </a:lnTo>
                  <a:lnTo>
                    <a:pt x="64" y="28"/>
                  </a:lnTo>
                  <a:lnTo>
                    <a:pt x="64" y="26"/>
                  </a:lnTo>
                  <a:lnTo>
                    <a:pt x="64" y="26"/>
                  </a:lnTo>
                  <a:lnTo>
                    <a:pt x="66" y="28"/>
                  </a:lnTo>
                  <a:lnTo>
                    <a:pt x="68" y="28"/>
                  </a:lnTo>
                  <a:lnTo>
                    <a:pt x="68" y="28"/>
                  </a:lnTo>
                  <a:lnTo>
                    <a:pt x="71" y="26"/>
                  </a:lnTo>
                  <a:lnTo>
                    <a:pt x="71" y="28"/>
                  </a:lnTo>
                  <a:lnTo>
                    <a:pt x="73" y="28"/>
                  </a:lnTo>
                  <a:lnTo>
                    <a:pt x="73" y="28"/>
                  </a:lnTo>
                  <a:lnTo>
                    <a:pt x="75" y="28"/>
                  </a:lnTo>
                  <a:lnTo>
                    <a:pt x="75" y="28"/>
                  </a:lnTo>
                  <a:lnTo>
                    <a:pt x="78" y="28"/>
                  </a:lnTo>
                  <a:lnTo>
                    <a:pt x="80" y="28"/>
                  </a:lnTo>
                  <a:lnTo>
                    <a:pt x="80" y="28"/>
                  </a:lnTo>
                  <a:lnTo>
                    <a:pt x="83" y="28"/>
                  </a:lnTo>
                  <a:lnTo>
                    <a:pt x="83" y="28"/>
                  </a:lnTo>
                  <a:lnTo>
                    <a:pt x="85" y="28"/>
                  </a:lnTo>
                  <a:lnTo>
                    <a:pt x="87" y="28"/>
                  </a:lnTo>
                  <a:lnTo>
                    <a:pt x="87" y="31"/>
                  </a:lnTo>
                  <a:lnTo>
                    <a:pt x="90" y="33"/>
                  </a:lnTo>
                  <a:lnTo>
                    <a:pt x="90" y="33"/>
                  </a:lnTo>
                  <a:lnTo>
                    <a:pt x="90" y="33"/>
                  </a:lnTo>
                  <a:lnTo>
                    <a:pt x="90" y="35"/>
                  </a:lnTo>
                  <a:lnTo>
                    <a:pt x="92" y="35"/>
                  </a:lnTo>
                  <a:lnTo>
                    <a:pt x="92" y="35"/>
                  </a:lnTo>
                  <a:lnTo>
                    <a:pt x="92" y="33"/>
                  </a:lnTo>
                  <a:lnTo>
                    <a:pt x="92" y="33"/>
                  </a:lnTo>
                  <a:lnTo>
                    <a:pt x="94" y="33"/>
                  </a:lnTo>
                  <a:lnTo>
                    <a:pt x="94" y="33"/>
                  </a:lnTo>
                  <a:lnTo>
                    <a:pt x="94" y="33"/>
                  </a:lnTo>
                  <a:lnTo>
                    <a:pt x="94" y="33"/>
                  </a:lnTo>
                  <a:lnTo>
                    <a:pt x="94" y="28"/>
                  </a:lnTo>
                  <a:lnTo>
                    <a:pt x="94" y="28"/>
                  </a:lnTo>
                  <a:lnTo>
                    <a:pt x="94" y="26"/>
                  </a:lnTo>
                  <a:lnTo>
                    <a:pt x="94" y="26"/>
                  </a:lnTo>
                  <a:lnTo>
                    <a:pt x="97" y="26"/>
                  </a:lnTo>
                  <a:lnTo>
                    <a:pt x="97" y="26"/>
                  </a:lnTo>
                  <a:lnTo>
                    <a:pt x="99" y="26"/>
                  </a:lnTo>
                  <a:lnTo>
                    <a:pt x="99" y="26"/>
                  </a:lnTo>
                  <a:lnTo>
                    <a:pt x="99"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7" name="Freeform 363"/>
            <p:cNvSpPr>
              <a:spLocks/>
            </p:cNvSpPr>
            <p:nvPr userDrawn="1"/>
          </p:nvSpPr>
          <p:spPr bwMode="auto">
            <a:xfrm>
              <a:off x="2064" y="2571"/>
              <a:ext cx="62" cy="66"/>
            </a:xfrm>
            <a:custGeom>
              <a:avLst/>
              <a:gdLst>
                <a:gd name="T0" fmla="*/ 57 w 62"/>
                <a:gd name="T1" fmla="*/ 31 h 66"/>
                <a:gd name="T2" fmla="*/ 52 w 62"/>
                <a:gd name="T3" fmla="*/ 24 h 66"/>
                <a:gd name="T4" fmla="*/ 45 w 62"/>
                <a:gd name="T5" fmla="*/ 10 h 66"/>
                <a:gd name="T6" fmla="*/ 43 w 62"/>
                <a:gd name="T7" fmla="*/ 7 h 66"/>
                <a:gd name="T8" fmla="*/ 41 w 62"/>
                <a:gd name="T9" fmla="*/ 10 h 66"/>
                <a:gd name="T10" fmla="*/ 33 w 62"/>
                <a:gd name="T11" fmla="*/ 10 h 66"/>
                <a:gd name="T12" fmla="*/ 31 w 62"/>
                <a:gd name="T13" fmla="*/ 7 h 66"/>
                <a:gd name="T14" fmla="*/ 29 w 62"/>
                <a:gd name="T15" fmla="*/ 5 h 66"/>
                <a:gd name="T16" fmla="*/ 22 w 62"/>
                <a:gd name="T17" fmla="*/ 5 h 66"/>
                <a:gd name="T18" fmla="*/ 12 w 62"/>
                <a:gd name="T19" fmla="*/ 3 h 66"/>
                <a:gd name="T20" fmla="*/ 8 w 62"/>
                <a:gd name="T21" fmla="*/ 0 h 66"/>
                <a:gd name="T22" fmla="*/ 5 w 62"/>
                <a:gd name="T23" fmla="*/ 3 h 66"/>
                <a:gd name="T24" fmla="*/ 5 w 62"/>
                <a:gd name="T25" fmla="*/ 3 h 66"/>
                <a:gd name="T26" fmla="*/ 0 w 62"/>
                <a:gd name="T27" fmla="*/ 7 h 66"/>
                <a:gd name="T28" fmla="*/ 5 w 62"/>
                <a:gd name="T29" fmla="*/ 10 h 66"/>
                <a:gd name="T30" fmla="*/ 5 w 62"/>
                <a:gd name="T31" fmla="*/ 14 h 66"/>
                <a:gd name="T32" fmla="*/ 3 w 62"/>
                <a:gd name="T33" fmla="*/ 24 h 66"/>
                <a:gd name="T34" fmla="*/ 10 w 62"/>
                <a:gd name="T35" fmla="*/ 29 h 66"/>
                <a:gd name="T36" fmla="*/ 15 w 62"/>
                <a:gd name="T37" fmla="*/ 33 h 66"/>
                <a:gd name="T38" fmla="*/ 19 w 62"/>
                <a:gd name="T39" fmla="*/ 29 h 66"/>
                <a:gd name="T40" fmla="*/ 15 w 62"/>
                <a:gd name="T41" fmla="*/ 26 h 66"/>
                <a:gd name="T42" fmla="*/ 12 w 62"/>
                <a:gd name="T43" fmla="*/ 22 h 66"/>
                <a:gd name="T44" fmla="*/ 22 w 62"/>
                <a:gd name="T45" fmla="*/ 29 h 66"/>
                <a:gd name="T46" fmla="*/ 22 w 62"/>
                <a:gd name="T47" fmla="*/ 33 h 66"/>
                <a:gd name="T48" fmla="*/ 31 w 62"/>
                <a:gd name="T49" fmla="*/ 38 h 66"/>
                <a:gd name="T50" fmla="*/ 38 w 62"/>
                <a:gd name="T51" fmla="*/ 43 h 66"/>
                <a:gd name="T52" fmla="*/ 41 w 62"/>
                <a:gd name="T53" fmla="*/ 50 h 66"/>
                <a:gd name="T54" fmla="*/ 41 w 62"/>
                <a:gd name="T55" fmla="*/ 57 h 66"/>
                <a:gd name="T56" fmla="*/ 45 w 62"/>
                <a:gd name="T57" fmla="*/ 59 h 66"/>
                <a:gd name="T58" fmla="*/ 45 w 62"/>
                <a:gd name="T59" fmla="*/ 57 h 66"/>
                <a:gd name="T60" fmla="*/ 45 w 62"/>
                <a:gd name="T61" fmla="*/ 52 h 66"/>
                <a:gd name="T62" fmla="*/ 50 w 62"/>
                <a:gd name="T63" fmla="*/ 57 h 66"/>
                <a:gd name="T64" fmla="*/ 52 w 62"/>
                <a:gd name="T65" fmla="*/ 64 h 66"/>
                <a:gd name="T66" fmla="*/ 52 w 62"/>
                <a:gd name="T67" fmla="*/ 64 h 66"/>
                <a:gd name="T68" fmla="*/ 50 w 62"/>
                <a:gd name="T69" fmla="*/ 62 h 66"/>
                <a:gd name="T70" fmla="*/ 55 w 62"/>
                <a:gd name="T71" fmla="*/ 57 h 66"/>
                <a:gd name="T72" fmla="*/ 52 w 62"/>
                <a:gd name="T73" fmla="*/ 52 h 66"/>
                <a:gd name="T74" fmla="*/ 57 w 62"/>
                <a:gd name="T75" fmla="*/ 50 h 66"/>
                <a:gd name="T76" fmla="*/ 57 w 62"/>
                <a:gd name="T77" fmla="*/ 48 h 66"/>
                <a:gd name="T78" fmla="*/ 55 w 62"/>
                <a:gd name="T79" fmla="*/ 40 h 66"/>
                <a:gd name="T80" fmla="*/ 55 w 62"/>
                <a:gd name="T81" fmla="*/ 36 h 66"/>
                <a:gd name="T82" fmla="*/ 57 w 62"/>
                <a:gd name="T83" fmla="*/ 33 h 66"/>
                <a:gd name="T84" fmla="*/ 59 w 62"/>
                <a:gd name="T85" fmla="*/ 36 h 66"/>
                <a:gd name="T86" fmla="*/ 62 w 62"/>
                <a:gd name="T87"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66">
                  <a:moveTo>
                    <a:pt x="59" y="33"/>
                  </a:moveTo>
                  <a:lnTo>
                    <a:pt x="57" y="33"/>
                  </a:lnTo>
                  <a:lnTo>
                    <a:pt x="57" y="31"/>
                  </a:lnTo>
                  <a:lnTo>
                    <a:pt x="55" y="31"/>
                  </a:lnTo>
                  <a:lnTo>
                    <a:pt x="52" y="26"/>
                  </a:lnTo>
                  <a:lnTo>
                    <a:pt x="52" y="24"/>
                  </a:lnTo>
                  <a:lnTo>
                    <a:pt x="48" y="19"/>
                  </a:lnTo>
                  <a:lnTo>
                    <a:pt x="45" y="17"/>
                  </a:lnTo>
                  <a:lnTo>
                    <a:pt x="45" y="10"/>
                  </a:lnTo>
                  <a:lnTo>
                    <a:pt x="43" y="7"/>
                  </a:lnTo>
                  <a:lnTo>
                    <a:pt x="43" y="7"/>
                  </a:lnTo>
                  <a:lnTo>
                    <a:pt x="43" y="7"/>
                  </a:lnTo>
                  <a:lnTo>
                    <a:pt x="43" y="7"/>
                  </a:lnTo>
                  <a:lnTo>
                    <a:pt x="41" y="10"/>
                  </a:lnTo>
                  <a:lnTo>
                    <a:pt x="41" y="10"/>
                  </a:lnTo>
                  <a:lnTo>
                    <a:pt x="38" y="10"/>
                  </a:lnTo>
                  <a:lnTo>
                    <a:pt x="33" y="10"/>
                  </a:lnTo>
                  <a:lnTo>
                    <a:pt x="33" y="10"/>
                  </a:lnTo>
                  <a:lnTo>
                    <a:pt x="33" y="10"/>
                  </a:lnTo>
                  <a:lnTo>
                    <a:pt x="33" y="7"/>
                  </a:lnTo>
                  <a:lnTo>
                    <a:pt x="31" y="7"/>
                  </a:lnTo>
                  <a:lnTo>
                    <a:pt x="31" y="5"/>
                  </a:lnTo>
                  <a:lnTo>
                    <a:pt x="29" y="5"/>
                  </a:lnTo>
                  <a:lnTo>
                    <a:pt x="29" y="5"/>
                  </a:lnTo>
                  <a:lnTo>
                    <a:pt x="24" y="3"/>
                  </a:lnTo>
                  <a:lnTo>
                    <a:pt x="24" y="3"/>
                  </a:lnTo>
                  <a:lnTo>
                    <a:pt x="22" y="5"/>
                  </a:lnTo>
                  <a:lnTo>
                    <a:pt x="19" y="5"/>
                  </a:lnTo>
                  <a:lnTo>
                    <a:pt x="15" y="3"/>
                  </a:lnTo>
                  <a:lnTo>
                    <a:pt x="12" y="3"/>
                  </a:lnTo>
                  <a:lnTo>
                    <a:pt x="8" y="0"/>
                  </a:lnTo>
                  <a:lnTo>
                    <a:pt x="8" y="0"/>
                  </a:lnTo>
                  <a:lnTo>
                    <a:pt x="8" y="0"/>
                  </a:lnTo>
                  <a:lnTo>
                    <a:pt x="8" y="0"/>
                  </a:lnTo>
                  <a:lnTo>
                    <a:pt x="5" y="3"/>
                  </a:lnTo>
                  <a:lnTo>
                    <a:pt x="5" y="3"/>
                  </a:lnTo>
                  <a:lnTo>
                    <a:pt x="5" y="3"/>
                  </a:lnTo>
                  <a:lnTo>
                    <a:pt x="5" y="3"/>
                  </a:lnTo>
                  <a:lnTo>
                    <a:pt x="5" y="3"/>
                  </a:lnTo>
                  <a:lnTo>
                    <a:pt x="5" y="5"/>
                  </a:lnTo>
                  <a:lnTo>
                    <a:pt x="3" y="7"/>
                  </a:lnTo>
                  <a:lnTo>
                    <a:pt x="0" y="7"/>
                  </a:lnTo>
                  <a:lnTo>
                    <a:pt x="3" y="7"/>
                  </a:lnTo>
                  <a:lnTo>
                    <a:pt x="5" y="10"/>
                  </a:lnTo>
                  <a:lnTo>
                    <a:pt x="5" y="10"/>
                  </a:lnTo>
                  <a:lnTo>
                    <a:pt x="5" y="12"/>
                  </a:lnTo>
                  <a:lnTo>
                    <a:pt x="5" y="12"/>
                  </a:lnTo>
                  <a:lnTo>
                    <a:pt x="5" y="14"/>
                  </a:lnTo>
                  <a:lnTo>
                    <a:pt x="3" y="17"/>
                  </a:lnTo>
                  <a:lnTo>
                    <a:pt x="0" y="19"/>
                  </a:lnTo>
                  <a:lnTo>
                    <a:pt x="3" y="24"/>
                  </a:lnTo>
                  <a:lnTo>
                    <a:pt x="3" y="26"/>
                  </a:lnTo>
                  <a:lnTo>
                    <a:pt x="5" y="29"/>
                  </a:lnTo>
                  <a:lnTo>
                    <a:pt x="10" y="29"/>
                  </a:lnTo>
                  <a:lnTo>
                    <a:pt x="12" y="33"/>
                  </a:lnTo>
                  <a:lnTo>
                    <a:pt x="15" y="33"/>
                  </a:lnTo>
                  <a:lnTo>
                    <a:pt x="15" y="33"/>
                  </a:lnTo>
                  <a:lnTo>
                    <a:pt x="15" y="33"/>
                  </a:lnTo>
                  <a:lnTo>
                    <a:pt x="17" y="31"/>
                  </a:lnTo>
                  <a:lnTo>
                    <a:pt x="19" y="29"/>
                  </a:lnTo>
                  <a:lnTo>
                    <a:pt x="19" y="29"/>
                  </a:lnTo>
                  <a:lnTo>
                    <a:pt x="17" y="26"/>
                  </a:lnTo>
                  <a:lnTo>
                    <a:pt x="15" y="26"/>
                  </a:lnTo>
                  <a:lnTo>
                    <a:pt x="12" y="24"/>
                  </a:lnTo>
                  <a:lnTo>
                    <a:pt x="12" y="19"/>
                  </a:lnTo>
                  <a:lnTo>
                    <a:pt x="12" y="22"/>
                  </a:lnTo>
                  <a:lnTo>
                    <a:pt x="12" y="22"/>
                  </a:lnTo>
                  <a:lnTo>
                    <a:pt x="17" y="24"/>
                  </a:lnTo>
                  <a:lnTo>
                    <a:pt x="22" y="29"/>
                  </a:lnTo>
                  <a:lnTo>
                    <a:pt x="24" y="31"/>
                  </a:lnTo>
                  <a:lnTo>
                    <a:pt x="22" y="31"/>
                  </a:lnTo>
                  <a:lnTo>
                    <a:pt x="22" y="33"/>
                  </a:lnTo>
                  <a:lnTo>
                    <a:pt x="24" y="36"/>
                  </a:lnTo>
                  <a:lnTo>
                    <a:pt x="26" y="36"/>
                  </a:lnTo>
                  <a:lnTo>
                    <a:pt x="31" y="38"/>
                  </a:lnTo>
                  <a:lnTo>
                    <a:pt x="31" y="38"/>
                  </a:lnTo>
                  <a:lnTo>
                    <a:pt x="36" y="40"/>
                  </a:lnTo>
                  <a:lnTo>
                    <a:pt x="38" y="43"/>
                  </a:lnTo>
                  <a:lnTo>
                    <a:pt x="41" y="45"/>
                  </a:lnTo>
                  <a:lnTo>
                    <a:pt x="41" y="48"/>
                  </a:lnTo>
                  <a:lnTo>
                    <a:pt x="41" y="50"/>
                  </a:lnTo>
                  <a:lnTo>
                    <a:pt x="41" y="52"/>
                  </a:lnTo>
                  <a:lnTo>
                    <a:pt x="38" y="55"/>
                  </a:lnTo>
                  <a:lnTo>
                    <a:pt x="41" y="57"/>
                  </a:lnTo>
                  <a:lnTo>
                    <a:pt x="41" y="59"/>
                  </a:lnTo>
                  <a:lnTo>
                    <a:pt x="43" y="59"/>
                  </a:lnTo>
                  <a:lnTo>
                    <a:pt x="45" y="59"/>
                  </a:lnTo>
                  <a:lnTo>
                    <a:pt x="45" y="59"/>
                  </a:lnTo>
                  <a:lnTo>
                    <a:pt x="45" y="57"/>
                  </a:lnTo>
                  <a:lnTo>
                    <a:pt x="45" y="57"/>
                  </a:lnTo>
                  <a:lnTo>
                    <a:pt x="43" y="55"/>
                  </a:lnTo>
                  <a:lnTo>
                    <a:pt x="43" y="52"/>
                  </a:lnTo>
                  <a:lnTo>
                    <a:pt x="45" y="52"/>
                  </a:lnTo>
                  <a:lnTo>
                    <a:pt x="48" y="55"/>
                  </a:lnTo>
                  <a:lnTo>
                    <a:pt x="48" y="55"/>
                  </a:lnTo>
                  <a:lnTo>
                    <a:pt x="50" y="57"/>
                  </a:lnTo>
                  <a:lnTo>
                    <a:pt x="50" y="59"/>
                  </a:lnTo>
                  <a:lnTo>
                    <a:pt x="50" y="62"/>
                  </a:lnTo>
                  <a:lnTo>
                    <a:pt x="52" y="64"/>
                  </a:lnTo>
                  <a:lnTo>
                    <a:pt x="52" y="66"/>
                  </a:lnTo>
                  <a:lnTo>
                    <a:pt x="52" y="64"/>
                  </a:lnTo>
                  <a:lnTo>
                    <a:pt x="52" y="64"/>
                  </a:lnTo>
                  <a:lnTo>
                    <a:pt x="52" y="62"/>
                  </a:lnTo>
                  <a:lnTo>
                    <a:pt x="50" y="62"/>
                  </a:lnTo>
                  <a:lnTo>
                    <a:pt x="50" y="62"/>
                  </a:lnTo>
                  <a:lnTo>
                    <a:pt x="52" y="59"/>
                  </a:lnTo>
                  <a:lnTo>
                    <a:pt x="55" y="59"/>
                  </a:lnTo>
                  <a:lnTo>
                    <a:pt x="55" y="57"/>
                  </a:lnTo>
                  <a:lnTo>
                    <a:pt x="55" y="57"/>
                  </a:lnTo>
                  <a:lnTo>
                    <a:pt x="55" y="55"/>
                  </a:lnTo>
                  <a:lnTo>
                    <a:pt x="52" y="52"/>
                  </a:lnTo>
                  <a:lnTo>
                    <a:pt x="55" y="50"/>
                  </a:lnTo>
                  <a:lnTo>
                    <a:pt x="55" y="50"/>
                  </a:lnTo>
                  <a:lnTo>
                    <a:pt x="57" y="50"/>
                  </a:lnTo>
                  <a:lnTo>
                    <a:pt x="57" y="48"/>
                  </a:lnTo>
                  <a:lnTo>
                    <a:pt x="57" y="48"/>
                  </a:lnTo>
                  <a:lnTo>
                    <a:pt x="57" y="48"/>
                  </a:lnTo>
                  <a:lnTo>
                    <a:pt x="55" y="45"/>
                  </a:lnTo>
                  <a:lnTo>
                    <a:pt x="52" y="45"/>
                  </a:lnTo>
                  <a:lnTo>
                    <a:pt x="55" y="40"/>
                  </a:lnTo>
                  <a:lnTo>
                    <a:pt x="55" y="38"/>
                  </a:lnTo>
                  <a:lnTo>
                    <a:pt x="55" y="36"/>
                  </a:lnTo>
                  <a:lnTo>
                    <a:pt x="55" y="36"/>
                  </a:lnTo>
                  <a:lnTo>
                    <a:pt x="55" y="36"/>
                  </a:lnTo>
                  <a:lnTo>
                    <a:pt x="57" y="36"/>
                  </a:lnTo>
                  <a:lnTo>
                    <a:pt x="57" y="33"/>
                  </a:lnTo>
                  <a:lnTo>
                    <a:pt x="57" y="36"/>
                  </a:lnTo>
                  <a:lnTo>
                    <a:pt x="59" y="36"/>
                  </a:lnTo>
                  <a:lnTo>
                    <a:pt x="59" y="36"/>
                  </a:lnTo>
                  <a:lnTo>
                    <a:pt x="62" y="36"/>
                  </a:lnTo>
                  <a:lnTo>
                    <a:pt x="62" y="36"/>
                  </a:lnTo>
                  <a:lnTo>
                    <a:pt x="62" y="36"/>
                  </a:lnTo>
                  <a:lnTo>
                    <a:pt x="59" y="3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8" name="Freeform 364"/>
            <p:cNvSpPr>
              <a:spLocks/>
            </p:cNvSpPr>
            <p:nvPr userDrawn="1"/>
          </p:nvSpPr>
          <p:spPr bwMode="auto">
            <a:xfrm>
              <a:off x="3860" y="2730"/>
              <a:ext cx="139" cy="184"/>
            </a:xfrm>
            <a:custGeom>
              <a:avLst/>
              <a:gdLst>
                <a:gd name="T0" fmla="*/ 132 w 139"/>
                <a:gd name="T1" fmla="*/ 2 h 184"/>
                <a:gd name="T2" fmla="*/ 125 w 139"/>
                <a:gd name="T3" fmla="*/ 2 h 184"/>
                <a:gd name="T4" fmla="*/ 116 w 139"/>
                <a:gd name="T5" fmla="*/ 0 h 184"/>
                <a:gd name="T6" fmla="*/ 102 w 139"/>
                <a:gd name="T7" fmla="*/ 4 h 184"/>
                <a:gd name="T8" fmla="*/ 99 w 139"/>
                <a:gd name="T9" fmla="*/ 14 h 184"/>
                <a:gd name="T10" fmla="*/ 95 w 139"/>
                <a:gd name="T11" fmla="*/ 30 h 184"/>
                <a:gd name="T12" fmla="*/ 92 w 139"/>
                <a:gd name="T13" fmla="*/ 37 h 184"/>
                <a:gd name="T14" fmla="*/ 90 w 139"/>
                <a:gd name="T15" fmla="*/ 40 h 184"/>
                <a:gd name="T16" fmla="*/ 76 w 139"/>
                <a:gd name="T17" fmla="*/ 35 h 184"/>
                <a:gd name="T18" fmla="*/ 69 w 139"/>
                <a:gd name="T19" fmla="*/ 35 h 184"/>
                <a:gd name="T20" fmla="*/ 66 w 139"/>
                <a:gd name="T21" fmla="*/ 33 h 184"/>
                <a:gd name="T22" fmla="*/ 45 w 139"/>
                <a:gd name="T23" fmla="*/ 33 h 184"/>
                <a:gd name="T24" fmla="*/ 38 w 139"/>
                <a:gd name="T25" fmla="*/ 45 h 184"/>
                <a:gd name="T26" fmla="*/ 40 w 139"/>
                <a:gd name="T27" fmla="*/ 52 h 184"/>
                <a:gd name="T28" fmla="*/ 57 w 139"/>
                <a:gd name="T29" fmla="*/ 49 h 184"/>
                <a:gd name="T30" fmla="*/ 62 w 139"/>
                <a:gd name="T31" fmla="*/ 59 h 184"/>
                <a:gd name="T32" fmla="*/ 57 w 139"/>
                <a:gd name="T33" fmla="*/ 66 h 184"/>
                <a:gd name="T34" fmla="*/ 50 w 139"/>
                <a:gd name="T35" fmla="*/ 73 h 184"/>
                <a:gd name="T36" fmla="*/ 55 w 139"/>
                <a:gd name="T37" fmla="*/ 85 h 184"/>
                <a:gd name="T38" fmla="*/ 62 w 139"/>
                <a:gd name="T39" fmla="*/ 92 h 184"/>
                <a:gd name="T40" fmla="*/ 62 w 139"/>
                <a:gd name="T41" fmla="*/ 111 h 184"/>
                <a:gd name="T42" fmla="*/ 59 w 139"/>
                <a:gd name="T43" fmla="*/ 118 h 184"/>
                <a:gd name="T44" fmla="*/ 57 w 139"/>
                <a:gd name="T45" fmla="*/ 127 h 184"/>
                <a:gd name="T46" fmla="*/ 50 w 139"/>
                <a:gd name="T47" fmla="*/ 130 h 184"/>
                <a:gd name="T48" fmla="*/ 47 w 139"/>
                <a:gd name="T49" fmla="*/ 125 h 184"/>
                <a:gd name="T50" fmla="*/ 33 w 139"/>
                <a:gd name="T51" fmla="*/ 123 h 184"/>
                <a:gd name="T52" fmla="*/ 24 w 139"/>
                <a:gd name="T53" fmla="*/ 118 h 184"/>
                <a:gd name="T54" fmla="*/ 24 w 139"/>
                <a:gd name="T55" fmla="*/ 123 h 184"/>
                <a:gd name="T56" fmla="*/ 14 w 139"/>
                <a:gd name="T57" fmla="*/ 127 h 184"/>
                <a:gd name="T58" fmla="*/ 7 w 139"/>
                <a:gd name="T59" fmla="*/ 132 h 184"/>
                <a:gd name="T60" fmla="*/ 10 w 139"/>
                <a:gd name="T61" fmla="*/ 139 h 184"/>
                <a:gd name="T62" fmla="*/ 12 w 139"/>
                <a:gd name="T63" fmla="*/ 146 h 184"/>
                <a:gd name="T64" fmla="*/ 12 w 139"/>
                <a:gd name="T65" fmla="*/ 153 h 184"/>
                <a:gd name="T66" fmla="*/ 10 w 139"/>
                <a:gd name="T67" fmla="*/ 156 h 184"/>
                <a:gd name="T68" fmla="*/ 0 w 139"/>
                <a:gd name="T69" fmla="*/ 158 h 184"/>
                <a:gd name="T70" fmla="*/ 12 w 139"/>
                <a:gd name="T71" fmla="*/ 177 h 184"/>
                <a:gd name="T72" fmla="*/ 17 w 139"/>
                <a:gd name="T73" fmla="*/ 184 h 184"/>
                <a:gd name="T74" fmla="*/ 24 w 139"/>
                <a:gd name="T75" fmla="*/ 177 h 184"/>
                <a:gd name="T76" fmla="*/ 31 w 139"/>
                <a:gd name="T77" fmla="*/ 172 h 184"/>
                <a:gd name="T78" fmla="*/ 38 w 139"/>
                <a:gd name="T79" fmla="*/ 175 h 184"/>
                <a:gd name="T80" fmla="*/ 43 w 139"/>
                <a:gd name="T81" fmla="*/ 179 h 184"/>
                <a:gd name="T82" fmla="*/ 47 w 139"/>
                <a:gd name="T83" fmla="*/ 175 h 184"/>
                <a:gd name="T84" fmla="*/ 52 w 139"/>
                <a:gd name="T85" fmla="*/ 172 h 184"/>
                <a:gd name="T86" fmla="*/ 59 w 139"/>
                <a:gd name="T87" fmla="*/ 168 h 184"/>
                <a:gd name="T88" fmla="*/ 62 w 139"/>
                <a:gd name="T89" fmla="*/ 177 h 184"/>
                <a:gd name="T90" fmla="*/ 64 w 139"/>
                <a:gd name="T91" fmla="*/ 179 h 184"/>
                <a:gd name="T92" fmla="*/ 76 w 139"/>
                <a:gd name="T93" fmla="*/ 168 h 184"/>
                <a:gd name="T94" fmla="*/ 88 w 139"/>
                <a:gd name="T95" fmla="*/ 160 h 184"/>
                <a:gd name="T96" fmla="*/ 95 w 139"/>
                <a:gd name="T97" fmla="*/ 125 h 184"/>
                <a:gd name="T98" fmla="*/ 104 w 139"/>
                <a:gd name="T99" fmla="*/ 106 h 184"/>
                <a:gd name="T100" fmla="*/ 118 w 139"/>
                <a:gd name="T101" fmla="*/ 94 h 184"/>
                <a:gd name="T102" fmla="*/ 125 w 139"/>
                <a:gd name="T103" fmla="*/ 59 h 184"/>
                <a:gd name="T104" fmla="*/ 132 w 139"/>
                <a:gd name="T105" fmla="*/ 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84">
                  <a:moveTo>
                    <a:pt x="139" y="4"/>
                  </a:moveTo>
                  <a:lnTo>
                    <a:pt x="137" y="4"/>
                  </a:lnTo>
                  <a:lnTo>
                    <a:pt x="137" y="2"/>
                  </a:lnTo>
                  <a:lnTo>
                    <a:pt x="137" y="2"/>
                  </a:lnTo>
                  <a:lnTo>
                    <a:pt x="132" y="2"/>
                  </a:lnTo>
                  <a:lnTo>
                    <a:pt x="132" y="2"/>
                  </a:lnTo>
                  <a:lnTo>
                    <a:pt x="130" y="4"/>
                  </a:lnTo>
                  <a:lnTo>
                    <a:pt x="130" y="4"/>
                  </a:lnTo>
                  <a:lnTo>
                    <a:pt x="130" y="2"/>
                  </a:lnTo>
                  <a:lnTo>
                    <a:pt x="128" y="2"/>
                  </a:lnTo>
                  <a:lnTo>
                    <a:pt x="128" y="2"/>
                  </a:lnTo>
                  <a:lnTo>
                    <a:pt x="125" y="2"/>
                  </a:lnTo>
                  <a:lnTo>
                    <a:pt x="125" y="2"/>
                  </a:lnTo>
                  <a:lnTo>
                    <a:pt x="125" y="2"/>
                  </a:lnTo>
                  <a:lnTo>
                    <a:pt x="123" y="2"/>
                  </a:lnTo>
                  <a:lnTo>
                    <a:pt x="118" y="0"/>
                  </a:lnTo>
                  <a:lnTo>
                    <a:pt x="118" y="0"/>
                  </a:lnTo>
                  <a:lnTo>
                    <a:pt x="116" y="0"/>
                  </a:lnTo>
                  <a:lnTo>
                    <a:pt x="113" y="2"/>
                  </a:lnTo>
                  <a:lnTo>
                    <a:pt x="113" y="2"/>
                  </a:lnTo>
                  <a:lnTo>
                    <a:pt x="109" y="2"/>
                  </a:lnTo>
                  <a:lnTo>
                    <a:pt x="104" y="2"/>
                  </a:lnTo>
                  <a:lnTo>
                    <a:pt x="102" y="2"/>
                  </a:lnTo>
                  <a:lnTo>
                    <a:pt x="102" y="4"/>
                  </a:lnTo>
                  <a:lnTo>
                    <a:pt x="102" y="4"/>
                  </a:lnTo>
                  <a:lnTo>
                    <a:pt x="99" y="7"/>
                  </a:lnTo>
                  <a:lnTo>
                    <a:pt x="99" y="9"/>
                  </a:lnTo>
                  <a:lnTo>
                    <a:pt x="99" y="11"/>
                  </a:lnTo>
                  <a:lnTo>
                    <a:pt x="99" y="11"/>
                  </a:lnTo>
                  <a:lnTo>
                    <a:pt x="99" y="14"/>
                  </a:lnTo>
                  <a:lnTo>
                    <a:pt x="99" y="16"/>
                  </a:lnTo>
                  <a:lnTo>
                    <a:pt x="99" y="19"/>
                  </a:lnTo>
                  <a:lnTo>
                    <a:pt x="97" y="21"/>
                  </a:lnTo>
                  <a:lnTo>
                    <a:pt x="97" y="23"/>
                  </a:lnTo>
                  <a:lnTo>
                    <a:pt x="95" y="28"/>
                  </a:lnTo>
                  <a:lnTo>
                    <a:pt x="95" y="30"/>
                  </a:lnTo>
                  <a:lnTo>
                    <a:pt x="95" y="30"/>
                  </a:lnTo>
                  <a:lnTo>
                    <a:pt x="95" y="30"/>
                  </a:lnTo>
                  <a:lnTo>
                    <a:pt x="92" y="33"/>
                  </a:lnTo>
                  <a:lnTo>
                    <a:pt x="92" y="33"/>
                  </a:lnTo>
                  <a:lnTo>
                    <a:pt x="92" y="35"/>
                  </a:lnTo>
                  <a:lnTo>
                    <a:pt x="92" y="37"/>
                  </a:lnTo>
                  <a:lnTo>
                    <a:pt x="92" y="40"/>
                  </a:lnTo>
                  <a:lnTo>
                    <a:pt x="92" y="42"/>
                  </a:lnTo>
                  <a:lnTo>
                    <a:pt x="92" y="42"/>
                  </a:lnTo>
                  <a:lnTo>
                    <a:pt x="92" y="42"/>
                  </a:lnTo>
                  <a:lnTo>
                    <a:pt x="92" y="42"/>
                  </a:lnTo>
                  <a:lnTo>
                    <a:pt x="90" y="40"/>
                  </a:lnTo>
                  <a:lnTo>
                    <a:pt x="88" y="40"/>
                  </a:lnTo>
                  <a:lnTo>
                    <a:pt x="85" y="37"/>
                  </a:lnTo>
                  <a:lnTo>
                    <a:pt x="83" y="37"/>
                  </a:lnTo>
                  <a:lnTo>
                    <a:pt x="80" y="37"/>
                  </a:lnTo>
                  <a:lnTo>
                    <a:pt x="78" y="37"/>
                  </a:lnTo>
                  <a:lnTo>
                    <a:pt x="76" y="35"/>
                  </a:lnTo>
                  <a:lnTo>
                    <a:pt x="76" y="35"/>
                  </a:lnTo>
                  <a:lnTo>
                    <a:pt x="76" y="35"/>
                  </a:lnTo>
                  <a:lnTo>
                    <a:pt x="73" y="35"/>
                  </a:lnTo>
                  <a:lnTo>
                    <a:pt x="73" y="35"/>
                  </a:lnTo>
                  <a:lnTo>
                    <a:pt x="71" y="35"/>
                  </a:lnTo>
                  <a:lnTo>
                    <a:pt x="69" y="35"/>
                  </a:lnTo>
                  <a:lnTo>
                    <a:pt x="69" y="35"/>
                  </a:lnTo>
                  <a:lnTo>
                    <a:pt x="69" y="33"/>
                  </a:lnTo>
                  <a:lnTo>
                    <a:pt x="66" y="35"/>
                  </a:lnTo>
                  <a:lnTo>
                    <a:pt x="66" y="33"/>
                  </a:lnTo>
                  <a:lnTo>
                    <a:pt x="66" y="33"/>
                  </a:lnTo>
                  <a:lnTo>
                    <a:pt x="66" y="33"/>
                  </a:lnTo>
                  <a:lnTo>
                    <a:pt x="64" y="30"/>
                  </a:lnTo>
                  <a:lnTo>
                    <a:pt x="62" y="33"/>
                  </a:lnTo>
                  <a:lnTo>
                    <a:pt x="59" y="33"/>
                  </a:lnTo>
                  <a:lnTo>
                    <a:pt x="55" y="33"/>
                  </a:lnTo>
                  <a:lnTo>
                    <a:pt x="50" y="33"/>
                  </a:lnTo>
                  <a:lnTo>
                    <a:pt x="45" y="33"/>
                  </a:lnTo>
                  <a:lnTo>
                    <a:pt x="40" y="33"/>
                  </a:lnTo>
                  <a:lnTo>
                    <a:pt x="40" y="33"/>
                  </a:lnTo>
                  <a:lnTo>
                    <a:pt x="38" y="37"/>
                  </a:lnTo>
                  <a:lnTo>
                    <a:pt x="38" y="40"/>
                  </a:lnTo>
                  <a:lnTo>
                    <a:pt x="38" y="42"/>
                  </a:lnTo>
                  <a:lnTo>
                    <a:pt x="38" y="45"/>
                  </a:lnTo>
                  <a:lnTo>
                    <a:pt x="38" y="47"/>
                  </a:lnTo>
                  <a:lnTo>
                    <a:pt x="38" y="49"/>
                  </a:lnTo>
                  <a:lnTo>
                    <a:pt x="38" y="49"/>
                  </a:lnTo>
                  <a:lnTo>
                    <a:pt x="38" y="52"/>
                  </a:lnTo>
                  <a:lnTo>
                    <a:pt x="38" y="52"/>
                  </a:lnTo>
                  <a:lnTo>
                    <a:pt x="40" y="52"/>
                  </a:lnTo>
                  <a:lnTo>
                    <a:pt x="40" y="52"/>
                  </a:lnTo>
                  <a:lnTo>
                    <a:pt x="45" y="49"/>
                  </a:lnTo>
                  <a:lnTo>
                    <a:pt x="47" y="49"/>
                  </a:lnTo>
                  <a:lnTo>
                    <a:pt x="50" y="47"/>
                  </a:lnTo>
                  <a:lnTo>
                    <a:pt x="55" y="49"/>
                  </a:lnTo>
                  <a:lnTo>
                    <a:pt x="57" y="49"/>
                  </a:lnTo>
                  <a:lnTo>
                    <a:pt x="57" y="49"/>
                  </a:lnTo>
                  <a:lnTo>
                    <a:pt x="59" y="54"/>
                  </a:lnTo>
                  <a:lnTo>
                    <a:pt x="59" y="54"/>
                  </a:lnTo>
                  <a:lnTo>
                    <a:pt x="59" y="56"/>
                  </a:lnTo>
                  <a:lnTo>
                    <a:pt x="62" y="59"/>
                  </a:lnTo>
                  <a:lnTo>
                    <a:pt x="62" y="59"/>
                  </a:lnTo>
                  <a:lnTo>
                    <a:pt x="62" y="61"/>
                  </a:lnTo>
                  <a:lnTo>
                    <a:pt x="59" y="61"/>
                  </a:lnTo>
                  <a:lnTo>
                    <a:pt x="59" y="63"/>
                  </a:lnTo>
                  <a:lnTo>
                    <a:pt x="59" y="63"/>
                  </a:lnTo>
                  <a:lnTo>
                    <a:pt x="59" y="66"/>
                  </a:lnTo>
                  <a:lnTo>
                    <a:pt x="57" y="66"/>
                  </a:lnTo>
                  <a:lnTo>
                    <a:pt x="55" y="66"/>
                  </a:lnTo>
                  <a:lnTo>
                    <a:pt x="55" y="66"/>
                  </a:lnTo>
                  <a:lnTo>
                    <a:pt x="55" y="68"/>
                  </a:lnTo>
                  <a:lnTo>
                    <a:pt x="52" y="71"/>
                  </a:lnTo>
                  <a:lnTo>
                    <a:pt x="52" y="71"/>
                  </a:lnTo>
                  <a:lnTo>
                    <a:pt x="50" y="73"/>
                  </a:lnTo>
                  <a:lnTo>
                    <a:pt x="52" y="75"/>
                  </a:lnTo>
                  <a:lnTo>
                    <a:pt x="50" y="80"/>
                  </a:lnTo>
                  <a:lnTo>
                    <a:pt x="50" y="82"/>
                  </a:lnTo>
                  <a:lnTo>
                    <a:pt x="52" y="82"/>
                  </a:lnTo>
                  <a:lnTo>
                    <a:pt x="55" y="82"/>
                  </a:lnTo>
                  <a:lnTo>
                    <a:pt x="55" y="85"/>
                  </a:lnTo>
                  <a:lnTo>
                    <a:pt x="57" y="85"/>
                  </a:lnTo>
                  <a:lnTo>
                    <a:pt x="57" y="87"/>
                  </a:lnTo>
                  <a:lnTo>
                    <a:pt x="59" y="87"/>
                  </a:lnTo>
                  <a:lnTo>
                    <a:pt x="62" y="89"/>
                  </a:lnTo>
                  <a:lnTo>
                    <a:pt x="62" y="89"/>
                  </a:lnTo>
                  <a:lnTo>
                    <a:pt x="62" y="92"/>
                  </a:lnTo>
                  <a:lnTo>
                    <a:pt x="62" y="94"/>
                  </a:lnTo>
                  <a:lnTo>
                    <a:pt x="62" y="99"/>
                  </a:lnTo>
                  <a:lnTo>
                    <a:pt x="62" y="101"/>
                  </a:lnTo>
                  <a:lnTo>
                    <a:pt x="62" y="104"/>
                  </a:lnTo>
                  <a:lnTo>
                    <a:pt x="62" y="108"/>
                  </a:lnTo>
                  <a:lnTo>
                    <a:pt x="62" y="111"/>
                  </a:lnTo>
                  <a:lnTo>
                    <a:pt x="62" y="111"/>
                  </a:lnTo>
                  <a:lnTo>
                    <a:pt x="62" y="113"/>
                  </a:lnTo>
                  <a:lnTo>
                    <a:pt x="62" y="113"/>
                  </a:lnTo>
                  <a:lnTo>
                    <a:pt x="59" y="118"/>
                  </a:lnTo>
                  <a:lnTo>
                    <a:pt x="59" y="118"/>
                  </a:lnTo>
                  <a:lnTo>
                    <a:pt x="59" y="118"/>
                  </a:lnTo>
                  <a:lnTo>
                    <a:pt x="57" y="120"/>
                  </a:lnTo>
                  <a:lnTo>
                    <a:pt x="57" y="123"/>
                  </a:lnTo>
                  <a:lnTo>
                    <a:pt x="57" y="123"/>
                  </a:lnTo>
                  <a:lnTo>
                    <a:pt x="57" y="125"/>
                  </a:lnTo>
                  <a:lnTo>
                    <a:pt x="57" y="125"/>
                  </a:lnTo>
                  <a:lnTo>
                    <a:pt x="57" y="127"/>
                  </a:lnTo>
                  <a:lnTo>
                    <a:pt x="57" y="127"/>
                  </a:lnTo>
                  <a:lnTo>
                    <a:pt x="55" y="130"/>
                  </a:lnTo>
                  <a:lnTo>
                    <a:pt x="55" y="130"/>
                  </a:lnTo>
                  <a:lnTo>
                    <a:pt x="52" y="130"/>
                  </a:lnTo>
                  <a:lnTo>
                    <a:pt x="50" y="130"/>
                  </a:lnTo>
                  <a:lnTo>
                    <a:pt x="50" y="130"/>
                  </a:lnTo>
                  <a:lnTo>
                    <a:pt x="50" y="127"/>
                  </a:lnTo>
                  <a:lnTo>
                    <a:pt x="50" y="127"/>
                  </a:lnTo>
                  <a:lnTo>
                    <a:pt x="50" y="125"/>
                  </a:lnTo>
                  <a:lnTo>
                    <a:pt x="50" y="123"/>
                  </a:lnTo>
                  <a:lnTo>
                    <a:pt x="47" y="123"/>
                  </a:lnTo>
                  <a:lnTo>
                    <a:pt x="47" y="125"/>
                  </a:lnTo>
                  <a:lnTo>
                    <a:pt x="45" y="125"/>
                  </a:lnTo>
                  <a:lnTo>
                    <a:pt x="43" y="127"/>
                  </a:lnTo>
                  <a:lnTo>
                    <a:pt x="40" y="130"/>
                  </a:lnTo>
                  <a:lnTo>
                    <a:pt x="38" y="127"/>
                  </a:lnTo>
                  <a:lnTo>
                    <a:pt x="33" y="127"/>
                  </a:lnTo>
                  <a:lnTo>
                    <a:pt x="33" y="123"/>
                  </a:lnTo>
                  <a:lnTo>
                    <a:pt x="31" y="120"/>
                  </a:lnTo>
                  <a:lnTo>
                    <a:pt x="31" y="118"/>
                  </a:lnTo>
                  <a:lnTo>
                    <a:pt x="29" y="118"/>
                  </a:lnTo>
                  <a:lnTo>
                    <a:pt x="29" y="116"/>
                  </a:lnTo>
                  <a:lnTo>
                    <a:pt x="26" y="116"/>
                  </a:lnTo>
                  <a:lnTo>
                    <a:pt x="24" y="118"/>
                  </a:lnTo>
                  <a:lnTo>
                    <a:pt x="24" y="118"/>
                  </a:lnTo>
                  <a:lnTo>
                    <a:pt x="24" y="120"/>
                  </a:lnTo>
                  <a:lnTo>
                    <a:pt x="24" y="120"/>
                  </a:lnTo>
                  <a:lnTo>
                    <a:pt x="24" y="123"/>
                  </a:lnTo>
                  <a:lnTo>
                    <a:pt x="24" y="123"/>
                  </a:lnTo>
                  <a:lnTo>
                    <a:pt x="24" y="123"/>
                  </a:lnTo>
                  <a:lnTo>
                    <a:pt x="24" y="125"/>
                  </a:lnTo>
                  <a:lnTo>
                    <a:pt x="24" y="127"/>
                  </a:lnTo>
                  <a:lnTo>
                    <a:pt x="17" y="130"/>
                  </a:lnTo>
                  <a:lnTo>
                    <a:pt x="17" y="127"/>
                  </a:lnTo>
                  <a:lnTo>
                    <a:pt x="14" y="127"/>
                  </a:lnTo>
                  <a:lnTo>
                    <a:pt x="14" y="127"/>
                  </a:lnTo>
                  <a:lnTo>
                    <a:pt x="10" y="127"/>
                  </a:lnTo>
                  <a:lnTo>
                    <a:pt x="10" y="127"/>
                  </a:lnTo>
                  <a:lnTo>
                    <a:pt x="7" y="127"/>
                  </a:lnTo>
                  <a:lnTo>
                    <a:pt x="7" y="127"/>
                  </a:lnTo>
                  <a:lnTo>
                    <a:pt x="7" y="127"/>
                  </a:lnTo>
                  <a:lnTo>
                    <a:pt x="7" y="132"/>
                  </a:lnTo>
                  <a:lnTo>
                    <a:pt x="7" y="134"/>
                  </a:lnTo>
                  <a:lnTo>
                    <a:pt x="7" y="137"/>
                  </a:lnTo>
                  <a:lnTo>
                    <a:pt x="7" y="137"/>
                  </a:lnTo>
                  <a:lnTo>
                    <a:pt x="10" y="139"/>
                  </a:lnTo>
                  <a:lnTo>
                    <a:pt x="10" y="139"/>
                  </a:lnTo>
                  <a:lnTo>
                    <a:pt x="10" y="139"/>
                  </a:lnTo>
                  <a:lnTo>
                    <a:pt x="12" y="142"/>
                  </a:lnTo>
                  <a:lnTo>
                    <a:pt x="12" y="142"/>
                  </a:lnTo>
                  <a:lnTo>
                    <a:pt x="10" y="142"/>
                  </a:lnTo>
                  <a:lnTo>
                    <a:pt x="10" y="144"/>
                  </a:lnTo>
                  <a:lnTo>
                    <a:pt x="10" y="144"/>
                  </a:lnTo>
                  <a:lnTo>
                    <a:pt x="12" y="146"/>
                  </a:lnTo>
                  <a:lnTo>
                    <a:pt x="14" y="146"/>
                  </a:lnTo>
                  <a:lnTo>
                    <a:pt x="14" y="149"/>
                  </a:lnTo>
                  <a:lnTo>
                    <a:pt x="14" y="149"/>
                  </a:lnTo>
                  <a:lnTo>
                    <a:pt x="14" y="151"/>
                  </a:lnTo>
                  <a:lnTo>
                    <a:pt x="14" y="151"/>
                  </a:lnTo>
                  <a:lnTo>
                    <a:pt x="12" y="153"/>
                  </a:lnTo>
                  <a:lnTo>
                    <a:pt x="12" y="153"/>
                  </a:lnTo>
                  <a:lnTo>
                    <a:pt x="14" y="153"/>
                  </a:lnTo>
                  <a:lnTo>
                    <a:pt x="14" y="156"/>
                  </a:lnTo>
                  <a:lnTo>
                    <a:pt x="12" y="156"/>
                  </a:lnTo>
                  <a:lnTo>
                    <a:pt x="12" y="156"/>
                  </a:lnTo>
                  <a:lnTo>
                    <a:pt x="10" y="156"/>
                  </a:lnTo>
                  <a:lnTo>
                    <a:pt x="10" y="156"/>
                  </a:lnTo>
                  <a:lnTo>
                    <a:pt x="7" y="153"/>
                  </a:lnTo>
                  <a:lnTo>
                    <a:pt x="7" y="151"/>
                  </a:lnTo>
                  <a:lnTo>
                    <a:pt x="3" y="156"/>
                  </a:lnTo>
                  <a:lnTo>
                    <a:pt x="3" y="156"/>
                  </a:lnTo>
                  <a:lnTo>
                    <a:pt x="0" y="158"/>
                  </a:lnTo>
                  <a:lnTo>
                    <a:pt x="0" y="160"/>
                  </a:lnTo>
                  <a:lnTo>
                    <a:pt x="5" y="165"/>
                  </a:lnTo>
                  <a:lnTo>
                    <a:pt x="5" y="168"/>
                  </a:lnTo>
                  <a:lnTo>
                    <a:pt x="10" y="172"/>
                  </a:lnTo>
                  <a:lnTo>
                    <a:pt x="12" y="175"/>
                  </a:lnTo>
                  <a:lnTo>
                    <a:pt x="12" y="177"/>
                  </a:lnTo>
                  <a:lnTo>
                    <a:pt x="12" y="177"/>
                  </a:lnTo>
                  <a:lnTo>
                    <a:pt x="12" y="177"/>
                  </a:lnTo>
                  <a:lnTo>
                    <a:pt x="14" y="179"/>
                  </a:lnTo>
                  <a:lnTo>
                    <a:pt x="14" y="182"/>
                  </a:lnTo>
                  <a:lnTo>
                    <a:pt x="17" y="184"/>
                  </a:lnTo>
                  <a:lnTo>
                    <a:pt x="17" y="184"/>
                  </a:lnTo>
                  <a:lnTo>
                    <a:pt x="17" y="182"/>
                  </a:lnTo>
                  <a:lnTo>
                    <a:pt x="19" y="179"/>
                  </a:lnTo>
                  <a:lnTo>
                    <a:pt x="19" y="179"/>
                  </a:lnTo>
                  <a:lnTo>
                    <a:pt x="22" y="179"/>
                  </a:lnTo>
                  <a:lnTo>
                    <a:pt x="22" y="177"/>
                  </a:lnTo>
                  <a:lnTo>
                    <a:pt x="24" y="177"/>
                  </a:lnTo>
                  <a:lnTo>
                    <a:pt x="24" y="175"/>
                  </a:lnTo>
                  <a:lnTo>
                    <a:pt x="26" y="175"/>
                  </a:lnTo>
                  <a:lnTo>
                    <a:pt x="29" y="172"/>
                  </a:lnTo>
                  <a:lnTo>
                    <a:pt x="29" y="172"/>
                  </a:lnTo>
                  <a:lnTo>
                    <a:pt x="31" y="172"/>
                  </a:lnTo>
                  <a:lnTo>
                    <a:pt x="31" y="172"/>
                  </a:lnTo>
                  <a:lnTo>
                    <a:pt x="33" y="172"/>
                  </a:lnTo>
                  <a:lnTo>
                    <a:pt x="33" y="175"/>
                  </a:lnTo>
                  <a:lnTo>
                    <a:pt x="36" y="175"/>
                  </a:lnTo>
                  <a:lnTo>
                    <a:pt x="36" y="175"/>
                  </a:lnTo>
                  <a:lnTo>
                    <a:pt x="36" y="175"/>
                  </a:lnTo>
                  <a:lnTo>
                    <a:pt x="38" y="175"/>
                  </a:lnTo>
                  <a:lnTo>
                    <a:pt x="38" y="175"/>
                  </a:lnTo>
                  <a:lnTo>
                    <a:pt x="38" y="177"/>
                  </a:lnTo>
                  <a:lnTo>
                    <a:pt x="38" y="177"/>
                  </a:lnTo>
                  <a:lnTo>
                    <a:pt x="40" y="179"/>
                  </a:lnTo>
                  <a:lnTo>
                    <a:pt x="40" y="179"/>
                  </a:lnTo>
                  <a:lnTo>
                    <a:pt x="43" y="179"/>
                  </a:lnTo>
                  <a:lnTo>
                    <a:pt x="43" y="179"/>
                  </a:lnTo>
                  <a:lnTo>
                    <a:pt x="45" y="179"/>
                  </a:lnTo>
                  <a:lnTo>
                    <a:pt x="47" y="177"/>
                  </a:lnTo>
                  <a:lnTo>
                    <a:pt x="47" y="177"/>
                  </a:lnTo>
                  <a:lnTo>
                    <a:pt x="47" y="175"/>
                  </a:lnTo>
                  <a:lnTo>
                    <a:pt x="47" y="175"/>
                  </a:lnTo>
                  <a:lnTo>
                    <a:pt x="47" y="172"/>
                  </a:lnTo>
                  <a:lnTo>
                    <a:pt x="47" y="172"/>
                  </a:lnTo>
                  <a:lnTo>
                    <a:pt x="50" y="172"/>
                  </a:lnTo>
                  <a:lnTo>
                    <a:pt x="50" y="172"/>
                  </a:lnTo>
                  <a:lnTo>
                    <a:pt x="50" y="172"/>
                  </a:lnTo>
                  <a:lnTo>
                    <a:pt x="52" y="172"/>
                  </a:lnTo>
                  <a:lnTo>
                    <a:pt x="52" y="172"/>
                  </a:lnTo>
                  <a:lnTo>
                    <a:pt x="55" y="170"/>
                  </a:lnTo>
                  <a:lnTo>
                    <a:pt x="55" y="170"/>
                  </a:lnTo>
                  <a:lnTo>
                    <a:pt x="57" y="170"/>
                  </a:lnTo>
                  <a:lnTo>
                    <a:pt x="59" y="168"/>
                  </a:lnTo>
                  <a:lnTo>
                    <a:pt x="59" y="168"/>
                  </a:lnTo>
                  <a:lnTo>
                    <a:pt x="62" y="170"/>
                  </a:lnTo>
                  <a:lnTo>
                    <a:pt x="62" y="170"/>
                  </a:lnTo>
                  <a:lnTo>
                    <a:pt x="62" y="172"/>
                  </a:lnTo>
                  <a:lnTo>
                    <a:pt x="62" y="172"/>
                  </a:lnTo>
                  <a:lnTo>
                    <a:pt x="59" y="175"/>
                  </a:lnTo>
                  <a:lnTo>
                    <a:pt x="62" y="177"/>
                  </a:lnTo>
                  <a:lnTo>
                    <a:pt x="62" y="179"/>
                  </a:lnTo>
                  <a:lnTo>
                    <a:pt x="62" y="179"/>
                  </a:lnTo>
                  <a:lnTo>
                    <a:pt x="62" y="179"/>
                  </a:lnTo>
                  <a:lnTo>
                    <a:pt x="62" y="179"/>
                  </a:lnTo>
                  <a:lnTo>
                    <a:pt x="62" y="179"/>
                  </a:lnTo>
                  <a:lnTo>
                    <a:pt x="64" y="179"/>
                  </a:lnTo>
                  <a:lnTo>
                    <a:pt x="64" y="182"/>
                  </a:lnTo>
                  <a:lnTo>
                    <a:pt x="66" y="182"/>
                  </a:lnTo>
                  <a:lnTo>
                    <a:pt x="66" y="179"/>
                  </a:lnTo>
                  <a:lnTo>
                    <a:pt x="71" y="177"/>
                  </a:lnTo>
                  <a:lnTo>
                    <a:pt x="73" y="172"/>
                  </a:lnTo>
                  <a:lnTo>
                    <a:pt x="76" y="168"/>
                  </a:lnTo>
                  <a:lnTo>
                    <a:pt x="78" y="168"/>
                  </a:lnTo>
                  <a:lnTo>
                    <a:pt x="80" y="165"/>
                  </a:lnTo>
                  <a:lnTo>
                    <a:pt x="80" y="165"/>
                  </a:lnTo>
                  <a:lnTo>
                    <a:pt x="83" y="163"/>
                  </a:lnTo>
                  <a:lnTo>
                    <a:pt x="85" y="163"/>
                  </a:lnTo>
                  <a:lnTo>
                    <a:pt x="88" y="160"/>
                  </a:lnTo>
                  <a:lnTo>
                    <a:pt x="90" y="158"/>
                  </a:lnTo>
                  <a:lnTo>
                    <a:pt x="92" y="151"/>
                  </a:lnTo>
                  <a:lnTo>
                    <a:pt x="95" y="146"/>
                  </a:lnTo>
                  <a:lnTo>
                    <a:pt x="95" y="142"/>
                  </a:lnTo>
                  <a:lnTo>
                    <a:pt x="95" y="130"/>
                  </a:lnTo>
                  <a:lnTo>
                    <a:pt x="95" y="125"/>
                  </a:lnTo>
                  <a:lnTo>
                    <a:pt x="95" y="123"/>
                  </a:lnTo>
                  <a:lnTo>
                    <a:pt x="95" y="123"/>
                  </a:lnTo>
                  <a:lnTo>
                    <a:pt x="99" y="120"/>
                  </a:lnTo>
                  <a:lnTo>
                    <a:pt x="99" y="116"/>
                  </a:lnTo>
                  <a:lnTo>
                    <a:pt x="102" y="113"/>
                  </a:lnTo>
                  <a:lnTo>
                    <a:pt x="104" y="106"/>
                  </a:lnTo>
                  <a:lnTo>
                    <a:pt x="106" y="104"/>
                  </a:lnTo>
                  <a:lnTo>
                    <a:pt x="106" y="104"/>
                  </a:lnTo>
                  <a:lnTo>
                    <a:pt x="109" y="101"/>
                  </a:lnTo>
                  <a:lnTo>
                    <a:pt x="111" y="101"/>
                  </a:lnTo>
                  <a:lnTo>
                    <a:pt x="113" y="99"/>
                  </a:lnTo>
                  <a:lnTo>
                    <a:pt x="118" y="94"/>
                  </a:lnTo>
                  <a:lnTo>
                    <a:pt x="123" y="89"/>
                  </a:lnTo>
                  <a:lnTo>
                    <a:pt x="123" y="85"/>
                  </a:lnTo>
                  <a:lnTo>
                    <a:pt x="123" y="78"/>
                  </a:lnTo>
                  <a:lnTo>
                    <a:pt x="125" y="73"/>
                  </a:lnTo>
                  <a:lnTo>
                    <a:pt x="125" y="66"/>
                  </a:lnTo>
                  <a:lnTo>
                    <a:pt x="125" y="59"/>
                  </a:lnTo>
                  <a:lnTo>
                    <a:pt x="125" y="54"/>
                  </a:lnTo>
                  <a:lnTo>
                    <a:pt x="128" y="47"/>
                  </a:lnTo>
                  <a:lnTo>
                    <a:pt x="128" y="45"/>
                  </a:lnTo>
                  <a:lnTo>
                    <a:pt x="130" y="42"/>
                  </a:lnTo>
                  <a:lnTo>
                    <a:pt x="128" y="35"/>
                  </a:lnTo>
                  <a:lnTo>
                    <a:pt x="132" y="26"/>
                  </a:lnTo>
                  <a:lnTo>
                    <a:pt x="135" y="21"/>
                  </a:lnTo>
                  <a:lnTo>
                    <a:pt x="137" y="16"/>
                  </a:lnTo>
                  <a:lnTo>
                    <a:pt x="137" y="11"/>
                  </a:lnTo>
                  <a:lnTo>
                    <a:pt x="139" y="9"/>
                  </a:lnTo>
                  <a:lnTo>
                    <a:pt x="139" y="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9" name="Freeform 365"/>
            <p:cNvSpPr>
              <a:spLocks noEditPoints="1"/>
            </p:cNvSpPr>
            <p:nvPr userDrawn="1"/>
          </p:nvSpPr>
          <p:spPr bwMode="auto">
            <a:xfrm>
              <a:off x="2185" y="2545"/>
              <a:ext cx="224" cy="353"/>
            </a:xfrm>
            <a:custGeom>
              <a:avLst/>
              <a:gdLst>
                <a:gd name="T0" fmla="*/ 224 w 224"/>
                <a:gd name="T1" fmla="*/ 234 h 353"/>
                <a:gd name="T2" fmla="*/ 219 w 224"/>
                <a:gd name="T3" fmla="*/ 218 h 353"/>
                <a:gd name="T4" fmla="*/ 212 w 224"/>
                <a:gd name="T5" fmla="*/ 204 h 353"/>
                <a:gd name="T6" fmla="*/ 216 w 224"/>
                <a:gd name="T7" fmla="*/ 192 h 353"/>
                <a:gd name="T8" fmla="*/ 209 w 224"/>
                <a:gd name="T9" fmla="*/ 170 h 353"/>
                <a:gd name="T10" fmla="*/ 212 w 224"/>
                <a:gd name="T11" fmla="*/ 142 h 353"/>
                <a:gd name="T12" fmla="*/ 205 w 224"/>
                <a:gd name="T13" fmla="*/ 133 h 353"/>
                <a:gd name="T14" fmla="*/ 179 w 224"/>
                <a:gd name="T15" fmla="*/ 133 h 353"/>
                <a:gd name="T16" fmla="*/ 160 w 224"/>
                <a:gd name="T17" fmla="*/ 114 h 353"/>
                <a:gd name="T18" fmla="*/ 134 w 224"/>
                <a:gd name="T19" fmla="*/ 116 h 353"/>
                <a:gd name="T20" fmla="*/ 125 w 224"/>
                <a:gd name="T21" fmla="*/ 100 h 353"/>
                <a:gd name="T22" fmla="*/ 122 w 224"/>
                <a:gd name="T23" fmla="*/ 76 h 353"/>
                <a:gd name="T24" fmla="*/ 110 w 224"/>
                <a:gd name="T25" fmla="*/ 69 h 353"/>
                <a:gd name="T26" fmla="*/ 125 w 224"/>
                <a:gd name="T27" fmla="*/ 36 h 353"/>
                <a:gd name="T28" fmla="*/ 150 w 224"/>
                <a:gd name="T29" fmla="*/ 12 h 353"/>
                <a:gd name="T30" fmla="*/ 141 w 224"/>
                <a:gd name="T31" fmla="*/ 3 h 353"/>
                <a:gd name="T32" fmla="*/ 108 w 224"/>
                <a:gd name="T33" fmla="*/ 24 h 353"/>
                <a:gd name="T34" fmla="*/ 92 w 224"/>
                <a:gd name="T35" fmla="*/ 36 h 353"/>
                <a:gd name="T36" fmla="*/ 77 w 224"/>
                <a:gd name="T37" fmla="*/ 36 h 353"/>
                <a:gd name="T38" fmla="*/ 70 w 224"/>
                <a:gd name="T39" fmla="*/ 50 h 353"/>
                <a:gd name="T40" fmla="*/ 59 w 224"/>
                <a:gd name="T41" fmla="*/ 66 h 353"/>
                <a:gd name="T42" fmla="*/ 44 w 224"/>
                <a:gd name="T43" fmla="*/ 95 h 353"/>
                <a:gd name="T44" fmla="*/ 40 w 224"/>
                <a:gd name="T45" fmla="*/ 85 h 353"/>
                <a:gd name="T46" fmla="*/ 37 w 224"/>
                <a:gd name="T47" fmla="*/ 90 h 353"/>
                <a:gd name="T48" fmla="*/ 30 w 224"/>
                <a:gd name="T49" fmla="*/ 102 h 353"/>
                <a:gd name="T50" fmla="*/ 23 w 224"/>
                <a:gd name="T51" fmla="*/ 109 h 353"/>
                <a:gd name="T52" fmla="*/ 30 w 224"/>
                <a:gd name="T53" fmla="*/ 130 h 353"/>
                <a:gd name="T54" fmla="*/ 33 w 224"/>
                <a:gd name="T55" fmla="*/ 156 h 353"/>
                <a:gd name="T56" fmla="*/ 28 w 224"/>
                <a:gd name="T57" fmla="*/ 173 h 353"/>
                <a:gd name="T58" fmla="*/ 35 w 224"/>
                <a:gd name="T59" fmla="*/ 182 h 353"/>
                <a:gd name="T60" fmla="*/ 26 w 224"/>
                <a:gd name="T61" fmla="*/ 199 h 353"/>
                <a:gd name="T62" fmla="*/ 18 w 224"/>
                <a:gd name="T63" fmla="*/ 208 h 353"/>
                <a:gd name="T64" fmla="*/ 7 w 224"/>
                <a:gd name="T65" fmla="*/ 213 h 353"/>
                <a:gd name="T66" fmla="*/ 2 w 224"/>
                <a:gd name="T67" fmla="*/ 232 h 353"/>
                <a:gd name="T68" fmla="*/ 23 w 224"/>
                <a:gd name="T69" fmla="*/ 246 h 353"/>
                <a:gd name="T70" fmla="*/ 35 w 224"/>
                <a:gd name="T71" fmla="*/ 256 h 353"/>
                <a:gd name="T72" fmla="*/ 47 w 224"/>
                <a:gd name="T73" fmla="*/ 258 h 353"/>
                <a:gd name="T74" fmla="*/ 59 w 224"/>
                <a:gd name="T75" fmla="*/ 260 h 353"/>
                <a:gd name="T76" fmla="*/ 75 w 224"/>
                <a:gd name="T77" fmla="*/ 267 h 353"/>
                <a:gd name="T78" fmla="*/ 84 w 224"/>
                <a:gd name="T79" fmla="*/ 274 h 353"/>
                <a:gd name="T80" fmla="*/ 94 w 224"/>
                <a:gd name="T81" fmla="*/ 286 h 353"/>
                <a:gd name="T82" fmla="*/ 101 w 224"/>
                <a:gd name="T83" fmla="*/ 298 h 353"/>
                <a:gd name="T84" fmla="*/ 108 w 224"/>
                <a:gd name="T85" fmla="*/ 310 h 353"/>
                <a:gd name="T86" fmla="*/ 120 w 224"/>
                <a:gd name="T87" fmla="*/ 312 h 353"/>
                <a:gd name="T88" fmla="*/ 134 w 224"/>
                <a:gd name="T89" fmla="*/ 308 h 353"/>
                <a:gd name="T90" fmla="*/ 148 w 224"/>
                <a:gd name="T91" fmla="*/ 310 h 353"/>
                <a:gd name="T92" fmla="*/ 162 w 224"/>
                <a:gd name="T93" fmla="*/ 317 h 353"/>
                <a:gd name="T94" fmla="*/ 153 w 224"/>
                <a:gd name="T95" fmla="*/ 343 h 353"/>
                <a:gd name="T96" fmla="*/ 165 w 224"/>
                <a:gd name="T97" fmla="*/ 348 h 353"/>
                <a:gd name="T98" fmla="*/ 174 w 224"/>
                <a:gd name="T99" fmla="*/ 312 h 353"/>
                <a:gd name="T100" fmla="*/ 176 w 224"/>
                <a:gd name="T101" fmla="*/ 284 h 353"/>
                <a:gd name="T102" fmla="*/ 174 w 224"/>
                <a:gd name="T103" fmla="*/ 277 h 353"/>
                <a:gd name="T104" fmla="*/ 165 w 224"/>
                <a:gd name="T105" fmla="*/ 265 h 353"/>
                <a:gd name="T106" fmla="*/ 172 w 224"/>
                <a:gd name="T107" fmla="*/ 248 h 353"/>
                <a:gd name="T108" fmla="*/ 179 w 224"/>
                <a:gd name="T109" fmla="*/ 248 h 353"/>
                <a:gd name="T110" fmla="*/ 181 w 224"/>
                <a:gd name="T111" fmla="*/ 246 h 353"/>
                <a:gd name="T112" fmla="*/ 176 w 224"/>
                <a:gd name="T113" fmla="*/ 241 h 353"/>
                <a:gd name="T114" fmla="*/ 169 w 224"/>
                <a:gd name="T115" fmla="*/ 227 h 353"/>
                <a:gd name="T116" fmla="*/ 186 w 224"/>
                <a:gd name="T117" fmla="*/ 227 h 353"/>
                <a:gd name="T118" fmla="*/ 202 w 224"/>
                <a:gd name="T119" fmla="*/ 222 h 353"/>
                <a:gd name="T120" fmla="*/ 214 w 224"/>
                <a:gd name="T121" fmla="*/ 218 h 353"/>
                <a:gd name="T122" fmla="*/ 221 w 224"/>
                <a:gd name="T123" fmla="*/ 23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4" h="353">
                  <a:moveTo>
                    <a:pt x="16" y="211"/>
                  </a:moveTo>
                  <a:lnTo>
                    <a:pt x="16" y="208"/>
                  </a:lnTo>
                  <a:lnTo>
                    <a:pt x="16" y="208"/>
                  </a:lnTo>
                  <a:lnTo>
                    <a:pt x="16" y="208"/>
                  </a:lnTo>
                  <a:lnTo>
                    <a:pt x="16" y="206"/>
                  </a:lnTo>
                  <a:lnTo>
                    <a:pt x="14" y="208"/>
                  </a:lnTo>
                  <a:lnTo>
                    <a:pt x="14" y="208"/>
                  </a:lnTo>
                  <a:lnTo>
                    <a:pt x="16" y="211"/>
                  </a:lnTo>
                  <a:close/>
                  <a:moveTo>
                    <a:pt x="224" y="237"/>
                  </a:moveTo>
                  <a:lnTo>
                    <a:pt x="224" y="234"/>
                  </a:lnTo>
                  <a:lnTo>
                    <a:pt x="224" y="232"/>
                  </a:lnTo>
                  <a:lnTo>
                    <a:pt x="224" y="230"/>
                  </a:lnTo>
                  <a:lnTo>
                    <a:pt x="224" y="230"/>
                  </a:lnTo>
                  <a:lnTo>
                    <a:pt x="224" y="227"/>
                  </a:lnTo>
                  <a:lnTo>
                    <a:pt x="221" y="225"/>
                  </a:lnTo>
                  <a:lnTo>
                    <a:pt x="221" y="222"/>
                  </a:lnTo>
                  <a:lnTo>
                    <a:pt x="221" y="220"/>
                  </a:lnTo>
                  <a:lnTo>
                    <a:pt x="221" y="220"/>
                  </a:lnTo>
                  <a:lnTo>
                    <a:pt x="221" y="218"/>
                  </a:lnTo>
                  <a:lnTo>
                    <a:pt x="219" y="218"/>
                  </a:lnTo>
                  <a:lnTo>
                    <a:pt x="219" y="215"/>
                  </a:lnTo>
                  <a:lnTo>
                    <a:pt x="219" y="213"/>
                  </a:lnTo>
                  <a:lnTo>
                    <a:pt x="219" y="213"/>
                  </a:lnTo>
                  <a:lnTo>
                    <a:pt x="219" y="211"/>
                  </a:lnTo>
                  <a:lnTo>
                    <a:pt x="216" y="211"/>
                  </a:lnTo>
                  <a:lnTo>
                    <a:pt x="216" y="208"/>
                  </a:lnTo>
                  <a:lnTo>
                    <a:pt x="214" y="206"/>
                  </a:lnTo>
                  <a:lnTo>
                    <a:pt x="212" y="206"/>
                  </a:lnTo>
                  <a:lnTo>
                    <a:pt x="212" y="206"/>
                  </a:lnTo>
                  <a:lnTo>
                    <a:pt x="212" y="204"/>
                  </a:lnTo>
                  <a:lnTo>
                    <a:pt x="212" y="204"/>
                  </a:lnTo>
                  <a:lnTo>
                    <a:pt x="209" y="204"/>
                  </a:lnTo>
                  <a:lnTo>
                    <a:pt x="209" y="204"/>
                  </a:lnTo>
                  <a:lnTo>
                    <a:pt x="207" y="204"/>
                  </a:lnTo>
                  <a:lnTo>
                    <a:pt x="207" y="204"/>
                  </a:lnTo>
                  <a:lnTo>
                    <a:pt x="207" y="201"/>
                  </a:lnTo>
                  <a:lnTo>
                    <a:pt x="214" y="196"/>
                  </a:lnTo>
                  <a:lnTo>
                    <a:pt x="216" y="192"/>
                  </a:lnTo>
                  <a:lnTo>
                    <a:pt x="216" y="192"/>
                  </a:lnTo>
                  <a:lnTo>
                    <a:pt x="216" y="192"/>
                  </a:lnTo>
                  <a:lnTo>
                    <a:pt x="216" y="192"/>
                  </a:lnTo>
                  <a:lnTo>
                    <a:pt x="216" y="189"/>
                  </a:lnTo>
                  <a:lnTo>
                    <a:pt x="214" y="185"/>
                  </a:lnTo>
                  <a:lnTo>
                    <a:pt x="214" y="185"/>
                  </a:lnTo>
                  <a:lnTo>
                    <a:pt x="212" y="182"/>
                  </a:lnTo>
                  <a:lnTo>
                    <a:pt x="212" y="182"/>
                  </a:lnTo>
                  <a:lnTo>
                    <a:pt x="209" y="178"/>
                  </a:lnTo>
                  <a:lnTo>
                    <a:pt x="209" y="175"/>
                  </a:lnTo>
                  <a:lnTo>
                    <a:pt x="209" y="173"/>
                  </a:lnTo>
                  <a:lnTo>
                    <a:pt x="209" y="170"/>
                  </a:lnTo>
                  <a:lnTo>
                    <a:pt x="209" y="168"/>
                  </a:lnTo>
                  <a:lnTo>
                    <a:pt x="207" y="168"/>
                  </a:lnTo>
                  <a:lnTo>
                    <a:pt x="207" y="163"/>
                  </a:lnTo>
                  <a:lnTo>
                    <a:pt x="209" y="159"/>
                  </a:lnTo>
                  <a:lnTo>
                    <a:pt x="209" y="154"/>
                  </a:lnTo>
                  <a:lnTo>
                    <a:pt x="209" y="152"/>
                  </a:lnTo>
                  <a:lnTo>
                    <a:pt x="209" y="149"/>
                  </a:lnTo>
                  <a:lnTo>
                    <a:pt x="212" y="147"/>
                  </a:lnTo>
                  <a:lnTo>
                    <a:pt x="212" y="144"/>
                  </a:lnTo>
                  <a:lnTo>
                    <a:pt x="212" y="142"/>
                  </a:lnTo>
                  <a:lnTo>
                    <a:pt x="214" y="140"/>
                  </a:lnTo>
                  <a:lnTo>
                    <a:pt x="216" y="137"/>
                  </a:lnTo>
                  <a:lnTo>
                    <a:pt x="216" y="135"/>
                  </a:lnTo>
                  <a:lnTo>
                    <a:pt x="216" y="133"/>
                  </a:lnTo>
                  <a:lnTo>
                    <a:pt x="216" y="133"/>
                  </a:lnTo>
                  <a:lnTo>
                    <a:pt x="214" y="130"/>
                  </a:lnTo>
                  <a:lnTo>
                    <a:pt x="212" y="130"/>
                  </a:lnTo>
                  <a:lnTo>
                    <a:pt x="209" y="130"/>
                  </a:lnTo>
                  <a:lnTo>
                    <a:pt x="207" y="130"/>
                  </a:lnTo>
                  <a:lnTo>
                    <a:pt x="205" y="133"/>
                  </a:lnTo>
                  <a:lnTo>
                    <a:pt x="198" y="133"/>
                  </a:lnTo>
                  <a:lnTo>
                    <a:pt x="193" y="133"/>
                  </a:lnTo>
                  <a:lnTo>
                    <a:pt x="188" y="133"/>
                  </a:lnTo>
                  <a:lnTo>
                    <a:pt x="186" y="133"/>
                  </a:lnTo>
                  <a:lnTo>
                    <a:pt x="183" y="133"/>
                  </a:lnTo>
                  <a:lnTo>
                    <a:pt x="183" y="135"/>
                  </a:lnTo>
                  <a:lnTo>
                    <a:pt x="181" y="133"/>
                  </a:lnTo>
                  <a:lnTo>
                    <a:pt x="181" y="133"/>
                  </a:lnTo>
                  <a:lnTo>
                    <a:pt x="179" y="133"/>
                  </a:lnTo>
                  <a:lnTo>
                    <a:pt x="179" y="133"/>
                  </a:lnTo>
                  <a:lnTo>
                    <a:pt x="176" y="130"/>
                  </a:lnTo>
                  <a:lnTo>
                    <a:pt x="174" y="126"/>
                  </a:lnTo>
                  <a:lnTo>
                    <a:pt x="172" y="121"/>
                  </a:lnTo>
                  <a:lnTo>
                    <a:pt x="169" y="116"/>
                  </a:lnTo>
                  <a:lnTo>
                    <a:pt x="167" y="116"/>
                  </a:lnTo>
                  <a:lnTo>
                    <a:pt x="167" y="116"/>
                  </a:lnTo>
                  <a:lnTo>
                    <a:pt x="165" y="116"/>
                  </a:lnTo>
                  <a:lnTo>
                    <a:pt x="162" y="116"/>
                  </a:lnTo>
                  <a:lnTo>
                    <a:pt x="162" y="114"/>
                  </a:lnTo>
                  <a:lnTo>
                    <a:pt x="160" y="114"/>
                  </a:lnTo>
                  <a:lnTo>
                    <a:pt x="158" y="114"/>
                  </a:lnTo>
                  <a:lnTo>
                    <a:pt x="158" y="114"/>
                  </a:lnTo>
                  <a:lnTo>
                    <a:pt x="155" y="114"/>
                  </a:lnTo>
                  <a:lnTo>
                    <a:pt x="150" y="116"/>
                  </a:lnTo>
                  <a:lnTo>
                    <a:pt x="148" y="116"/>
                  </a:lnTo>
                  <a:lnTo>
                    <a:pt x="148" y="116"/>
                  </a:lnTo>
                  <a:lnTo>
                    <a:pt x="143" y="114"/>
                  </a:lnTo>
                  <a:lnTo>
                    <a:pt x="141" y="114"/>
                  </a:lnTo>
                  <a:lnTo>
                    <a:pt x="136" y="114"/>
                  </a:lnTo>
                  <a:lnTo>
                    <a:pt x="134" y="116"/>
                  </a:lnTo>
                  <a:lnTo>
                    <a:pt x="134" y="114"/>
                  </a:lnTo>
                  <a:lnTo>
                    <a:pt x="132" y="114"/>
                  </a:lnTo>
                  <a:lnTo>
                    <a:pt x="129" y="109"/>
                  </a:lnTo>
                  <a:lnTo>
                    <a:pt x="129" y="107"/>
                  </a:lnTo>
                  <a:lnTo>
                    <a:pt x="127" y="107"/>
                  </a:lnTo>
                  <a:lnTo>
                    <a:pt x="127" y="107"/>
                  </a:lnTo>
                  <a:lnTo>
                    <a:pt x="125" y="104"/>
                  </a:lnTo>
                  <a:lnTo>
                    <a:pt x="125" y="104"/>
                  </a:lnTo>
                  <a:lnTo>
                    <a:pt x="125" y="102"/>
                  </a:lnTo>
                  <a:lnTo>
                    <a:pt x="125" y="100"/>
                  </a:lnTo>
                  <a:lnTo>
                    <a:pt x="125" y="97"/>
                  </a:lnTo>
                  <a:lnTo>
                    <a:pt x="125" y="95"/>
                  </a:lnTo>
                  <a:lnTo>
                    <a:pt x="127" y="92"/>
                  </a:lnTo>
                  <a:lnTo>
                    <a:pt x="127" y="92"/>
                  </a:lnTo>
                  <a:lnTo>
                    <a:pt x="127" y="90"/>
                  </a:lnTo>
                  <a:lnTo>
                    <a:pt x="127" y="88"/>
                  </a:lnTo>
                  <a:lnTo>
                    <a:pt x="127" y="85"/>
                  </a:lnTo>
                  <a:lnTo>
                    <a:pt x="125" y="83"/>
                  </a:lnTo>
                  <a:lnTo>
                    <a:pt x="122" y="81"/>
                  </a:lnTo>
                  <a:lnTo>
                    <a:pt x="122" y="76"/>
                  </a:lnTo>
                  <a:lnTo>
                    <a:pt x="120" y="71"/>
                  </a:lnTo>
                  <a:lnTo>
                    <a:pt x="120" y="69"/>
                  </a:lnTo>
                  <a:lnTo>
                    <a:pt x="117" y="71"/>
                  </a:lnTo>
                  <a:lnTo>
                    <a:pt x="117" y="69"/>
                  </a:lnTo>
                  <a:lnTo>
                    <a:pt x="117" y="69"/>
                  </a:lnTo>
                  <a:lnTo>
                    <a:pt x="115" y="66"/>
                  </a:lnTo>
                  <a:lnTo>
                    <a:pt x="115" y="69"/>
                  </a:lnTo>
                  <a:lnTo>
                    <a:pt x="113" y="69"/>
                  </a:lnTo>
                  <a:lnTo>
                    <a:pt x="110" y="69"/>
                  </a:lnTo>
                  <a:lnTo>
                    <a:pt x="110" y="69"/>
                  </a:lnTo>
                  <a:lnTo>
                    <a:pt x="110" y="69"/>
                  </a:lnTo>
                  <a:lnTo>
                    <a:pt x="110" y="66"/>
                  </a:lnTo>
                  <a:lnTo>
                    <a:pt x="113" y="64"/>
                  </a:lnTo>
                  <a:lnTo>
                    <a:pt x="115" y="62"/>
                  </a:lnTo>
                  <a:lnTo>
                    <a:pt x="115" y="59"/>
                  </a:lnTo>
                  <a:lnTo>
                    <a:pt x="117" y="57"/>
                  </a:lnTo>
                  <a:lnTo>
                    <a:pt x="117" y="50"/>
                  </a:lnTo>
                  <a:lnTo>
                    <a:pt x="120" y="48"/>
                  </a:lnTo>
                  <a:lnTo>
                    <a:pt x="120" y="40"/>
                  </a:lnTo>
                  <a:lnTo>
                    <a:pt x="125" y="36"/>
                  </a:lnTo>
                  <a:lnTo>
                    <a:pt x="125" y="33"/>
                  </a:lnTo>
                  <a:lnTo>
                    <a:pt x="127" y="31"/>
                  </a:lnTo>
                  <a:lnTo>
                    <a:pt x="127" y="29"/>
                  </a:lnTo>
                  <a:lnTo>
                    <a:pt x="129" y="29"/>
                  </a:lnTo>
                  <a:lnTo>
                    <a:pt x="134" y="26"/>
                  </a:lnTo>
                  <a:lnTo>
                    <a:pt x="139" y="17"/>
                  </a:lnTo>
                  <a:lnTo>
                    <a:pt x="139" y="17"/>
                  </a:lnTo>
                  <a:lnTo>
                    <a:pt x="143" y="14"/>
                  </a:lnTo>
                  <a:lnTo>
                    <a:pt x="148" y="14"/>
                  </a:lnTo>
                  <a:lnTo>
                    <a:pt x="150" y="12"/>
                  </a:lnTo>
                  <a:lnTo>
                    <a:pt x="150" y="12"/>
                  </a:lnTo>
                  <a:lnTo>
                    <a:pt x="150" y="12"/>
                  </a:lnTo>
                  <a:lnTo>
                    <a:pt x="153" y="12"/>
                  </a:lnTo>
                  <a:lnTo>
                    <a:pt x="155" y="7"/>
                  </a:lnTo>
                  <a:lnTo>
                    <a:pt x="155" y="5"/>
                  </a:lnTo>
                  <a:lnTo>
                    <a:pt x="153" y="3"/>
                  </a:lnTo>
                  <a:lnTo>
                    <a:pt x="148" y="0"/>
                  </a:lnTo>
                  <a:lnTo>
                    <a:pt x="148" y="0"/>
                  </a:lnTo>
                  <a:lnTo>
                    <a:pt x="146" y="0"/>
                  </a:lnTo>
                  <a:lnTo>
                    <a:pt x="141" y="3"/>
                  </a:lnTo>
                  <a:lnTo>
                    <a:pt x="141" y="3"/>
                  </a:lnTo>
                  <a:lnTo>
                    <a:pt x="141" y="5"/>
                  </a:lnTo>
                  <a:lnTo>
                    <a:pt x="139" y="5"/>
                  </a:lnTo>
                  <a:lnTo>
                    <a:pt x="136" y="5"/>
                  </a:lnTo>
                  <a:lnTo>
                    <a:pt x="136" y="7"/>
                  </a:lnTo>
                  <a:lnTo>
                    <a:pt x="134" y="12"/>
                  </a:lnTo>
                  <a:lnTo>
                    <a:pt x="132" y="14"/>
                  </a:lnTo>
                  <a:lnTo>
                    <a:pt x="125" y="14"/>
                  </a:lnTo>
                  <a:lnTo>
                    <a:pt x="113" y="24"/>
                  </a:lnTo>
                  <a:lnTo>
                    <a:pt x="108" y="24"/>
                  </a:lnTo>
                  <a:lnTo>
                    <a:pt x="106" y="24"/>
                  </a:lnTo>
                  <a:lnTo>
                    <a:pt x="103" y="24"/>
                  </a:lnTo>
                  <a:lnTo>
                    <a:pt x="101" y="24"/>
                  </a:lnTo>
                  <a:lnTo>
                    <a:pt x="99" y="24"/>
                  </a:lnTo>
                  <a:lnTo>
                    <a:pt x="96" y="24"/>
                  </a:lnTo>
                  <a:lnTo>
                    <a:pt x="96" y="29"/>
                  </a:lnTo>
                  <a:lnTo>
                    <a:pt x="94" y="31"/>
                  </a:lnTo>
                  <a:lnTo>
                    <a:pt x="94" y="33"/>
                  </a:lnTo>
                  <a:lnTo>
                    <a:pt x="94" y="36"/>
                  </a:lnTo>
                  <a:lnTo>
                    <a:pt x="92" y="36"/>
                  </a:lnTo>
                  <a:lnTo>
                    <a:pt x="92" y="33"/>
                  </a:lnTo>
                  <a:lnTo>
                    <a:pt x="92" y="31"/>
                  </a:lnTo>
                  <a:lnTo>
                    <a:pt x="94" y="31"/>
                  </a:lnTo>
                  <a:lnTo>
                    <a:pt x="94" y="31"/>
                  </a:lnTo>
                  <a:lnTo>
                    <a:pt x="94" y="31"/>
                  </a:lnTo>
                  <a:lnTo>
                    <a:pt x="92" y="31"/>
                  </a:lnTo>
                  <a:lnTo>
                    <a:pt x="84" y="29"/>
                  </a:lnTo>
                  <a:lnTo>
                    <a:pt x="84" y="29"/>
                  </a:lnTo>
                  <a:lnTo>
                    <a:pt x="80" y="33"/>
                  </a:lnTo>
                  <a:lnTo>
                    <a:pt x="77" y="36"/>
                  </a:lnTo>
                  <a:lnTo>
                    <a:pt x="77" y="36"/>
                  </a:lnTo>
                  <a:lnTo>
                    <a:pt x="73" y="38"/>
                  </a:lnTo>
                  <a:lnTo>
                    <a:pt x="73" y="40"/>
                  </a:lnTo>
                  <a:lnTo>
                    <a:pt x="70" y="45"/>
                  </a:lnTo>
                  <a:lnTo>
                    <a:pt x="68" y="48"/>
                  </a:lnTo>
                  <a:lnTo>
                    <a:pt x="68" y="48"/>
                  </a:lnTo>
                  <a:lnTo>
                    <a:pt x="68" y="48"/>
                  </a:lnTo>
                  <a:lnTo>
                    <a:pt x="70" y="48"/>
                  </a:lnTo>
                  <a:lnTo>
                    <a:pt x="70" y="48"/>
                  </a:lnTo>
                  <a:lnTo>
                    <a:pt x="70" y="50"/>
                  </a:lnTo>
                  <a:lnTo>
                    <a:pt x="70" y="52"/>
                  </a:lnTo>
                  <a:lnTo>
                    <a:pt x="68" y="55"/>
                  </a:lnTo>
                  <a:lnTo>
                    <a:pt x="68" y="57"/>
                  </a:lnTo>
                  <a:lnTo>
                    <a:pt x="68" y="59"/>
                  </a:lnTo>
                  <a:lnTo>
                    <a:pt x="68" y="62"/>
                  </a:lnTo>
                  <a:lnTo>
                    <a:pt x="68" y="64"/>
                  </a:lnTo>
                  <a:lnTo>
                    <a:pt x="66" y="64"/>
                  </a:lnTo>
                  <a:lnTo>
                    <a:pt x="63" y="64"/>
                  </a:lnTo>
                  <a:lnTo>
                    <a:pt x="61" y="64"/>
                  </a:lnTo>
                  <a:lnTo>
                    <a:pt x="59" y="66"/>
                  </a:lnTo>
                  <a:lnTo>
                    <a:pt x="56" y="74"/>
                  </a:lnTo>
                  <a:lnTo>
                    <a:pt x="47" y="78"/>
                  </a:lnTo>
                  <a:lnTo>
                    <a:pt x="47" y="81"/>
                  </a:lnTo>
                  <a:lnTo>
                    <a:pt x="44" y="81"/>
                  </a:lnTo>
                  <a:lnTo>
                    <a:pt x="44" y="81"/>
                  </a:lnTo>
                  <a:lnTo>
                    <a:pt x="44" y="83"/>
                  </a:lnTo>
                  <a:lnTo>
                    <a:pt x="44" y="83"/>
                  </a:lnTo>
                  <a:lnTo>
                    <a:pt x="47" y="88"/>
                  </a:lnTo>
                  <a:lnTo>
                    <a:pt x="47" y="95"/>
                  </a:lnTo>
                  <a:lnTo>
                    <a:pt x="44" y="95"/>
                  </a:lnTo>
                  <a:lnTo>
                    <a:pt x="44" y="95"/>
                  </a:lnTo>
                  <a:lnTo>
                    <a:pt x="42" y="95"/>
                  </a:lnTo>
                  <a:lnTo>
                    <a:pt x="42" y="95"/>
                  </a:lnTo>
                  <a:lnTo>
                    <a:pt x="42" y="92"/>
                  </a:lnTo>
                  <a:lnTo>
                    <a:pt x="44" y="92"/>
                  </a:lnTo>
                  <a:lnTo>
                    <a:pt x="44" y="92"/>
                  </a:lnTo>
                  <a:lnTo>
                    <a:pt x="44" y="90"/>
                  </a:lnTo>
                  <a:lnTo>
                    <a:pt x="42" y="90"/>
                  </a:lnTo>
                  <a:lnTo>
                    <a:pt x="42" y="88"/>
                  </a:lnTo>
                  <a:lnTo>
                    <a:pt x="40" y="85"/>
                  </a:lnTo>
                  <a:lnTo>
                    <a:pt x="37" y="83"/>
                  </a:lnTo>
                  <a:lnTo>
                    <a:pt x="35" y="81"/>
                  </a:lnTo>
                  <a:lnTo>
                    <a:pt x="35" y="81"/>
                  </a:lnTo>
                  <a:lnTo>
                    <a:pt x="35" y="81"/>
                  </a:lnTo>
                  <a:lnTo>
                    <a:pt x="33" y="83"/>
                  </a:lnTo>
                  <a:lnTo>
                    <a:pt x="33" y="83"/>
                  </a:lnTo>
                  <a:lnTo>
                    <a:pt x="35" y="85"/>
                  </a:lnTo>
                  <a:lnTo>
                    <a:pt x="35" y="85"/>
                  </a:lnTo>
                  <a:lnTo>
                    <a:pt x="35" y="88"/>
                  </a:lnTo>
                  <a:lnTo>
                    <a:pt x="37" y="90"/>
                  </a:lnTo>
                  <a:lnTo>
                    <a:pt x="37" y="92"/>
                  </a:lnTo>
                  <a:lnTo>
                    <a:pt x="37" y="95"/>
                  </a:lnTo>
                  <a:lnTo>
                    <a:pt x="37" y="95"/>
                  </a:lnTo>
                  <a:lnTo>
                    <a:pt x="35" y="95"/>
                  </a:lnTo>
                  <a:lnTo>
                    <a:pt x="35" y="97"/>
                  </a:lnTo>
                  <a:lnTo>
                    <a:pt x="35" y="100"/>
                  </a:lnTo>
                  <a:lnTo>
                    <a:pt x="35" y="100"/>
                  </a:lnTo>
                  <a:lnTo>
                    <a:pt x="30" y="102"/>
                  </a:lnTo>
                  <a:lnTo>
                    <a:pt x="30" y="104"/>
                  </a:lnTo>
                  <a:lnTo>
                    <a:pt x="30" y="102"/>
                  </a:lnTo>
                  <a:lnTo>
                    <a:pt x="28" y="102"/>
                  </a:lnTo>
                  <a:lnTo>
                    <a:pt x="28" y="100"/>
                  </a:lnTo>
                  <a:lnTo>
                    <a:pt x="28" y="100"/>
                  </a:lnTo>
                  <a:lnTo>
                    <a:pt x="28" y="100"/>
                  </a:lnTo>
                  <a:lnTo>
                    <a:pt x="28" y="100"/>
                  </a:lnTo>
                  <a:lnTo>
                    <a:pt x="26" y="102"/>
                  </a:lnTo>
                  <a:lnTo>
                    <a:pt x="28" y="104"/>
                  </a:lnTo>
                  <a:lnTo>
                    <a:pt x="26" y="104"/>
                  </a:lnTo>
                  <a:lnTo>
                    <a:pt x="26" y="107"/>
                  </a:lnTo>
                  <a:lnTo>
                    <a:pt x="23" y="109"/>
                  </a:lnTo>
                  <a:lnTo>
                    <a:pt x="26" y="111"/>
                  </a:lnTo>
                  <a:lnTo>
                    <a:pt x="28" y="116"/>
                  </a:lnTo>
                  <a:lnTo>
                    <a:pt x="28" y="118"/>
                  </a:lnTo>
                  <a:lnTo>
                    <a:pt x="28" y="118"/>
                  </a:lnTo>
                  <a:lnTo>
                    <a:pt x="30" y="121"/>
                  </a:lnTo>
                  <a:lnTo>
                    <a:pt x="33" y="121"/>
                  </a:lnTo>
                  <a:lnTo>
                    <a:pt x="33" y="123"/>
                  </a:lnTo>
                  <a:lnTo>
                    <a:pt x="33" y="126"/>
                  </a:lnTo>
                  <a:lnTo>
                    <a:pt x="33" y="130"/>
                  </a:lnTo>
                  <a:lnTo>
                    <a:pt x="30" y="130"/>
                  </a:lnTo>
                  <a:lnTo>
                    <a:pt x="30" y="130"/>
                  </a:lnTo>
                  <a:lnTo>
                    <a:pt x="30" y="133"/>
                  </a:lnTo>
                  <a:lnTo>
                    <a:pt x="33" y="137"/>
                  </a:lnTo>
                  <a:lnTo>
                    <a:pt x="35" y="140"/>
                  </a:lnTo>
                  <a:lnTo>
                    <a:pt x="33" y="142"/>
                  </a:lnTo>
                  <a:lnTo>
                    <a:pt x="28" y="147"/>
                  </a:lnTo>
                  <a:lnTo>
                    <a:pt x="30" y="149"/>
                  </a:lnTo>
                  <a:lnTo>
                    <a:pt x="33" y="149"/>
                  </a:lnTo>
                  <a:lnTo>
                    <a:pt x="33" y="152"/>
                  </a:lnTo>
                  <a:lnTo>
                    <a:pt x="33" y="156"/>
                  </a:lnTo>
                  <a:lnTo>
                    <a:pt x="33" y="161"/>
                  </a:lnTo>
                  <a:lnTo>
                    <a:pt x="33" y="161"/>
                  </a:lnTo>
                  <a:lnTo>
                    <a:pt x="33" y="163"/>
                  </a:lnTo>
                  <a:lnTo>
                    <a:pt x="33" y="166"/>
                  </a:lnTo>
                  <a:lnTo>
                    <a:pt x="33" y="168"/>
                  </a:lnTo>
                  <a:lnTo>
                    <a:pt x="30" y="170"/>
                  </a:lnTo>
                  <a:lnTo>
                    <a:pt x="30" y="170"/>
                  </a:lnTo>
                  <a:lnTo>
                    <a:pt x="30" y="173"/>
                  </a:lnTo>
                  <a:lnTo>
                    <a:pt x="28" y="173"/>
                  </a:lnTo>
                  <a:lnTo>
                    <a:pt x="28" y="173"/>
                  </a:lnTo>
                  <a:lnTo>
                    <a:pt x="30" y="173"/>
                  </a:lnTo>
                  <a:lnTo>
                    <a:pt x="30" y="175"/>
                  </a:lnTo>
                  <a:lnTo>
                    <a:pt x="30" y="175"/>
                  </a:lnTo>
                  <a:lnTo>
                    <a:pt x="30" y="178"/>
                  </a:lnTo>
                  <a:lnTo>
                    <a:pt x="30" y="180"/>
                  </a:lnTo>
                  <a:lnTo>
                    <a:pt x="33" y="178"/>
                  </a:lnTo>
                  <a:lnTo>
                    <a:pt x="33" y="178"/>
                  </a:lnTo>
                  <a:lnTo>
                    <a:pt x="33" y="180"/>
                  </a:lnTo>
                  <a:lnTo>
                    <a:pt x="33" y="182"/>
                  </a:lnTo>
                  <a:lnTo>
                    <a:pt x="35" y="182"/>
                  </a:lnTo>
                  <a:lnTo>
                    <a:pt x="35" y="180"/>
                  </a:lnTo>
                  <a:lnTo>
                    <a:pt x="37" y="180"/>
                  </a:lnTo>
                  <a:lnTo>
                    <a:pt x="33" y="187"/>
                  </a:lnTo>
                  <a:lnTo>
                    <a:pt x="30" y="189"/>
                  </a:lnTo>
                  <a:lnTo>
                    <a:pt x="30" y="192"/>
                  </a:lnTo>
                  <a:lnTo>
                    <a:pt x="30" y="192"/>
                  </a:lnTo>
                  <a:lnTo>
                    <a:pt x="28" y="194"/>
                  </a:lnTo>
                  <a:lnTo>
                    <a:pt x="28" y="196"/>
                  </a:lnTo>
                  <a:lnTo>
                    <a:pt x="26" y="199"/>
                  </a:lnTo>
                  <a:lnTo>
                    <a:pt x="26" y="199"/>
                  </a:lnTo>
                  <a:lnTo>
                    <a:pt x="23" y="199"/>
                  </a:lnTo>
                  <a:lnTo>
                    <a:pt x="23" y="199"/>
                  </a:lnTo>
                  <a:lnTo>
                    <a:pt x="26" y="201"/>
                  </a:lnTo>
                  <a:lnTo>
                    <a:pt x="26" y="201"/>
                  </a:lnTo>
                  <a:lnTo>
                    <a:pt x="23" y="204"/>
                  </a:lnTo>
                  <a:lnTo>
                    <a:pt x="21" y="206"/>
                  </a:lnTo>
                  <a:lnTo>
                    <a:pt x="21" y="206"/>
                  </a:lnTo>
                  <a:lnTo>
                    <a:pt x="21" y="206"/>
                  </a:lnTo>
                  <a:lnTo>
                    <a:pt x="21" y="206"/>
                  </a:lnTo>
                  <a:lnTo>
                    <a:pt x="18" y="208"/>
                  </a:lnTo>
                  <a:lnTo>
                    <a:pt x="18" y="208"/>
                  </a:lnTo>
                  <a:lnTo>
                    <a:pt x="18" y="208"/>
                  </a:lnTo>
                  <a:lnTo>
                    <a:pt x="16" y="211"/>
                  </a:lnTo>
                  <a:lnTo>
                    <a:pt x="16" y="211"/>
                  </a:lnTo>
                  <a:lnTo>
                    <a:pt x="14" y="211"/>
                  </a:lnTo>
                  <a:lnTo>
                    <a:pt x="11" y="211"/>
                  </a:lnTo>
                  <a:lnTo>
                    <a:pt x="11" y="211"/>
                  </a:lnTo>
                  <a:lnTo>
                    <a:pt x="9" y="211"/>
                  </a:lnTo>
                  <a:lnTo>
                    <a:pt x="9" y="211"/>
                  </a:lnTo>
                  <a:lnTo>
                    <a:pt x="7" y="213"/>
                  </a:lnTo>
                  <a:lnTo>
                    <a:pt x="7" y="213"/>
                  </a:lnTo>
                  <a:lnTo>
                    <a:pt x="7" y="220"/>
                  </a:lnTo>
                  <a:lnTo>
                    <a:pt x="7" y="222"/>
                  </a:lnTo>
                  <a:lnTo>
                    <a:pt x="7" y="225"/>
                  </a:lnTo>
                  <a:lnTo>
                    <a:pt x="4" y="225"/>
                  </a:lnTo>
                  <a:lnTo>
                    <a:pt x="0" y="225"/>
                  </a:lnTo>
                  <a:lnTo>
                    <a:pt x="0" y="230"/>
                  </a:lnTo>
                  <a:lnTo>
                    <a:pt x="2" y="230"/>
                  </a:lnTo>
                  <a:lnTo>
                    <a:pt x="2" y="232"/>
                  </a:lnTo>
                  <a:lnTo>
                    <a:pt x="2" y="232"/>
                  </a:lnTo>
                  <a:lnTo>
                    <a:pt x="4" y="234"/>
                  </a:lnTo>
                  <a:lnTo>
                    <a:pt x="4" y="237"/>
                  </a:lnTo>
                  <a:lnTo>
                    <a:pt x="7" y="237"/>
                  </a:lnTo>
                  <a:lnTo>
                    <a:pt x="9" y="237"/>
                  </a:lnTo>
                  <a:lnTo>
                    <a:pt x="11" y="241"/>
                  </a:lnTo>
                  <a:lnTo>
                    <a:pt x="14" y="241"/>
                  </a:lnTo>
                  <a:lnTo>
                    <a:pt x="16" y="244"/>
                  </a:lnTo>
                  <a:lnTo>
                    <a:pt x="21" y="246"/>
                  </a:lnTo>
                  <a:lnTo>
                    <a:pt x="23" y="246"/>
                  </a:lnTo>
                  <a:lnTo>
                    <a:pt x="23" y="246"/>
                  </a:lnTo>
                  <a:lnTo>
                    <a:pt x="23" y="248"/>
                  </a:lnTo>
                  <a:lnTo>
                    <a:pt x="26" y="248"/>
                  </a:lnTo>
                  <a:lnTo>
                    <a:pt x="26" y="248"/>
                  </a:lnTo>
                  <a:lnTo>
                    <a:pt x="28" y="248"/>
                  </a:lnTo>
                  <a:lnTo>
                    <a:pt x="28" y="248"/>
                  </a:lnTo>
                  <a:lnTo>
                    <a:pt x="28" y="253"/>
                  </a:lnTo>
                  <a:lnTo>
                    <a:pt x="28" y="256"/>
                  </a:lnTo>
                  <a:lnTo>
                    <a:pt x="30" y="256"/>
                  </a:lnTo>
                  <a:lnTo>
                    <a:pt x="33" y="256"/>
                  </a:lnTo>
                  <a:lnTo>
                    <a:pt x="35" y="256"/>
                  </a:lnTo>
                  <a:lnTo>
                    <a:pt x="35" y="256"/>
                  </a:lnTo>
                  <a:lnTo>
                    <a:pt x="37" y="258"/>
                  </a:lnTo>
                  <a:lnTo>
                    <a:pt x="40" y="258"/>
                  </a:lnTo>
                  <a:lnTo>
                    <a:pt x="40" y="258"/>
                  </a:lnTo>
                  <a:lnTo>
                    <a:pt x="42" y="258"/>
                  </a:lnTo>
                  <a:lnTo>
                    <a:pt x="42" y="258"/>
                  </a:lnTo>
                  <a:lnTo>
                    <a:pt x="42" y="258"/>
                  </a:lnTo>
                  <a:lnTo>
                    <a:pt x="44" y="258"/>
                  </a:lnTo>
                  <a:lnTo>
                    <a:pt x="44" y="258"/>
                  </a:lnTo>
                  <a:lnTo>
                    <a:pt x="47" y="258"/>
                  </a:lnTo>
                  <a:lnTo>
                    <a:pt x="47" y="256"/>
                  </a:lnTo>
                  <a:lnTo>
                    <a:pt x="47" y="256"/>
                  </a:lnTo>
                  <a:lnTo>
                    <a:pt x="47" y="253"/>
                  </a:lnTo>
                  <a:lnTo>
                    <a:pt x="49" y="253"/>
                  </a:lnTo>
                  <a:lnTo>
                    <a:pt x="49" y="253"/>
                  </a:lnTo>
                  <a:lnTo>
                    <a:pt x="54" y="256"/>
                  </a:lnTo>
                  <a:lnTo>
                    <a:pt x="54" y="256"/>
                  </a:lnTo>
                  <a:lnTo>
                    <a:pt x="56" y="258"/>
                  </a:lnTo>
                  <a:lnTo>
                    <a:pt x="56" y="260"/>
                  </a:lnTo>
                  <a:lnTo>
                    <a:pt x="59" y="260"/>
                  </a:lnTo>
                  <a:lnTo>
                    <a:pt x="61" y="260"/>
                  </a:lnTo>
                  <a:lnTo>
                    <a:pt x="66" y="263"/>
                  </a:lnTo>
                  <a:lnTo>
                    <a:pt x="68" y="265"/>
                  </a:lnTo>
                  <a:lnTo>
                    <a:pt x="68" y="263"/>
                  </a:lnTo>
                  <a:lnTo>
                    <a:pt x="70" y="263"/>
                  </a:lnTo>
                  <a:lnTo>
                    <a:pt x="70" y="263"/>
                  </a:lnTo>
                  <a:lnTo>
                    <a:pt x="73" y="265"/>
                  </a:lnTo>
                  <a:lnTo>
                    <a:pt x="73" y="265"/>
                  </a:lnTo>
                  <a:lnTo>
                    <a:pt x="75" y="267"/>
                  </a:lnTo>
                  <a:lnTo>
                    <a:pt x="75" y="267"/>
                  </a:lnTo>
                  <a:lnTo>
                    <a:pt x="77" y="267"/>
                  </a:lnTo>
                  <a:lnTo>
                    <a:pt x="77" y="267"/>
                  </a:lnTo>
                  <a:lnTo>
                    <a:pt x="77" y="267"/>
                  </a:lnTo>
                  <a:lnTo>
                    <a:pt x="77" y="270"/>
                  </a:lnTo>
                  <a:lnTo>
                    <a:pt x="80" y="270"/>
                  </a:lnTo>
                  <a:lnTo>
                    <a:pt x="80" y="270"/>
                  </a:lnTo>
                  <a:lnTo>
                    <a:pt x="82" y="272"/>
                  </a:lnTo>
                  <a:lnTo>
                    <a:pt x="82" y="272"/>
                  </a:lnTo>
                  <a:lnTo>
                    <a:pt x="82" y="274"/>
                  </a:lnTo>
                  <a:lnTo>
                    <a:pt x="84" y="274"/>
                  </a:lnTo>
                  <a:lnTo>
                    <a:pt x="84" y="277"/>
                  </a:lnTo>
                  <a:lnTo>
                    <a:pt x="84" y="279"/>
                  </a:lnTo>
                  <a:lnTo>
                    <a:pt x="87" y="279"/>
                  </a:lnTo>
                  <a:lnTo>
                    <a:pt x="87" y="282"/>
                  </a:lnTo>
                  <a:lnTo>
                    <a:pt x="87" y="282"/>
                  </a:lnTo>
                  <a:lnTo>
                    <a:pt x="87" y="284"/>
                  </a:lnTo>
                  <a:lnTo>
                    <a:pt x="89" y="284"/>
                  </a:lnTo>
                  <a:lnTo>
                    <a:pt x="92" y="284"/>
                  </a:lnTo>
                  <a:lnTo>
                    <a:pt x="92" y="286"/>
                  </a:lnTo>
                  <a:lnTo>
                    <a:pt x="94" y="286"/>
                  </a:lnTo>
                  <a:lnTo>
                    <a:pt x="94" y="289"/>
                  </a:lnTo>
                  <a:lnTo>
                    <a:pt x="96" y="289"/>
                  </a:lnTo>
                  <a:lnTo>
                    <a:pt x="96" y="289"/>
                  </a:lnTo>
                  <a:lnTo>
                    <a:pt x="99" y="289"/>
                  </a:lnTo>
                  <a:lnTo>
                    <a:pt x="99" y="291"/>
                  </a:lnTo>
                  <a:lnTo>
                    <a:pt x="101" y="293"/>
                  </a:lnTo>
                  <a:lnTo>
                    <a:pt x="101" y="293"/>
                  </a:lnTo>
                  <a:lnTo>
                    <a:pt x="101" y="296"/>
                  </a:lnTo>
                  <a:lnTo>
                    <a:pt x="101" y="298"/>
                  </a:lnTo>
                  <a:lnTo>
                    <a:pt x="101" y="298"/>
                  </a:lnTo>
                  <a:lnTo>
                    <a:pt x="103" y="301"/>
                  </a:lnTo>
                  <a:lnTo>
                    <a:pt x="103" y="301"/>
                  </a:lnTo>
                  <a:lnTo>
                    <a:pt x="106" y="301"/>
                  </a:lnTo>
                  <a:lnTo>
                    <a:pt x="106" y="301"/>
                  </a:lnTo>
                  <a:lnTo>
                    <a:pt x="108" y="301"/>
                  </a:lnTo>
                  <a:lnTo>
                    <a:pt x="108" y="303"/>
                  </a:lnTo>
                  <a:lnTo>
                    <a:pt x="108" y="305"/>
                  </a:lnTo>
                  <a:lnTo>
                    <a:pt x="108" y="308"/>
                  </a:lnTo>
                  <a:lnTo>
                    <a:pt x="108" y="308"/>
                  </a:lnTo>
                  <a:lnTo>
                    <a:pt x="108" y="310"/>
                  </a:lnTo>
                  <a:lnTo>
                    <a:pt x="108" y="310"/>
                  </a:lnTo>
                  <a:lnTo>
                    <a:pt x="110" y="312"/>
                  </a:lnTo>
                  <a:lnTo>
                    <a:pt x="110" y="312"/>
                  </a:lnTo>
                  <a:lnTo>
                    <a:pt x="113" y="312"/>
                  </a:lnTo>
                  <a:lnTo>
                    <a:pt x="113" y="315"/>
                  </a:lnTo>
                  <a:lnTo>
                    <a:pt x="115" y="315"/>
                  </a:lnTo>
                  <a:lnTo>
                    <a:pt x="117" y="312"/>
                  </a:lnTo>
                  <a:lnTo>
                    <a:pt x="117" y="312"/>
                  </a:lnTo>
                  <a:lnTo>
                    <a:pt x="117" y="312"/>
                  </a:lnTo>
                  <a:lnTo>
                    <a:pt x="120" y="312"/>
                  </a:lnTo>
                  <a:lnTo>
                    <a:pt x="120" y="312"/>
                  </a:lnTo>
                  <a:lnTo>
                    <a:pt x="122" y="315"/>
                  </a:lnTo>
                  <a:lnTo>
                    <a:pt x="125" y="315"/>
                  </a:lnTo>
                  <a:lnTo>
                    <a:pt x="125" y="312"/>
                  </a:lnTo>
                  <a:lnTo>
                    <a:pt x="127" y="312"/>
                  </a:lnTo>
                  <a:lnTo>
                    <a:pt x="129" y="312"/>
                  </a:lnTo>
                  <a:lnTo>
                    <a:pt x="129" y="312"/>
                  </a:lnTo>
                  <a:lnTo>
                    <a:pt x="132" y="310"/>
                  </a:lnTo>
                  <a:lnTo>
                    <a:pt x="132" y="310"/>
                  </a:lnTo>
                  <a:lnTo>
                    <a:pt x="134" y="308"/>
                  </a:lnTo>
                  <a:lnTo>
                    <a:pt x="134" y="308"/>
                  </a:lnTo>
                  <a:lnTo>
                    <a:pt x="136" y="310"/>
                  </a:lnTo>
                  <a:lnTo>
                    <a:pt x="139" y="310"/>
                  </a:lnTo>
                  <a:lnTo>
                    <a:pt x="139" y="310"/>
                  </a:lnTo>
                  <a:lnTo>
                    <a:pt x="141" y="312"/>
                  </a:lnTo>
                  <a:lnTo>
                    <a:pt x="141" y="312"/>
                  </a:lnTo>
                  <a:lnTo>
                    <a:pt x="143" y="312"/>
                  </a:lnTo>
                  <a:lnTo>
                    <a:pt x="143" y="312"/>
                  </a:lnTo>
                  <a:lnTo>
                    <a:pt x="146" y="310"/>
                  </a:lnTo>
                  <a:lnTo>
                    <a:pt x="148" y="310"/>
                  </a:lnTo>
                  <a:lnTo>
                    <a:pt x="148" y="310"/>
                  </a:lnTo>
                  <a:lnTo>
                    <a:pt x="150" y="310"/>
                  </a:lnTo>
                  <a:lnTo>
                    <a:pt x="153" y="312"/>
                  </a:lnTo>
                  <a:lnTo>
                    <a:pt x="155" y="315"/>
                  </a:lnTo>
                  <a:lnTo>
                    <a:pt x="155" y="315"/>
                  </a:lnTo>
                  <a:lnTo>
                    <a:pt x="158" y="315"/>
                  </a:lnTo>
                  <a:lnTo>
                    <a:pt x="160" y="315"/>
                  </a:lnTo>
                  <a:lnTo>
                    <a:pt x="160" y="317"/>
                  </a:lnTo>
                  <a:lnTo>
                    <a:pt x="162" y="317"/>
                  </a:lnTo>
                  <a:lnTo>
                    <a:pt x="162" y="317"/>
                  </a:lnTo>
                  <a:lnTo>
                    <a:pt x="165" y="319"/>
                  </a:lnTo>
                  <a:lnTo>
                    <a:pt x="165" y="319"/>
                  </a:lnTo>
                  <a:lnTo>
                    <a:pt x="165" y="319"/>
                  </a:lnTo>
                  <a:lnTo>
                    <a:pt x="167" y="319"/>
                  </a:lnTo>
                  <a:lnTo>
                    <a:pt x="165" y="322"/>
                  </a:lnTo>
                  <a:lnTo>
                    <a:pt x="165" y="324"/>
                  </a:lnTo>
                  <a:lnTo>
                    <a:pt x="162" y="329"/>
                  </a:lnTo>
                  <a:lnTo>
                    <a:pt x="160" y="331"/>
                  </a:lnTo>
                  <a:lnTo>
                    <a:pt x="155" y="338"/>
                  </a:lnTo>
                  <a:lnTo>
                    <a:pt x="153" y="343"/>
                  </a:lnTo>
                  <a:lnTo>
                    <a:pt x="155" y="343"/>
                  </a:lnTo>
                  <a:lnTo>
                    <a:pt x="158" y="345"/>
                  </a:lnTo>
                  <a:lnTo>
                    <a:pt x="158" y="345"/>
                  </a:lnTo>
                  <a:lnTo>
                    <a:pt x="160" y="343"/>
                  </a:lnTo>
                  <a:lnTo>
                    <a:pt x="160" y="343"/>
                  </a:lnTo>
                  <a:lnTo>
                    <a:pt x="162" y="343"/>
                  </a:lnTo>
                  <a:lnTo>
                    <a:pt x="162" y="343"/>
                  </a:lnTo>
                  <a:lnTo>
                    <a:pt x="162" y="345"/>
                  </a:lnTo>
                  <a:lnTo>
                    <a:pt x="165" y="348"/>
                  </a:lnTo>
                  <a:lnTo>
                    <a:pt x="165" y="348"/>
                  </a:lnTo>
                  <a:lnTo>
                    <a:pt x="167" y="350"/>
                  </a:lnTo>
                  <a:lnTo>
                    <a:pt x="167" y="350"/>
                  </a:lnTo>
                  <a:lnTo>
                    <a:pt x="169" y="353"/>
                  </a:lnTo>
                  <a:lnTo>
                    <a:pt x="169" y="353"/>
                  </a:lnTo>
                  <a:lnTo>
                    <a:pt x="169" y="348"/>
                  </a:lnTo>
                  <a:lnTo>
                    <a:pt x="169" y="341"/>
                  </a:lnTo>
                  <a:lnTo>
                    <a:pt x="172" y="334"/>
                  </a:lnTo>
                  <a:lnTo>
                    <a:pt x="172" y="327"/>
                  </a:lnTo>
                  <a:lnTo>
                    <a:pt x="174" y="319"/>
                  </a:lnTo>
                  <a:lnTo>
                    <a:pt x="174" y="312"/>
                  </a:lnTo>
                  <a:lnTo>
                    <a:pt x="174" y="305"/>
                  </a:lnTo>
                  <a:lnTo>
                    <a:pt x="176" y="301"/>
                  </a:lnTo>
                  <a:lnTo>
                    <a:pt x="176" y="298"/>
                  </a:lnTo>
                  <a:lnTo>
                    <a:pt x="176" y="293"/>
                  </a:lnTo>
                  <a:lnTo>
                    <a:pt x="176" y="289"/>
                  </a:lnTo>
                  <a:lnTo>
                    <a:pt x="179" y="289"/>
                  </a:lnTo>
                  <a:lnTo>
                    <a:pt x="176" y="286"/>
                  </a:lnTo>
                  <a:lnTo>
                    <a:pt x="176" y="286"/>
                  </a:lnTo>
                  <a:lnTo>
                    <a:pt x="176" y="286"/>
                  </a:lnTo>
                  <a:lnTo>
                    <a:pt x="176" y="284"/>
                  </a:lnTo>
                  <a:lnTo>
                    <a:pt x="176" y="284"/>
                  </a:lnTo>
                  <a:lnTo>
                    <a:pt x="176" y="284"/>
                  </a:lnTo>
                  <a:lnTo>
                    <a:pt x="176" y="282"/>
                  </a:lnTo>
                  <a:lnTo>
                    <a:pt x="174" y="282"/>
                  </a:lnTo>
                  <a:lnTo>
                    <a:pt x="174" y="282"/>
                  </a:lnTo>
                  <a:lnTo>
                    <a:pt x="174" y="282"/>
                  </a:lnTo>
                  <a:lnTo>
                    <a:pt x="174" y="279"/>
                  </a:lnTo>
                  <a:lnTo>
                    <a:pt x="174" y="279"/>
                  </a:lnTo>
                  <a:lnTo>
                    <a:pt x="174" y="277"/>
                  </a:lnTo>
                  <a:lnTo>
                    <a:pt x="174" y="277"/>
                  </a:lnTo>
                  <a:lnTo>
                    <a:pt x="174" y="277"/>
                  </a:lnTo>
                  <a:lnTo>
                    <a:pt x="174" y="274"/>
                  </a:lnTo>
                  <a:lnTo>
                    <a:pt x="174" y="274"/>
                  </a:lnTo>
                  <a:lnTo>
                    <a:pt x="174" y="274"/>
                  </a:lnTo>
                  <a:lnTo>
                    <a:pt x="172" y="272"/>
                  </a:lnTo>
                  <a:lnTo>
                    <a:pt x="172" y="272"/>
                  </a:lnTo>
                  <a:lnTo>
                    <a:pt x="169" y="270"/>
                  </a:lnTo>
                  <a:lnTo>
                    <a:pt x="167" y="270"/>
                  </a:lnTo>
                  <a:lnTo>
                    <a:pt x="165" y="267"/>
                  </a:lnTo>
                  <a:lnTo>
                    <a:pt x="165" y="265"/>
                  </a:lnTo>
                  <a:lnTo>
                    <a:pt x="165" y="263"/>
                  </a:lnTo>
                  <a:lnTo>
                    <a:pt x="165" y="258"/>
                  </a:lnTo>
                  <a:lnTo>
                    <a:pt x="165" y="253"/>
                  </a:lnTo>
                  <a:lnTo>
                    <a:pt x="165" y="251"/>
                  </a:lnTo>
                  <a:lnTo>
                    <a:pt x="167" y="251"/>
                  </a:lnTo>
                  <a:lnTo>
                    <a:pt x="167" y="251"/>
                  </a:lnTo>
                  <a:lnTo>
                    <a:pt x="169" y="251"/>
                  </a:lnTo>
                  <a:lnTo>
                    <a:pt x="169" y="251"/>
                  </a:lnTo>
                  <a:lnTo>
                    <a:pt x="172" y="248"/>
                  </a:lnTo>
                  <a:lnTo>
                    <a:pt x="172" y="248"/>
                  </a:lnTo>
                  <a:lnTo>
                    <a:pt x="172" y="248"/>
                  </a:lnTo>
                  <a:lnTo>
                    <a:pt x="174" y="248"/>
                  </a:lnTo>
                  <a:lnTo>
                    <a:pt x="174" y="248"/>
                  </a:lnTo>
                  <a:lnTo>
                    <a:pt x="174" y="248"/>
                  </a:lnTo>
                  <a:lnTo>
                    <a:pt x="174" y="248"/>
                  </a:lnTo>
                  <a:lnTo>
                    <a:pt x="176" y="248"/>
                  </a:lnTo>
                  <a:lnTo>
                    <a:pt x="176" y="248"/>
                  </a:lnTo>
                  <a:lnTo>
                    <a:pt x="179" y="248"/>
                  </a:lnTo>
                  <a:lnTo>
                    <a:pt x="179" y="248"/>
                  </a:lnTo>
                  <a:lnTo>
                    <a:pt x="179" y="248"/>
                  </a:lnTo>
                  <a:lnTo>
                    <a:pt x="179" y="248"/>
                  </a:lnTo>
                  <a:lnTo>
                    <a:pt x="179" y="248"/>
                  </a:lnTo>
                  <a:lnTo>
                    <a:pt x="181" y="248"/>
                  </a:lnTo>
                  <a:lnTo>
                    <a:pt x="181" y="248"/>
                  </a:lnTo>
                  <a:lnTo>
                    <a:pt x="181" y="248"/>
                  </a:lnTo>
                  <a:lnTo>
                    <a:pt x="181" y="248"/>
                  </a:lnTo>
                  <a:lnTo>
                    <a:pt x="181" y="248"/>
                  </a:lnTo>
                  <a:lnTo>
                    <a:pt x="181" y="248"/>
                  </a:lnTo>
                  <a:lnTo>
                    <a:pt x="181" y="248"/>
                  </a:lnTo>
                  <a:lnTo>
                    <a:pt x="181" y="246"/>
                  </a:lnTo>
                  <a:lnTo>
                    <a:pt x="181" y="246"/>
                  </a:lnTo>
                  <a:lnTo>
                    <a:pt x="181" y="244"/>
                  </a:lnTo>
                  <a:lnTo>
                    <a:pt x="181" y="244"/>
                  </a:lnTo>
                  <a:lnTo>
                    <a:pt x="181" y="241"/>
                  </a:lnTo>
                  <a:lnTo>
                    <a:pt x="181" y="241"/>
                  </a:lnTo>
                  <a:lnTo>
                    <a:pt x="179" y="241"/>
                  </a:lnTo>
                  <a:lnTo>
                    <a:pt x="179" y="241"/>
                  </a:lnTo>
                  <a:lnTo>
                    <a:pt x="176" y="241"/>
                  </a:lnTo>
                  <a:lnTo>
                    <a:pt x="176" y="241"/>
                  </a:lnTo>
                  <a:lnTo>
                    <a:pt x="176" y="241"/>
                  </a:lnTo>
                  <a:lnTo>
                    <a:pt x="176" y="241"/>
                  </a:lnTo>
                  <a:lnTo>
                    <a:pt x="174" y="241"/>
                  </a:lnTo>
                  <a:lnTo>
                    <a:pt x="174" y="239"/>
                  </a:lnTo>
                  <a:lnTo>
                    <a:pt x="172" y="241"/>
                  </a:lnTo>
                  <a:lnTo>
                    <a:pt x="172" y="239"/>
                  </a:lnTo>
                  <a:lnTo>
                    <a:pt x="169" y="239"/>
                  </a:lnTo>
                  <a:lnTo>
                    <a:pt x="169" y="241"/>
                  </a:lnTo>
                  <a:lnTo>
                    <a:pt x="169" y="234"/>
                  </a:lnTo>
                  <a:lnTo>
                    <a:pt x="169" y="230"/>
                  </a:lnTo>
                  <a:lnTo>
                    <a:pt x="169" y="227"/>
                  </a:lnTo>
                  <a:lnTo>
                    <a:pt x="169" y="227"/>
                  </a:lnTo>
                  <a:lnTo>
                    <a:pt x="172" y="227"/>
                  </a:lnTo>
                  <a:lnTo>
                    <a:pt x="174" y="227"/>
                  </a:lnTo>
                  <a:lnTo>
                    <a:pt x="174" y="225"/>
                  </a:lnTo>
                  <a:lnTo>
                    <a:pt x="174" y="225"/>
                  </a:lnTo>
                  <a:lnTo>
                    <a:pt x="176" y="225"/>
                  </a:lnTo>
                  <a:lnTo>
                    <a:pt x="179" y="227"/>
                  </a:lnTo>
                  <a:lnTo>
                    <a:pt x="179" y="227"/>
                  </a:lnTo>
                  <a:lnTo>
                    <a:pt x="183" y="227"/>
                  </a:lnTo>
                  <a:lnTo>
                    <a:pt x="186" y="227"/>
                  </a:lnTo>
                  <a:lnTo>
                    <a:pt x="191" y="227"/>
                  </a:lnTo>
                  <a:lnTo>
                    <a:pt x="195" y="227"/>
                  </a:lnTo>
                  <a:lnTo>
                    <a:pt x="200" y="227"/>
                  </a:lnTo>
                  <a:lnTo>
                    <a:pt x="200" y="227"/>
                  </a:lnTo>
                  <a:lnTo>
                    <a:pt x="200" y="225"/>
                  </a:lnTo>
                  <a:lnTo>
                    <a:pt x="200" y="225"/>
                  </a:lnTo>
                  <a:lnTo>
                    <a:pt x="200" y="222"/>
                  </a:lnTo>
                  <a:lnTo>
                    <a:pt x="200" y="222"/>
                  </a:lnTo>
                  <a:lnTo>
                    <a:pt x="200" y="220"/>
                  </a:lnTo>
                  <a:lnTo>
                    <a:pt x="202" y="222"/>
                  </a:lnTo>
                  <a:lnTo>
                    <a:pt x="202" y="222"/>
                  </a:lnTo>
                  <a:lnTo>
                    <a:pt x="202" y="225"/>
                  </a:lnTo>
                  <a:lnTo>
                    <a:pt x="205" y="225"/>
                  </a:lnTo>
                  <a:lnTo>
                    <a:pt x="205" y="225"/>
                  </a:lnTo>
                  <a:lnTo>
                    <a:pt x="207" y="225"/>
                  </a:lnTo>
                  <a:lnTo>
                    <a:pt x="207" y="225"/>
                  </a:lnTo>
                  <a:lnTo>
                    <a:pt x="209" y="222"/>
                  </a:lnTo>
                  <a:lnTo>
                    <a:pt x="212" y="220"/>
                  </a:lnTo>
                  <a:lnTo>
                    <a:pt x="212" y="220"/>
                  </a:lnTo>
                  <a:lnTo>
                    <a:pt x="214" y="218"/>
                  </a:lnTo>
                  <a:lnTo>
                    <a:pt x="214" y="218"/>
                  </a:lnTo>
                  <a:lnTo>
                    <a:pt x="214" y="218"/>
                  </a:lnTo>
                  <a:lnTo>
                    <a:pt x="216" y="218"/>
                  </a:lnTo>
                  <a:lnTo>
                    <a:pt x="216" y="220"/>
                  </a:lnTo>
                  <a:lnTo>
                    <a:pt x="219" y="225"/>
                  </a:lnTo>
                  <a:lnTo>
                    <a:pt x="221" y="227"/>
                  </a:lnTo>
                  <a:lnTo>
                    <a:pt x="221" y="230"/>
                  </a:lnTo>
                  <a:lnTo>
                    <a:pt x="221" y="234"/>
                  </a:lnTo>
                  <a:lnTo>
                    <a:pt x="221" y="237"/>
                  </a:lnTo>
                  <a:lnTo>
                    <a:pt x="221" y="237"/>
                  </a:lnTo>
                  <a:lnTo>
                    <a:pt x="221" y="239"/>
                  </a:lnTo>
                  <a:lnTo>
                    <a:pt x="224" y="237"/>
                  </a:lnTo>
                  <a:lnTo>
                    <a:pt x="224" y="23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0" name="Freeform 366"/>
            <p:cNvSpPr>
              <a:spLocks noEditPoints="1"/>
            </p:cNvSpPr>
            <p:nvPr userDrawn="1"/>
          </p:nvSpPr>
          <p:spPr bwMode="auto">
            <a:xfrm>
              <a:off x="4933" y="1685"/>
              <a:ext cx="957" cy="737"/>
            </a:xfrm>
            <a:custGeom>
              <a:avLst/>
              <a:gdLst>
                <a:gd name="T0" fmla="*/ 719 w 957"/>
                <a:gd name="T1" fmla="*/ 735 h 737"/>
                <a:gd name="T2" fmla="*/ 787 w 957"/>
                <a:gd name="T3" fmla="*/ 640 h 737"/>
                <a:gd name="T4" fmla="*/ 912 w 957"/>
                <a:gd name="T5" fmla="*/ 489 h 737"/>
                <a:gd name="T6" fmla="*/ 954 w 957"/>
                <a:gd name="T7" fmla="*/ 144 h 737"/>
                <a:gd name="T8" fmla="*/ 926 w 957"/>
                <a:gd name="T9" fmla="*/ 111 h 737"/>
                <a:gd name="T10" fmla="*/ 843 w 957"/>
                <a:gd name="T11" fmla="*/ 85 h 737"/>
                <a:gd name="T12" fmla="*/ 777 w 957"/>
                <a:gd name="T13" fmla="*/ 47 h 737"/>
                <a:gd name="T14" fmla="*/ 733 w 957"/>
                <a:gd name="T15" fmla="*/ 9 h 737"/>
                <a:gd name="T16" fmla="*/ 655 w 957"/>
                <a:gd name="T17" fmla="*/ 18 h 737"/>
                <a:gd name="T18" fmla="*/ 638 w 957"/>
                <a:gd name="T19" fmla="*/ 78 h 737"/>
                <a:gd name="T20" fmla="*/ 671 w 957"/>
                <a:gd name="T21" fmla="*/ 113 h 737"/>
                <a:gd name="T22" fmla="*/ 702 w 957"/>
                <a:gd name="T23" fmla="*/ 139 h 737"/>
                <a:gd name="T24" fmla="*/ 662 w 957"/>
                <a:gd name="T25" fmla="*/ 165 h 737"/>
                <a:gd name="T26" fmla="*/ 603 w 957"/>
                <a:gd name="T27" fmla="*/ 189 h 737"/>
                <a:gd name="T28" fmla="*/ 575 w 957"/>
                <a:gd name="T29" fmla="*/ 229 h 737"/>
                <a:gd name="T30" fmla="*/ 450 w 957"/>
                <a:gd name="T31" fmla="*/ 227 h 737"/>
                <a:gd name="T32" fmla="*/ 308 w 957"/>
                <a:gd name="T33" fmla="*/ 182 h 737"/>
                <a:gd name="T34" fmla="*/ 245 w 957"/>
                <a:gd name="T35" fmla="*/ 144 h 737"/>
                <a:gd name="T36" fmla="*/ 191 w 957"/>
                <a:gd name="T37" fmla="*/ 108 h 737"/>
                <a:gd name="T38" fmla="*/ 158 w 957"/>
                <a:gd name="T39" fmla="*/ 99 h 737"/>
                <a:gd name="T40" fmla="*/ 115 w 957"/>
                <a:gd name="T41" fmla="*/ 132 h 737"/>
                <a:gd name="T42" fmla="*/ 82 w 957"/>
                <a:gd name="T43" fmla="*/ 172 h 737"/>
                <a:gd name="T44" fmla="*/ 94 w 957"/>
                <a:gd name="T45" fmla="*/ 217 h 737"/>
                <a:gd name="T46" fmla="*/ 47 w 957"/>
                <a:gd name="T47" fmla="*/ 257 h 737"/>
                <a:gd name="T48" fmla="*/ 2 w 957"/>
                <a:gd name="T49" fmla="*/ 279 h 737"/>
                <a:gd name="T50" fmla="*/ 30 w 957"/>
                <a:gd name="T51" fmla="*/ 323 h 737"/>
                <a:gd name="T52" fmla="*/ 56 w 957"/>
                <a:gd name="T53" fmla="*/ 352 h 737"/>
                <a:gd name="T54" fmla="*/ 103 w 957"/>
                <a:gd name="T55" fmla="*/ 390 h 737"/>
                <a:gd name="T56" fmla="*/ 129 w 957"/>
                <a:gd name="T57" fmla="*/ 439 h 737"/>
                <a:gd name="T58" fmla="*/ 141 w 957"/>
                <a:gd name="T59" fmla="*/ 468 h 737"/>
                <a:gd name="T60" fmla="*/ 216 w 957"/>
                <a:gd name="T61" fmla="*/ 498 h 737"/>
                <a:gd name="T62" fmla="*/ 275 w 957"/>
                <a:gd name="T63" fmla="*/ 532 h 737"/>
                <a:gd name="T64" fmla="*/ 325 w 957"/>
                <a:gd name="T65" fmla="*/ 543 h 737"/>
                <a:gd name="T66" fmla="*/ 379 w 957"/>
                <a:gd name="T67" fmla="*/ 536 h 737"/>
                <a:gd name="T68" fmla="*/ 431 w 957"/>
                <a:gd name="T69" fmla="*/ 508 h 737"/>
                <a:gd name="T70" fmla="*/ 459 w 957"/>
                <a:gd name="T71" fmla="*/ 522 h 737"/>
                <a:gd name="T72" fmla="*/ 504 w 957"/>
                <a:gd name="T73" fmla="*/ 553 h 737"/>
                <a:gd name="T74" fmla="*/ 495 w 957"/>
                <a:gd name="T75" fmla="*/ 612 h 737"/>
                <a:gd name="T76" fmla="*/ 530 w 957"/>
                <a:gd name="T77" fmla="*/ 647 h 737"/>
                <a:gd name="T78" fmla="*/ 568 w 957"/>
                <a:gd name="T79" fmla="*/ 673 h 737"/>
                <a:gd name="T80" fmla="*/ 584 w 957"/>
                <a:gd name="T81" fmla="*/ 647 h 737"/>
                <a:gd name="T82" fmla="*/ 627 w 957"/>
                <a:gd name="T83" fmla="*/ 640 h 737"/>
                <a:gd name="T84" fmla="*/ 664 w 957"/>
                <a:gd name="T85" fmla="*/ 652 h 737"/>
                <a:gd name="T86" fmla="*/ 702 w 957"/>
                <a:gd name="T87" fmla="*/ 664 h 737"/>
                <a:gd name="T88" fmla="*/ 730 w 957"/>
                <a:gd name="T89" fmla="*/ 695 h 737"/>
                <a:gd name="T90" fmla="*/ 761 w 957"/>
                <a:gd name="T91" fmla="*/ 662 h 737"/>
                <a:gd name="T92" fmla="*/ 787 w 957"/>
                <a:gd name="T93" fmla="*/ 643 h 737"/>
                <a:gd name="T94" fmla="*/ 817 w 957"/>
                <a:gd name="T95" fmla="*/ 640 h 737"/>
                <a:gd name="T96" fmla="*/ 858 w 957"/>
                <a:gd name="T97" fmla="*/ 619 h 737"/>
                <a:gd name="T98" fmla="*/ 886 w 957"/>
                <a:gd name="T99" fmla="*/ 586 h 737"/>
                <a:gd name="T100" fmla="*/ 888 w 957"/>
                <a:gd name="T101" fmla="*/ 562 h 737"/>
                <a:gd name="T102" fmla="*/ 902 w 957"/>
                <a:gd name="T103" fmla="*/ 508 h 737"/>
                <a:gd name="T104" fmla="*/ 888 w 957"/>
                <a:gd name="T105" fmla="*/ 475 h 737"/>
                <a:gd name="T106" fmla="*/ 876 w 957"/>
                <a:gd name="T107" fmla="*/ 439 h 737"/>
                <a:gd name="T108" fmla="*/ 829 w 957"/>
                <a:gd name="T109" fmla="*/ 357 h 737"/>
                <a:gd name="T110" fmla="*/ 860 w 957"/>
                <a:gd name="T111" fmla="*/ 331 h 737"/>
                <a:gd name="T112" fmla="*/ 784 w 957"/>
                <a:gd name="T113" fmla="*/ 316 h 737"/>
                <a:gd name="T114" fmla="*/ 825 w 957"/>
                <a:gd name="T115" fmla="*/ 267 h 737"/>
                <a:gd name="T116" fmla="*/ 834 w 957"/>
                <a:gd name="T117" fmla="*/ 297 h 737"/>
                <a:gd name="T118" fmla="*/ 881 w 957"/>
                <a:gd name="T119" fmla="*/ 260 h 737"/>
                <a:gd name="T120" fmla="*/ 916 w 957"/>
                <a:gd name="T121" fmla="*/ 245 h 737"/>
                <a:gd name="T122" fmla="*/ 931 w 957"/>
                <a:gd name="T123" fmla="*/ 217 h 737"/>
                <a:gd name="T124" fmla="*/ 942 w 957"/>
                <a:gd name="T125" fmla="*/ 203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7" h="737">
                  <a:moveTo>
                    <a:pt x="749" y="704"/>
                  </a:moveTo>
                  <a:lnTo>
                    <a:pt x="749" y="702"/>
                  </a:lnTo>
                  <a:lnTo>
                    <a:pt x="749" y="702"/>
                  </a:lnTo>
                  <a:lnTo>
                    <a:pt x="747" y="699"/>
                  </a:lnTo>
                  <a:lnTo>
                    <a:pt x="747" y="699"/>
                  </a:lnTo>
                  <a:lnTo>
                    <a:pt x="744" y="697"/>
                  </a:lnTo>
                  <a:lnTo>
                    <a:pt x="744" y="697"/>
                  </a:lnTo>
                  <a:lnTo>
                    <a:pt x="742" y="699"/>
                  </a:lnTo>
                  <a:lnTo>
                    <a:pt x="742" y="699"/>
                  </a:lnTo>
                  <a:lnTo>
                    <a:pt x="742" y="702"/>
                  </a:lnTo>
                  <a:lnTo>
                    <a:pt x="740" y="699"/>
                  </a:lnTo>
                  <a:lnTo>
                    <a:pt x="740" y="699"/>
                  </a:lnTo>
                  <a:lnTo>
                    <a:pt x="740" y="699"/>
                  </a:lnTo>
                  <a:lnTo>
                    <a:pt x="740" y="702"/>
                  </a:lnTo>
                  <a:lnTo>
                    <a:pt x="737" y="699"/>
                  </a:lnTo>
                  <a:lnTo>
                    <a:pt x="735" y="699"/>
                  </a:lnTo>
                  <a:lnTo>
                    <a:pt x="735" y="699"/>
                  </a:lnTo>
                  <a:lnTo>
                    <a:pt x="733" y="702"/>
                  </a:lnTo>
                  <a:lnTo>
                    <a:pt x="730" y="702"/>
                  </a:lnTo>
                  <a:lnTo>
                    <a:pt x="726" y="702"/>
                  </a:lnTo>
                  <a:lnTo>
                    <a:pt x="726" y="702"/>
                  </a:lnTo>
                  <a:lnTo>
                    <a:pt x="723" y="702"/>
                  </a:lnTo>
                  <a:lnTo>
                    <a:pt x="721" y="702"/>
                  </a:lnTo>
                  <a:lnTo>
                    <a:pt x="721" y="702"/>
                  </a:lnTo>
                  <a:lnTo>
                    <a:pt x="719" y="704"/>
                  </a:lnTo>
                  <a:lnTo>
                    <a:pt x="719" y="704"/>
                  </a:lnTo>
                  <a:lnTo>
                    <a:pt x="719" y="707"/>
                  </a:lnTo>
                  <a:lnTo>
                    <a:pt x="719" y="707"/>
                  </a:lnTo>
                  <a:lnTo>
                    <a:pt x="721" y="707"/>
                  </a:lnTo>
                  <a:lnTo>
                    <a:pt x="719" y="707"/>
                  </a:lnTo>
                  <a:lnTo>
                    <a:pt x="716" y="709"/>
                  </a:lnTo>
                  <a:lnTo>
                    <a:pt x="714" y="711"/>
                  </a:lnTo>
                  <a:lnTo>
                    <a:pt x="711" y="714"/>
                  </a:lnTo>
                  <a:lnTo>
                    <a:pt x="711" y="714"/>
                  </a:lnTo>
                  <a:lnTo>
                    <a:pt x="709" y="716"/>
                  </a:lnTo>
                  <a:lnTo>
                    <a:pt x="709" y="716"/>
                  </a:lnTo>
                  <a:lnTo>
                    <a:pt x="711" y="723"/>
                  </a:lnTo>
                  <a:lnTo>
                    <a:pt x="711" y="725"/>
                  </a:lnTo>
                  <a:lnTo>
                    <a:pt x="711" y="728"/>
                  </a:lnTo>
                  <a:lnTo>
                    <a:pt x="714" y="733"/>
                  </a:lnTo>
                  <a:lnTo>
                    <a:pt x="719" y="735"/>
                  </a:lnTo>
                  <a:lnTo>
                    <a:pt x="719" y="735"/>
                  </a:lnTo>
                  <a:lnTo>
                    <a:pt x="723" y="735"/>
                  </a:lnTo>
                  <a:lnTo>
                    <a:pt x="726" y="737"/>
                  </a:lnTo>
                  <a:lnTo>
                    <a:pt x="726" y="737"/>
                  </a:lnTo>
                  <a:lnTo>
                    <a:pt x="728" y="737"/>
                  </a:lnTo>
                  <a:lnTo>
                    <a:pt x="730" y="737"/>
                  </a:lnTo>
                  <a:lnTo>
                    <a:pt x="733" y="737"/>
                  </a:lnTo>
                  <a:lnTo>
                    <a:pt x="733" y="737"/>
                  </a:lnTo>
                  <a:lnTo>
                    <a:pt x="733" y="735"/>
                  </a:lnTo>
                  <a:lnTo>
                    <a:pt x="733" y="735"/>
                  </a:lnTo>
                  <a:lnTo>
                    <a:pt x="737" y="735"/>
                  </a:lnTo>
                  <a:lnTo>
                    <a:pt x="737" y="735"/>
                  </a:lnTo>
                  <a:lnTo>
                    <a:pt x="737" y="733"/>
                  </a:lnTo>
                  <a:lnTo>
                    <a:pt x="737" y="733"/>
                  </a:lnTo>
                  <a:lnTo>
                    <a:pt x="737" y="733"/>
                  </a:lnTo>
                  <a:lnTo>
                    <a:pt x="740" y="730"/>
                  </a:lnTo>
                  <a:lnTo>
                    <a:pt x="742" y="728"/>
                  </a:lnTo>
                  <a:lnTo>
                    <a:pt x="742" y="728"/>
                  </a:lnTo>
                  <a:lnTo>
                    <a:pt x="742" y="728"/>
                  </a:lnTo>
                  <a:lnTo>
                    <a:pt x="744" y="728"/>
                  </a:lnTo>
                  <a:lnTo>
                    <a:pt x="744" y="728"/>
                  </a:lnTo>
                  <a:lnTo>
                    <a:pt x="744" y="725"/>
                  </a:lnTo>
                  <a:lnTo>
                    <a:pt x="744" y="723"/>
                  </a:lnTo>
                  <a:lnTo>
                    <a:pt x="744" y="721"/>
                  </a:lnTo>
                  <a:lnTo>
                    <a:pt x="744" y="718"/>
                  </a:lnTo>
                  <a:lnTo>
                    <a:pt x="744" y="718"/>
                  </a:lnTo>
                  <a:lnTo>
                    <a:pt x="747" y="718"/>
                  </a:lnTo>
                  <a:lnTo>
                    <a:pt x="747" y="716"/>
                  </a:lnTo>
                  <a:lnTo>
                    <a:pt x="749" y="709"/>
                  </a:lnTo>
                  <a:lnTo>
                    <a:pt x="749" y="709"/>
                  </a:lnTo>
                  <a:lnTo>
                    <a:pt x="751" y="709"/>
                  </a:lnTo>
                  <a:lnTo>
                    <a:pt x="751" y="707"/>
                  </a:lnTo>
                  <a:lnTo>
                    <a:pt x="749" y="704"/>
                  </a:lnTo>
                  <a:close/>
                  <a:moveTo>
                    <a:pt x="787" y="640"/>
                  </a:moveTo>
                  <a:lnTo>
                    <a:pt x="787" y="640"/>
                  </a:lnTo>
                  <a:lnTo>
                    <a:pt x="784" y="640"/>
                  </a:lnTo>
                  <a:lnTo>
                    <a:pt x="784" y="640"/>
                  </a:lnTo>
                  <a:lnTo>
                    <a:pt x="787" y="640"/>
                  </a:lnTo>
                  <a:lnTo>
                    <a:pt x="787" y="640"/>
                  </a:lnTo>
                  <a:lnTo>
                    <a:pt x="789" y="643"/>
                  </a:lnTo>
                  <a:lnTo>
                    <a:pt x="787" y="640"/>
                  </a:lnTo>
                  <a:lnTo>
                    <a:pt x="787" y="640"/>
                  </a:lnTo>
                  <a:close/>
                  <a:moveTo>
                    <a:pt x="865" y="605"/>
                  </a:moveTo>
                  <a:lnTo>
                    <a:pt x="865" y="605"/>
                  </a:lnTo>
                  <a:lnTo>
                    <a:pt x="865" y="605"/>
                  </a:lnTo>
                  <a:lnTo>
                    <a:pt x="865" y="605"/>
                  </a:lnTo>
                  <a:lnTo>
                    <a:pt x="865" y="607"/>
                  </a:lnTo>
                  <a:lnTo>
                    <a:pt x="865" y="607"/>
                  </a:lnTo>
                  <a:lnTo>
                    <a:pt x="865" y="605"/>
                  </a:lnTo>
                  <a:lnTo>
                    <a:pt x="865" y="605"/>
                  </a:lnTo>
                  <a:lnTo>
                    <a:pt x="865" y="605"/>
                  </a:lnTo>
                  <a:close/>
                  <a:moveTo>
                    <a:pt x="902" y="527"/>
                  </a:moveTo>
                  <a:lnTo>
                    <a:pt x="902" y="527"/>
                  </a:lnTo>
                  <a:lnTo>
                    <a:pt x="900" y="529"/>
                  </a:lnTo>
                  <a:lnTo>
                    <a:pt x="902" y="529"/>
                  </a:lnTo>
                  <a:lnTo>
                    <a:pt x="902" y="529"/>
                  </a:lnTo>
                  <a:lnTo>
                    <a:pt x="902" y="529"/>
                  </a:lnTo>
                  <a:lnTo>
                    <a:pt x="902" y="529"/>
                  </a:lnTo>
                  <a:lnTo>
                    <a:pt x="902" y="527"/>
                  </a:lnTo>
                  <a:close/>
                  <a:moveTo>
                    <a:pt x="909" y="494"/>
                  </a:moveTo>
                  <a:lnTo>
                    <a:pt x="907" y="494"/>
                  </a:lnTo>
                  <a:lnTo>
                    <a:pt x="907" y="496"/>
                  </a:lnTo>
                  <a:lnTo>
                    <a:pt x="909" y="496"/>
                  </a:lnTo>
                  <a:lnTo>
                    <a:pt x="912" y="496"/>
                  </a:lnTo>
                  <a:lnTo>
                    <a:pt x="912" y="496"/>
                  </a:lnTo>
                  <a:lnTo>
                    <a:pt x="909" y="496"/>
                  </a:lnTo>
                  <a:lnTo>
                    <a:pt x="909" y="494"/>
                  </a:lnTo>
                  <a:close/>
                  <a:moveTo>
                    <a:pt x="914" y="491"/>
                  </a:moveTo>
                  <a:lnTo>
                    <a:pt x="912" y="491"/>
                  </a:lnTo>
                  <a:lnTo>
                    <a:pt x="912" y="491"/>
                  </a:lnTo>
                  <a:lnTo>
                    <a:pt x="914" y="491"/>
                  </a:lnTo>
                  <a:lnTo>
                    <a:pt x="914" y="494"/>
                  </a:lnTo>
                  <a:lnTo>
                    <a:pt x="914" y="491"/>
                  </a:lnTo>
                  <a:lnTo>
                    <a:pt x="914" y="491"/>
                  </a:lnTo>
                  <a:close/>
                  <a:moveTo>
                    <a:pt x="907" y="487"/>
                  </a:moveTo>
                  <a:lnTo>
                    <a:pt x="905" y="487"/>
                  </a:lnTo>
                  <a:lnTo>
                    <a:pt x="905" y="489"/>
                  </a:lnTo>
                  <a:lnTo>
                    <a:pt x="907" y="489"/>
                  </a:lnTo>
                  <a:lnTo>
                    <a:pt x="909" y="489"/>
                  </a:lnTo>
                  <a:lnTo>
                    <a:pt x="912" y="491"/>
                  </a:lnTo>
                  <a:lnTo>
                    <a:pt x="912" y="491"/>
                  </a:lnTo>
                  <a:lnTo>
                    <a:pt x="912" y="489"/>
                  </a:lnTo>
                  <a:lnTo>
                    <a:pt x="909" y="489"/>
                  </a:lnTo>
                  <a:lnTo>
                    <a:pt x="907" y="487"/>
                  </a:lnTo>
                  <a:close/>
                  <a:moveTo>
                    <a:pt x="888" y="456"/>
                  </a:moveTo>
                  <a:lnTo>
                    <a:pt x="886" y="454"/>
                  </a:lnTo>
                  <a:lnTo>
                    <a:pt x="886" y="454"/>
                  </a:lnTo>
                  <a:lnTo>
                    <a:pt x="883" y="454"/>
                  </a:lnTo>
                  <a:lnTo>
                    <a:pt x="881" y="451"/>
                  </a:lnTo>
                  <a:lnTo>
                    <a:pt x="879" y="451"/>
                  </a:lnTo>
                  <a:lnTo>
                    <a:pt x="881" y="454"/>
                  </a:lnTo>
                  <a:lnTo>
                    <a:pt x="883" y="456"/>
                  </a:lnTo>
                  <a:lnTo>
                    <a:pt x="886" y="456"/>
                  </a:lnTo>
                  <a:lnTo>
                    <a:pt x="893" y="458"/>
                  </a:lnTo>
                  <a:lnTo>
                    <a:pt x="893" y="458"/>
                  </a:lnTo>
                  <a:lnTo>
                    <a:pt x="893" y="458"/>
                  </a:lnTo>
                  <a:lnTo>
                    <a:pt x="893" y="456"/>
                  </a:lnTo>
                  <a:lnTo>
                    <a:pt x="888" y="456"/>
                  </a:lnTo>
                  <a:close/>
                  <a:moveTo>
                    <a:pt x="957" y="170"/>
                  </a:moveTo>
                  <a:lnTo>
                    <a:pt x="954" y="167"/>
                  </a:lnTo>
                  <a:lnTo>
                    <a:pt x="954" y="165"/>
                  </a:lnTo>
                  <a:lnTo>
                    <a:pt x="954" y="163"/>
                  </a:lnTo>
                  <a:lnTo>
                    <a:pt x="957" y="163"/>
                  </a:lnTo>
                  <a:lnTo>
                    <a:pt x="957" y="163"/>
                  </a:lnTo>
                  <a:lnTo>
                    <a:pt x="957" y="163"/>
                  </a:lnTo>
                  <a:lnTo>
                    <a:pt x="957" y="160"/>
                  </a:lnTo>
                  <a:lnTo>
                    <a:pt x="957" y="160"/>
                  </a:lnTo>
                  <a:lnTo>
                    <a:pt x="957" y="158"/>
                  </a:lnTo>
                  <a:lnTo>
                    <a:pt x="954" y="158"/>
                  </a:lnTo>
                  <a:lnTo>
                    <a:pt x="954" y="156"/>
                  </a:lnTo>
                  <a:lnTo>
                    <a:pt x="954" y="156"/>
                  </a:lnTo>
                  <a:lnTo>
                    <a:pt x="957" y="156"/>
                  </a:lnTo>
                  <a:lnTo>
                    <a:pt x="957" y="156"/>
                  </a:lnTo>
                  <a:lnTo>
                    <a:pt x="957" y="153"/>
                  </a:lnTo>
                  <a:lnTo>
                    <a:pt x="957" y="153"/>
                  </a:lnTo>
                  <a:lnTo>
                    <a:pt x="954" y="151"/>
                  </a:lnTo>
                  <a:lnTo>
                    <a:pt x="954" y="151"/>
                  </a:lnTo>
                  <a:lnTo>
                    <a:pt x="957" y="149"/>
                  </a:lnTo>
                  <a:lnTo>
                    <a:pt x="957" y="149"/>
                  </a:lnTo>
                  <a:lnTo>
                    <a:pt x="957" y="149"/>
                  </a:lnTo>
                  <a:lnTo>
                    <a:pt x="954" y="146"/>
                  </a:lnTo>
                  <a:lnTo>
                    <a:pt x="954" y="146"/>
                  </a:lnTo>
                  <a:lnTo>
                    <a:pt x="954" y="144"/>
                  </a:lnTo>
                  <a:lnTo>
                    <a:pt x="954" y="144"/>
                  </a:lnTo>
                  <a:lnTo>
                    <a:pt x="954" y="141"/>
                  </a:lnTo>
                  <a:lnTo>
                    <a:pt x="952" y="139"/>
                  </a:lnTo>
                  <a:lnTo>
                    <a:pt x="952" y="137"/>
                  </a:lnTo>
                  <a:lnTo>
                    <a:pt x="952" y="137"/>
                  </a:lnTo>
                  <a:lnTo>
                    <a:pt x="952" y="134"/>
                  </a:lnTo>
                  <a:lnTo>
                    <a:pt x="949" y="134"/>
                  </a:lnTo>
                  <a:lnTo>
                    <a:pt x="949" y="132"/>
                  </a:lnTo>
                  <a:lnTo>
                    <a:pt x="949" y="130"/>
                  </a:lnTo>
                  <a:lnTo>
                    <a:pt x="949" y="130"/>
                  </a:lnTo>
                  <a:lnTo>
                    <a:pt x="949" y="127"/>
                  </a:lnTo>
                  <a:lnTo>
                    <a:pt x="947" y="127"/>
                  </a:lnTo>
                  <a:lnTo>
                    <a:pt x="947" y="125"/>
                  </a:lnTo>
                  <a:lnTo>
                    <a:pt x="949" y="125"/>
                  </a:lnTo>
                  <a:lnTo>
                    <a:pt x="949" y="125"/>
                  </a:lnTo>
                  <a:lnTo>
                    <a:pt x="949" y="125"/>
                  </a:lnTo>
                  <a:lnTo>
                    <a:pt x="949" y="125"/>
                  </a:lnTo>
                  <a:lnTo>
                    <a:pt x="952" y="125"/>
                  </a:lnTo>
                  <a:lnTo>
                    <a:pt x="952" y="123"/>
                  </a:lnTo>
                  <a:lnTo>
                    <a:pt x="952" y="123"/>
                  </a:lnTo>
                  <a:lnTo>
                    <a:pt x="952" y="120"/>
                  </a:lnTo>
                  <a:lnTo>
                    <a:pt x="952" y="120"/>
                  </a:lnTo>
                  <a:lnTo>
                    <a:pt x="952" y="118"/>
                  </a:lnTo>
                  <a:lnTo>
                    <a:pt x="949" y="115"/>
                  </a:lnTo>
                  <a:lnTo>
                    <a:pt x="949" y="115"/>
                  </a:lnTo>
                  <a:lnTo>
                    <a:pt x="947" y="113"/>
                  </a:lnTo>
                  <a:lnTo>
                    <a:pt x="945" y="113"/>
                  </a:lnTo>
                  <a:lnTo>
                    <a:pt x="945" y="111"/>
                  </a:lnTo>
                  <a:lnTo>
                    <a:pt x="945" y="111"/>
                  </a:lnTo>
                  <a:lnTo>
                    <a:pt x="945" y="108"/>
                  </a:lnTo>
                  <a:lnTo>
                    <a:pt x="945" y="108"/>
                  </a:lnTo>
                  <a:lnTo>
                    <a:pt x="945" y="108"/>
                  </a:lnTo>
                  <a:lnTo>
                    <a:pt x="940" y="106"/>
                  </a:lnTo>
                  <a:lnTo>
                    <a:pt x="938" y="106"/>
                  </a:lnTo>
                  <a:lnTo>
                    <a:pt x="938" y="106"/>
                  </a:lnTo>
                  <a:lnTo>
                    <a:pt x="935" y="104"/>
                  </a:lnTo>
                  <a:lnTo>
                    <a:pt x="935" y="106"/>
                  </a:lnTo>
                  <a:lnTo>
                    <a:pt x="931" y="106"/>
                  </a:lnTo>
                  <a:lnTo>
                    <a:pt x="928" y="108"/>
                  </a:lnTo>
                  <a:lnTo>
                    <a:pt x="928" y="111"/>
                  </a:lnTo>
                  <a:lnTo>
                    <a:pt x="926" y="111"/>
                  </a:lnTo>
                  <a:lnTo>
                    <a:pt x="924" y="111"/>
                  </a:lnTo>
                  <a:lnTo>
                    <a:pt x="921" y="111"/>
                  </a:lnTo>
                  <a:lnTo>
                    <a:pt x="919" y="111"/>
                  </a:lnTo>
                  <a:lnTo>
                    <a:pt x="919" y="113"/>
                  </a:lnTo>
                  <a:lnTo>
                    <a:pt x="916" y="113"/>
                  </a:lnTo>
                  <a:lnTo>
                    <a:pt x="916" y="113"/>
                  </a:lnTo>
                  <a:lnTo>
                    <a:pt x="914" y="115"/>
                  </a:lnTo>
                  <a:lnTo>
                    <a:pt x="916" y="118"/>
                  </a:lnTo>
                  <a:lnTo>
                    <a:pt x="914" y="118"/>
                  </a:lnTo>
                  <a:lnTo>
                    <a:pt x="914" y="118"/>
                  </a:lnTo>
                  <a:lnTo>
                    <a:pt x="909" y="118"/>
                  </a:lnTo>
                  <a:lnTo>
                    <a:pt x="905" y="120"/>
                  </a:lnTo>
                  <a:lnTo>
                    <a:pt x="900" y="120"/>
                  </a:lnTo>
                  <a:lnTo>
                    <a:pt x="898" y="118"/>
                  </a:lnTo>
                  <a:lnTo>
                    <a:pt x="895" y="118"/>
                  </a:lnTo>
                  <a:lnTo>
                    <a:pt x="893" y="118"/>
                  </a:lnTo>
                  <a:lnTo>
                    <a:pt x="891" y="118"/>
                  </a:lnTo>
                  <a:lnTo>
                    <a:pt x="891" y="118"/>
                  </a:lnTo>
                  <a:lnTo>
                    <a:pt x="888" y="118"/>
                  </a:lnTo>
                  <a:lnTo>
                    <a:pt x="888" y="115"/>
                  </a:lnTo>
                  <a:lnTo>
                    <a:pt x="886" y="113"/>
                  </a:lnTo>
                  <a:lnTo>
                    <a:pt x="883" y="113"/>
                  </a:lnTo>
                  <a:lnTo>
                    <a:pt x="881" y="111"/>
                  </a:lnTo>
                  <a:lnTo>
                    <a:pt x="881" y="108"/>
                  </a:lnTo>
                  <a:lnTo>
                    <a:pt x="879" y="106"/>
                  </a:lnTo>
                  <a:lnTo>
                    <a:pt x="879" y="104"/>
                  </a:lnTo>
                  <a:lnTo>
                    <a:pt x="876" y="104"/>
                  </a:lnTo>
                  <a:lnTo>
                    <a:pt x="874" y="104"/>
                  </a:lnTo>
                  <a:lnTo>
                    <a:pt x="874" y="101"/>
                  </a:lnTo>
                  <a:lnTo>
                    <a:pt x="872" y="99"/>
                  </a:lnTo>
                  <a:lnTo>
                    <a:pt x="872" y="99"/>
                  </a:lnTo>
                  <a:lnTo>
                    <a:pt x="872" y="96"/>
                  </a:lnTo>
                  <a:lnTo>
                    <a:pt x="869" y="94"/>
                  </a:lnTo>
                  <a:lnTo>
                    <a:pt x="865" y="94"/>
                  </a:lnTo>
                  <a:lnTo>
                    <a:pt x="862" y="94"/>
                  </a:lnTo>
                  <a:lnTo>
                    <a:pt x="860" y="92"/>
                  </a:lnTo>
                  <a:lnTo>
                    <a:pt x="853" y="87"/>
                  </a:lnTo>
                  <a:lnTo>
                    <a:pt x="848" y="87"/>
                  </a:lnTo>
                  <a:lnTo>
                    <a:pt x="848" y="87"/>
                  </a:lnTo>
                  <a:lnTo>
                    <a:pt x="846" y="85"/>
                  </a:lnTo>
                  <a:lnTo>
                    <a:pt x="843" y="85"/>
                  </a:lnTo>
                  <a:lnTo>
                    <a:pt x="843" y="85"/>
                  </a:lnTo>
                  <a:lnTo>
                    <a:pt x="843" y="85"/>
                  </a:lnTo>
                  <a:lnTo>
                    <a:pt x="843" y="85"/>
                  </a:lnTo>
                  <a:lnTo>
                    <a:pt x="841" y="85"/>
                  </a:lnTo>
                  <a:lnTo>
                    <a:pt x="841" y="85"/>
                  </a:lnTo>
                  <a:lnTo>
                    <a:pt x="839" y="85"/>
                  </a:lnTo>
                  <a:lnTo>
                    <a:pt x="839" y="85"/>
                  </a:lnTo>
                  <a:lnTo>
                    <a:pt x="839" y="85"/>
                  </a:lnTo>
                  <a:lnTo>
                    <a:pt x="836" y="82"/>
                  </a:lnTo>
                  <a:lnTo>
                    <a:pt x="834" y="82"/>
                  </a:lnTo>
                  <a:lnTo>
                    <a:pt x="832" y="82"/>
                  </a:lnTo>
                  <a:lnTo>
                    <a:pt x="832" y="82"/>
                  </a:lnTo>
                  <a:lnTo>
                    <a:pt x="832" y="80"/>
                  </a:lnTo>
                  <a:lnTo>
                    <a:pt x="829" y="80"/>
                  </a:lnTo>
                  <a:lnTo>
                    <a:pt x="829" y="80"/>
                  </a:lnTo>
                  <a:lnTo>
                    <a:pt x="827" y="80"/>
                  </a:lnTo>
                  <a:lnTo>
                    <a:pt x="822" y="80"/>
                  </a:lnTo>
                  <a:lnTo>
                    <a:pt x="817" y="80"/>
                  </a:lnTo>
                  <a:lnTo>
                    <a:pt x="815" y="80"/>
                  </a:lnTo>
                  <a:lnTo>
                    <a:pt x="813" y="78"/>
                  </a:lnTo>
                  <a:lnTo>
                    <a:pt x="810" y="78"/>
                  </a:lnTo>
                  <a:lnTo>
                    <a:pt x="810" y="75"/>
                  </a:lnTo>
                  <a:lnTo>
                    <a:pt x="808" y="75"/>
                  </a:lnTo>
                  <a:lnTo>
                    <a:pt x="806" y="73"/>
                  </a:lnTo>
                  <a:lnTo>
                    <a:pt x="803" y="73"/>
                  </a:lnTo>
                  <a:lnTo>
                    <a:pt x="803" y="70"/>
                  </a:lnTo>
                  <a:lnTo>
                    <a:pt x="803" y="68"/>
                  </a:lnTo>
                  <a:lnTo>
                    <a:pt x="799" y="66"/>
                  </a:lnTo>
                  <a:lnTo>
                    <a:pt x="796" y="63"/>
                  </a:lnTo>
                  <a:lnTo>
                    <a:pt x="796" y="63"/>
                  </a:lnTo>
                  <a:lnTo>
                    <a:pt x="796" y="63"/>
                  </a:lnTo>
                  <a:lnTo>
                    <a:pt x="794" y="61"/>
                  </a:lnTo>
                  <a:lnTo>
                    <a:pt x="794" y="61"/>
                  </a:lnTo>
                  <a:lnTo>
                    <a:pt x="794" y="61"/>
                  </a:lnTo>
                  <a:lnTo>
                    <a:pt x="794" y="59"/>
                  </a:lnTo>
                  <a:lnTo>
                    <a:pt x="792" y="56"/>
                  </a:lnTo>
                  <a:lnTo>
                    <a:pt x="789" y="54"/>
                  </a:lnTo>
                  <a:lnTo>
                    <a:pt x="782" y="52"/>
                  </a:lnTo>
                  <a:lnTo>
                    <a:pt x="780" y="49"/>
                  </a:lnTo>
                  <a:lnTo>
                    <a:pt x="780" y="47"/>
                  </a:lnTo>
                  <a:lnTo>
                    <a:pt x="777" y="47"/>
                  </a:lnTo>
                  <a:lnTo>
                    <a:pt x="777" y="44"/>
                  </a:lnTo>
                  <a:lnTo>
                    <a:pt x="775" y="44"/>
                  </a:lnTo>
                  <a:lnTo>
                    <a:pt x="775" y="42"/>
                  </a:lnTo>
                  <a:lnTo>
                    <a:pt x="775" y="42"/>
                  </a:lnTo>
                  <a:lnTo>
                    <a:pt x="773" y="42"/>
                  </a:lnTo>
                  <a:lnTo>
                    <a:pt x="773" y="40"/>
                  </a:lnTo>
                  <a:lnTo>
                    <a:pt x="773" y="40"/>
                  </a:lnTo>
                  <a:lnTo>
                    <a:pt x="770" y="40"/>
                  </a:lnTo>
                  <a:lnTo>
                    <a:pt x="770" y="37"/>
                  </a:lnTo>
                  <a:lnTo>
                    <a:pt x="768" y="37"/>
                  </a:lnTo>
                  <a:lnTo>
                    <a:pt x="766" y="35"/>
                  </a:lnTo>
                  <a:lnTo>
                    <a:pt x="763" y="33"/>
                  </a:lnTo>
                  <a:lnTo>
                    <a:pt x="761" y="30"/>
                  </a:lnTo>
                  <a:lnTo>
                    <a:pt x="759" y="28"/>
                  </a:lnTo>
                  <a:lnTo>
                    <a:pt x="756" y="28"/>
                  </a:lnTo>
                  <a:lnTo>
                    <a:pt x="756" y="26"/>
                  </a:lnTo>
                  <a:lnTo>
                    <a:pt x="756" y="26"/>
                  </a:lnTo>
                  <a:lnTo>
                    <a:pt x="754" y="23"/>
                  </a:lnTo>
                  <a:lnTo>
                    <a:pt x="754" y="23"/>
                  </a:lnTo>
                  <a:lnTo>
                    <a:pt x="754" y="23"/>
                  </a:lnTo>
                  <a:lnTo>
                    <a:pt x="751" y="23"/>
                  </a:lnTo>
                  <a:lnTo>
                    <a:pt x="751" y="21"/>
                  </a:lnTo>
                  <a:lnTo>
                    <a:pt x="749" y="21"/>
                  </a:lnTo>
                  <a:lnTo>
                    <a:pt x="749" y="21"/>
                  </a:lnTo>
                  <a:lnTo>
                    <a:pt x="747" y="18"/>
                  </a:lnTo>
                  <a:lnTo>
                    <a:pt x="747" y="18"/>
                  </a:lnTo>
                  <a:lnTo>
                    <a:pt x="744" y="18"/>
                  </a:lnTo>
                  <a:lnTo>
                    <a:pt x="744" y="18"/>
                  </a:lnTo>
                  <a:lnTo>
                    <a:pt x="744" y="16"/>
                  </a:lnTo>
                  <a:lnTo>
                    <a:pt x="744" y="16"/>
                  </a:lnTo>
                  <a:lnTo>
                    <a:pt x="744" y="16"/>
                  </a:lnTo>
                  <a:lnTo>
                    <a:pt x="744" y="16"/>
                  </a:lnTo>
                  <a:lnTo>
                    <a:pt x="742" y="16"/>
                  </a:lnTo>
                  <a:lnTo>
                    <a:pt x="740" y="14"/>
                  </a:lnTo>
                  <a:lnTo>
                    <a:pt x="740" y="14"/>
                  </a:lnTo>
                  <a:lnTo>
                    <a:pt x="737" y="14"/>
                  </a:lnTo>
                  <a:lnTo>
                    <a:pt x="737" y="14"/>
                  </a:lnTo>
                  <a:lnTo>
                    <a:pt x="735" y="11"/>
                  </a:lnTo>
                  <a:lnTo>
                    <a:pt x="735" y="11"/>
                  </a:lnTo>
                  <a:lnTo>
                    <a:pt x="735" y="11"/>
                  </a:lnTo>
                  <a:lnTo>
                    <a:pt x="733" y="9"/>
                  </a:lnTo>
                  <a:lnTo>
                    <a:pt x="733" y="9"/>
                  </a:lnTo>
                  <a:lnTo>
                    <a:pt x="730" y="9"/>
                  </a:lnTo>
                  <a:lnTo>
                    <a:pt x="728" y="9"/>
                  </a:lnTo>
                  <a:lnTo>
                    <a:pt x="723" y="7"/>
                  </a:lnTo>
                  <a:lnTo>
                    <a:pt x="721" y="7"/>
                  </a:lnTo>
                  <a:lnTo>
                    <a:pt x="721" y="7"/>
                  </a:lnTo>
                  <a:lnTo>
                    <a:pt x="719" y="7"/>
                  </a:lnTo>
                  <a:lnTo>
                    <a:pt x="719" y="7"/>
                  </a:lnTo>
                  <a:lnTo>
                    <a:pt x="719" y="7"/>
                  </a:lnTo>
                  <a:lnTo>
                    <a:pt x="714" y="7"/>
                  </a:lnTo>
                  <a:lnTo>
                    <a:pt x="711" y="7"/>
                  </a:lnTo>
                  <a:lnTo>
                    <a:pt x="709" y="4"/>
                  </a:lnTo>
                  <a:lnTo>
                    <a:pt x="707" y="4"/>
                  </a:lnTo>
                  <a:lnTo>
                    <a:pt x="707" y="2"/>
                  </a:lnTo>
                  <a:lnTo>
                    <a:pt x="704" y="4"/>
                  </a:lnTo>
                  <a:lnTo>
                    <a:pt x="702" y="2"/>
                  </a:lnTo>
                  <a:lnTo>
                    <a:pt x="695" y="0"/>
                  </a:lnTo>
                  <a:lnTo>
                    <a:pt x="693" y="0"/>
                  </a:lnTo>
                  <a:lnTo>
                    <a:pt x="693" y="0"/>
                  </a:lnTo>
                  <a:lnTo>
                    <a:pt x="693" y="0"/>
                  </a:lnTo>
                  <a:lnTo>
                    <a:pt x="693" y="0"/>
                  </a:lnTo>
                  <a:lnTo>
                    <a:pt x="690" y="0"/>
                  </a:lnTo>
                  <a:lnTo>
                    <a:pt x="688" y="0"/>
                  </a:lnTo>
                  <a:lnTo>
                    <a:pt x="686" y="0"/>
                  </a:lnTo>
                  <a:lnTo>
                    <a:pt x="683" y="0"/>
                  </a:lnTo>
                  <a:lnTo>
                    <a:pt x="681" y="2"/>
                  </a:lnTo>
                  <a:lnTo>
                    <a:pt x="678" y="2"/>
                  </a:lnTo>
                  <a:lnTo>
                    <a:pt x="676" y="2"/>
                  </a:lnTo>
                  <a:lnTo>
                    <a:pt x="674" y="0"/>
                  </a:lnTo>
                  <a:lnTo>
                    <a:pt x="671" y="2"/>
                  </a:lnTo>
                  <a:lnTo>
                    <a:pt x="667" y="2"/>
                  </a:lnTo>
                  <a:lnTo>
                    <a:pt x="662" y="4"/>
                  </a:lnTo>
                  <a:lnTo>
                    <a:pt x="655" y="4"/>
                  </a:lnTo>
                  <a:lnTo>
                    <a:pt x="653" y="7"/>
                  </a:lnTo>
                  <a:lnTo>
                    <a:pt x="653" y="11"/>
                  </a:lnTo>
                  <a:lnTo>
                    <a:pt x="650" y="14"/>
                  </a:lnTo>
                  <a:lnTo>
                    <a:pt x="648" y="14"/>
                  </a:lnTo>
                  <a:lnTo>
                    <a:pt x="648" y="16"/>
                  </a:lnTo>
                  <a:lnTo>
                    <a:pt x="650" y="18"/>
                  </a:lnTo>
                  <a:lnTo>
                    <a:pt x="653" y="18"/>
                  </a:lnTo>
                  <a:lnTo>
                    <a:pt x="655" y="18"/>
                  </a:lnTo>
                  <a:lnTo>
                    <a:pt x="657" y="18"/>
                  </a:lnTo>
                  <a:lnTo>
                    <a:pt x="660" y="18"/>
                  </a:lnTo>
                  <a:lnTo>
                    <a:pt x="662" y="21"/>
                  </a:lnTo>
                  <a:lnTo>
                    <a:pt x="662" y="23"/>
                  </a:lnTo>
                  <a:lnTo>
                    <a:pt x="664" y="26"/>
                  </a:lnTo>
                  <a:lnTo>
                    <a:pt x="667" y="26"/>
                  </a:lnTo>
                  <a:lnTo>
                    <a:pt x="669" y="28"/>
                  </a:lnTo>
                  <a:lnTo>
                    <a:pt x="669" y="30"/>
                  </a:lnTo>
                  <a:lnTo>
                    <a:pt x="667" y="33"/>
                  </a:lnTo>
                  <a:lnTo>
                    <a:pt x="664" y="35"/>
                  </a:lnTo>
                  <a:lnTo>
                    <a:pt x="664" y="40"/>
                  </a:lnTo>
                  <a:lnTo>
                    <a:pt x="664" y="42"/>
                  </a:lnTo>
                  <a:lnTo>
                    <a:pt x="664" y="44"/>
                  </a:lnTo>
                  <a:lnTo>
                    <a:pt x="664" y="47"/>
                  </a:lnTo>
                  <a:lnTo>
                    <a:pt x="664" y="49"/>
                  </a:lnTo>
                  <a:lnTo>
                    <a:pt x="664" y="49"/>
                  </a:lnTo>
                  <a:lnTo>
                    <a:pt x="664" y="52"/>
                  </a:lnTo>
                  <a:lnTo>
                    <a:pt x="664" y="54"/>
                  </a:lnTo>
                  <a:lnTo>
                    <a:pt x="664" y="56"/>
                  </a:lnTo>
                  <a:lnTo>
                    <a:pt x="667" y="56"/>
                  </a:lnTo>
                  <a:lnTo>
                    <a:pt x="664" y="59"/>
                  </a:lnTo>
                  <a:lnTo>
                    <a:pt x="664" y="59"/>
                  </a:lnTo>
                  <a:lnTo>
                    <a:pt x="664" y="61"/>
                  </a:lnTo>
                  <a:lnTo>
                    <a:pt x="664" y="63"/>
                  </a:lnTo>
                  <a:lnTo>
                    <a:pt x="664" y="63"/>
                  </a:lnTo>
                  <a:lnTo>
                    <a:pt x="664" y="63"/>
                  </a:lnTo>
                  <a:lnTo>
                    <a:pt x="667" y="63"/>
                  </a:lnTo>
                  <a:lnTo>
                    <a:pt x="669" y="66"/>
                  </a:lnTo>
                  <a:lnTo>
                    <a:pt x="671" y="68"/>
                  </a:lnTo>
                  <a:lnTo>
                    <a:pt x="671" y="70"/>
                  </a:lnTo>
                  <a:lnTo>
                    <a:pt x="669" y="70"/>
                  </a:lnTo>
                  <a:lnTo>
                    <a:pt x="667" y="73"/>
                  </a:lnTo>
                  <a:lnTo>
                    <a:pt x="664" y="73"/>
                  </a:lnTo>
                  <a:lnTo>
                    <a:pt x="660" y="75"/>
                  </a:lnTo>
                  <a:lnTo>
                    <a:pt x="657" y="78"/>
                  </a:lnTo>
                  <a:lnTo>
                    <a:pt x="655" y="82"/>
                  </a:lnTo>
                  <a:lnTo>
                    <a:pt x="655" y="82"/>
                  </a:lnTo>
                  <a:lnTo>
                    <a:pt x="653" y="80"/>
                  </a:lnTo>
                  <a:lnTo>
                    <a:pt x="648" y="80"/>
                  </a:lnTo>
                  <a:lnTo>
                    <a:pt x="643" y="80"/>
                  </a:lnTo>
                  <a:lnTo>
                    <a:pt x="638" y="78"/>
                  </a:lnTo>
                  <a:lnTo>
                    <a:pt x="636" y="78"/>
                  </a:lnTo>
                  <a:lnTo>
                    <a:pt x="631" y="75"/>
                  </a:lnTo>
                  <a:lnTo>
                    <a:pt x="631" y="78"/>
                  </a:lnTo>
                  <a:lnTo>
                    <a:pt x="631" y="82"/>
                  </a:lnTo>
                  <a:lnTo>
                    <a:pt x="631" y="89"/>
                  </a:lnTo>
                  <a:lnTo>
                    <a:pt x="634" y="92"/>
                  </a:lnTo>
                  <a:lnTo>
                    <a:pt x="634" y="94"/>
                  </a:lnTo>
                  <a:lnTo>
                    <a:pt x="634" y="94"/>
                  </a:lnTo>
                  <a:lnTo>
                    <a:pt x="634" y="96"/>
                  </a:lnTo>
                  <a:lnTo>
                    <a:pt x="634" y="99"/>
                  </a:lnTo>
                  <a:lnTo>
                    <a:pt x="631" y="101"/>
                  </a:lnTo>
                  <a:lnTo>
                    <a:pt x="634" y="104"/>
                  </a:lnTo>
                  <a:lnTo>
                    <a:pt x="634" y="106"/>
                  </a:lnTo>
                  <a:lnTo>
                    <a:pt x="636" y="108"/>
                  </a:lnTo>
                  <a:lnTo>
                    <a:pt x="634" y="108"/>
                  </a:lnTo>
                  <a:lnTo>
                    <a:pt x="631" y="111"/>
                  </a:lnTo>
                  <a:lnTo>
                    <a:pt x="636" y="113"/>
                  </a:lnTo>
                  <a:lnTo>
                    <a:pt x="636" y="115"/>
                  </a:lnTo>
                  <a:lnTo>
                    <a:pt x="638" y="118"/>
                  </a:lnTo>
                  <a:lnTo>
                    <a:pt x="641" y="118"/>
                  </a:lnTo>
                  <a:lnTo>
                    <a:pt x="643" y="118"/>
                  </a:lnTo>
                  <a:lnTo>
                    <a:pt x="645" y="118"/>
                  </a:lnTo>
                  <a:lnTo>
                    <a:pt x="645" y="118"/>
                  </a:lnTo>
                  <a:lnTo>
                    <a:pt x="648" y="115"/>
                  </a:lnTo>
                  <a:lnTo>
                    <a:pt x="648" y="115"/>
                  </a:lnTo>
                  <a:lnTo>
                    <a:pt x="650" y="115"/>
                  </a:lnTo>
                  <a:lnTo>
                    <a:pt x="653" y="115"/>
                  </a:lnTo>
                  <a:lnTo>
                    <a:pt x="655" y="115"/>
                  </a:lnTo>
                  <a:lnTo>
                    <a:pt x="655" y="115"/>
                  </a:lnTo>
                  <a:lnTo>
                    <a:pt x="657" y="115"/>
                  </a:lnTo>
                  <a:lnTo>
                    <a:pt x="660" y="115"/>
                  </a:lnTo>
                  <a:lnTo>
                    <a:pt x="662" y="115"/>
                  </a:lnTo>
                  <a:lnTo>
                    <a:pt x="664" y="118"/>
                  </a:lnTo>
                  <a:lnTo>
                    <a:pt x="667" y="120"/>
                  </a:lnTo>
                  <a:lnTo>
                    <a:pt x="667" y="120"/>
                  </a:lnTo>
                  <a:lnTo>
                    <a:pt x="669" y="120"/>
                  </a:lnTo>
                  <a:lnTo>
                    <a:pt x="669" y="118"/>
                  </a:lnTo>
                  <a:lnTo>
                    <a:pt x="669" y="115"/>
                  </a:lnTo>
                  <a:lnTo>
                    <a:pt x="669" y="115"/>
                  </a:lnTo>
                  <a:lnTo>
                    <a:pt x="671" y="113"/>
                  </a:lnTo>
                  <a:lnTo>
                    <a:pt x="671" y="113"/>
                  </a:lnTo>
                  <a:lnTo>
                    <a:pt x="674" y="113"/>
                  </a:lnTo>
                  <a:lnTo>
                    <a:pt x="674" y="113"/>
                  </a:lnTo>
                  <a:lnTo>
                    <a:pt x="676" y="113"/>
                  </a:lnTo>
                  <a:lnTo>
                    <a:pt x="678" y="113"/>
                  </a:lnTo>
                  <a:lnTo>
                    <a:pt x="683" y="113"/>
                  </a:lnTo>
                  <a:lnTo>
                    <a:pt x="683" y="113"/>
                  </a:lnTo>
                  <a:lnTo>
                    <a:pt x="688" y="115"/>
                  </a:lnTo>
                  <a:lnTo>
                    <a:pt x="690" y="118"/>
                  </a:lnTo>
                  <a:lnTo>
                    <a:pt x="693" y="118"/>
                  </a:lnTo>
                  <a:lnTo>
                    <a:pt x="693" y="118"/>
                  </a:lnTo>
                  <a:lnTo>
                    <a:pt x="695" y="120"/>
                  </a:lnTo>
                  <a:lnTo>
                    <a:pt x="695" y="120"/>
                  </a:lnTo>
                  <a:lnTo>
                    <a:pt x="697" y="120"/>
                  </a:lnTo>
                  <a:lnTo>
                    <a:pt x="697" y="123"/>
                  </a:lnTo>
                  <a:lnTo>
                    <a:pt x="700" y="123"/>
                  </a:lnTo>
                  <a:lnTo>
                    <a:pt x="700" y="123"/>
                  </a:lnTo>
                  <a:lnTo>
                    <a:pt x="702" y="123"/>
                  </a:lnTo>
                  <a:lnTo>
                    <a:pt x="702" y="125"/>
                  </a:lnTo>
                  <a:lnTo>
                    <a:pt x="702" y="125"/>
                  </a:lnTo>
                  <a:lnTo>
                    <a:pt x="704" y="125"/>
                  </a:lnTo>
                  <a:lnTo>
                    <a:pt x="707" y="127"/>
                  </a:lnTo>
                  <a:lnTo>
                    <a:pt x="709" y="130"/>
                  </a:lnTo>
                  <a:lnTo>
                    <a:pt x="711" y="130"/>
                  </a:lnTo>
                  <a:lnTo>
                    <a:pt x="714" y="132"/>
                  </a:lnTo>
                  <a:lnTo>
                    <a:pt x="714" y="132"/>
                  </a:lnTo>
                  <a:lnTo>
                    <a:pt x="716" y="134"/>
                  </a:lnTo>
                  <a:lnTo>
                    <a:pt x="716" y="134"/>
                  </a:lnTo>
                  <a:lnTo>
                    <a:pt x="719" y="137"/>
                  </a:lnTo>
                  <a:lnTo>
                    <a:pt x="719" y="137"/>
                  </a:lnTo>
                  <a:lnTo>
                    <a:pt x="721" y="139"/>
                  </a:lnTo>
                  <a:lnTo>
                    <a:pt x="721" y="139"/>
                  </a:lnTo>
                  <a:lnTo>
                    <a:pt x="719" y="141"/>
                  </a:lnTo>
                  <a:lnTo>
                    <a:pt x="719" y="141"/>
                  </a:lnTo>
                  <a:lnTo>
                    <a:pt x="716" y="141"/>
                  </a:lnTo>
                  <a:lnTo>
                    <a:pt x="714" y="141"/>
                  </a:lnTo>
                  <a:lnTo>
                    <a:pt x="711" y="141"/>
                  </a:lnTo>
                  <a:lnTo>
                    <a:pt x="709" y="141"/>
                  </a:lnTo>
                  <a:lnTo>
                    <a:pt x="707" y="139"/>
                  </a:lnTo>
                  <a:lnTo>
                    <a:pt x="704" y="139"/>
                  </a:lnTo>
                  <a:lnTo>
                    <a:pt x="702" y="139"/>
                  </a:lnTo>
                  <a:lnTo>
                    <a:pt x="702" y="139"/>
                  </a:lnTo>
                  <a:lnTo>
                    <a:pt x="702" y="139"/>
                  </a:lnTo>
                  <a:lnTo>
                    <a:pt x="700" y="139"/>
                  </a:lnTo>
                  <a:lnTo>
                    <a:pt x="700" y="139"/>
                  </a:lnTo>
                  <a:lnTo>
                    <a:pt x="695" y="139"/>
                  </a:lnTo>
                  <a:lnTo>
                    <a:pt x="695" y="139"/>
                  </a:lnTo>
                  <a:lnTo>
                    <a:pt x="693" y="139"/>
                  </a:lnTo>
                  <a:lnTo>
                    <a:pt x="690" y="139"/>
                  </a:lnTo>
                  <a:lnTo>
                    <a:pt x="688" y="141"/>
                  </a:lnTo>
                  <a:lnTo>
                    <a:pt x="688" y="144"/>
                  </a:lnTo>
                  <a:lnTo>
                    <a:pt x="686" y="144"/>
                  </a:lnTo>
                  <a:lnTo>
                    <a:pt x="686" y="144"/>
                  </a:lnTo>
                  <a:lnTo>
                    <a:pt x="683" y="141"/>
                  </a:lnTo>
                  <a:lnTo>
                    <a:pt x="683" y="141"/>
                  </a:lnTo>
                  <a:lnTo>
                    <a:pt x="681" y="141"/>
                  </a:lnTo>
                  <a:lnTo>
                    <a:pt x="681" y="141"/>
                  </a:lnTo>
                  <a:lnTo>
                    <a:pt x="681" y="144"/>
                  </a:lnTo>
                  <a:lnTo>
                    <a:pt x="681" y="144"/>
                  </a:lnTo>
                  <a:lnTo>
                    <a:pt x="681" y="146"/>
                  </a:lnTo>
                  <a:lnTo>
                    <a:pt x="681" y="146"/>
                  </a:lnTo>
                  <a:lnTo>
                    <a:pt x="681" y="146"/>
                  </a:lnTo>
                  <a:lnTo>
                    <a:pt x="678" y="146"/>
                  </a:lnTo>
                  <a:lnTo>
                    <a:pt x="676" y="146"/>
                  </a:lnTo>
                  <a:lnTo>
                    <a:pt x="674" y="146"/>
                  </a:lnTo>
                  <a:lnTo>
                    <a:pt x="671" y="146"/>
                  </a:lnTo>
                  <a:lnTo>
                    <a:pt x="671" y="146"/>
                  </a:lnTo>
                  <a:lnTo>
                    <a:pt x="671" y="146"/>
                  </a:lnTo>
                  <a:lnTo>
                    <a:pt x="669" y="149"/>
                  </a:lnTo>
                  <a:lnTo>
                    <a:pt x="669" y="149"/>
                  </a:lnTo>
                  <a:lnTo>
                    <a:pt x="669" y="151"/>
                  </a:lnTo>
                  <a:lnTo>
                    <a:pt x="669" y="151"/>
                  </a:lnTo>
                  <a:lnTo>
                    <a:pt x="669" y="156"/>
                  </a:lnTo>
                  <a:lnTo>
                    <a:pt x="669" y="156"/>
                  </a:lnTo>
                  <a:lnTo>
                    <a:pt x="669" y="158"/>
                  </a:lnTo>
                  <a:lnTo>
                    <a:pt x="669" y="158"/>
                  </a:lnTo>
                  <a:lnTo>
                    <a:pt x="669" y="158"/>
                  </a:lnTo>
                  <a:lnTo>
                    <a:pt x="669" y="160"/>
                  </a:lnTo>
                  <a:lnTo>
                    <a:pt x="667" y="160"/>
                  </a:lnTo>
                  <a:lnTo>
                    <a:pt x="667" y="160"/>
                  </a:lnTo>
                  <a:lnTo>
                    <a:pt x="664" y="163"/>
                  </a:lnTo>
                  <a:lnTo>
                    <a:pt x="664" y="165"/>
                  </a:lnTo>
                  <a:lnTo>
                    <a:pt x="662" y="165"/>
                  </a:lnTo>
                  <a:lnTo>
                    <a:pt x="660" y="165"/>
                  </a:lnTo>
                  <a:lnTo>
                    <a:pt x="657" y="165"/>
                  </a:lnTo>
                  <a:lnTo>
                    <a:pt x="655" y="167"/>
                  </a:lnTo>
                  <a:lnTo>
                    <a:pt x="653" y="167"/>
                  </a:lnTo>
                  <a:lnTo>
                    <a:pt x="648" y="165"/>
                  </a:lnTo>
                  <a:lnTo>
                    <a:pt x="648" y="165"/>
                  </a:lnTo>
                  <a:lnTo>
                    <a:pt x="645" y="167"/>
                  </a:lnTo>
                  <a:lnTo>
                    <a:pt x="645" y="167"/>
                  </a:lnTo>
                  <a:lnTo>
                    <a:pt x="645" y="167"/>
                  </a:lnTo>
                  <a:lnTo>
                    <a:pt x="645" y="170"/>
                  </a:lnTo>
                  <a:lnTo>
                    <a:pt x="645" y="170"/>
                  </a:lnTo>
                  <a:lnTo>
                    <a:pt x="643" y="172"/>
                  </a:lnTo>
                  <a:lnTo>
                    <a:pt x="643" y="172"/>
                  </a:lnTo>
                  <a:lnTo>
                    <a:pt x="643" y="177"/>
                  </a:lnTo>
                  <a:lnTo>
                    <a:pt x="641" y="177"/>
                  </a:lnTo>
                  <a:lnTo>
                    <a:pt x="641" y="177"/>
                  </a:lnTo>
                  <a:lnTo>
                    <a:pt x="641" y="179"/>
                  </a:lnTo>
                  <a:lnTo>
                    <a:pt x="638" y="179"/>
                  </a:lnTo>
                  <a:lnTo>
                    <a:pt x="638" y="182"/>
                  </a:lnTo>
                  <a:lnTo>
                    <a:pt x="636" y="182"/>
                  </a:lnTo>
                  <a:lnTo>
                    <a:pt x="634" y="182"/>
                  </a:lnTo>
                  <a:lnTo>
                    <a:pt x="634" y="182"/>
                  </a:lnTo>
                  <a:lnTo>
                    <a:pt x="631" y="179"/>
                  </a:lnTo>
                  <a:lnTo>
                    <a:pt x="629" y="179"/>
                  </a:lnTo>
                  <a:lnTo>
                    <a:pt x="627" y="179"/>
                  </a:lnTo>
                  <a:lnTo>
                    <a:pt x="620" y="179"/>
                  </a:lnTo>
                  <a:lnTo>
                    <a:pt x="617" y="177"/>
                  </a:lnTo>
                  <a:lnTo>
                    <a:pt x="615" y="175"/>
                  </a:lnTo>
                  <a:lnTo>
                    <a:pt x="612" y="172"/>
                  </a:lnTo>
                  <a:lnTo>
                    <a:pt x="612" y="172"/>
                  </a:lnTo>
                  <a:lnTo>
                    <a:pt x="608" y="172"/>
                  </a:lnTo>
                  <a:lnTo>
                    <a:pt x="608" y="172"/>
                  </a:lnTo>
                  <a:lnTo>
                    <a:pt x="605" y="172"/>
                  </a:lnTo>
                  <a:lnTo>
                    <a:pt x="603" y="177"/>
                  </a:lnTo>
                  <a:lnTo>
                    <a:pt x="603" y="177"/>
                  </a:lnTo>
                  <a:lnTo>
                    <a:pt x="603" y="179"/>
                  </a:lnTo>
                  <a:lnTo>
                    <a:pt x="603" y="182"/>
                  </a:lnTo>
                  <a:lnTo>
                    <a:pt x="603" y="184"/>
                  </a:lnTo>
                  <a:lnTo>
                    <a:pt x="603" y="186"/>
                  </a:lnTo>
                  <a:lnTo>
                    <a:pt x="603" y="189"/>
                  </a:lnTo>
                  <a:lnTo>
                    <a:pt x="603" y="189"/>
                  </a:lnTo>
                  <a:lnTo>
                    <a:pt x="605" y="189"/>
                  </a:lnTo>
                  <a:lnTo>
                    <a:pt x="605" y="191"/>
                  </a:lnTo>
                  <a:lnTo>
                    <a:pt x="608" y="193"/>
                  </a:lnTo>
                  <a:lnTo>
                    <a:pt x="610" y="193"/>
                  </a:lnTo>
                  <a:lnTo>
                    <a:pt x="612" y="196"/>
                  </a:lnTo>
                  <a:lnTo>
                    <a:pt x="615" y="198"/>
                  </a:lnTo>
                  <a:lnTo>
                    <a:pt x="617" y="198"/>
                  </a:lnTo>
                  <a:lnTo>
                    <a:pt x="617" y="201"/>
                  </a:lnTo>
                  <a:lnTo>
                    <a:pt x="620" y="201"/>
                  </a:lnTo>
                  <a:lnTo>
                    <a:pt x="620" y="203"/>
                  </a:lnTo>
                  <a:lnTo>
                    <a:pt x="620" y="203"/>
                  </a:lnTo>
                  <a:lnTo>
                    <a:pt x="617" y="203"/>
                  </a:lnTo>
                  <a:lnTo>
                    <a:pt x="617" y="205"/>
                  </a:lnTo>
                  <a:lnTo>
                    <a:pt x="615" y="205"/>
                  </a:lnTo>
                  <a:lnTo>
                    <a:pt x="615" y="208"/>
                  </a:lnTo>
                  <a:lnTo>
                    <a:pt x="615" y="208"/>
                  </a:lnTo>
                  <a:lnTo>
                    <a:pt x="612" y="208"/>
                  </a:lnTo>
                  <a:lnTo>
                    <a:pt x="610" y="210"/>
                  </a:lnTo>
                  <a:lnTo>
                    <a:pt x="608" y="210"/>
                  </a:lnTo>
                  <a:lnTo>
                    <a:pt x="608" y="210"/>
                  </a:lnTo>
                  <a:lnTo>
                    <a:pt x="605" y="212"/>
                  </a:lnTo>
                  <a:lnTo>
                    <a:pt x="605" y="212"/>
                  </a:lnTo>
                  <a:lnTo>
                    <a:pt x="605" y="215"/>
                  </a:lnTo>
                  <a:lnTo>
                    <a:pt x="605" y="215"/>
                  </a:lnTo>
                  <a:lnTo>
                    <a:pt x="603" y="217"/>
                  </a:lnTo>
                  <a:lnTo>
                    <a:pt x="603" y="219"/>
                  </a:lnTo>
                  <a:lnTo>
                    <a:pt x="603" y="219"/>
                  </a:lnTo>
                  <a:lnTo>
                    <a:pt x="603" y="219"/>
                  </a:lnTo>
                  <a:lnTo>
                    <a:pt x="603" y="222"/>
                  </a:lnTo>
                  <a:lnTo>
                    <a:pt x="601" y="222"/>
                  </a:lnTo>
                  <a:lnTo>
                    <a:pt x="598" y="222"/>
                  </a:lnTo>
                  <a:lnTo>
                    <a:pt x="598" y="224"/>
                  </a:lnTo>
                  <a:lnTo>
                    <a:pt x="594" y="224"/>
                  </a:lnTo>
                  <a:lnTo>
                    <a:pt x="594" y="227"/>
                  </a:lnTo>
                  <a:lnTo>
                    <a:pt x="591" y="227"/>
                  </a:lnTo>
                  <a:lnTo>
                    <a:pt x="589" y="229"/>
                  </a:lnTo>
                  <a:lnTo>
                    <a:pt x="587" y="229"/>
                  </a:lnTo>
                  <a:lnTo>
                    <a:pt x="584" y="229"/>
                  </a:lnTo>
                  <a:lnTo>
                    <a:pt x="579" y="229"/>
                  </a:lnTo>
                  <a:lnTo>
                    <a:pt x="577" y="229"/>
                  </a:lnTo>
                  <a:lnTo>
                    <a:pt x="575" y="229"/>
                  </a:lnTo>
                  <a:lnTo>
                    <a:pt x="570" y="229"/>
                  </a:lnTo>
                  <a:lnTo>
                    <a:pt x="568" y="229"/>
                  </a:lnTo>
                  <a:lnTo>
                    <a:pt x="565" y="229"/>
                  </a:lnTo>
                  <a:lnTo>
                    <a:pt x="563" y="229"/>
                  </a:lnTo>
                  <a:lnTo>
                    <a:pt x="561" y="229"/>
                  </a:lnTo>
                  <a:lnTo>
                    <a:pt x="554" y="231"/>
                  </a:lnTo>
                  <a:lnTo>
                    <a:pt x="551" y="231"/>
                  </a:lnTo>
                  <a:lnTo>
                    <a:pt x="546" y="231"/>
                  </a:lnTo>
                  <a:lnTo>
                    <a:pt x="546" y="231"/>
                  </a:lnTo>
                  <a:lnTo>
                    <a:pt x="544" y="231"/>
                  </a:lnTo>
                  <a:lnTo>
                    <a:pt x="542" y="234"/>
                  </a:lnTo>
                  <a:lnTo>
                    <a:pt x="542" y="234"/>
                  </a:lnTo>
                  <a:lnTo>
                    <a:pt x="539" y="234"/>
                  </a:lnTo>
                  <a:lnTo>
                    <a:pt x="532" y="238"/>
                  </a:lnTo>
                  <a:lnTo>
                    <a:pt x="528" y="241"/>
                  </a:lnTo>
                  <a:lnTo>
                    <a:pt x="528" y="241"/>
                  </a:lnTo>
                  <a:lnTo>
                    <a:pt x="525" y="243"/>
                  </a:lnTo>
                  <a:lnTo>
                    <a:pt x="523" y="243"/>
                  </a:lnTo>
                  <a:lnTo>
                    <a:pt x="523" y="243"/>
                  </a:lnTo>
                  <a:lnTo>
                    <a:pt x="523" y="245"/>
                  </a:lnTo>
                  <a:lnTo>
                    <a:pt x="521" y="245"/>
                  </a:lnTo>
                  <a:lnTo>
                    <a:pt x="518" y="245"/>
                  </a:lnTo>
                  <a:lnTo>
                    <a:pt x="518" y="245"/>
                  </a:lnTo>
                  <a:lnTo>
                    <a:pt x="513" y="243"/>
                  </a:lnTo>
                  <a:lnTo>
                    <a:pt x="511" y="241"/>
                  </a:lnTo>
                  <a:lnTo>
                    <a:pt x="506" y="241"/>
                  </a:lnTo>
                  <a:lnTo>
                    <a:pt x="502" y="241"/>
                  </a:lnTo>
                  <a:lnTo>
                    <a:pt x="499" y="243"/>
                  </a:lnTo>
                  <a:lnTo>
                    <a:pt x="492" y="241"/>
                  </a:lnTo>
                  <a:lnTo>
                    <a:pt x="490" y="238"/>
                  </a:lnTo>
                  <a:lnTo>
                    <a:pt x="485" y="236"/>
                  </a:lnTo>
                  <a:lnTo>
                    <a:pt x="480" y="236"/>
                  </a:lnTo>
                  <a:lnTo>
                    <a:pt x="476" y="236"/>
                  </a:lnTo>
                  <a:lnTo>
                    <a:pt x="469" y="234"/>
                  </a:lnTo>
                  <a:lnTo>
                    <a:pt x="464" y="234"/>
                  </a:lnTo>
                  <a:lnTo>
                    <a:pt x="462" y="231"/>
                  </a:lnTo>
                  <a:lnTo>
                    <a:pt x="459" y="227"/>
                  </a:lnTo>
                  <a:lnTo>
                    <a:pt x="457" y="227"/>
                  </a:lnTo>
                  <a:lnTo>
                    <a:pt x="455" y="227"/>
                  </a:lnTo>
                  <a:lnTo>
                    <a:pt x="455" y="227"/>
                  </a:lnTo>
                  <a:lnTo>
                    <a:pt x="450" y="227"/>
                  </a:lnTo>
                  <a:lnTo>
                    <a:pt x="447" y="227"/>
                  </a:lnTo>
                  <a:lnTo>
                    <a:pt x="440" y="224"/>
                  </a:lnTo>
                  <a:lnTo>
                    <a:pt x="436" y="224"/>
                  </a:lnTo>
                  <a:lnTo>
                    <a:pt x="429" y="224"/>
                  </a:lnTo>
                  <a:lnTo>
                    <a:pt x="426" y="224"/>
                  </a:lnTo>
                  <a:lnTo>
                    <a:pt x="424" y="224"/>
                  </a:lnTo>
                  <a:lnTo>
                    <a:pt x="419" y="227"/>
                  </a:lnTo>
                  <a:lnTo>
                    <a:pt x="410" y="224"/>
                  </a:lnTo>
                  <a:lnTo>
                    <a:pt x="405" y="224"/>
                  </a:lnTo>
                  <a:lnTo>
                    <a:pt x="398" y="224"/>
                  </a:lnTo>
                  <a:lnTo>
                    <a:pt x="389" y="222"/>
                  </a:lnTo>
                  <a:lnTo>
                    <a:pt x="379" y="222"/>
                  </a:lnTo>
                  <a:lnTo>
                    <a:pt x="374" y="222"/>
                  </a:lnTo>
                  <a:lnTo>
                    <a:pt x="370" y="222"/>
                  </a:lnTo>
                  <a:lnTo>
                    <a:pt x="365" y="222"/>
                  </a:lnTo>
                  <a:lnTo>
                    <a:pt x="365" y="222"/>
                  </a:lnTo>
                  <a:lnTo>
                    <a:pt x="365" y="219"/>
                  </a:lnTo>
                  <a:lnTo>
                    <a:pt x="363" y="219"/>
                  </a:lnTo>
                  <a:lnTo>
                    <a:pt x="360" y="217"/>
                  </a:lnTo>
                  <a:lnTo>
                    <a:pt x="358" y="215"/>
                  </a:lnTo>
                  <a:lnTo>
                    <a:pt x="353" y="212"/>
                  </a:lnTo>
                  <a:lnTo>
                    <a:pt x="353" y="212"/>
                  </a:lnTo>
                  <a:lnTo>
                    <a:pt x="351" y="210"/>
                  </a:lnTo>
                  <a:lnTo>
                    <a:pt x="346" y="203"/>
                  </a:lnTo>
                  <a:lnTo>
                    <a:pt x="344" y="201"/>
                  </a:lnTo>
                  <a:lnTo>
                    <a:pt x="344" y="198"/>
                  </a:lnTo>
                  <a:lnTo>
                    <a:pt x="341" y="198"/>
                  </a:lnTo>
                  <a:lnTo>
                    <a:pt x="341" y="196"/>
                  </a:lnTo>
                  <a:lnTo>
                    <a:pt x="339" y="196"/>
                  </a:lnTo>
                  <a:lnTo>
                    <a:pt x="337" y="196"/>
                  </a:lnTo>
                  <a:lnTo>
                    <a:pt x="337" y="193"/>
                  </a:lnTo>
                  <a:lnTo>
                    <a:pt x="337" y="193"/>
                  </a:lnTo>
                  <a:lnTo>
                    <a:pt x="337" y="191"/>
                  </a:lnTo>
                  <a:lnTo>
                    <a:pt x="337" y="191"/>
                  </a:lnTo>
                  <a:lnTo>
                    <a:pt x="332" y="191"/>
                  </a:lnTo>
                  <a:lnTo>
                    <a:pt x="327" y="191"/>
                  </a:lnTo>
                  <a:lnTo>
                    <a:pt x="325" y="189"/>
                  </a:lnTo>
                  <a:lnTo>
                    <a:pt x="320" y="186"/>
                  </a:lnTo>
                  <a:lnTo>
                    <a:pt x="318" y="186"/>
                  </a:lnTo>
                  <a:lnTo>
                    <a:pt x="313" y="184"/>
                  </a:lnTo>
                  <a:lnTo>
                    <a:pt x="308" y="182"/>
                  </a:lnTo>
                  <a:lnTo>
                    <a:pt x="308" y="182"/>
                  </a:lnTo>
                  <a:lnTo>
                    <a:pt x="304" y="179"/>
                  </a:lnTo>
                  <a:lnTo>
                    <a:pt x="301" y="177"/>
                  </a:lnTo>
                  <a:lnTo>
                    <a:pt x="299" y="177"/>
                  </a:lnTo>
                  <a:lnTo>
                    <a:pt x="297" y="177"/>
                  </a:lnTo>
                  <a:lnTo>
                    <a:pt x="290" y="175"/>
                  </a:lnTo>
                  <a:lnTo>
                    <a:pt x="287" y="175"/>
                  </a:lnTo>
                  <a:lnTo>
                    <a:pt x="282" y="175"/>
                  </a:lnTo>
                  <a:lnTo>
                    <a:pt x="280" y="175"/>
                  </a:lnTo>
                  <a:lnTo>
                    <a:pt x="275" y="175"/>
                  </a:lnTo>
                  <a:lnTo>
                    <a:pt x="273" y="172"/>
                  </a:lnTo>
                  <a:lnTo>
                    <a:pt x="271" y="172"/>
                  </a:lnTo>
                  <a:lnTo>
                    <a:pt x="268" y="172"/>
                  </a:lnTo>
                  <a:lnTo>
                    <a:pt x="266" y="172"/>
                  </a:lnTo>
                  <a:lnTo>
                    <a:pt x="266" y="172"/>
                  </a:lnTo>
                  <a:lnTo>
                    <a:pt x="264" y="172"/>
                  </a:lnTo>
                  <a:lnTo>
                    <a:pt x="261" y="172"/>
                  </a:lnTo>
                  <a:lnTo>
                    <a:pt x="259" y="172"/>
                  </a:lnTo>
                  <a:lnTo>
                    <a:pt x="259" y="170"/>
                  </a:lnTo>
                  <a:lnTo>
                    <a:pt x="257" y="170"/>
                  </a:lnTo>
                  <a:lnTo>
                    <a:pt x="254" y="170"/>
                  </a:lnTo>
                  <a:lnTo>
                    <a:pt x="254" y="170"/>
                  </a:lnTo>
                  <a:lnTo>
                    <a:pt x="254" y="170"/>
                  </a:lnTo>
                  <a:lnTo>
                    <a:pt x="252" y="170"/>
                  </a:lnTo>
                  <a:lnTo>
                    <a:pt x="249" y="167"/>
                  </a:lnTo>
                  <a:lnTo>
                    <a:pt x="249" y="165"/>
                  </a:lnTo>
                  <a:lnTo>
                    <a:pt x="249" y="165"/>
                  </a:lnTo>
                  <a:lnTo>
                    <a:pt x="247" y="163"/>
                  </a:lnTo>
                  <a:lnTo>
                    <a:pt x="247" y="163"/>
                  </a:lnTo>
                  <a:lnTo>
                    <a:pt x="247" y="160"/>
                  </a:lnTo>
                  <a:lnTo>
                    <a:pt x="247" y="156"/>
                  </a:lnTo>
                  <a:lnTo>
                    <a:pt x="247" y="156"/>
                  </a:lnTo>
                  <a:lnTo>
                    <a:pt x="247" y="156"/>
                  </a:lnTo>
                  <a:lnTo>
                    <a:pt x="249" y="153"/>
                  </a:lnTo>
                  <a:lnTo>
                    <a:pt x="249" y="153"/>
                  </a:lnTo>
                  <a:lnTo>
                    <a:pt x="249" y="151"/>
                  </a:lnTo>
                  <a:lnTo>
                    <a:pt x="247" y="151"/>
                  </a:lnTo>
                  <a:lnTo>
                    <a:pt x="245" y="149"/>
                  </a:lnTo>
                  <a:lnTo>
                    <a:pt x="245" y="146"/>
                  </a:lnTo>
                  <a:lnTo>
                    <a:pt x="245" y="146"/>
                  </a:lnTo>
                  <a:lnTo>
                    <a:pt x="245" y="144"/>
                  </a:lnTo>
                  <a:lnTo>
                    <a:pt x="245" y="141"/>
                  </a:lnTo>
                  <a:lnTo>
                    <a:pt x="245" y="141"/>
                  </a:lnTo>
                  <a:lnTo>
                    <a:pt x="245" y="139"/>
                  </a:lnTo>
                  <a:lnTo>
                    <a:pt x="242" y="139"/>
                  </a:lnTo>
                  <a:lnTo>
                    <a:pt x="240" y="137"/>
                  </a:lnTo>
                  <a:lnTo>
                    <a:pt x="240" y="134"/>
                  </a:lnTo>
                  <a:lnTo>
                    <a:pt x="238" y="134"/>
                  </a:lnTo>
                  <a:lnTo>
                    <a:pt x="235" y="132"/>
                  </a:lnTo>
                  <a:lnTo>
                    <a:pt x="235" y="132"/>
                  </a:lnTo>
                  <a:lnTo>
                    <a:pt x="233" y="130"/>
                  </a:lnTo>
                  <a:lnTo>
                    <a:pt x="231" y="127"/>
                  </a:lnTo>
                  <a:lnTo>
                    <a:pt x="231" y="127"/>
                  </a:lnTo>
                  <a:lnTo>
                    <a:pt x="228" y="125"/>
                  </a:lnTo>
                  <a:lnTo>
                    <a:pt x="228" y="123"/>
                  </a:lnTo>
                  <a:lnTo>
                    <a:pt x="226" y="123"/>
                  </a:lnTo>
                  <a:lnTo>
                    <a:pt x="226" y="120"/>
                  </a:lnTo>
                  <a:lnTo>
                    <a:pt x="224" y="120"/>
                  </a:lnTo>
                  <a:lnTo>
                    <a:pt x="224" y="120"/>
                  </a:lnTo>
                  <a:lnTo>
                    <a:pt x="221" y="118"/>
                  </a:lnTo>
                  <a:lnTo>
                    <a:pt x="221" y="118"/>
                  </a:lnTo>
                  <a:lnTo>
                    <a:pt x="219" y="115"/>
                  </a:lnTo>
                  <a:lnTo>
                    <a:pt x="219" y="115"/>
                  </a:lnTo>
                  <a:lnTo>
                    <a:pt x="219" y="115"/>
                  </a:lnTo>
                  <a:lnTo>
                    <a:pt x="216" y="115"/>
                  </a:lnTo>
                  <a:lnTo>
                    <a:pt x="216" y="115"/>
                  </a:lnTo>
                  <a:lnTo>
                    <a:pt x="214" y="115"/>
                  </a:lnTo>
                  <a:lnTo>
                    <a:pt x="214" y="115"/>
                  </a:lnTo>
                  <a:lnTo>
                    <a:pt x="214" y="115"/>
                  </a:lnTo>
                  <a:lnTo>
                    <a:pt x="212" y="115"/>
                  </a:lnTo>
                  <a:lnTo>
                    <a:pt x="212" y="115"/>
                  </a:lnTo>
                  <a:lnTo>
                    <a:pt x="209" y="113"/>
                  </a:lnTo>
                  <a:lnTo>
                    <a:pt x="207" y="113"/>
                  </a:lnTo>
                  <a:lnTo>
                    <a:pt x="205" y="113"/>
                  </a:lnTo>
                  <a:lnTo>
                    <a:pt x="202" y="113"/>
                  </a:lnTo>
                  <a:lnTo>
                    <a:pt x="202" y="113"/>
                  </a:lnTo>
                  <a:lnTo>
                    <a:pt x="200" y="113"/>
                  </a:lnTo>
                  <a:lnTo>
                    <a:pt x="200" y="111"/>
                  </a:lnTo>
                  <a:lnTo>
                    <a:pt x="198" y="111"/>
                  </a:lnTo>
                  <a:lnTo>
                    <a:pt x="198" y="111"/>
                  </a:lnTo>
                  <a:lnTo>
                    <a:pt x="193" y="108"/>
                  </a:lnTo>
                  <a:lnTo>
                    <a:pt x="191" y="108"/>
                  </a:lnTo>
                  <a:lnTo>
                    <a:pt x="191" y="106"/>
                  </a:lnTo>
                  <a:lnTo>
                    <a:pt x="188" y="104"/>
                  </a:lnTo>
                  <a:lnTo>
                    <a:pt x="188" y="104"/>
                  </a:lnTo>
                  <a:lnTo>
                    <a:pt x="186" y="104"/>
                  </a:lnTo>
                  <a:lnTo>
                    <a:pt x="181" y="101"/>
                  </a:lnTo>
                  <a:lnTo>
                    <a:pt x="181" y="101"/>
                  </a:lnTo>
                  <a:lnTo>
                    <a:pt x="179" y="101"/>
                  </a:lnTo>
                  <a:lnTo>
                    <a:pt x="179" y="101"/>
                  </a:lnTo>
                  <a:lnTo>
                    <a:pt x="179" y="99"/>
                  </a:lnTo>
                  <a:lnTo>
                    <a:pt x="179" y="99"/>
                  </a:lnTo>
                  <a:lnTo>
                    <a:pt x="179" y="99"/>
                  </a:lnTo>
                  <a:lnTo>
                    <a:pt x="179" y="99"/>
                  </a:lnTo>
                  <a:lnTo>
                    <a:pt x="179" y="96"/>
                  </a:lnTo>
                  <a:lnTo>
                    <a:pt x="176" y="96"/>
                  </a:lnTo>
                  <a:lnTo>
                    <a:pt x="174" y="96"/>
                  </a:lnTo>
                  <a:lnTo>
                    <a:pt x="174" y="94"/>
                  </a:lnTo>
                  <a:lnTo>
                    <a:pt x="172" y="94"/>
                  </a:lnTo>
                  <a:lnTo>
                    <a:pt x="172" y="94"/>
                  </a:lnTo>
                  <a:lnTo>
                    <a:pt x="172" y="94"/>
                  </a:lnTo>
                  <a:lnTo>
                    <a:pt x="174" y="92"/>
                  </a:lnTo>
                  <a:lnTo>
                    <a:pt x="174" y="92"/>
                  </a:lnTo>
                  <a:lnTo>
                    <a:pt x="172" y="92"/>
                  </a:lnTo>
                  <a:lnTo>
                    <a:pt x="172" y="89"/>
                  </a:lnTo>
                  <a:lnTo>
                    <a:pt x="172" y="89"/>
                  </a:lnTo>
                  <a:lnTo>
                    <a:pt x="172" y="89"/>
                  </a:lnTo>
                  <a:lnTo>
                    <a:pt x="169" y="89"/>
                  </a:lnTo>
                  <a:lnTo>
                    <a:pt x="169" y="89"/>
                  </a:lnTo>
                  <a:lnTo>
                    <a:pt x="167" y="89"/>
                  </a:lnTo>
                  <a:lnTo>
                    <a:pt x="167" y="89"/>
                  </a:lnTo>
                  <a:lnTo>
                    <a:pt x="167" y="89"/>
                  </a:lnTo>
                  <a:lnTo>
                    <a:pt x="165" y="89"/>
                  </a:lnTo>
                  <a:lnTo>
                    <a:pt x="165" y="89"/>
                  </a:lnTo>
                  <a:lnTo>
                    <a:pt x="162" y="89"/>
                  </a:lnTo>
                  <a:lnTo>
                    <a:pt x="160" y="89"/>
                  </a:lnTo>
                  <a:lnTo>
                    <a:pt x="158" y="89"/>
                  </a:lnTo>
                  <a:lnTo>
                    <a:pt x="158" y="89"/>
                  </a:lnTo>
                  <a:lnTo>
                    <a:pt x="155" y="92"/>
                  </a:lnTo>
                  <a:lnTo>
                    <a:pt x="155" y="92"/>
                  </a:lnTo>
                  <a:lnTo>
                    <a:pt x="155" y="94"/>
                  </a:lnTo>
                  <a:lnTo>
                    <a:pt x="155" y="94"/>
                  </a:lnTo>
                  <a:lnTo>
                    <a:pt x="158" y="99"/>
                  </a:lnTo>
                  <a:lnTo>
                    <a:pt x="158" y="99"/>
                  </a:lnTo>
                  <a:lnTo>
                    <a:pt x="155" y="101"/>
                  </a:lnTo>
                  <a:lnTo>
                    <a:pt x="155" y="101"/>
                  </a:lnTo>
                  <a:lnTo>
                    <a:pt x="153" y="104"/>
                  </a:lnTo>
                  <a:lnTo>
                    <a:pt x="151" y="104"/>
                  </a:lnTo>
                  <a:lnTo>
                    <a:pt x="148" y="104"/>
                  </a:lnTo>
                  <a:lnTo>
                    <a:pt x="146" y="104"/>
                  </a:lnTo>
                  <a:lnTo>
                    <a:pt x="143" y="104"/>
                  </a:lnTo>
                  <a:lnTo>
                    <a:pt x="143" y="106"/>
                  </a:lnTo>
                  <a:lnTo>
                    <a:pt x="143" y="108"/>
                  </a:lnTo>
                  <a:lnTo>
                    <a:pt x="143" y="108"/>
                  </a:lnTo>
                  <a:lnTo>
                    <a:pt x="143" y="111"/>
                  </a:lnTo>
                  <a:lnTo>
                    <a:pt x="143" y="113"/>
                  </a:lnTo>
                  <a:lnTo>
                    <a:pt x="146" y="118"/>
                  </a:lnTo>
                  <a:lnTo>
                    <a:pt x="148" y="123"/>
                  </a:lnTo>
                  <a:lnTo>
                    <a:pt x="148" y="123"/>
                  </a:lnTo>
                  <a:lnTo>
                    <a:pt x="151" y="125"/>
                  </a:lnTo>
                  <a:lnTo>
                    <a:pt x="151" y="127"/>
                  </a:lnTo>
                  <a:lnTo>
                    <a:pt x="151" y="127"/>
                  </a:lnTo>
                  <a:lnTo>
                    <a:pt x="151" y="130"/>
                  </a:lnTo>
                  <a:lnTo>
                    <a:pt x="151" y="132"/>
                  </a:lnTo>
                  <a:lnTo>
                    <a:pt x="151" y="132"/>
                  </a:lnTo>
                  <a:lnTo>
                    <a:pt x="148" y="132"/>
                  </a:lnTo>
                  <a:lnTo>
                    <a:pt x="146" y="132"/>
                  </a:lnTo>
                  <a:lnTo>
                    <a:pt x="143" y="134"/>
                  </a:lnTo>
                  <a:lnTo>
                    <a:pt x="143" y="134"/>
                  </a:lnTo>
                  <a:lnTo>
                    <a:pt x="141" y="137"/>
                  </a:lnTo>
                  <a:lnTo>
                    <a:pt x="141" y="137"/>
                  </a:lnTo>
                  <a:lnTo>
                    <a:pt x="139" y="137"/>
                  </a:lnTo>
                  <a:lnTo>
                    <a:pt x="139" y="134"/>
                  </a:lnTo>
                  <a:lnTo>
                    <a:pt x="136" y="134"/>
                  </a:lnTo>
                  <a:lnTo>
                    <a:pt x="136" y="134"/>
                  </a:lnTo>
                  <a:lnTo>
                    <a:pt x="134" y="134"/>
                  </a:lnTo>
                  <a:lnTo>
                    <a:pt x="132" y="134"/>
                  </a:lnTo>
                  <a:lnTo>
                    <a:pt x="129" y="134"/>
                  </a:lnTo>
                  <a:lnTo>
                    <a:pt x="127" y="134"/>
                  </a:lnTo>
                  <a:lnTo>
                    <a:pt x="127" y="134"/>
                  </a:lnTo>
                  <a:lnTo>
                    <a:pt x="122" y="134"/>
                  </a:lnTo>
                  <a:lnTo>
                    <a:pt x="120" y="132"/>
                  </a:lnTo>
                  <a:lnTo>
                    <a:pt x="120" y="132"/>
                  </a:lnTo>
                  <a:lnTo>
                    <a:pt x="115" y="132"/>
                  </a:lnTo>
                  <a:lnTo>
                    <a:pt x="110" y="130"/>
                  </a:lnTo>
                  <a:lnTo>
                    <a:pt x="110" y="130"/>
                  </a:lnTo>
                  <a:lnTo>
                    <a:pt x="108" y="130"/>
                  </a:lnTo>
                  <a:lnTo>
                    <a:pt x="108" y="130"/>
                  </a:lnTo>
                  <a:lnTo>
                    <a:pt x="108" y="132"/>
                  </a:lnTo>
                  <a:lnTo>
                    <a:pt x="110" y="134"/>
                  </a:lnTo>
                  <a:lnTo>
                    <a:pt x="108" y="141"/>
                  </a:lnTo>
                  <a:lnTo>
                    <a:pt x="108" y="146"/>
                  </a:lnTo>
                  <a:lnTo>
                    <a:pt x="108" y="151"/>
                  </a:lnTo>
                  <a:lnTo>
                    <a:pt x="108" y="153"/>
                  </a:lnTo>
                  <a:lnTo>
                    <a:pt x="108" y="158"/>
                  </a:lnTo>
                  <a:lnTo>
                    <a:pt x="108" y="160"/>
                  </a:lnTo>
                  <a:lnTo>
                    <a:pt x="108" y="163"/>
                  </a:lnTo>
                  <a:lnTo>
                    <a:pt x="108" y="163"/>
                  </a:lnTo>
                  <a:lnTo>
                    <a:pt x="108" y="163"/>
                  </a:lnTo>
                  <a:lnTo>
                    <a:pt x="110" y="165"/>
                  </a:lnTo>
                  <a:lnTo>
                    <a:pt x="113" y="165"/>
                  </a:lnTo>
                  <a:lnTo>
                    <a:pt x="115" y="165"/>
                  </a:lnTo>
                  <a:lnTo>
                    <a:pt x="115" y="167"/>
                  </a:lnTo>
                  <a:lnTo>
                    <a:pt x="115" y="167"/>
                  </a:lnTo>
                  <a:lnTo>
                    <a:pt x="115" y="170"/>
                  </a:lnTo>
                  <a:lnTo>
                    <a:pt x="115" y="172"/>
                  </a:lnTo>
                  <a:lnTo>
                    <a:pt x="115" y="172"/>
                  </a:lnTo>
                  <a:lnTo>
                    <a:pt x="115" y="172"/>
                  </a:lnTo>
                  <a:lnTo>
                    <a:pt x="113" y="170"/>
                  </a:lnTo>
                  <a:lnTo>
                    <a:pt x="110" y="170"/>
                  </a:lnTo>
                  <a:lnTo>
                    <a:pt x="110" y="170"/>
                  </a:lnTo>
                  <a:lnTo>
                    <a:pt x="108" y="170"/>
                  </a:lnTo>
                  <a:lnTo>
                    <a:pt x="106" y="172"/>
                  </a:lnTo>
                  <a:lnTo>
                    <a:pt x="106" y="172"/>
                  </a:lnTo>
                  <a:lnTo>
                    <a:pt x="103" y="170"/>
                  </a:lnTo>
                  <a:lnTo>
                    <a:pt x="103" y="170"/>
                  </a:lnTo>
                  <a:lnTo>
                    <a:pt x="101" y="167"/>
                  </a:lnTo>
                  <a:lnTo>
                    <a:pt x="99" y="167"/>
                  </a:lnTo>
                  <a:lnTo>
                    <a:pt x="99" y="167"/>
                  </a:lnTo>
                  <a:lnTo>
                    <a:pt x="94" y="170"/>
                  </a:lnTo>
                  <a:lnTo>
                    <a:pt x="89" y="170"/>
                  </a:lnTo>
                  <a:lnTo>
                    <a:pt x="87" y="172"/>
                  </a:lnTo>
                  <a:lnTo>
                    <a:pt x="87" y="172"/>
                  </a:lnTo>
                  <a:lnTo>
                    <a:pt x="85" y="172"/>
                  </a:lnTo>
                  <a:lnTo>
                    <a:pt x="82" y="172"/>
                  </a:lnTo>
                  <a:lnTo>
                    <a:pt x="80" y="172"/>
                  </a:lnTo>
                  <a:lnTo>
                    <a:pt x="77" y="175"/>
                  </a:lnTo>
                  <a:lnTo>
                    <a:pt x="75" y="175"/>
                  </a:lnTo>
                  <a:lnTo>
                    <a:pt x="73" y="177"/>
                  </a:lnTo>
                  <a:lnTo>
                    <a:pt x="73" y="179"/>
                  </a:lnTo>
                  <a:lnTo>
                    <a:pt x="73" y="179"/>
                  </a:lnTo>
                  <a:lnTo>
                    <a:pt x="75" y="179"/>
                  </a:lnTo>
                  <a:lnTo>
                    <a:pt x="75" y="179"/>
                  </a:lnTo>
                  <a:lnTo>
                    <a:pt x="77" y="179"/>
                  </a:lnTo>
                  <a:lnTo>
                    <a:pt x="80" y="179"/>
                  </a:lnTo>
                  <a:lnTo>
                    <a:pt x="82" y="182"/>
                  </a:lnTo>
                  <a:lnTo>
                    <a:pt x="85" y="182"/>
                  </a:lnTo>
                  <a:lnTo>
                    <a:pt x="85" y="182"/>
                  </a:lnTo>
                  <a:lnTo>
                    <a:pt x="85" y="182"/>
                  </a:lnTo>
                  <a:lnTo>
                    <a:pt x="82" y="182"/>
                  </a:lnTo>
                  <a:lnTo>
                    <a:pt x="82" y="184"/>
                  </a:lnTo>
                  <a:lnTo>
                    <a:pt x="82" y="184"/>
                  </a:lnTo>
                  <a:lnTo>
                    <a:pt x="82" y="184"/>
                  </a:lnTo>
                  <a:lnTo>
                    <a:pt x="85" y="186"/>
                  </a:lnTo>
                  <a:lnTo>
                    <a:pt x="85" y="189"/>
                  </a:lnTo>
                  <a:lnTo>
                    <a:pt x="85" y="191"/>
                  </a:lnTo>
                  <a:lnTo>
                    <a:pt x="87" y="193"/>
                  </a:lnTo>
                  <a:lnTo>
                    <a:pt x="87" y="193"/>
                  </a:lnTo>
                  <a:lnTo>
                    <a:pt x="87" y="196"/>
                  </a:lnTo>
                  <a:lnTo>
                    <a:pt x="89" y="198"/>
                  </a:lnTo>
                  <a:lnTo>
                    <a:pt x="89" y="198"/>
                  </a:lnTo>
                  <a:lnTo>
                    <a:pt x="94" y="203"/>
                  </a:lnTo>
                  <a:lnTo>
                    <a:pt x="94" y="205"/>
                  </a:lnTo>
                  <a:lnTo>
                    <a:pt x="96" y="208"/>
                  </a:lnTo>
                  <a:lnTo>
                    <a:pt x="96" y="210"/>
                  </a:lnTo>
                  <a:lnTo>
                    <a:pt x="96" y="210"/>
                  </a:lnTo>
                  <a:lnTo>
                    <a:pt x="99" y="212"/>
                  </a:lnTo>
                  <a:lnTo>
                    <a:pt x="99" y="212"/>
                  </a:lnTo>
                  <a:lnTo>
                    <a:pt x="99" y="212"/>
                  </a:lnTo>
                  <a:lnTo>
                    <a:pt x="101" y="215"/>
                  </a:lnTo>
                  <a:lnTo>
                    <a:pt x="99" y="215"/>
                  </a:lnTo>
                  <a:lnTo>
                    <a:pt x="96" y="215"/>
                  </a:lnTo>
                  <a:lnTo>
                    <a:pt x="96" y="215"/>
                  </a:lnTo>
                  <a:lnTo>
                    <a:pt x="94" y="217"/>
                  </a:lnTo>
                  <a:lnTo>
                    <a:pt x="94" y="217"/>
                  </a:lnTo>
                  <a:lnTo>
                    <a:pt x="94" y="217"/>
                  </a:lnTo>
                  <a:lnTo>
                    <a:pt x="94" y="217"/>
                  </a:lnTo>
                  <a:lnTo>
                    <a:pt x="96" y="217"/>
                  </a:lnTo>
                  <a:lnTo>
                    <a:pt x="96" y="219"/>
                  </a:lnTo>
                  <a:lnTo>
                    <a:pt x="99" y="219"/>
                  </a:lnTo>
                  <a:lnTo>
                    <a:pt x="96" y="219"/>
                  </a:lnTo>
                  <a:lnTo>
                    <a:pt x="94" y="222"/>
                  </a:lnTo>
                  <a:lnTo>
                    <a:pt x="92" y="222"/>
                  </a:lnTo>
                  <a:lnTo>
                    <a:pt x="92" y="224"/>
                  </a:lnTo>
                  <a:lnTo>
                    <a:pt x="94" y="224"/>
                  </a:lnTo>
                  <a:lnTo>
                    <a:pt x="94" y="227"/>
                  </a:lnTo>
                  <a:lnTo>
                    <a:pt x="94" y="229"/>
                  </a:lnTo>
                  <a:lnTo>
                    <a:pt x="96" y="231"/>
                  </a:lnTo>
                  <a:lnTo>
                    <a:pt x="96" y="231"/>
                  </a:lnTo>
                  <a:lnTo>
                    <a:pt x="96" y="234"/>
                  </a:lnTo>
                  <a:lnTo>
                    <a:pt x="96" y="234"/>
                  </a:lnTo>
                  <a:lnTo>
                    <a:pt x="96" y="234"/>
                  </a:lnTo>
                  <a:lnTo>
                    <a:pt x="99" y="236"/>
                  </a:lnTo>
                  <a:lnTo>
                    <a:pt x="99" y="236"/>
                  </a:lnTo>
                  <a:lnTo>
                    <a:pt x="99" y="236"/>
                  </a:lnTo>
                  <a:lnTo>
                    <a:pt x="92" y="236"/>
                  </a:lnTo>
                  <a:lnTo>
                    <a:pt x="92" y="238"/>
                  </a:lnTo>
                  <a:lnTo>
                    <a:pt x="92" y="238"/>
                  </a:lnTo>
                  <a:lnTo>
                    <a:pt x="87" y="241"/>
                  </a:lnTo>
                  <a:lnTo>
                    <a:pt x="85" y="241"/>
                  </a:lnTo>
                  <a:lnTo>
                    <a:pt x="85" y="241"/>
                  </a:lnTo>
                  <a:lnTo>
                    <a:pt x="82" y="243"/>
                  </a:lnTo>
                  <a:lnTo>
                    <a:pt x="75" y="245"/>
                  </a:lnTo>
                  <a:lnTo>
                    <a:pt x="73" y="248"/>
                  </a:lnTo>
                  <a:lnTo>
                    <a:pt x="70" y="250"/>
                  </a:lnTo>
                  <a:lnTo>
                    <a:pt x="70" y="250"/>
                  </a:lnTo>
                  <a:lnTo>
                    <a:pt x="70" y="250"/>
                  </a:lnTo>
                  <a:lnTo>
                    <a:pt x="70" y="253"/>
                  </a:lnTo>
                  <a:lnTo>
                    <a:pt x="68" y="257"/>
                  </a:lnTo>
                  <a:lnTo>
                    <a:pt x="66" y="257"/>
                  </a:lnTo>
                  <a:lnTo>
                    <a:pt x="63" y="257"/>
                  </a:lnTo>
                  <a:lnTo>
                    <a:pt x="61" y="257"/>
                  </a:lnTo>
                  <a:lnTo>
                    <a:pt x="59" y="257"/>
                  </a:lnTo>
                  <a:lnTo>
                    <a:pt x="54" y="257"/>
                  </a:lnTo>
                  <a:lnTo>
                    <a:pt x="52" y="257"/>
                  </a:lnTo>
                  <a:lnTo>
                    <a:pt x="49" y="257"/>
                  </a:lnTo>
                  <a:lnTo>
                    <a:pt x="47" y="257"/>
                  </a:lnTo>
                  <a:lnTo>
                    <a:pt x="47" y="257"/>
                  </a:lnTo>
                  <a:lnTo>
                    <a:pt x="44" y="262"/>
                  </a:lnTo>
                  <a:lnTo>
                    <a:pt x="44" y="262"/>
                  </a:lnTo>
                  <a:lnTo>
                    <a:pt x="44" y="262"/>
                  </a:lnTo>
                  <a:lnTo>
                    <a:pt x="44" y="264"/>
                  </a:lnTo>
                  <a:lnTo>
                    <a:pt x="44" y="267"/>
                  </a:lnTo>
                  <a:lnTo>
                    <a:pt x="44" y="269"/>
                  </a:lnTo>
                  <a:lnTo>
                    <a:pt x="44" y="269"/>
                  </a:lnTo>
                  <a:lnTo>
                    <a:pt x="42" y="271"/>
                  </a:lnTo>
                  <a:lnTo>
                    <a:pt x="42" y="271"/>
                  </a:lnTo>
                  <a:lnTo>
                    <a:pt x="40" y="269"/>
                  </a:lnTo>
                  <a:lnTo>
                    <a:pt x="40" y="269"/>
                  </a:lnTo>
                  <a:lnTo>
                    <a:pt x="40" y="271"/>
                  </a:lnTo>
                  <a:lnTo>
                    <a:pt x="37" y="271"/>
                  </a:lnTo>
                  <a:lnTo>
                    <a:pt x="35" y="271"/>
                  </a:lnTo>
                  <a:lnTo>
                    <a:pt x="35" y="271"/>
                  </a:lnTo>
                  <a:lnTo>
                    <a:pt x="30" y="271"/>
                  </a:lnTo>
                  <a:lnTo>
                    <a:pt x="30" y="271"/>
                  </a:lnTo>
                  <a:lnTo>
                    <a:pt x="28" y="267"/>
                  </a:lnTo>
                  <a:lnTo>
                    <a:pt x="28" y="267"/>
                  </a:lnTo>
                  <a:lnTo>
                    <a:pt x="28" y="267"/>
                  </a:lnTo>
                  <a:lnTo>
                    <a:pt x="26" y="267"/>
                  </a:lnTo>
                  <a:lnTo>
                    <a:pt x="23" y="269"/>
                  </a:lnTo>
                  <a:lnTo>
                    <a:pt x="21" y="269"/>
                  </a:lnTo>
                  <a:lnTo>
                    <a:pt x="19" y="269"/>
                  </a:lnTo>
                  <a:lnTo>
                    <a:pt x="16" y="269"/>
                  </a:lnTo>
                  <a:lnTo>
                    <a:pt x="16" y="269"/>
                  </a:lnTo>
                  <a:lnTo>
                    <a:pt x="16" y="269"/>
                  </a:lnTo>
                  <a:lnTo>
                    <a:pt x="16" y="269"/>
                  </a:lnTo>
                  <a:lnTo>
                    <a:pt x="16" y="271"/>
                  </a:lnTo>
                  <a:lnTo>
                    <a:pt x="16" y="271"/>
                  </a:lnTo>
                  <a:lnTo>
                    <a:pt x="16" y="271"/>
                  </a:lnTo>
                  <a:lnTo>
                    <a:pt x="14" y="271"/>
                  </a:lnTo>
                  <a:lnTo>
                    <a:pt x="14" y="274"/>
                  </a:lnTo>
                  <a:lnTo>
                    <a:pt x="9" y="276"/>
                  </a:lnTo>
                  <a:lnTo>
                    <a:pt x="7" y="276"/>
                  </a:lnTo>
                  <a:lnTo>
                    <a:pt x="4" y="276"/>
                  </a:lnTo>
                  <a:lnTo>
                    <a:pt x="4" y="279"/>
                  </a:lnTo>
                  <a:lnTo>
                    <a:pt x="4" y="279"/>
                  </a:lnTo>
                  <a:lnTo>
                    <a:pt x="2" y="279"/>
                  </a:lnTo>
                  <a:lnTo>
                    <a:pt x="2" y="279"/>
                  </a:lnTo>
                  <a:lnTo>
                    <a:pt x="2" y="281"/>
                  </a:lnTo>
                  <a:lnTo>
                    <a:pt x="2" y="281"/>
                  </a:lnTo>
                  <a:lnTo>
                    <a:pt x="2" y="281"/>
                  </a:lnTo>
                  <a:lnTo>
                    <a:pt x="4" y="283"/>
                  </a:lnTo>
                  <a:lnTo>
                    <a:pt x="4" y="286"/>
                  </a:lnTo>
                  <a:lnTo>
                    <a:pt x="4" y="286"/>
                  </a:lnTo>
                  <a:lnTo>
                    <a:pt x="4" y="286"/>
                  </a:lnTo>
                  <a:lnTo>
                    <a:pt x="4" y="288"/>
                  </a:lnTo>
                  <a:lnTo>
                    <a:pt x="2" y="288"/>
                  </a:lnTo>
                  <a:lnTo>
                    <a:pt x="0" y="288"/>
                  </a:lnTo>
                  <a:lnTo>
                    <a:pt x="0" y="290"/>
                  </a:lnTo>
                  <a:lnTo>
                    <a:pt x="2" y="293"/>
                  </a:lnTo>
                  <a:lnTo>
                    <a:pt x="2" y="293"/>
                  </a:lnTo>
                  <a:lnTo>
                    <a:pt x="4" y="295"/>
                  </a:lnTo>
                  <a:lnTo>
                    <a:pt x="4" y="297"/>
                  </a:lnTo>
                  <a:lnTo>
                    <a:pt x="7" y="297"/>
                  </a:lnTo>
                  <a:lnTo>
                    <a:pt x="7" y="300"/>
                  </a:lnTo>
                  <a:lnTo>
                    <a:pt x="7" y="300"/>
                  </a:lnTo>
                  <a:lnTo>
                    <a:pt x="4" y="300"/>
                  </a:lnTo>
                  <a:lnTo>
                    <a:pt x="4" y="300"/>
                  </a:lnTo>
                  <a:lnTo>
                    <a:pt x="4" y="302"/>
                  </a:lnTo>
                  <a:lnTo>
                    <a:pt x="4" y="302"/>
                  </a:lnTo>
                  <a:lnTo>
                    <a:pt x="7" y="305"/>
                  </a:lnTo>
                  <a:lnTo>
                    <a:pt x="7" y="307"/>
                  </a:lnTo>
                  <a:lnTo>
                    <a:pt x="9" y="307"/>
                  </a:lnTo>
                  <a:lnTo>
                    <a:pt x="11" y="307"/>
                  </a:lnTo>
                  <a:lnTo>
                    <a:pt x="11" y="307"/>
                  </a:lnTo>
                  <a:lnTo>
                    <a:pt x="11" y="307"/>
                  </a:lnTo>
                  <a:lnTo>
                    <a:pt x="14" y="305"/>
                  </a:lnTo>
                  <a:lnTo>
                    <a:pt x="14" y="305"/>
                  </a:lnTo>
                  <a:lnTo>
                    <a:pt x="16" y="305"/>
                  </a:lnTo>
                  <a:lnTo>
                    <a:pt x="21" y="307"/>
                  </a:lnTo>
                  <a:lnTo>
                    <a:pt x="26" y="309"/>
                  </a:lnTo>
                  <a:lnTo>
                    <a:pt x="26" y="309"/>
                  </a:lnTo>
                  <a:lnTo>
                    <a:pt x="26" y="312"/>
                  </a:lnTo>
                  <a:lnTo>
                    <a:pt x="26" y="314"/>
                  </a:lnTo>
                  <a:lnTo>
                    <a:pt x="26" y="316"/>
                  </a:lnTo>
                  <a:lnTo>
                    <a:pt x="28" y="316"/>
                  </a:lnTo>
                  <a:lnTo>
                    <a:pt x="28" y="319"/>
                  </a:lnTo>
                  <a:lnTo>
                    <a:pt x="30" y="321"/>
                  </a:lnTo>
                  <a:lnTo>
                    <a:pt x="30" y="323"/>
                  </a:lnTo>
                  <a:lnTo>
                    <a:pt x="30" y="323"/>
                  </a:lnTo>
                  <a:lnTo>
                    <a:pt x="33" y="323"/>
                  </a:lnTo>
                  <a:lnTo>
                    <a:pt x="33" y="326"/>
                  </a:lnTo>
                  <a:lnTo>
                    <a:pt x="33" y="328"/>
                  </a:lnTo>
                  <a:lnTo>
                    <a:pt x="33" y="328"/>
                  </a:lnTo>
                  <a:lnTo>
                    <a:pt x="33" y="331"/>
                  </a:lnTo>
                  <a:lnTo>
                    <a:pt x="35" y="331"/>
                  </a:lnTo>
                  <a:lnTo>
                    <a:pt x="37" y="333"/>
                  </a:lnTo>
                  <a:lnTo>
                    <a:pt x="37" y="333"/>
                  </a:lnTo>
                  <a:lnTo>
                    <a:pt x="35" y="335"/>
                  </a:lnTo>
                  <a:lnTo>
                    <a:pt x="35" y="335"/>
                  </a:lnTo>
                  <a:lnTo>
                    <a:pt x="33" y="335"/>
                  </a:lnTo>
                  <a:lnTo>
                    <a:pt x="33" y="335"/>
                  </a:lnTo>
                  <a:lnTo>
                    <a:pt x="30" y="335"/>
                  </a:lnTo>
                  <a:lnTo>
                    <a:pt x="30" y="335"/>
                  </a:lnTo>
                  <a:lnTo>
                    <a:pt x="30" y="335"/>
                  </a:lnTo>
                  <a:lnTo>
                    <a:pt x="30" y="335"/>
                  </a:lnTo>
                  <a:lnTo>
                    <a:pt x="28" y="335"/>
                  </a:lnTo>
                  <a:lnTo>
                    <a:pt x="26" y="338"/>
                  </a:lnTo>
                  <a:lnTo>
                    <a:pt x="26" y="338"/>
                  </a:lnTo>
                  <a:lnTo>
                    <a:pt x="28" y="340"/>
                  </a:lnTo>
                  <a:lnTo>
                    <a:pt x="28" y="340"/>
                  </a:lnTo>
                  <a:lnTo>
                    <a:pt x="28" y="340"/>
                  </a:lnTo>
                  <a:lnTo>
                    <a:pt x="30" y="340"/>
                  </a:lnTo>
                  <a:lnTo>
                    <a:pt x="30" y="340"/>
                  </a:lnTo>
                  <a:lnTo>
                    <a:pt x="33" y="340"/>
                  </a:lnTo>
                  <a:lnTo>
                    <a:pt x="35" y="342"/>
                  </a:lnTo>
                  <a:lnTo>
                    <a:pt x="35" y="342"/>
                  </a:lnTo>
                  <a:lnTo>
                    <a:pt x="35" y="342"/>
                  </a:lnTo>
                  <a:lnTo>
                    <a:pt x="37" y="340"/>
                  </a:lnTo>
                  <a:lnTo>
                    <a:pt x="40" y="342"/>
                  </a:lnTo>
                  <a:lnTo>
                    <a:pt x="42" y="342"/>
                  </a:lnTo>
                  <a:lnTo>
                    <a:pt x="44" y="342"/>
                  </a:lnTo>
                  <a:lnTo>
                    <a:pt x="44" y="347"/>
                  </a:lnTo>
                  <a:lnTo>
                    <a:pt x="47" y="347"/>
                  </a:lnTo>
                  <a:lnTo>
                    <a:pt x="47" y="347"/>
                  </a:lnTo>
                  <a:lnTo>
                    <a:pt x="49" y="347"/>
                  </a:lnTo>
                  <a:lnTo>
                    <a:pt x="52" y="347"/>
                  </a:lnTo>
                  <a:lnTo>
                    <a:pt x="54" y="349"/>
                  </a:lnTo>
                  <a:lnTo>
                    <a:pt x="54" y="349"/>
                  </a:lnTo>
                  <a:lnTo>
                    <a:pt x="56" y="352"/>
                  </a:lnTo>
                  <a:lnTo>
                    <a:pt x="56" y="352"/>
                  </a:lnTo>
                  <a:lnTo>
                    <a:pt x="56" y="354"/>
                  </a:lnTo>
                  <a:lnTo>
                    <a:pt x="59" y="359"/>
                  </a:lnTo>
                  <a:lnTo>
                    <a:pt x="56" y="359"/>
                  </a:lnTo>
                  <a:lnTo>
                    <a:pt x="56" y="361"/>
                  </a:lnTo>
                  <a:lnTo>
                    <a:pt x="56" y="361"/>
                  </a:lnTo>
                  <a:lnTo>
                    <a:pt x="59" y="361"/>
                  </a:lnTo>
                  <a:lnTo>
                    <a:pt x="59" y="364"/>
                  </a:lnTo>
                  <a:lnTo>
                    <a:pt x="61" y="364"/>
                  </a:lnTo>
                  <a:lnTo>
                    <a:pt x="61" y="364"/>
                  </a:lnTo>
                  <a:lnTo>
                    <a:pt x="63" y="366"/>
                  </a:lnTo>
                  <a:lnTo>
                    <a:pt x="63" y="366"/>
                  </a:lnTo>
                  <a:lnTo>
                    <a:pt x="63" y="366"/>
                  </a:lnTo>
                  <a:lnTo>
                    <a:pt x="66" y="366"/>
                  </a:lnTo>
                  <a:lnTo>
                    <a:pt x="68" y="366"/>
                  </a:lnTo>
                  <a:lnTo>
                    <a:pt x="68" y="364"/>
                  </a:lnTo>
                  <a:lnTo>
                    <a:pt x="70" y="368"/>
                  </a:lnTo>
                  <a:lnTo>
                    <a:pt x="70" y="368"/>
                  </a:lnTo>
                  <a:lnTo>
                    <a:pt x="73" y="368"/>
                  </a:lnTo>
                  <a:lnTo>
                    <a:pt x="73" y="371"/>
                  </a:lnTo>
                  <a:lnTo>
                    <a:pt x="75" y="371"/>
                  </a:lnTo>
                  <a:lnTo>
                    <a:pt x="80" y="373"/>
                  </a:lnTo>
                  <a:lnTo>
                    <a:pt x="85" y="373"/>
                  </a:lnTo>
                  <a:lnTo>
                    <a:pt x="87" y="373"/>
                  </a:lnTo>
                  <a:lnTo>
                    <a:pt x="87" y="373"/>
                  </a:lnTo>
                  <a:lnTo>
                    <a:pt x="89" y="373"/>
                  </a:lnTo>
                  <a:lnTo>
                    <a:pt x="92" y="373"/>
                  </a:lnTo>
                  <a:lnTo>
                    <a:pt x="92" y="373"/>
                  </a:lnTo>
                  <a:lnTo>
                    <a:pt x="94" y="373"/>
                  </a:lnTo>
                  <a:lnTo>
                    <a:pt x="94" y="373"/>
                  </a:lnTo>
                  <a:lnTo>
                    <a:pt x="94" y="373"/>
                  </a:lnTo>
                  <a:lnTo>
                    <a:pt x="94" y="373"/>
                  </a:lnTo>
                  <a:lnTo>
                    <a:pt x="96" y="373"/>
                  </a:lnTo>
                  <a:lnTo>
                    <a:pt x="96" y="373"/>
                  </a:lnTo>
                  <a:lnTo>
                    <a:pt x="96" y="373"/>
                  </a:lnTo>
                  <a:lnTo>
                    <a:pt x="96" y="373"/>
                  </a:lnTo>
                  <a:lnTo>
                    <a:pt x="96" y="378"/>
                  </a:lnTo>
                  <a:lnTo>
                    <a:pt x="99" y="378"/>
                  </a:lnTo>
                  <a:lnTo>
                    <a:pt x="99" y="380"/>
                  </a:lnTo>
                  <a:lnTo>
                    <a:pt x="101" y="385"/>
                  </a:lnTo>
                  <a:lnTo>
                    <a:pt x="103" y="390"/>
                  </a:lnTo>
                  <a:lnTo>
                    <a:pt x="106" y="392"/>
                  </a:lnTo>
                  <a:lnTo>
                    <a:pt x="106" y="392"/>
                  </a:lnTo>
                  <a:lnTo>
                    <a:pt x="110" y="394"/>
                  </a:lnTo>
                  <a:lnTo>
                    <a:pt x="113" y="394"/>
                  </a:lnTo>
                  <a:lnTo>
                    <a:pt x="115" y="394"/>
                  </a:lnTo>
                  <a:lnTo>
                    <a:pt x="118" y="397"/>
                  </a:lnTo>
                  <a:lnTo>
                    <a:pt x="118" y="397"/>
                  </a:lnTo>
                  <a:lnTo>
                    <a:pt x="120" y="399"/>
                  </a:lnTo>
                  <a:lnTo>
                    <a:pt x="120" y="399"/>
                  </a:lnTo>
                  <a:lnTo>
                    <a:pt x="120" y="399"/>
                  </a:lnTo>
                  <a:lnTo>
                    <a:pt x="120" y="402"/>
                  </a:lnTo>
                  <a:lnTo>
                    <a:pt x="115" y="404"/>
                  </a:lnTo>
                  <a:lnTo>
                    <a:pt x="115" y="404"/>
                  </a:lnTo>
                  <a:lnTo>
                    <a:pt x="115" y="404"/>
                  </a:lnTo>
                  <a:lnTo>
                    <a:pt x="118" y="409"/>
                  </a:lnTo>
                  <a:lnTo>
                    <a:pt x="118" y="409"/>
                  </a:lnTo>
                  <a:lnTo>
                    <a:pt x="120" y="413"/>
                  </a:lnTo>
                  <a:lnTo>
                    <a:pt x="120" y="416"/>
                  </a:lnTo>
                  <a:lnTo>
                    <a:pt x="122" y="418"/>
                  </a:lnTo>
                  <a:lnTo>
                    <a:pt x="122" y="418"/>
                  </a:lnTo>
                  <a:lnTo>
                    <a:pt x="122" y="418"/>
                  </a:lnTo>
                  <a:lnTo>
                    <a:pt x="125" y="420"/>
                  </a:lnTo>
                  <a:lnTo>
                    <a:pt x="125" y="420"/>
                  </a:lnTo>
                  <a:lnTo>
                    <a:pt x="127" y="420"/>
                  </a:lnTo>
                  <a:lnTo>
                    <a:pt x="127" y="423"/>
                  </a:lnTo>
                  <a:lnTo>
                    <a:pt x="127" y="423"/>
                  </a:lnTo>
                  <a:lnTo>
                    <a:pt x="127" y="425"/>
                  </a:lnTo>
                  <a:lnTo>
                    <a:pt x="127" y="425"/>
                  </a:lnTo>
                  <a:lnTo>
                    <a:pt x="127" y="425"/>
                  </a:lnTo>
                  <a:lnTo>
                    <a:pt x="127" y="425"/>
                  </a:lnTo>
                  <a:lnTo>
                    <a:pt x="129" y="428"/>
                  </a:lnTo>
                  <a:lnTo>
                    <a:pt x="129" y="430"/>
                  </a:lnTo>
                  <a:lnTo>
                    <a:pt x="129" y="430"/>
                  </a:lnTo>
                  <a:lnTo>
                    <a:pt x="132" y="432"/>
                  </a:lnTo>
                  <a:lnTo>
                    <a:pt x="132" y="432"/>
                  </a:lnTo>
                  <a:lnTo>
                    <a:pt x="132" y="435"/>
                  </a:lnTo>
                  <a:lnTo>
                    <a:pt x="132" y="437"/>
                  </a:lnTo>
                  <a:lnTo>
                    <a:pt x="132" y="437"/>
                  </a:lnTo>
                  <a:lnTo>
                    <a:pt x="132" y="437"/>
                  </a:lnTo>
                  <a:lnTo>
                    <a:pt x="129" y="437"/>
                  </a:lnTo>
                  <a:lnTo>
                    <a:pt x="129" y="439"/>
                  </a:lnTo>
                  <a:lnTo>
                    <a:pt x="129" y="439"/>
                  </a:lnTo>
                  <a:lnTo>
                    <a:pt x="127" y="439"/>
                  </a:lnTo>
                  <a:lnTo>
                    <a:pt x="125" y="439"/>
                  </a:lnTo>
                  <a:lnTo>
                    <a:pt x="125" y="437"/>
                  </a:lnTo>
                  <a:lnTo>
                    <a:pt x="122" y="437"/>
                  </a:lnTo>
                  <a:lnTo>
                    <a:pt x="122" y="435"/>
                  </a:lnTo>
                  <a:lnTo>
                    <a:pt x="122" y="435"/>
                  </a:lnTo>
                  <a:lnTo>
                    <a:pt x="120" y="435"/>
                  </a:lnTo>
                  <a:lnTo>
                    <a:pt x="120" y="435"/>
                  </a:lnTo>
                  <a:lnTo>
                    <a:pt x="118" y="435"/>
                  </a:lnTo>
                  <a:lnTo>
                    <a:pt x="118" y="437"/>
                  </a:lnTo>
                  <a:lnTo>
                    <a:pt x="118" y="437"/>
                  </a:lnTo>
                  <a:lnTo>
                    <a:pt x="118" y="437"/>
                  </a:lnTo>
                  <a:lnTo>
                    <a:pt x="118" y="439"/>
                  </a:lnTo>
                  <a:lnTo>
                    <a:pt x="120" y="442"/>
                  </a:lnTo>
                  <a:lnTo>
                    <a:pt x="120" y="442"/>
                  </a:lnTo>
                  <a:lnTo>
                    <a:pt x="120" y="442"/>
                  </a:lnTo>
                  <a:lnTo>
                    <a:pt x="125" y="446"/>
                  </a:lnTo>
                  <a:lnTo>
                    <a:pt x="125" y="449"/>
                  </a:lnTo>
                  <a:lnTo>
                    <a:pt x="125" y="449"/>
                  </a:lnTo>
                  <a:lnTo>
                    <a:pt x="125" y="449"/>
                  </a:lnTo>
                  <a:lnTo>
                    <a:pt x="125" y="451"/>
                  </a:lnTo>
                  <a:lnTo>
                    <a:pt x="125" y="454"/>
                  </a:lnTo>
                  <a:lnTo>
                    <a:pt x="127" y="454"/>
                  </a:lnTo>
                  <a:lnTo>
                    <a:pt x="127" y="456"/>
                  </a:lnTo>
                  <a:lnTo>
                    <a:pt x="127" y="456"/>
                  </a:lnTo>
                  <a:lnTo>
                    <a:pt x="127" y="458"/>
                  </a:lnTo>
                  <a:lnTo>
                    <a:pt x="127" y="458"/>
                  </a:lnTo>
                  <a:lnTo>
                    <a:pt x="129" y="461"/>
                  </a:lnTo>
                  <a:lnTo>
                    <a:pt x="129" y="463"/>
                  </a:lnTo>
                  <a:lnTo>
                    <a:pt x="129" y="463"/>
                  </a:lnTo>
                  <a:lnTo>
                    <a:pt x="129" y="463"/>
                  </a:lnTo>
                  <a:lnTo>
                    <a:pt x="132" y="461"/>
                  </a:lnTo>
                  <a:lnTo>
                    <a:pt x="132" y="461"/>
                  </a:lnTo>
                  <a:lnTo>
                    <a:pt x="132" y="461"/>
                  </a:lnTo>
                  <a:lnTo>
                    <a:pt x="132" y="461"/>
                  </a:lnTo>
                  <a:lnTo>
                    <a:pt x="134" y="458"/>
                  </a:lnTo>
                  <a:lnTo>
                    <a:pt x="134" y="461"/>
                  </a:lnTo>
                  <a:lnTo>
                    <a:pt x="136" y="463"/>
                  </a:lnTo>
                  <a:lnTo>
                    <a:pt x="139" y="465"/>
                  </a:lnTo>
                  <a:lnTo>
                    <a:pt x="141" y="468"/>
                  </a:lnTo>
                  <a:lnTo>
                    <a:pt x="141" y="468"/>
                  </a:lnTo>
                  <a:lnTo>
                    <a:pt x="143" y="468"/>
                  </a:lnTo>
                  <a:lnTo>
                    <a:pt x="143" y="470"/>
                  </a:lnTo>
                  <a:lnTo>
                    <a:pt x="146" y="470"/>
                  </a:lnTo>
                  <a:lnTo>
                    <a:pt x="148" y="470"/>
                  </a:lnTo>
                  <a:lnTo>
                    <a:pt x="151" y="470"/>
                  </a:lnTo>
                  <a:lnTo>
                    <a:pt x="151" y="470"/>
                  </a:lnTo>
                  <a:lnTo>
                    <a:pt x="151" y="470"/>
                  </a:lnTo>
                  <a:lnTo>
                    <a:pt x="155" y="472"/>
                  </a:lnTo>
                  <a:lnTo>
                    <a:pt x="155" y="472"/>
                  </a:lnTo>
                  <a:lnTo>
                    <a:pt x="155" y="472"/>
                  </a:lnTo>
                  <a:lnTo>
                    <a:pt x="158" y="475"/>
                  </a:lnTo>
                  <a:lnTo>
                    <a:pt x="158" y="477"/>
                  </a:lnTo>
                  <a:lnTo>
                    <a:pt x="158" y="477"/>
                  </a:lnTo>
                  <a:lnTo>
                    <a:pt x="158" y="477"/>
                  </a:lnTo>
                  <a:lnTo>
                    <a:pt x="162" y="480"/>
                  </a:lnTo>
                  <a:lnTo>
                    <a:pt x="165" y="480"/>
                  </a:lnTo>
                  <a:lnTo>
                    <a:pt x="165" y="480"/>
                  </a:lnTo>
                  <a:lnTo>
                    <a:pt x="167" y="480"/>
                  </a:lnTo>
                  <a:lnTo>
                    <a:pt x="167" y="482"/>
                  </a:lnTo>
                  <a:lnTo>
                    <a:pt x="169" y="484"/>
                  </a:lnTo>
                  <a:lnTo>
                    <a:pt x="172" y="484"/>
                  </a:lnTo>
                  <a:lnTo>
                    <a:pt x="174" y="487"/>
                  </a:lnTo>
                  <a:lnTo>
                    <a:pt x="174" y="487"/>
                  </a:lnTo>
                  <a:lnTo>
                    <a:pt x="176" y="489"/>
                  </a:lnTo>
                  <a:lnTo>
                    <a:pt x="176" y="489"/>
                  </a:lnTo>
                  <a:lnTo>
                    <a:pt x="179" y="487"/>
                  </a:lnTo>
                  <a:lnTo>
                    <a:pt x="179" y="482"/>
                  </a:lnTo>
                  <a:lnTo>
                    <a:pt x="184" y="482"/>
                  </a:lnTo>
                  <a:lnTo>
                    <a:pt x="188" y="482"/>
                  </a:lnTo>
                  <a:lnTo>
                    <a:pt x="191" y="482"/>
                  </a:lnTo>
                  <a:lnTo>
                    <a:pt x="193" y="484"/>
                  </a:lnTo>
                  <a:lnTo>
                    <a:pt x="193" y="487"/>
                  </a:lnTo>
                  <a:lnTo>
                    <a:pt x="193" y="487"/>
                  </a:lnTo>
                  <a:lnTo>
                    <a:pt x="195" y="489"/>
                  </a:lnTo>
                  <a:lnTo>
                    <a:pt x="200" y="491"/>
                  </a:lnTo>
                  <a:lnTo>
                    <a:pt x="205" y="494"/>
                  </a:lnTo>
                  <a:lnTo>
                    <a:pt x="207" y="496"/>
                  </a:lnTo>
                  <a:lnTo>
                    <a:pt x="212" y="498"/>
                  </a:lnTo>
                  <a:lnTo>
                    <a:pt x="214" y="498"/>
                  </a:lnTo>
                  <a:lnTo>
                    <a:pt x="216" y="498"/>
                  </a:lnTo>
                  <a:lnTo>
                    <a:pt x="219" y="501"/>
                  </a:lnTo>
                  <a:lnTo>
                    <a:pt x="221" y="503"/>
                  </a:lnTo>
                  <a:lnTo>
                    <a:pt x="224" y="506"/>
                  </a:lnTo>
                  <a:lnTo>
                    <a:pt x="224" y="506"/>
                  </a:lnTo>
                  <a:lnTo>
                    <a:pt x="226" y="506"/>
                  </a:lnTo>
                  <a:lnTo>
                    <a:pt x="228" y="506"/>
                  </a:lnTo>
                  <a:lnTo>
                    <a:pt x="231" y="506"/>
                  </a:lnTo>
                  <a:lnTo>
                    <a:pt x="233" y="506"/>
                  </a:lnTo>
                  <a:lnTo>
                    <a:pt x="233" y="508"/>
                  </a:lnTo>
                  <a:lnTo>
                    <a:pt x="235" y="510"/>
                  </a:lnTo>
                  <a:lnTo>
                    <a:pt x="235" y="513"/>
                  </a:lnTo>
                  <a:lnTo>
                    <a:pt x="238" y="513"/>
                  </a:lnTo>
                  <a:lnTo>
                    <a:pt x="240" y="515"/>
                  </a:lnTo>
                  <a:lnTo>
                    <a:pt x="240" y="515"/>
                  </a:lnTo>
                  <a:lnTo>
                    <a:pt x="245" y="517"/>
                  </a:lnTo>
                  <a:lnTo>
                    <a:pt x="245" y="517"/>
                  </a:lnTo>
                  <a:lnTo>
                    <a:pt x="245" y="520"/>
                  </a:lnTo>
                  <a:lnTo>
                    <a:pt x="247" y="520"/>
                  </a:lnTo>
                  <a:lnTo>
                    <a:pt x="247" y="520"/>
                  </a:lnTo>
                  <a:lnTo>
                    <a:pt x="249" y="520"/>
                  </a:lnTo>
                  <a:lnTo>
                    <a:pt x="252" y="520"/>
                  </a:lnTo>
                  <a:lnTo>
                    <a:pt x="252" y="520"/>
                  </a:lnTo>
                  <a:lnTo>
                    <a:pt x="254" y="520"/>
                  </a:lnTo>
                  <a:lnTo>
                    <a:pt x="254" y="520"/>
                  </a:lnTo>
                  <a:lnTo>
                    <a:pt x="254" y="522"/>
                  </a:lnTo>
                  <a:lnTo>
                    <a:pt x="254" y="524"/>
                  </a:lnTo>
                  <a:lnTo>
                    <a:pt x="254" y="524"/>
                  </a:lnTo>
                  <a:lnTo>
                    <a:pt x="257" y="524"/>
                  </a:lnTo>
                  <a:lnTo>
                    <a:pt x="259" y="527"/>
                  </a:lnTo>
                  <a:lnTo>
                    <a:pt x="264" y="527"/>
                  </a:lnTo>
                  <a:lnTo>
                    <a:pt x="266" y="527"/>
                  </a:lnTo>
                  <a:lnTo>
                    <a:pt x="268" y="529"/>
                  </a:lnTo>
                  <a:lnTo>
                    <a:pt x="271" y="532"/>
                  </a:lnTo>
                  <a:lnTo>
                    <a:pt x="271" y="534"/>
                  </a:lnTo>
                  <a:lnTo>
                    <a:pt x="271" y="534"/>
                  </a:lnTo>
                  <a:lnTo>
                    <a:pt x="273" y="534"/>
                  </a:lnTo>
                  <a:lnTo>
                    <a:pt x="273" y="532"/>
                  </a:lnTo>
                  <a:lnTo>
                    <a:pt x="273" y="529"/>
                  </a:lnTo>
                  <a:lnTo>
                    <a:pt x="273" y="529"/>
                  </a:lnTo>
                  <a:lnTo>
                    <a:pt x="273" y="529"/>
                  </a:lnTo>
                  <a:lnTo>
                    <a:pt x="275" y="532"/>
                  </a:lnTo>
                  <a:lnTo>
                    <a:pt x="278" y="532"/>
                  </a:lnTo>
                  <a:lnTo>
                    <a:pt x="278" y="534"/>
                  </a:lnTo>
                  <a:lnTo>
                    <a:pt x="280" y="534"/>
                  </a:lnTo>
                  <a:lnTo>
                    <a:pt x="280" y="532"/>
                  </a:lnTo>
                  <a:lnTo>
                    <a:pt x="280" y="529"/>
                  </a:lnTo>
                  <a:lnTo>
                    <a:pt x="282" y="529"/>
                  </a:lnTo>
                  <a:lnTo>
                    <a:pt x="282" y="529"/>
                  </a:lnTo>
                  <a:lnTo>
                    <a:pt x="282" y="529"/>
                  </a:lnTo>
                  <a:lnTo>
                    <a:pt x="285" y="532"/>
                  </a:lnTo>
                  <a:lnTo>
                    <a:pt x="287" y="532"/>
                  </a:lnTo>
                  <a:lnTo>
                    <a:pt x="287" y="532"/>
                  </a:lnTo>
                  <a:lnTo>
                    <a:pt x="290" y="534"/>
                  </a:lnTo>
                  <a:lnTo>
                    <a:pt x="292" y="534"/>
                  </a:lnTo>
                  <a:lnTo>
                    <a:pt x="294" y="536"/>
                  </a:lnTo>
                  <a:lnTo>
                    <a:pt x="299" y="536"/>
                  </a:lnTo>
                  <a:lnTo>
                    <a:pt x="299" y="536"/>
                  </a:lnTo>
                  <a:lnTo>
                    <a:pt x="301" y="536"/>
                  </a:lnTo>
                  <a:lnTo>
                    <a:pt x="301" y="536"/>
                  </a:lnTo>
                  <a:lnTo>
                    <a:pt x="304" y="534"/>
                  </a:lnTo>
                  <a:lnTo>
                    <a:pt x="306" y="534"/>
                  </a:lnTo>
                  <a:lnTo>
                    <a:pt x="308" y="534"/>
                  </a:lnTo>
                  <a:lnTo>
                    <a:pt x="308" y="534"/>
                  </a:lnTo>
                  <a:lnTo>
                    <a:pt x="308" y="534"/>
                  </a:lnTo>
                  <a:lnTo>
                    <a:pt x="308" y="534"/>
                  </a:lnTo>
                  <a:lnTo>
                    <a:pt x="311" y="532"/>
                  </a:lnTo>
                  <a:lnTo>
                    <a:pt x="313" y="532"/>
                  </a:lnTo>
                  <a:lnTo>
                    <a:pt x="315" y="532"/>
                  </a:lnTo>
                  <a:lnTo>
                    <a:pt x="315" y="532"/>
                  </a:lnTo>
                  <a:lnTo>
                    <a:pt x="315" y="532"/>
                  </a:lnTo>
                  <a:lnTo>
                    <a:pt x="318" y="529"/>
                  </a:lnTo>
                  <a:lnTo>
                    <a:pt x="318" y="529"/>
                  </a:lnTo>
                  <a:lnTo>
                    <a:pt x="320" y="532"/>
                  </a:lnTo>
                  <a:lnTo>
                    <a:pt x="320" y="532"/>
                  </a:lnTo>
                  <a:lnTo>
                    <a:pt x="323" y="534"/>
                  </a:lnTo>
                  <a:lnTo>
                    <a:pt x="323" y="534"/>
                  </a:lnTo>
                  <a:lnTo>
                    <a:pt x="323" y="536"/>
                  </a:lnTo>
                  <a:lnTo>
                    <a:pt x="323" y="541"/>
                  </a:lnTo>
                  <a:lnTo>
                    <a:pt x="323" y="543"/>
                  </a:lnTo>
                  <a:lnTo>
                    <a:pt x="325" y="546"/>
                  </a:lnTo>
                  <a:lnTo>
                    <a:pt x="325" y="546"/>
                  </a:lnTo>
                  <a:lnTo>
                    <a:pt x="325" y="543"/>
                  </a:lnTo>
                  <a:lnTo>
                    <a:pt x="327" y="541"/>
                  </a:lnTo>
                  <a:lnTo>
                    <a:pt x="327" y="541"/>
                  </a:lnTo>
                  <a:lnTo>
                    <a:pt x="330" y="539"/>
                  </a:lnTo>
                  <a:lnTo>
                    <a:pt x="330" y="536"/>
                  </a:lnTo>
                  <a:lnTo>
                    <a:pt x="332" y="532"/>
                  </a:lnTo>
                  <a:lnTo>
                    <a:pt x="334" y="529"/>
                  </a:lnTo>
                  <a:lnTo>
                    <a:pt x="334" y="529"/>
                  </a:lnTo>
                  <a:lnTo>
                    <a:pt x="337" y="529"/>
                  </a:lnTo>
                  <a:lnTo>
                    <a:pt x="337" y="527"/>
                  </a:lnTo>
                  <a:lnTo>
                    <a:pt x="339" y="527"/>
                  </a:lnTo>
                  <a:lnTo>
                    <a:pt x="339" y="524"/>
                  </a:lnTo>
                  <a:lnTo>
                    <a:pt x="341" y="524"/>
                  </a:lnTo>
                  <a:lnTo>
                    <a:pt x="344" y="524"/>
                  </a:lnTo>
                  <a:lnTo>
                    <a:pt x="346" y="527"/>
                  </a:lnTo>
                  <a:lnTo>
                    <a:pt x="348" y="527"/>
                  </a:lnTo>
                  <a:lnTo>
                    <a:pt x="348" y="527"/>
                  </a:lnTo>
                  <a:lnTo>
                    <a:pt x="348" y="529"/>
                  </a:lnTo>
                  <a:lnTo>
                    <a:pt x="348" y="529"/>
                  </a:lnTo>
                  <a:lnTo>
                    <a:pt x="348" y="529"/>
                  </a:lnTo>
                  <a:lnTo>
                    <a:pt x="348" y="529"/>
                  </a:lnTo>
                  <a:lnTo>
                    <a:pt x="351" y="529"/>
                  </a:lnTo>
                  <a:lnTo>
                    <a:pt x="353" y="529"/>
                  </a:lnTo>
                  <a:lnTo>
                    <a:pt x="356" y="529"/>
                  </a:lnTo>
                  <a:lnTo>
                    <a:pt x="358" y="532"/>
                  </a:lnTo>
                  <a:lnTo>
                    <a:pt x="360" y="532"/>
                  </a:lnTo>
                  <a:lnTo>
                    <a:pt x="360" y="532"/>
                  </a:lnTo>
                  <a:lnTo>
                    <a:pt x="363" y="532"/>
                  </a:lnTo>
                  <a:lnTo>
                    <a:pt x="363" y="532"/>
                  </a:lnTo>
                  <a:lnTo>
                    <a:pt x="365" y="529"/>
                  </a:lnTo>
                  <a:lnTo>
                    <a:pt x="365" y="529"/>
                  </a:lnTo>
                  <a:lnTo>
                    <a:pt x="365" y="529"/>
                  </a:lnTo>
                  <a:lnTo>
                    <a:pt x="367" y="532"/>
                  </a:lnTo>
                  <a:lnTo>
                    <a:pt x="370" y="532"/>
                  </a:lnTo>
                  <a:lnTo>
                    <a:pt x="372" y="532"/>
                  </a:lnTo>
                  <a:lnTo>
                    <a:pt x="372" y="534"/>
                  </a:lnTo>
                  <a:lnTo>
                    <a:pt x="372" y="536"/>
                  </a:lnTo>
                  <a:lnTo>
                    <a:pt x="372" y="536"/>
                  </a:lnTo>
                  <a:lnTo>
                    <a:pt x="374" y="536"/>
                  </a:lnTo>
                  <a:lnTo>
                    <a:pt x="377" y="536"/>
                  </a:lnTo>
                  <a:lnTo>
                    <a:pt x="379" y="536"/>
                  </a:lnTo>
                  <a:lnTo>
                    <a:pt x="379" y="536"/>
                  </a:lnTo>
                  <a:lnTo>
                    <a:pt x="381" y="536"/>
                  </a:lnTo>
                  <a:lnTo>
                    <a:pt x="381" y="536"/>
                  </a:lnTo>
                  <a:lnTo>
                    <a:pt x="384" y="536"/>
                  </a:lnTo>
                  <a:lnTo>
                    <a:pt x="384" y="534"/>
                  </a:lnTo>
                  <a:lnTo>
                    <a:pt x="384" y="536"/>
                  </a:lnTo>
                  <a:lnTo>
                    <a:pt x="386" y="536"/>
                  </a:lnTo>
                  <a:lnTo>
                    <a:pt x="386" y="536"/>
                  </a:lnTo>
                  <a:lnTo>
                    <a:pt x="389" y="534"/>
                  </a:lnTo>
                  <a:lnTo>
                    <a:pt x="389" y="534"/>
                  </a:lnTo>
                  <a:lnTo>
                    <a:pt x="391" y="532"/>
                  </a:lnTo>
                  <a:lnTo>
                    <a:pt x="391" y="532"/>
                  </a:lnTo>
                  <a:lnTo>
                    <a:pt x="391" y="532"/>
                  </a:lnTo>
                  <a:lnTo>
                    <a:pt x="391" y="532"/>
                  </a:lnTo>
                  <a:lnTo>
                    <a:pt x="391" y="529"/>
                  </a:lnTo>
                  <a:lnTo>
                    <a:pt x="391" y="529"/>
                  </a:lnTo>
                  <a:lnTo>
                    <a:pt x="391" y="529"/>
                  </a:lnTo>
                  <a:lnTo>
                    <a:pt x="393" y="527"/>
                  </a:lnTo>
                  <a:lnTo>
                    <a:pt x="396" y="524"/>
                  </a:lnTo>
                  <a:lnTo>
                    <a:pt x="398" y="522"/>
                  </a:lnTo>
                  <a:lnTo>
                    <a:pt x="398" y="522"/>
                  </a:lnTo>
                  <a:lnTo>
                    <a:pt x="398" y="520"/>
                  </a:lnTo>
                  <a:lnTo>
                    <a:pt x="398" y="517"/>
                  </a:lnTo>
                  <a:lnTo>
                    <a:pt x="400" y="517"/>
                  </a:lnTo>
                  <a:lnTo>
                    <a:pt x="405" y="517"/>
                  </a:lnTo>
                  <a:lnTo>
                    <a:pt x="407" y="515"/>
                  </a:lnTo>
                  <a:lnTo>
                    <a:pt x="410" y="515"/>
                  </a:lnTo>
                  <a:lnTo>
                    <a:pt x="410" y="513"/>
                  </a:lnTo>
                  <a:lnTo>
                    <a:pt x="412" y="513"/>
                  </a:lnTo>
                  <a:lnTo>
                    <a:pt x="410" y="510"/>
                  </a:lnTo>
                  <a:lnTo>
                    <a:pt x="412" y="510"/>
                  </a:lnTo>
                  <a:lnTo>
                    <a:pt x="414" y="510"/>
                  </a:lnTo>
                  <a:lnTo>
                    <a:pt x="414" y="508"/>
                  </a:lnTo>
                  <a:lnTo>
                    <a:pt x="417" y="506"/>
                  </a:lnTo>
                  <a:lnTo>
                    <a:pt x="419" y="503"/>
                  </a:lnTo>
                  <a:lnTo>
                    <a:pt x="422" y="503"/>
                  </a:lnTo>
                  <a:lnTo>
                    <a:pt x="422" y="506"/>
                  </a:lnTo>
                  <a:lnTo>
                    <a:pt x="424" y="506"/>
                  </a:lnTo>
                  <a:lnTo>
                    <a:pt x="424" y="508"/>
                  </a:lnTo>
                  <a:lnTo>
                    <a:pt x="426" y="508"/>
                  </a:lnTo>
                  <a:lnTo>
                    <a:pt x="429" y="508"/>
                  </a:lnTo>
                  <a:lnTo>
                    <a:pt x="431" y="508"/>
                  </a:lnTo>
                  <a:lnTo>
                    <a:pt x="433" y="510"/>
                  </a:lnTo>
                  <a:lnTo>
                    <a:pt x="433" y="510"/>
                  </a:lnTo>
                  <a:lnTo>
                    <a:pt x="436" y="510"/>
                  </a:lnTo>
                  <a:lnTo>
                    <a:pt x="436" y="510"/>
                  </a:lnTo>
                  <a:lnTo>
                    <a:pt x="436" y="508"/>
                  </a:lnTo>
                  <a:lnTo>
                    <a:pt x="436" y="508"/>
                  </a:lnTo>
                  <a:lnTo>
                    <a:pt x="436" y="508"/>
                  </a:lnTo>
                  <a:lnTo>
                    <a:pt x="436" y="506"/>
                  </a:lnTo>
                  <a:lnTo>
                    <a:pt x="440" y="503"/>
                  </a:lnTo>
                  <a:lnTo>
                    <a:pt x="443" y="503"/>
                  </a:lnTo>
                  <a:lnTo>
                    <a:pt x="445" y="501"/>
                  </a:lnTo>
                  <a:lnTo>
                    <a:pt x="445" y="501"/>
                  </a:lnTo>
                  <a:lnTo>
                    <a:pt x="447" y="503"/>
                  </a:lnTo>
                  <a:lnTo>
                    <a:pt x="447" y="506"/>
                  </a:lnTo>
                  <a:lnTo>
                    <a:pt x="450" y="506"/>
                  </a:lnTo>
                  <a:lnTo>
                    <a:pt x="450" y="506"/>
                  </a:lnTo>
                  <a:lnTo>
                    <a:pt x="452" y="506"/>
                  </a:lnTo>
                  <a:lnTo>
                    <a:pt x="452" y="506"/>
                  </a:lnTo>
                  <a:lnTo>
                    <a:pt x="450" y="508"/>
                  </a:lnTo>
                  <a:lnTo>
                    <a:pt x="450" y="508"/>
                  </a:lnTo>
                  <a:lnTo>
                    <a:pt x="447" y="508"/>
                  </a:lnTo>
                  <a:lnTo>
                    <a:pt x="450" y="510"/>
                  </a:lnTo>
                  <a:lnTo>
                    <a:pt x="450" y="513"/>
                  </a:lnTo>
                  <a:lnTo>
                    <a:pt x="450" y="513"/>
                  </a:lnTo>
                  <a:lnTo>
                    <a:pt x="452" y="510"/>
                  </a:lnTo>
                  <a:lnTo>
                    <a:pt x="455" y="510"/>
                  </a:lnTo>
                  <a:lnTo>
                    <a:pt x="455" y="510"/>
                  </a:lnTo>
                  <a:lnTo>
                    <a:pt x="455" y="510"/>
                  </a:lnTo>
                  <a:lnTo>
                    <a:pt x="457" y="515"/>
                  </a:lnTo>
                  <a:lnTo>
                    <a:pt x="457" y="515"/>
                  </a:lnTo>
                  <a:lnTo>
                    <a:pt x="455" y="520"/>
                  </a:lnTo>
                  <a:lnTo>
                    <a:pt x="455" y="520"/>
                  </a:lnTo>
                  <a:lnTo>
                    <a:pt x="455" y="522"/>
                  </a:lnTo>
                  <a:lnTo>
                    <a:pt x="455" y="522"/>
                  </a:lnTo>
                  <a:lnTo>
                    <a:pt x="455" y="522"/>
                  </a:lnTo>
                  <a:lnTo>
                    <a:pt x="455" y="522"/>
                  </a:lnTo>
                  <a:lnTo>
                    <a:pt x="455" y="524"/>
                  </a:lnTo>
                  <a:lnTo>
                    <a:pt x="455" y="524"/>
                  </a:lnTo>
                  <a:lnTo>
                    <a:pt x="457" y="524"/>
                  </a:lnTo>
                  <a:lnTo>
                    <a:pt x="457" y="522"/>
                  </a:lnTo>
                  <a:lnTo>
                    <a:pt x="459" y="522"/>
                  </a:lnTo>
                  <a:lnTo>
                    <a:pt x="459" y="522"/>
                  </a:lnTo>
                  <a:lnTo>
                    <a:pt x="464" y="524"/>
                  </a:lnTo>
                  <a:lnTo>
                    <a:pt x="464" y="524"/>
                  </a:lnTo>
                  <a:lnTo>
                    <a:pt x="466" y="524"/>
                  </a:lnTo>
                  <a:lnTo>
                    <a:pt x="469" y="524"/>
                  </a:lnTo>
                  <a:lnTo>
                    <a:pt x="469" y="524"/>
                  </a:lnTo>
                  <a:lnTo>
                    <a:pt x="473" y="527"/>
                  </a:lnTo>
                  <a:lnTo>
                    <a:pt x="473" y="527"/>
                  </a:lnTo>
                  <a:lnTo>
                    <a:pt x="473" y="527"/>
                  </a:lnTo>
                  <a:lnTo>
                    <a:pt x="476" y="524"/>
                  </a:lnTo>
                  <a:lnTo>
                    <a:pt x="476" y="522"/>
                  </a:lnTo>
                  <a:lnTo>
                    <a:pt x="476" y="522"/>
                  </a:lnTo>
                  <a:lnTo>
                    <a:pt x="476" y="520"/>
                  </a:lnTo>
                  <a:lnTo>
                    <a:pt x="478" y="520"/>
                  </a:lnTo>
                  <a:lnTo>
                    <a:pt x="478" y="522"/>
                  </a:lnTo>
                  <a:lnTo>
                    <a:pt x="478" y="522"/>
                  </a:lnTo>
                  <a:lnTo>
                    <a:pt x="480" y="522"/>
                  </a:lnTo>
                  <a:lnTo>
                    <a:pt x="480" y="524"/>
                  </a:lnTo>
                  <a:lnTo>
                    <a:pt x="480" y="524"/>
                  </a:lnTo>
                  <a:lnTo>
                    <a:pt x="483" y="524"/>
                  </a:lnTo>
                  <a:lnTo>
                    <a:pt x="483" y="524"/>
                  </a:lnTo>
                  <a:lnTo>
                    <a:pt x="483" y="524"/>
                  </a:lnTo>
                  <a:lnTo>
                    <a:pt x="485" y="527"/>
                  </a:lnTo>
                  <a:lnTo>
                    <a:pt x="488" y="527"/>
                  </a:lnTo>
                  <a:lnTo>
                    <a:pt x="488" y="529"/>
                  </a:lnTo>
                  <a:lnTo>
                    <a:pt x="488" y="532"/>
                  </a:lnTo>
                  <a:lnTo>
                    <a:pt x="490" y="532"/>
                  </a:lnTo>
                  <a:lnTo>
                    <a:pt x="492" y="539"/>
                  </a:lnTo>
                  <a:lnTo>
                    <a:pt x="492" y="541"/>
                  </a:lnTo>
                  <a:lnTo>
                    <a:pt x="495" y="541"/>
                  </a:lnTo>
                  <a:lnTo>
                    <a:pt x="495" y="541"/>
                  </a:lnTo>
                  <a:lnTo>
                    <a:pt x="495" y="541"/>
                  </a:lnTo>
                  <a:lnTo>
                    <a:pt x="495" y="539"/>
                  </a:lnTo>
                  <a:lnTo>
                    <a:pt x="497" y="539"/>
                  </a:lnTo>
                  <a:lnTo>
                    <a:pt x="497" y="539"/>
                  </a:lnTo>
                  <a:lnTo>
                    <a:pt x="499" y="541"/>
                  </a:lnTo>
                  <a:lnTo>
                    <a:pt x="499" y="541"/>
                  </a:lnTo>
                  <a:lnTo>
                    <a:pt x="502" y="543"/>
                  </a:lnTo>
                  <a:lnTo>
                    <a:pt x="502" y="548"/>
                  </a:lnTo>
                  <a:lnTo>
                    <a:pt x="502" y="548"/>
                  </a:lnTo>
                  <a:lnTo>
                    <a:pt x="504" y="553"/>
                  </a:lnTo>
                  <a:lnTo>
                    <a:pt x="504" y="555"/>
                  </a:lnTo>
                  <a:lnTo>
                    <a:pt x="504" y="558"/>
                  </a:lnTo>
                  <a:lnTo>
                    <a:pt x="504" y="560"/>
                  </a:lnTo>
                  <a:lnTo>
                    <a:pt x="506" y="562"/>
                  </a:lnTo>
                  <a:lnTo>
                    <a:pt x="506" y="565"/>
                  </a:lnTo>
                  <a:lnTo>
                    <a:pt x="506" y="567"/>
                  </a:lnTo>
                  <a:lnTo>
                    <a:pt x="506" y="569"/>
                  </a:lnTo>
                  <a:lnTo>
                    <a:pt x="506" y="572"/>
                  </a:lnTo>
                  <a:lnTo>
                    <a:pt x="504" y="572"/>
                  </a:lnTo>
                  <a:lnTo>
                    <a:pt x="504" y="572"/>
                  </a:lnTo>
                  <a:lnTo>
                    <a:pt x="506" y="574"/>
                  </a:lnTo>
                  <a:lnTo>
                    <a:pt x="506" y="576"/>
                  </a:lnTo>
                  <a:lnTo>
                    <a:pt x="506" y="576"/>
                  </a:lnTo>
                  <a:lnTo>
                    <a:pt x="506" y="576"/>
                  </a:lnTo>
                  <a:lnTo>
                    <a:pt x="506" y="576"/>
                  </a:lnTo>
                  <a:lnTo>
                    <a:pt x="504" y="579"/>
                  </a:lnTo>
                  <a:lnTo>
                    <a:pt x="504" y="581"/>
                  </a:lnTo>
                  <a:lnTo>
                    <a:pt x="502" y="584"/>
                  </a:lnTo>
                  <a:lnTo>
                    <a:pt x="502" y="584"/>
                  </a:lnTo>
                  <a:lnTo>
                    <a:pt x="499" y="584"/>
                  </a:lnTo>
                  <a:lnTo>
                    <a:pt x="499" y="584"/>
                  </a:lnTo>
                  <a:lnTo>
                    <a:pt x="499" y="586"/>
                  </a:lnTo>
                  <a:lnTo>
                    <a:pt x="497" y="588"/>
                  </a:lnTo>
                  <a:lnTo>
                    <a:pt x="497" y="588"/>
                  </a:lnTo>
                  <a:lnTo>
                    <a:pt x="497" y="591"/>
                  </a:lnTo>
                  <a:lnTo>
                    <a:pt x="497" y="591"/>
                  </a:lnTo>
                  <a:lnTo>
                    <a:pt x="495" y="591"/>
                  </a:lnTo>
                  <a:lnTo>
                    <a:pt x="495" y="591"/>
                  </a:lnTo>
                  <a:lnTo>
                    <a:pt x="492" y="595"/>
                  </a:lnTo>
                  <a:lnTo>
                    <a:pt x="492" y="595"/>
                  </a:lnTo>
                  <a:lnTo>
                    <a:pt x="495" y="598"/>
                  </a:lnTo>
                  <a:lnTo>
                    <a:pt x="495" y="598"/>
                  </a:lnTo>
                  <a:lnTo>
                    <a:pt x="492" y="598"/>
                  </a:lnTo>
                  <a:lnTo>
                    <a:pt x="492" y="600"/>
                  </a:lnTo>
                  <a:lnTo>
                    <a:pt x="490" y="602"/>
                  </a:lnTo>
                  <a:lnTo>
                    <a:pt x="492" y="605"/>
                  </a:lnTo>
                  <a:lnTo>
                    <a:pt x="492" y="607"/>
                  </a:lnTo>
                  <a:lnTo>
                    <a:pt x="492" y="607"/>
                  </a:lnTo>
                  <a:lnTo>
                    <a:pt x="495" y="607"/>
                  </a:lnTo>
                  <a:lnTo>
                    <a:pt x="495" y="610"/>
                  </a:lnTo>
                  <a:lnTo>
                    <a:pt x="495" y="612"/>
                  </a:lnTo>
                  <a:lnTo>
                    <a:pt x="495" y="614"/>
                  </a:lnTo>
                  <a:lnTo>
                    <a:pt x="495" y="617"/>
                  </a:lnTo>
                  <a:lnTo>
                    <a:pt x="495" y="619"/>
                  </a:lnTo>
                  <a:lnTo>
                    <a:pt x="495" y="619"/>
                  </a:lnTo>
                  <a:lnTo>
                    <a:pt x="497" y="619"/>
                  </a:lnTo>
                  <a:lnTo>
                    <a:pt x="497" y="617"/>
                  </a:lnTo>
                  <a:lnTo>
                    <a:pt x="499" y="617"/>
                  </a:lnTo>
                  <a:lnTo>
                    <a:pt x="502" y="614"/>
                  </a:lnTo>
                  <a:lnTo>
                    <a:pt x="504" y="614"/>
                  </a:lnTo>
                  <a:lnTo>
                    <a:pt x="509" y="614"/>
                  </a:lnTo>
                  <a:lnTo>
                    <a:pt x="511" y="614"/>
                  </a:lnTo>
                  <a:lnTo>
                    <a:pt x="511" y="614"/>
                  </a:lnTo>
                  <a:lnTo>
                    <a:pt x="511" y="614"/>
                  </a:lnTo>
                  <a:lnTo>
                    <a:pt x="516" y="614"/>
                  </a:lnTo>
                  <a:lnTo>
                    <a:pt x="516" y="614"/>
                  </a:lnTo>
                  <a:lnTo>
                    <a:pt x="516" y="614"/>
                  </a:lnTo>
                  <a:lnTo>
                    <a:pt x="516" y="614"/>
                  </a:lnTo>
                  <a:lnTo>
                    <a:pt x="513" y="617"/>
                  </a:lnTo>
                  <a:lnTo>
                    <a:pt x="513" y="619"/>
                  </a:lnTo>
                  <a:lnTo>
                    <a:pt x="513" y="619"/>
                  </a:lnTo>
                  <a:lnTo>
                    <a:pt x="516" y="621"/>
                  </a:lnTo>
                  <a:lnTo>
                    <a:pt x="516" y="621"/>
                  </a:lnTo>
                  <a:lnTo>
                    <a:pt x="518" y="624"/>
                  </a:lnTo>
                  <a:lnTo>
                    <a:pt x="518" y="626"/>
                  </a:lnTo>
                  <a:lnTo>
                    <a:pt x="518" y="626"/>
                  </a:lnTo>
                  <a:lnTo>
                    <a:pt x="518" y="628"/>
                  </a:lnTo>
                  <a:lnTo>
                    <a:pt x="521" y="628"/>
                  </a:lnTo>
                  <a:lnTo>
                    <a:pt x="521" y="631"/>
                  </a:lnTo>
                  <a:lnTo>
                    <a:pt x="521" y="633"/>
                  </a:lnTo>
                  <a:lnTo>
                    <a:pt x="523" y="636"/>
                  </a:lnTo>
                  <a:lnTo>
                    <a:pt x="528" y="636"/>
                  </a:lnTo>
                  <a:lnTo>
                    <a:pt x="528" y="636"/>
                  </a:lnTo>
                  <a:lnTo>
                    <a:pt x="530" y="636"/>
                  </a:lnTo>
                  <a:lnTo>
                    <a:pt x="530" y="636"/>
                  </a:lnTo>
                  <a:lnTo>
                    <a:pt x="532" y="638"/>
                  </a:lnTo>
                  <a:lnTo>
                    <a:pt x="532" y="638"/>
                  </a:lnTo>
                  <a:lnTo>
                    <a:pt x="532" y="638"/>
                  </a:lnTo>
                  <a:lnTo>
                    <a:pt x="530" y="640"/>
                  </a:lnTo>
                  <a:lnTo>
                    <a:pt x="530" y="643"/>
                  </a:lnTo>
                  <a:lnTo>
                    <a:pt x="530" y="645"/>
                  </a:lnTo>
                  <a:lnTo>
                    <a:pt x="530" y="647"/>
                  </a:lnTo>
                  <a:lnTo>
                    <a:pt x="530" y="650"/>
                  </a:lnTo>
                  <a:lnTo>
                    <a:pt x="528" y="652"/>
                  </a:lnTo>
                  <a:lnTo>
                    <a:pt x="528" y="655"/>
                  </a:lnTo>
                  <a:lnTo>
                    <a:pt x="528" y="655"/>
                  </a:lnTo>
                  <a:lnTo>
                    <a:pt x="530" y="655"/>
                  </a:lnTo>
                  <a:lnTo>
                    <a:pt x="530" y="657"/>
                  </a:lnTo>
                  <a:lnTo>
                    <a:pt x="530" y="657"/>
                  </a:lnTo>
                  <a:lnTo>
                    <a:pt x="532" y="657"/>
                  </a:lnTo>
                  <a:lnTo>
                    <a:pt x="537" y="657"/>
                  </a:lnTo>
                  <a:lnTo>
                    <a:pt x="542" y="657"/>
                  </a:lnTo>
                  <a:lnTo>
                    <a:pt x="542" y="657"/>
                  </a:lnTo>
                  <a:lnTo>
                    <a:pt x="544" y="659"/>
                  </a:lnTo>
                  <a:lnTo>
                    <a:pt x="544" y="659"/>
                  </a:lnTo>
                  <a:lnTo>
                    <a:pt x="544" y="662"/>
                  </a:lnTo>
                  <a:lnTo>
                    <a:pt x="544" y="664"/>
                  </a:lnTo>
                  <a:lnTo>
                    <a:pt x="544" y="664"/>
                  </a:lnTo>
                  <a:lnTo>
                    <a:pt x="546" y="664"/>
                  </a:lnTo>
                  <a:lnTo>
                    <a:pt x="546" y="666"/>
                  </a:lnTo>
                  <a:lnTo>
                    <a:pt x="546" y="666"/>
                  </a:lnTo>
                  <a:lnTo>
                    <a:pt x="546" y="669"/>
                  </a:lnTo>
                  <a:lnTo>
                    <a:pt x="546" y="669"/>
                  </a:lnTo>
                  <a:lnTo>
                    <a:pt x="549" y="669"/>
                  </a:lnTo>
                  <a:lnTo>
                    <a:pt x="549" y="669"/>
                  </a:lnTo>
                  <a:lnTo>
                    <a:pt x="551" y="669"/>
                  </a:lnTo>
                  <a:lnTo>
                    <a:pt x="554" y="669"/>
                  </a:lnTo>
                  <a:lnTo>
                    <a:pt x="556" y="669"/>
                  </a:lnTo>
                  <a:lnTo>
                    <a:pt x="556" y="669"/>
                  </a:lnTo>
                  <a:lnTo>
                    <a:pt x="558" y="669"/>
                  </a:lnTo>
                  <a:lnTo>
                    <a:pt x="561" y="666"/>
                  </a:lnTo>
                  <a:lnTo>
                    <a:pt x="563" y="664"/>
                  </a:lnTo>
                  <a:lnTo>
                    <a:pt x="565" y="664"/>
                  </a:lnTo>
                  <a:lnTo>
                    <a:pt x="565" y="664"/>
                  </a:lnTo>
                  <a:lnTo>
                    <a:pt x="565" y="664"/>
                  </a:lnTo>
                  <a:lnTo>
                    <a:pt x="565" y="664"/>
                  </a:lnTo>
                  <a:lnTo>
                    <a:pt x="565" y="666"/>
                  </a:lnTo>
                  <a:lnTo>
                    <a:pt x="565" y="666"/>
                  </a:lnTo>
                  <a:lnTo>
                    <a:pt x="568" y="669"/>
                  </a:lnTo>
                  <a:lnTo>
                    <a:pt x="568" y="671"/>
                  </a:lnTo>
                  <a:lnTo>
                    <a:pt x="568" y="671"/>
                  </a:lnTo>
                  <a:lnTo>
                    <a:pt x="568" y="671"/>
                  </a:lnTo>
                  <a:lnTo>
                    <a:pt x="568" y="673"/>
                  </a:lnTo>
                  <a:lnTo>
                    <a:pt x="568" y="676"/>
                  </a:lnTo>
                  <a:lnTo>
                    <a:pt x="570" y="676"/>
                  </a:lnTo>
                  <a:lnTo>
                    <a:pt x="570" y="676"/>
                  </a:lnTo>
                  <a:lnTo>
                    <a:pt x="572" y="673"/>
                  </a:lnTo>
                  <a:lnTo>
                    <a:pt x="575" y="673"/>
                  </a:lnTo>
                  <a:lnTo>
                    <a:pt x="575" y="676"/>
                  </a:lnTo>
                  <a:lnTo>
                    <a:pt x="575" y="676"/>
                  </a:lnTo>
                  <a:lnTo>
                    <a:pt x="577" y="676"/>
                  </a:lnTo>
                  <a:lnTo>
                    <a:pt x="577" y="676"/>
                  </a:lnTo>
                  <a:lnTo>
                    <a:pt x="577" y="676"/>
                  </a:lnTo>
                  <a:lnTo>
                    <a:pt x="579" y="676"/>
                  </a:lnTo>
                  <a:lnTo>
                    <a:pt x="579" y="676"/>
                  </a:lnTo>
                  <a:lnTo>
                    <a:pt x="579" y="673"/>
                  </a:lnTo>
                  <a:lnTo>
                    <a:pt x="577" y="673"/>
                  </a:lnTo>
                  <a:lnTo>
                    <a:pt x="577" y="673"/>
                  </a:lnTo>
                  <a:lnTo>
                    <a:pt x="577" y="671"/>
                  </a:lnTo>
                  <a:lnTo>
                    <a:pt x="577" y="669"/>
                  </a:lnTo>
                  <a:lnTo>
                    <a:pt x="577" y="666"/>
                  </a:lnTo>
                  <a:lnTo>
                    <a:pt x="577" y="664"/>
                  </a:lnTo>
                  <a:lnTo>
                    <a:pt x="577" y="662"/>
                  </a:lnTo>
                  <a:lnTo>
                    <a:pt x="575" y="662"/>
                  </a:lnTo>
                  <a:lnTo>
                    <a:pt x="572" y="659"/>
                  </a:lnTo>
                  <a:lnTo>
                    <a:pt x="572" y="657"/>
                  </a:lnTo>
                  <a:lnTo>
                    <a:pt x="572" y="657"/>
                  </a:lnTo>
                  <a:lnTo>
                    <a:pt x="572" y="655"/>
                  </a:lnTo>
                  <a:lnTo>
                    <a:pt x="572" y="655"/>
                  </a:lnTo>
                  <a:lnTo>
                    <a:pt x="570" y="652"/>
                  </a:lnTo>
                  <a:lnTo>
                    <a:pt x="572" y="652"/>
                  </a:lnTo>
                  <a:lnTo>
                    <a:pt x="572" y="652"/>
                  </a:lnTo>
                  <a:lnTo>
                    <a:pt x="572" y="650"/>
                  </a:lnTo>
                  <a:lnTo>
                    <a:pt x="572" y="647"/>
                  </a:lnTo>
                  <a:lnTo>
                    <a:pt x="575" y="647"/>
                  </a:lnTo>
                  <a:lnTo>
                    <a:pt x="575" y="647"/>
                  </a:lnTo>
                  <a:lnTo>
                    <a:pt x="575" y="647"/>
                  </a:lnTo>
                  <a:lnTo>
                    <a:pt x="577" y="650"/>
                  </a:lnTo>
                  <a:lnTo>
                    <a:pt x="577" y="650"/>
                  </a:lnTo>
                  <a:lnTo>
                    <a:pt x="579" y="650"/>
                  </a:lnTo>
                  <a:lnTo>
                    <a:pt x="582" y="650"/>
                  </a:lnTo>
                  <a:lnTo>
                    <a:pt x="582" y="650"/>
                  </a:lnTo>
                  <a:lnTo>
                    <a:pt x="582" y="650"/>
                  </a:lnTo>
                  <a:lnTo>
                    <a:pt x="584" y="647"/>
                  </a:lnTo>
                  <a:lnTo>
                    <a:pt x="584" y="647"/>
                  </a:lnTo>
                  <a:lnTo>
                    <a:pt x="584" y="645"/>
                  </a:lnTo>
                  <a:lnTo>
                    <a:pt x="587" y="643"/>
                  </a:lnTo>
                  <a:lnTo>
                    <a:pt x="587" y="643"/>
                  </a:lnTo>
                  <a:lnTo>
                    <a:pt x="587" y="643"/>
                  </a:lnTo>
                  <a:lnTo>
                    <a:pt x="587" y="643"/>
                  </a:lnTo>
                  <a:lnTo>
                    <a:pt x="589" y="643"/>
                  </a:lnTo>
                  <a:lnTo>
                    <a:pt x="591" y="645"/>
                  </a:lnTo>
                  <a:lnTo>
                    <a:pt x="594" y="645"/>
                  </a:lnTo>
                  <a:lnTo>
                    <a:pt x="594" y="647"/>
                  </a:lnTo>
                  <a:lnTo>
                    <a:pt x="596" y="647"/>
                  </a:lnTo>
                  <a:lnTo>
                    <a:pt x="596" y="650"/>
                  </a:lnTo>
                  <a:lnTo>
                    <a:pt x="598" y="650"/>
                  </a:lnTo>
                  <a:lnTo>
                    <a:pt x="598" y="647"/>
                  </a:lnTo>
                  <a:lnTo>
                    <a:pt x="598" y="647"/>
                  </a:lnTo>
                  <a:lnTo>
                    <a:pt x="598" y="645"/>
                  </a:lnTo>
                  <a:lnTo>
                    <a:pt x="601" y="645"/>
                  </a:lnTo>
                  <a:lnTo>
                    <a:pt x="601" y="643"/>
                  </a:lnTo>
                  <a:lnTo>
                    <a:pt x="601" y="643"/>
                  </a:lnTo>
                  <a:lnTo>
                    <a:pt x="603" y="643"/>
                  </a:lnTo>
                  <a:lnTo>
                    <a:pt x="603" y="643"/>
                  </a:lnTo>
                  <a:lnTo>
                    <a:pt x="605" y="645"/>
                  </a:lnTo>
                  <a:lnTo>
                    <a:pt x="605" y="645"/>
                  </a:lnTo>
                  <a:lnTo>
                    <a:pt x="605" y="645"/>
                  </a:lnTo>
                  <a:lnTo>
                    <a:pt x="608" y="643"/>
                  </a:lnTo>
                  <a:lnTo>
                    <a:pt x="608" y="643"/>
                  </a:lnTo>
                  <a:lnTo>
                    <a:pt x="608" y="643"/>
                  </a:lnTo>
                  <a:lnTo>
                    <a:pt x="612" y="647"/>
                  </a:lnTo>
                  <a:lnTo>
                    <a:pt x="615" y="647"/>
                  </a:lnTo>
                  <a:lnTo>
                    <a:pt x="615" y="647"/>
                  </a:lnTo>
                  <a:lnTo>
                    <a:pt x="615" y="645"/>
                  </a:lnTo>
                  <a:lnTo>
                    <a:pt x="615" y="645"/>
                  </a:lnTo>
                  <a:lnTo>
                    <a:pt x="615" y="643"/>
                  </a:lnTo>
                  <a:lnTo>
                    <a:pt x="617" y="640"/>
                  </a:lnTo>
                  <a:lnTo>
                    <a:pt x="617" y="640"/>
                  </a:lnTo>
                  <a:lnTo>
                    <a:pt x="620" y="643"/>
                  </a:lnTo>
                  <a:lnTo>
                    <a:pt x="620" y="643"/>
                  </a:lnTo>
                  <a:lnTo>
                    <a:pt x="622" y="643"/>
                  </a:lnTo>
                  <a:lnTo>
                    <a:pt x="624" y="640"/>
                  </a:lnTo>
                  <a:lnTo>
                    <a:pt x="624" y="640"/>
                  </a:lnTo>
                  <a:lnTo>
                    <a:pt x="627" y="640"/>
                  </a:lnTo>
                  <a:lnTo>
                    <a:pt x="627" y="640"/>
                  </a:lnTo>
                  <a:lnTo>
                    <a:pt x="627" y="640"/>
                  </a:lnTo>
                  <a:lnTo>
                    <a:pt x="629" y="638"/>
                  </a:lnTo>
                  <a:lnTo>
                    <a:pt x="629" y="638"/>
                  </a:lnTo>
                  <a:lnTo>
                    <a:pt x="629" y="636"/>
                  </a:lnTo>
                  <a:lnTo>
                    <a:pt x="629" y="633"/>
                  </a:lnTo>
                  <a:lnTo>
                    <a:pt x="629" y="633"/>
                  </a:lnTo>
                  <a:lnTo>
                    <a:pt x="631" y="633"/>
                  </a:lnTo>
                  <a:lnTo>
                    <a:pt x="634" y="631"/>
                  </a:lnTo>
                  <a:lnTo>
                    <a:pt x="636" y="631"/>
                  </a:lnTo>
                  <a:lnTo>
                    <a:pt x="636" y="631"/>
                  </a:lnTo>
                  <a:lnTo>
                    <a:pt x="636" y="631"/>
                  </a:lnTo>
                  <a:lnTo>
                    <a:pt x="638" y="633"/>
                  </a:lnTo>
                  <a:lnTo>
                    <a:pt x="641" y="633"/>
                  </a:lnTo>
                  <a:lnTo>
                    <a:pt x="641" y="636"/>
                  </a:lnTo>
                  <a:lnTo>
                    <a:pt x="641" y="636"/>
                  </a:lnTo>
                  <a:lnTo>
                    <a:pt x="643" y="636"/>
                  </a:lnTo>
                  <a:lnTo>
                    <a:pt x="645" y="638"/>
                  </a:lnTo>
                  <a:lnTo>
                    <a:pt x="648" y="638"/>
                  </a:lnTo>
                  <a:lnTo>
                    <a:pt x="648" y="638"/>
                  </a:lnTo>
                  <a:lnTo>
                    <a:pt x="650" y="638"/>
                  </a:lnTo>
                  <a:lnTo>
                    <a:pt x="650" y="638"/>
                  </a:lnTo>
                  <a:lnTo>
                    <a:pt x="650" y="638"/>
                  </a:lnTo>
                  <a:lnTo>
                    <a:pt x="653" y="638"/>
                  </a:lnTo>
                  <a:lnTo>
                    <a:pt x="653" y="638"/>
                  </a:lnTo>
                  <a:lnTo>
                    <a:pt x="655" y="640"/>
                  </a:lnTo>
                  <a:lnTo>
                    <a:pt x="655" y="640"/>
                  </a:lnTo>
                  <a:lnTo>
                    <a:pt x="657" y="640"/>
                  </a:lnTo>
                  <a:lnTo>
                    <a:pt x="660" y="640"/>
                  </a:lnTo>
                  <a:lnTo>
                    <a:pt x="660" y="640"/>
                  </a:lnTo>
                  <a:lnTo>
                    <a:pt x="662" y="640"/>
                  </a:lnTo>
                  <a:lnTo>
                    <a:pt x="664" y="643"/>
                  </a:lnTo>
                  <a:lnTo>
                    <a:pt x="664" y="643"/>
                  </a:lnTo>
                  <a:lnTo>
                    <a:pt x="664" y="645"/>
                  </a:lnTo>
                  <a:lnTo>
                    <a:pt x="662" y="645"/>
                  </a:lnTo>
                  <a:lnTo>
                    <a:pt x="662" y="645"/>
                  </a:lnTo>
                  <a:lnTo>
                    <a:pt x="662" y="647"/>
                  </a:lnTo>
                  <a:lnTo>
                    <a:pt x="662" y="650"/>
                  </a:lnTo>
                  <a:lnTo>
                    <a:pt x="662" y="652"/>
                  </a:lnTo>
                  <a:lnTo>
                    <a:pt x="662" y="652"/>
                  </a:lnTo>
                  <a:lnTo>
                    <a:pt x="664" y="652"/>
                  </a:lnTo>
                  <a:lnTo>
                    <a:pt x="664" y="652"/>
                  </a:lnTo>
                  <a:lnTo>
                    <a:pt x="664" y="655"/>
                  </a:lnTo>
                  <a:lnTo>
                    <a:pt x="664" y="657"/>
                  </a:lnTo>
                  <a:lnTo>
                    <a:pt x="664" y="659"/>
                  </a:lnTo>
                  <a:lnTo>
                    <a:pt x="667" y="659"/>
                  </a:lnTo>
                  <a:lnTo>
                    <a:pt x="667" y="659"/>
                  </a:lnTo>
                  <a:lnTo>
                    <a:pt x="667" y="659"/>
                  </a:lnTo>
                  <a:lnTo>
                    <a:pt x="669" y="659"/>
                  </a:lnTo>
                  <a:lnTo>
                    <a:pt x="671" y="659"/>
                  </a:lnTo>
                  <a:lnTo>
                    <a:pt x="671" y="659"/>
                  </a:lnTo>
                  <a:lnTo>
                    <a:pt x="671" y="662"/>
                  </a:lnTo>
                  <a:lnTo>
                    <a:pt x="671" y="662"/>
                  </a:lnTo>
                  <a:lnTo>
                    <a:pt x="674" y="662"/>
                  </a:lnTo>
                  <a:lnTo>
                    <a:pt x="676" y="664"/>
                  </a:lnTo>
                  <a:lnTo>
                    <a:pt x="676" y="664"/>
                  </a:lnTo>
                  <a:lnTo>
                    <a:pt x="678" y="666"/>
                  </a:lnTo>
                  <a:lnTo>
                    <a:pt x="681" y="666"/>
                  </a:lnTo>
                  <a:lnTo>
                    <a:pt x="681" y="666"/>
                  </a:lnTo>
                  <a:lnTo>
                    <a:pt x="683" y="666"/>
                  </a:lnTo>
                  <a:lnTo>
                    <a:pt x="686" y="666"/>
                  </a:lnTo>
                  <a:lnTo>
                    <a:pt x="688" y="666"/>
                  </a:lnTo>
                  <a:lnTo>
                    <a:pt x="690" y="669"/>
                  </a:lnTo>
                  <a:lnTo>
                    <a:pt x="690" y="669"/>
                  </a:lnTo>
                  <a:lnTo>
                    <a:pt x="693" y="669"/>
                  </a:lnTo>
                  <a:lnTo>
                    <a:pt x="693" y="666"/>
                  </a:lnTo>
                  <a:lnTo>
                    <a:pt x="695" y="669"/>
                  </a:lnTo>
                  <a:lnTo>
                    <a:pt x="697" y="666"/>
                  </a:lnTo>
                  <a:lnTo>
                    <a:pt x="697" y="664"/>
                  </a:lnTo>
                  <a:lnTo>
                    <a:pt x="697" y="664"/>
                  </a:lnTo>
                  <a:lnTo>
                    <a:pt x="697" y="664"/>
                  </a:lnTo>
                  <a:lnTo>
                    <a:pt x="700" y="666"/>
                  </a:lnTo>
                  <a:lnTo>
                    <a:pt x="700" y="666"/>
                  </a:lnTo>
                  <a:lnTo>
                    <a:pt x="700" y="666"/>
                  </a:lnTo>
                  <a:lnTo>
                    <a:pt x="700" y="664"/>
                  </a:lnTo>
                  <a:lnTo>
                    <a:pt x="700" y="662"/>
                  </a:lnTo>
                  <a:lnTo>
                    <a:pt x="700" y="659"/>
                  </a:lnTo>
                  <a:lnTo>
                    <a:pt x="700" y="659"/>
                  </a:lnTo>
                  <a:lnTo>
                    <a:pt x="702" y="662"/>
                  </a:lnTo>
                  <a:lnTo>
                    <a:pt x="702" y="662"/>
                  </a:lnTo>
                  <a:lnTo>
                    <a:pt x="702" y="664"/>
                  </a:lnTo>
                  <a:lnTo>
                    <a:pt x="702" y="664"/>
                  </a:lnTo>
                  <a:lnTo>
                    <a:pt x="704" y="666"/>
                  </a:lnTo>
                  <a:lnTo>
                    <a:pt x="704" y="666"/>
                  </a:lnTo>
                  <a:lnTo>
                    <a:pt x="707" y="666"/>
                  </a:lnTo>
                  <a:lnTo>
                    <a:pt x="707" y="666"/>
                  </a:lnTo>
                  <a:lnTo>
                    <a:pt x="709" y="666"/>
                  </a:lnTo>
                  <a:lnTo>
                    <a:pt x="711" y="666"/>
                  </a:lnTo>
                  <a:lnTo>
                    <a:pt x="711" y="669"/>
                  </a:lnTo>
                  <a:lnTo>
                    <a:pt x="711" y="669"/>
                  </a:lnTo>
                  <a:lnTo>
                    <a:pt x="711" y="671"/>
                  </a:lnTo>
                  <a:lnTo>
                    <a:pt x="711" y="671"/>
                  </a:lnTo>
                  <a:lnTo>
                    <a:pt x="714" y="671"/>
                  </a:lnTo>
                  <a:lnTo>
                    <a:pt x="716" y="669"/>
                  </a:lnTo>
                  <a:lnTo>
                    <a:pt x="719" y="669"/>
                  </a:lnTo>
                  <a:lnTo>
                    <a:pt x="719" y="669"/>
                  </a:lnTo>
                  <a:lnTo>
                    <a:pt x="719" y="664"/>
                  </a:lnTo>
                  <a:lnTo>
                    <a:pt x="719" y="664"/>
                  </a:lnTo>
                  <a:lnTo>
                    <a:pt x="719" y="666"/>
                  </a:lnTo>
                  <a:lnTo>
                    <a:pt x="721" y="669"/>
                  </a:lnTo>
                  <a:lnTo>
                    <a:pt x="723" y="669"/>
                  </a:lnTo>
                  <a:lnTo>
                    <a:pt x="723" y="669"/>
                  </a:lnTo>
                  <a:lnTo>
                    <a:pt x="726" y="669"/>
                  </a:lnTo>
                  <a:lnTo>
                    <a:pt x="726" y="669"/>
                  </a:lnTo>
                  <a:lnTo>
                    <a:pt x="726" y="671"/>
                  </a:lnTo>
                  <a:lnTo>
                    <a:pt x="723" y="673"/>
                  </a:lnTo>
                  <a:lnTo>
                    <a:pt x="723" y="673"/>
                  </a:lnTo>
                  <a:lnTo>
                    <a:pt x="723" y="676"/>
                  </a:lnTo>
                  <a:lnTo>
                    <a:pt x="723" y="678"/>
                  </a:lnTo>
                  <a:lnTo>
                    <a:pt x="723" y="681"/>
                  </a:lnTo>
                  <a:lnTo>
                    <a:pt x="723" y="683"/>
                  </a:lnTo>
                  <a:lnTo>
                    <a:pt x="726" y="683"/>
                  </a:lnTo>
                  <a:lnTo>
                    <a:pt x="726" y="683"/>
                  </a:lnTo>
                  <a:lnTo>
                    <a:pt x="726" y="685"/>
                  </a:lnTo>
                  <a:lnTo>
                    <a:pt x="726" y="688"/>
                  </a:lnTo>
                  <a:lnTo>
                    <a:pt x="728" y="690"/>
                  </a:lnTo>
                  <a:lnTo>
                    <a:pt x="730" y="690"/>
                  </a:lnTo>
                  <a:lnTo>
                    <a:pt x="730" y="690"/>
                  </a:lnTo>
                  <a:lnTo>
                    <a:pt x="730" y="692"/>
                  </a:lnTo>
                  <a:lnTo>
                    <a:pt x="730" y="692"/>
                  </a:lnTo>
                  <a:lnTo>
                    <a:pt x="728" y="692"/>
                  </a:lnTo>
                  <a:lnTo>
                    <a:pt x="728" y="692"/>
                  </a:lnTo>
                  <a:lnTo>
                    <a:pt x="730" y="695"/>
                  </a:lnTo>
                  <a:lnTo>
                    <a:pt x="733" y="695"/>
                  </a:lnTo>
                  <a:lnTo>
                    <a:pt x="737" y="695"/>
                  </a:lnTo>
                  <a:lnTo>
                    <a:pt x="740" y="692"/>
                  </a:lnTo>
                  <a:lnTo>
                    <a:pt x="740" y="692"/>
                  </a:lnTo>
                  <a:lnTo>
                    <a:pt x="740" y="690"/>
                  </a:lnTo>
                  <a:lnTo>
                    <a:pt x="740" y="690"/>
                  </a:lnTo>
                  <a:lnTo>
                    <a:pt x="735" y="685"/>
                  </a:lnTo>
                  <a:lnTo>
                    <a:pt x="735" y="685"/>
                  </a:lnTo>
                  <a:lnTo>
                    <a:pt x="737" y="685"/>
                  </a:lnTo>
                  <a:lnTo>
                    <a:pt x="737" y="683"/>
                  </a:lnTo>
                  <a:lnTo>
                    <a:pt x="737" y="683"/>
                  </a:lnTo>
                  <a:lnTo>
                    <a:pt x="733" y="683"/>
                  </a:lnTo>
                  <a:lnTo>
                    <a:pt x="733" y="681"/>
                  </a:lnTo>
                  <a:lnTo>
                    <a:pt x="733" y="678"/>
                  </a:lnTo>
                  <a:lnTo>
                    <a:pt x="735" y="676"/>
                  </a:lnTo>
                  <a:lnTo>
                    <a:pt x="735" y="676"/>
                  </a:lnTo>
                  <a:lnTo>
                    <a:pt x="735" y="673"/>
                  </a:lnTo>
                  <a:lnTo>
                    <a:pt x="735" y="673"/>
                  </a:lnTo>
                  <a:lnTo>
                    <a:pt x="735" y="673"/>
                  </a:lnTo>
                  <a:lnTo>
                    <a:pt x="737" y="673"/>
                  </a:lnTo>
                  <a:lnTo>
                    <a:pt x="737" y="676"/>
                  </a:lnTo>
                  <a:lnTo>
                    <a:pt x="740" y="676"/>
                  </a:lnTo>
                  <a:lnTo>
                    <a:pt x="740" y="673"/>
                  </a:lnTo>
                  <a:lnTo>
                    <a:pt x="742" y="671"/>
                  </a:lnTo>
                  <a:lnTo>
                    <a:pt x="744" y="671"/>
                  </a:lnTo>
                  <a:lnTo>
                    <a:pt x="747" y="671"/>
                  </a:lnTo>
                  <a:lnTo>
                    <a:pt x="747" y="669"/>
                  </a:lnTo>
                  <a:lnTo>
                    <a:pt x="747" y="669"/>
                  </a:lnTo>
                  <a:lnTo>
                    <a:pt x="747" y="669"/>
                  </a:lnTo>
                  <a:lnTo>
                    <a:pt x="749" y="669"/>
                  </a:lnTo>
                  <a:lnTo>
                    <a:pt x="749" y="669"/>
                  </a:lnTo>
                  <a:lnTo>
                    <a:pt x="751" y="669"/>
                  </a:lnTo>
                  <a:lnTo>
                    <a:pt x="754" y="669"/>
                  </a:lnTo>
                  <a:lnTo>
                    <a:pt x="756" y="669"/>
                  </a:lnTo>
                  <a:lnTo>
                    <a:pt x="759" y="666"/>
                  </a:lnTo>
                  <a:lnTo>
                    <a:pt x="759" y="666"/>
                  </a:lnTo>
                  <a:lnTo>
                    <a:pt x="759" y="664"/>
                  </a:lnTo>
                  <a:lnTo>
                    <a:pt x="761" y="664"/>
                  </a:lnTo>
                  <a:lnTo>
                    <a:pt x="761" y="664"/>
                  </a:lnTo>
                  <a:lnTo>
                    <a:pt x="761" y="664"/>
                  </a:lnTo>
                  <a:lnTo>
                    <a:pt x="761" y="662"/>
                  </a:lnTo>
                  <a:lnTo>
                    <a:pt x="763" y="662"/>
                  </a:lnTo>
                  <a:lnTo>
                    <a:pt x="766" y="662"/>
                  </a:lnTo>
                  <a:lnTo>
                    <a:pt x="766" y="664"/>
                  </a:lnTo>
                  <a:lnTo>
                    <a:pt x="768" y="664"/>
                  </a:lnTo>
                  <a:lnTo>
                    <a:pt x="770" y="664"/>
                  </a:lnTo>
                  <a:lnTo>
                    <a:pt x="770" y="662"/>
                  </a:lnTo>
                  <a:lnTo>
                    <a:pt x="770" y="659"/>
                  </a:lnTo>
                  <a:lnTo>
                    <a:pt x="768" y="659"/>
                  </a:lnTo>
                  <a:lnTo>
                    <a:pt x="770" y="659"/>
                  </a:lnTo>
                  <a:lnTo>
                    <a:pt x="770" y="659"/>
                  </a:lnTo>
                  <a:lnTo>
                    <a:pt x="770" y="659"/>
                  </a:lnTo>
                  <a:lnTo>
                    <a:pt x="770" y="662"/>
                  </a:lnTo>
                  <a:lnTo>
                    <a:pt x="773" y="662"/>
                  </a:lnTo>
                  <a:lnTo>
                    <a:pt x="773" y="664"/>
                  </a:lnTo>
                  <a:lnTo>
                    <a:pt x="775" y="662"/>
                  </a:lnTo>
                  <a:lnTo>
                    <a:pt x="775" y="662"/>
                  </a:lnTo>
                  <a:lnTo>
                    <a:pt x="775" y="659"/>
                  </a:lnTo>
                  <a:lnTo>
                    <a:pt x="777" y="659"/>
                  </a:lnTo>
                  <a:lnTo>
                    <a:pt x="780" y="662"/>
                  </a:lnTo>
                  <a:lnTo>
                    <a:pt x="780" y="659"/>
                  </a:lnTo>
                  <a:lnTo>
                    <a:pt x="780" y="659"/>
                  </a:lnTo>
                  <a:lnTo>
                    <a:pt x="780" y="657"/>
                  </a:lnTo>
                  <a:lnTo>
                    <a:pt x="782" y="655"/>
                  </a:lnTo>
                  <a:lnTo>
                    <a:pt x="782" y="657"/>
                  </a:lnTo>
                  <a:lnTo>
                    <a:pt x="784" y="657"/>
                  </a:lnTo>
                  <a:lnTo>
                    <a:pt x="787" y="655"/>
                  </a:lnTo>
                  <a:lnTo>
                    <a:pt x="787" y="655"/>
                  </a:lnTo>
                  <a:lnTo>
                    <a:pt x="787" y="655"/>
                  </a:lnTo>
                  <a:lnTo>
                    <a:pt x="789" y="655"/>
                  </a:lnTo>
                  <a:lnTo>
                    <a:pt x="789" y="655"/>
                  </a:lnTo>
                  <a:lnTo>
                    <a:pt x="789" y="655"/>
                  </a:lnTo>
                  <a:lnTo>
                    <a:pt x="789" y="652"/>
                  </a:lnTo>
                  <a:lnTo>
                    <a:pt x="789" y="652"/>
                  </a:lnTo>
                  <a:lnTo>
                    <a:pt x="789" y="655"/>
                  </a:lnTo>
                  <a:lnTo>
                    <a:pt x="789" y="655"/>
                  </a:lnTo>
                  <a:lnTo>
                    <a:pt x="789" y="652"/>
                  </a:lnTo>
                  <a:lnTo>
                    <a:pt x="789" y="650"/>
                  </a:lnTo>
                  <a:lnTo>
                    <a:pt x="789" y="650"/>
                  </a:lnTo>
                  <a:lnTo>
                    <a:pt x="789" y="645"/>
                  </a:lnTo>
                  <a:lnTo>
                    <a:pt x="787" y="643"/>
                  </a:lnTo>
                  <a:lnTo>
                    <a:pt x="787" y="643"/>
                  </a:lnTo>
                  <a:lnTo>
                    <a:pt x="787" y="643"/>
                  </a:lnTo>
                  <a:lnTo>
                    <a:pt x="784" y="640"/>
                  </a:lnTo>
                  <a:lnTo>
                    <a:pt x="784" y="640"/>
                  </a:lnTo>
                  <a:lnTo>
                    <a:pt x="784" y="638"/>
                  </a:lnTo>
                  <a:lnTo>
                    <a:pt x="784" y="638"/>
                  </a:lnTo>
                  <a:lnTo>
                    <a:pt x="784" y="638"/>
                  </a:lnTo>
                  <a:lnTo>
                    <a:pt x="784" y="636"/>
                  </a:lnTo>
                  <a:lnTo>
                    <a:pt x="787" y="636"/>
                  </a:lnTo>
                  <a:lnTo>
                    <a:pt x="787" y="636"/>
                  </a:lnTo>
                  <a:lnTo>
                    <a:pt x="787" y="636"/>
                  </a:lnTo>
                  <a:lnTo>
                    <a:pt x="787" y="638"/>
                  </a:lnTo>
                  <a:lnTo>
                    <a:pt x="789" y="638"/>
                  </a:lnTo>
                  <a:lnTo>
                    <a:pt x="789" y="640"/>
                  </a:lnTo>
                  <a:lnTo>
                    <a:pt x="789" y="640"/>
                  </a:lnTo>
                  <a:lnTo>
                    <a:pt x="792" y="643"/>
                  </a:lnTo>
                  <a:lnTo>
                    <a:pt x="794" y="645"/>
                  </a:lnTo>
                  <a:lnTo>
                    <a:pt x="796" y="647"/>
                  </a:lnTo>
                  <a:lnTo>
                    <a:pt x="796" y="647"/>
                  </a:lnTo>
                  <a:lnTo>
                    <a:pt x="796" y="647"/>
                  </a:lnTo>
                  <a:lnTo>
                    <a:pt x="799" y="647"/>
                  </a:lnTo>
                  <a:lnTo>
                    <a:pt x="799" y="647"/>
                  </a:lnTo>
                  <a:lnTo>
                    <a:pt x="799" y="647"/>
                  </a:lnTo>
                  <a:lnTo>
                    <a:pt x="801" y="647"/>
                  </a:lnTo>
                  <a:lnTo>
                    <a:pt x="801" y="647"/>
                  </a:lnTo>
                  <a:lnTo>
                    <a:pt x="801" y="647"/>
                  </a:lnTo>
                  <a:lnTo>
                    <a:pt x="803" y="645"/>
                  </a:lnTo>
                  <a:lnTo>
                    <a:pt x="803" y="645"/>
                  </a:lnTo>
                  <a:lnTo>
                    <a:pt x="806" y="647"/>
                  </a:lnTo>
                  <a:lnTo>
                    <a:pt x="808" y="647"/>
                  </a:lnTo>
                  <a:lnTo>
                    <a:pt x="806" y="645"/>
                  </a:lnTo>
                  <a:lnTo>
                    <a:pt x="808" y="645"/>
                  </a:lnTo>
                  <a:lnTo>
                    <a:pt x="808" y="643"/>
                  </a:lnTo>
                  <a:lnTo>
                    <a:pt x="808" y="643"/>
                  </a:lnTo>
                  <a:lnTo>
                    <a:pt x="808" y="643"/>
                  </a:lnTo>
                  <a:lnTo>
                    <a:pt x="810" y="645"/>
                  </a:lnTo>
                  <a:lnTo>
                    <a:pt x="813" y="645"/>
                  </a:lnTo>
                  <a:lnTo>
                    <a:pt x="813" y="645"/>
                  </a:lnTo>
                  <a:lnTo>
                    <a:pt x="813" y="645"/>
                  </a:lnTo>
                  <a:lnTo>
                    <a:pt x="815" y="643"/>
                  </a:lnTo>
                  <a:lnTo>
                    <a:pt x="815" y="643"/>
                  </a:lnTo>
                  <a:lnTo>
                    <a:pt x="817" y="640"/>
                  </a:lnTo>
                  <a:lnTo>
                    <a:pt x="820" y="643"/>
                  </a:lnTo>
                  <a:lnTo>
                    <a:pt x="822" y="643"/>
                  </a:lnTo>
                  <a:lnTo>
                    <a:pt x="825" y="643"/>
                  </a:lnTo>
                  <a:lnTo>
                    <a:pt x="825" y="643"/>
                  </a:lnTo>
                  <a:lnTo>
                    <a:pt x="825" y="640"/>
                  </a:lnTo>
                  <a:lnTo>
                    <a:pt x="825" y="640"/>
                  </a:lnTo>
                  <a:lnTo>
                    <a:pt x="827" y="640"/>
                  </a:lnTo>
                  <a:lnTo>
                    <a:pt x="829" y="640"/>
                  </a:lnTo>
                  <a:lnTo>
                    <a:pt x="834" y="640"/>
                  </a:lnTo>
                  <a:lnTo>
                    <a:pt x="834" y="640"/>
                  </a:lnTo>
                  <a:lnTo>
                    <a:pt x="836" y="638"/>
                  </a:lnTo>
                  <a:lnTo>
                    <a:pt x="836" y="638"/>
                  </a:lnTo>
                  <a:lnTo>
                    <a:pt x="836" y="638"/>
                  </a:lnTo>
                  <a:lnTo>
                    <a:pt x="839" y="638"/>
                  </a:lnTo>
                  <a:lnTo>
                    <a:pt x="841" y="638"/>
                  </a:lnTo>
                  <a:lnTo>
                    <a:pt x="841" y="638"/>
                  </a:lnTo>
                  <a:lnTo>
                    <a:pt x="841" y="633"/>
                  </a:lnTo>
                  <a:lnTo>
                    <a:pt x="841" y="633"/>
                  </a:lnTo>
                  <a:lnTo>
                    <a:pt x="843" y="633"/>
                  </a:lnTo>
                  <a:lnTo>
                    <a:pt x="843" y="631"/>
                  </a:lnTo>
                  <a:lnTo>
                    <a:pt x="843" y="631"/>
                  </a:lnTo>
                  <a:lnTo>
                    <a:pt x="841" y="631"/>
                  </a:lnTo>
                  <a:lnTo>
                    <a:pt x="843" y="628"/>
                  </a:lnTo>
                  <a:lnTo>
                    <a:pt x="843" y="628"/>
                  </a:lnTo>
                  <a:lnTo>
                    <a:pt x="846" y="628"/>
                  </a:lnTo>
                  <a:lnTo>
                    <a:pt x="846" y="624"/>
                  </a:lnTo>
                  <a:lnTo>
                    <a:pt x="848" y="624"/>
                  </a:lnTo>
                  <a:lnTo>
                    <a:pt x="848" y="626"/>
                  </a:lnTo>
                  <a:lnTo>
                    <a:pt x="850" y="624"/>
                  </a:lnTo>
                  <a:lnTo>
                    <a:pt x="850" y="624"/>
                  </a:lnTo>
                  <a:lnTo>
                    <a:pt x="853" y="621"/>
                  </a:lnTo>
                  <a:lnTo>
                    <a:pt x="853" y="621"/>
                  </a:lnTo>
                  <a:lnTo>
                    <a:pt x="853" y="624"/>
                  </a:lnTo>
                  <a:lnTo>
                    <a:pt x="855" y="624"/>
                  </a:lnTo>
                  <a:lnTo>
                    <a:pt x="855" y="624"/>
                  </a:lnTo>
                  <a:lnTo>
                    <a:pt x="855" y="621"/>
                  </a:lnTo>
                  <a:lnTo>
                    <a:pt x="855" y="621"/>
                  </a:lnTo>
                  <a:lnTo>
                    <a:pt x="855" y="621"/>
                  </a:lnTo>
                  <a:lnTo>
                    <a:pt x="855" y="619"/>
                  </a:lnTo>
                  <a:lnTo>
                    <a:pt x="858" y="619"/>
                  </a:lnTo>
                  <a:lnTo>
                    <a:pt x="858" y="619"/>
                  </a:lnTo>
                  <a:lnTo>
                    <a:pt x="858" y="617"/>
                  </a:lnTo>
                  <a:lnTo>
                    <a:pt x="860" y="617"/>
                  </a:lnTo>
                  <a:lnTo>
                    <a:pt x="862" y="617"/>
                  </a:lnTo>
                  <a:lnTo>
                    <a:pt x="862" y="614"/>
                  </a:lnTo>
                  <a:lnTo>
                    <a:pt x="865" y="612"/>
                  </a:lnTo>
                  <a:lnTo>
                    <a:pt x="865" y="610"/>
                  </a:lnTo>
                  <a:lnTo>
                    <a:pt x="862" y="607"/>
                  </a:lnTo>
                  <a:lnTo>
                    <a:pt x="860" y="607"/>
                  </a:lnTo>
                  <a:lnTo>
                    <a:pt x="860" y="607"/>
                  </a:lnTo>
                  <a:lnTo>
                    <a:pt x="860" y="607"/>
                  </a:lnTo>
                  <a:lnTo>
                    <a:pt x="860" y="605"/>
                  </a:lnTo>
                  <a:lnTo>
                    <a:pt x="860" y="607"/>
                  </a:lnTo>
                  <a:lnTo>
                    <a:pt x="862" y="605"/>
                  </a:lnTo>
                  <a:lnTo>
                    <a:pt x="862" y="605"/>
                  </a:lnTo>
                  <a:lnTo>
                    <a:pt x="862" y="602"/>
                  </a:lnTo>
                  <a:lnTo>
                    <a:pt x="865" y="602"/>
                  </a:lnTo>
                  <a:lnTo>
                    <a:pt x="867" y="605"/>
                  </a:lnTo>
                  <a:lnTo>
                    <a:pt x="869" y="602"/>
                  </a:lnTo>
                  <a:lnTo>
                    <a:pt x="872" y="605"/>
                  </a:lnTo>
                  <a:lnTo>
                    <a:pt x="874" y="602"/>
                  </a:lnTo>
                  <a:lnTo>
                    <a:pt x="874" y="600"/>
                  </a:lnTo>
                  <a:lnTo>
                    <a:pt x="874" y="600"/>
                  </a:lnTo>
                  <a:lnTo>
                    <a:pt x="872" y="600"/>
                  </a:lnTo>
                  <a:lnTo>
                    <a:pt x="872" y="598"/>
                  </a:lnTo>
                  <a:lnTo>
                    <a:pt x="874" y="598"/>
                  </a:lnTo>
                  <a:lnTo>
                    <a:pt x="876" y="598"/>
                  </a:lnTo>
                  <a:lnTo>
                    <a:pt x="876" y="595"/>
                  </a:lnTo>
                  <a:lnTo>
                    <a:pt x="876" y="595"/>
                  </a:lnTo>
                  <a:lnTo>
                    <a:pt x="876" y="593"/>
                  </a:lnTo>
                  <a:lnTo>
                    <a:pt x="876" y="591"/>
                  </a:lnTo>
                  <a:lnTo>
                    <a:pt x="876" y="591"/>
                  </a:lnTo>
                  <a:lnTo>
                    <a:pt x="881" y="591"/>
                  </a:lnTo>
                  <a:lnTo>
                    <a:pt x="881" y="591"/>
                  </a:lnTo>
                  <a:lnTo>
                    <a:pt x="881" y="588"/>
                  </a:lnTo>
                  <a:lnTo>
                    <a:pt x="879" y="588"/>
                  </a:lnTo>
                  <a:lnTo>
                    <a:pt x="879" y="586"/>
                  </a:lnTo>
                  <a:lnTo>
                    <a:pt x="879" y="586"/>
                  </a:lnTo>
                  <a:lnTo>
                    <a:pt x="881" y="586"/>
                  </a:lnTo>
                  <a:lnTo>
                    <a:pt x="883" y="586"/>
                  </a:lnTo>
                  <a:lnTo>
                    <a:pt x="883" y="586"/>
                  </a:lnTo>
                  <a:lnTo>
                    <a:pt x="886" y="586"/>
                  </a:lnTo>
                  <a:lnTo>
                    <a:pt x="888" y="588"/>
                  </a:lnTo>
                  <a:lnTo>
                    <a:pt x="888" y="586"/>
                  </a:lnTo>
                  <a:lnTo>
                    <a:pt x="888" y="586"/>
                  </a:lnTo>
                  <a:lnTo>
                    <a:pt x="886" y="584"/>
                  </a:lnTo>
                  <a:lnTo>
                    <a:pt x="886" y="581"/>
                  </a:lnTo>
                  <a:lnTo>
                    <a:pt x="886" y="576"/>
                  </a:lnTo>
                  <a:lnTo>
                    <a:pt x="886" y="576"/>
                  </a:lnTo>
                  <a:lnTo>
                    <a:pt x="886" y="574"/>
                  </a:lnTo>
                  <a:lnTo>
                    <a:pt x="883" y="574"/>
                  </a:lnTo>
                  <a:lnTo>
                    <a:pt x="881" y="574"/>
                  </a:lnTo>
                  <a:lnTo>
                    <a:pt x="879" y="574"/>
                  </a:lnTo>
                  <a:lnTo>
                    <a:pt x="879" y="574"/>
                  </a:lnTo>
                  <a:lnTo>
                    <a:pt x="876" y="572"/>
                  </a:lnTo>
                  <a:lnTo>
                    <a:pt x="876" y="572"/>
                  </a:lnTo>
                  <a:lnTo>
                    <a:pt x="879" y="572"/>
                  </a:lnTo>
                  <a:lnTo>
                    <a:pt x="881" y="572"/>
                  </a:lnTo>
                  <a:lnTo>
                    <a:pt x="881" y="572"/>
                  </a:lnTo>
                  <a:lnTo>
                    <a:pt x="883" y="572"/>
                  </a:lnTo>
                  <a:lnTo>
                    <a:pt x="886" y="569"/>
                  </a:lnTo>
                  <a:lnTo>
                    <a:pt x="886" y="567"/>
                  </a:lnTo>
                  <a:lnTo>
                    <a:pt x="888" y="567"/>
                  </a:lnTo>
                  <a:lnTo>
                    <a:pt x="888" y="567"/>
                  </a:lnTo>
                  <a:lnTo>
                    <a:pt x="886" y="565"/>
                  </a:lnTo>
                  <a:lnTo>
                    <a:pt x="886" y="565"/>
                  </a:lnTo>
                  <a:lnTo>
                    <a:pt x="886" y="562"/>
                  </a:lnTo>
                  <a:lnTo>
                    <a:pt x="883" y="560"/>
                  </a:lnTo>
                  <a:lnTo>
                    <a:pt x="881" y="560"/>
                  </a:lnTo>
                  <a:lnTo>
                    <a:pt x="881" y="560"/>
                  </a:lnTo>
                  <a:lnTo>
                    <a:pt x="881" y="558"/>
                  </a:lnTo>
                  <a:lnTo>
                    <a:pt x="881" y="558"/>
                  </a:lnTo>
                  <a:lnTo>
                    <a:pt x="881" y="558"/>
                  </a:lnTo>
                  <a:lnTo>
                    <a:pt x="883" y="558"/>
                  </a:lnTo>
                  <a:lnTo>
                    <a:pt x="883" y="558"/>
                  </a:lnTo>
                  <a:lnTo>
                    <a:pt x="883" y="555"/>
                  </a:lnTo>
                  <a:lnTo>
                    <a:pt x="883" y="555"/>
                  </a:lnTo>
                  <a:lnTo>
                    <a:pt x="883" y="558"/>
                  </a:lnTo>
                  <a:lnTo>
                    <a:pt x="886" y="558"/>
                  </a:lnTo>
                  <a:lnTo>
                    <a:pt x="886" y="560"/>
                  </a:lnTo>
                  <a:lnTo>
                    <a:pt x="886" y="560"/>
                  </a:lnTo>
                  <a:lnTo>
                    <a:pt x="886" y="560"/>
                  </a:lnTo>
                  <a:lnTo>
                    <a:pt x="888" y="562"/>
                  </a:lnTo>
                  <a:lnTo>
                    <a:pt x="888" y="560"/>
                  </a:lnTo>
                  <a:lnTo>
                    <a:pt x="891" y="560"/>
                  </a:lnTo>
                  <a:lnTo>
                    <a:pt x="891" y="558"/>
                  </a:lnTo>
                  <a:lnTo>
                    <a:pt x="891" y="555"/>
                  </a:lnTo>
                  <a:lnTo>
                    <a:pt x="891" y="550"/>
                  </a:lnTo>
                  <a:lnTo>
                    <a:pt x="893" y="550"/>
                  </a:lnTo>
                  <a:lnTo>
                    <a:pt x="893" y="548"/>
                  </a:lnTo>
                  <a:lnTo>
                    <a:pt x="895" y="546"/>
                  </a:lnTo>
                  <a:lnTo>
                    <a:pt x="895" y="543"/>
                  </a:lnTo>
                  <a:lnTo>
                    <a:pt x="895" y="543"/>
                  </a:lnTo>
                  <a:lnTo>
                    <a:pt x="895" y="541"/>
                  </a:lnTo>
                  <a:lnTo>
                    <a:pt x="895" y="539"/>
                  </a:lnTo>
                  <a:lnTo>
                    <a:pt x="895" y="539"/>
                  </a:lnTo>
                  <a:lnTo>
                    <a:pt x="895" y="536"/>
                  </a:lnTo>
                  <a:lnTo>
                    <a:pt x="898" y="534"/>
                  </a:lnTo>
                  <a:lnTo>
                    <a:pt x="898" y="534"/>
                  </a:lnTo>
                  <a:lnTo>
                    <a:pt x="895" y="532"/>
                  </a:lnTo>
                  <a:lnTo>
                    <a:pt x="895" y="532"/>
                  </a:lnTo>
                  <a:lnTo>
                    <a:pt x="895" y="532"/>
                  </a:lnTo>
                  <a:lnTo>
                    <a:pt x="898" y="532"/>
                  </a:lnTo>
                  <a:lnTo>
                    <a:pt x="898" y="532"/>
                  </a:lnTo>
                  <a:lnTo>
                    <a:pt x="900" y="529"/>
                  </a:lnTo>
                  <a:lnTo>
                    <a:pt x="900" y="524"/>
                  </a:lnTo>
                  <a:lnTo>
                    <a:pt x="900" y="524"/>
                  </a:lnTo>
                  <a:lnTo>
                    <a:pt x="902" y="524"/>
                  </a:lnTo>
                  <a:lnTo>
                    <a:pt x="902" y="527"/>
                  </a:lnTo>
                  <a:lnTo>
                    <a:pt x="905" y="527"/>
                  </a:lnTo>
                  <a:lnTo>
                    <a:pt x="907" y="524"/>
                  </a:lnTo>
                  <a:lnTo>
                    <a:pt x="909" y="524"/>
                  </a:lnTo>
                  <a:lnTo>
                    <a:pt x="907" y="524"/>
                  </a:lnTo>
                  <a:lnTo>
                    <a:pt x="907" y="520"/>
                  </a:lnTo>
                  <a:lnTo>
                    <a:pt x="905" y="517"/>
                  </a:lnTo>
                  <a:lnTo>
                    <a:pt x="905" y="517"/>
                  </a:lnTo>
                  <a:lnTo>
                    <a:pt x="907" y="515"/>
                  </a:lnTo>
                  <a:lnTo>
                    <a:pt x="907" y="515"/>
                  </a:lnTo>
                  <a:lnTo>
                    <a:pt x="907" y="513"/>
                  </a:lnTo>
                  <a:lnTo>
                    <a:pt x="905" y="513"/>
                  </a:lnTo>
                  <a:lnTo>
                    <a:pt x="905" y="513"/>
                  </a:lnTo>
                  <a:lnTo>
                    <a:pt x="907" y="513"/>
                  </a:lnTo>
                  <a:lnTo>
                    <a:pt x="905" y="510"/>
                  </a:lnTo>
                  <a:lnTo>
                    <a:pt x="902" y="508"/>
                  </a:lnTo>
                  <a:lnTo>
                    <a:pt x="900" y="508"/>
                  </a:lnTo>
                  <a:lnTo>
                    <a:pt x="902" y="506"/>
                  </a:lnTo>
                  <a:lnTo>
                    <a:pt x="902" y="506"/>
                  </a:lnTo>
                  <a:lnTo>
                    <a:pt x="905" y="506"/>
                  </a:lnTo>
                  <a:lnTo>
                    <a:pt x="905" y="506"/>
                  </a:lnTo>
                  <a:lnTo>
                    <a:pt x="907" y="506"/>
                  </a:lnTo>
                  <a:lnTo>
                    <a:pt x="909" y="508"/>
                  </a:lnTo>
                  <a:lnTo>
                    <a:pt x="909" y="508"/>
                  </a:lnTo>
                  <a:lnTo>
                    <a:pt x="907" y="501"/>
                  </a:lnTo>
                  <a:lnTo>
                    <a:pt x="907" y="498"/>
                  </a:lnTo>
                  <a:lnTo>
                    <a:pt x="905" y="496"/>
                  </a:lnTo>
                  <a:lnTo>
                    <a:pt x="905" y="498"/>
                  </a:lnTo>
                  <a:lnTo>
                    <a:pt x="902" y="501"/>
                  </a:lnTo>
                  <a:lnTo>
                    <a:pt x="900" y="501"/>
                  </a:lnTo>
                  <a:lnTo>
                    <a:pt x="900" y="498"/>
                  </a:lnTo>
                  <a:lnTo>
                    <a:pt x="902" y="498"/>
                  </a:lnTo>
                  <a:lnTo>
                    <a:pt x="905" y="494"/>
                  </a:lnTo>
                  <a:lnTo>
                    <a:pt x="907" y="491"/>
                  </a:lnTo>
                  <a:lnTo>
                    <a:pt x="907" y="491"/>
                  </a:lnTo>
                  <a:lnTo>
                    <a:pt x="905" y="491"/>
                  </a:lnTo>
                  <a:lnTo>
                    <a:pt x="902" y="491"/>
                  </a:lnTo>
                  <a:lnTo>
                    <a:pt x="900" y="489"/>
                  </a:lnTo>
                  <a:lnTo>
                    <a:pt x="893" y="484"/>
                  </a:lnTo>
                  <a:lnTo>
                    <a:pt x="893" y="484"/>
                  </a:lnTo>
                  <a:lnTo>
                    <a:pt x="891" y="482"/>
                  </a:lnTo>
                  <a:lnTo>
                    <a:pt x="888" y="482"/>
                  </a:lnTo>
                  <a:lnTo>
                    <a:pt x="886" y="487"/>
                  </a:lnTo>
                  <a:lnTo>
                    <a:pt x="881" y="487"/>
                  </a:lnTo>
                  <a:lnTo>
                    <a:pt x="876" y="482"/>
                  </a:lnTo>
                  <a:lnTo>
                    <a:pt x="874" y="484"/>
                  </a:lnTo>
                  <a:lnTo>
                    <a:pt x="872" y="484"/>
                  </a:lnTo>
                  <a:lnTo>
                    <a:pt x="872" y="484"/>
                  </a:lnTo>
                  <a:lnTo>
                    <a:pt x="872" y="484"/>
                  </a:lnTo>
                  <a:lnTo>
                    <a:pt x="872" y="484"/>
                  </a:lnTo>
                  <a:lnTo>
                    <a:pt x="876" y="482"/>
                  </a:lnTo>
                  <a:lnTo>
                    <a:pt x="879" y="482"/>
                  </a:lnTo>
                  <a:lnTo>
                    <a:pt x="881" y="482"/>
                  </a:lnTo>
                  <a:lnTo>
                    <a:pt x="883" y="482"/>
                  </a:lnTo>
                  <a:lnTo>
                    <a:pt x="883" y="480"/>
                  </a:lnTo>
                  <a:lnTo>
                    <a:pt x="883" y="477"/>
                  </a:lnTo>
                  <a:lnTo>
                    <a:pt x="888" y="475"/>
                  </a:lnTo>
                  <a:lnTo>
                    <a:pt x="891" y="472"/>
                  </a:lnTo>
                  <a:lnTo>
                    <a:pt x="891" y="472"/>
                  </a:lnTo>
                  <a:lnTo>
                    <a:pt x="895" y="470"/>
                  </a:lnTo>
                  <a:lnTo>
                    <a:pt x="895" y="470"/>
                  </a:lnTo>
                  <a:lnTo>
                    <a:pt x="898" y="470"/>
                  </a:lnTo>
                  <a:lnTo>
                    <a:pt x="895" y="468"/>
                  </a:lnTo>
                  <a:lnTo>
                    <a:pt x="895" y="465"/>
                  </a:lnTo>
                  <a:lnTo>
                    <a:pt x="891" y="461"/>
                  </a:lnTo>
                  <a:lnTo>
                    <a:pt x="883" y="458"/>
                  </a:lnTo>
                  <a:lnTo>
                    <a:pt x="881" y="456"/>
                  </a:lnTo>
                  <a:lnTo>
                    <a:pt x="876" y="454"/>
                  </a:lnTo>
                  <a:lnTo>
                    <a:pt x="874" y="454"/>
                  </a:lnTo>
                  <a:lnTo>
                    <a:pt x="872" y="451"/>
                  </a:lnTo>
                  <a:lnTo>
                    <a:pt x="872" y="449"/>
                  </a:lnTo>
                  <a:lnTo>
                    <a:pt x="869" y="449"/>
                  </a:lnTo>
                  <a:lnTo>
                    <a:pt x="865" y="446"/>
                  </a:lnTo>
                  <a:lnTo>
                    <a:pt x="862" y="449"/>
                  </a:lnTo>
                  <a:lnTo>
                    <a:pt x="860" y="449"/>
                  </a:lnTo>
                  <a:lnTo>
                    <a:pt x="858" y="449"/>
                  </a:lnTo>
                  <a:lnTo>
                    <a:pt x="858" y="449"/>
                  </a:lnTo>
                  <a:lnTo>
                    <a:pt x="858" y="449"/>
                  </a:lnTo>
                  <a:lnTo>
                    <a:pt x="860" y="449"/>
                  </a:lnTo>
                  <a:lnTo>
                    <a:pt x="865" y="444"/>
                  </a:lnTo>
                  <a:lnTo>
                    <a:pt x="867" y="446"/>
                  </a:lnTo>
                  <a:lnTo>
                    <a:pt x="872" y="446"/>
                  </a:lnTo>
                  <a:lnTo>
                    <a:pt x="874" y="451"/>
                  </a:lnTo>
                  <a:lnTo>
                    <a:pt x="879" y="451"/>
                  </a:lnTo>
                  <a:lnTo>
                    <a:pt x="881" y="451"/>
                  </a:lnTo>
                  <a:lnTo>
                    <a:pt x="881" y="451"/>
                  </a:lnTo>
                  <a:lnTo>
                    <a:pt x="888" y="454"/>
                  </a:lnTo>
                  <a:lnTo>
                    <a:pt x="891" y="454"/>
                  </a:lnTo>
                  <a:lnTo>
                    <a:pt x="893" y="454"/>
                  </a:lnTo>
                  <a:lnTo>
                    <a:pt x="891" y="451"/>
                  </a:lnTo>
                  <a:lnTo>
                    <a:pt x="891" y="449"/>
                  </a:lnTo>
                  <a:lnTo>
                    <a:pt x="888" y="446"/>
                  </a:lnTo>
                  <a:lnTo>
                    <a:pt x="886" y="446"/>
                  </a:lnTo>
                  <a:lnTo>
                    <a:pt x="883" y="444"/>
                  </a:lnTo>
                  <a:lnTo>
                    <a:pt x="881" y="444"/>
                  </a:lnTo>
                  <a:lnTo>
                    <a:pt x="881" y="444"/>
                  </a:lnTo>
                  <a:lnTo>
                    <a:pt x="879" y="439"/>
                  </a:lnTo>
                  <a:lnTo>
                    <a:pt x="876" y="439"/>
                  </a:lnTo>
                  <a:lnTo>
                    <a:pt x="876" y="437"/>
                  </a:lnTo>
                  <a:lnTo>
                    <a:pt x="869" y="435"/>
                  </a:lnTo>
                  <a:lnTo>
                    <a:pt x="867" y="435"/>
                  </a:lnTo>
                  <a:lnTo>
                    <a:pt x="867" y="432"/>
                  </a:lnTo>
                  <a:lnTo>
                    <a:pt x="867" y="430"/>
                  </a:lnTo>
                  <a:lnTo>
                    <a:pt x="865" y="425"/>
                  </a:lnTo>
                  <a:lnTo>
                    <a:pt x="860" y="420"/>
                  </a:lnTo>
                  <a:lnTo>
                    <a:pt x="858" y="416"/>
                  </a:lnTo>
                  <a:lnTo>
                    <a:pt x="853" y="413"/>
                  </a:lnTo>
                  <a:lnTo>
                    <a:pt x="853" y="411"/>
                  </a:lnTo>
                  <a:lnTo>
                    <a:pt x="850" y="409"/>
                  </a:lnTo>
                  <a:lnTo>
                    <a:pt x="846" y="402"/>
                  </a:lnTo>
                  <a:lnTo>
                    <a:pt x="846" y="399"/>
                  </a:lnTo>
                  <a:lnTo>
                    <a:pt x="843" y="399"/>
                  </a:lnTo>
                  <a:lnTo>
                    <a:pt x="839" y="397"/>
                  </a:lnTo>
                  <a:lnTo>
                    <a:pt x="834" y="394"/>
                  </a:lnTo>
                  <a:lnTo>
                    <a:pt x="832" y="392"/>
                  </a:lnTo>
                  <a:lnTo>
                    <a:pt x="827" y="390"/>
                  </a:lnTo>
                  <a:lnTo>
                    <a:pt x="825" y="390"/>
                  </a:lnTo>
                  <a:lnTo>
                    <a:pt x="822" y="390"/>
                  </a:lnTo>
                  <a:lnTo>
                    <a:pt x="822" y="387"/>
                  </a:lnTo>
                  <a:lnTo>
                    <a:pt x="820" y="383"/>
                  </a:lnTo>
                  <a:lnTo>
                    <a:pt x="822" y="383"/>
                  </a:lnTo>
                  <a:lnTo>
                    <a:pt x="822" y="378"/>
                  </a:lnTo>
                  <a:lnTo>
                    <a:pt x="825" y="375"/>
                  </a:lnTo>
                  <a:lnTo>
                    <a:pt x="825" y="373"/>
                  </a:lnTo>
                  <a:lnTo>
                    <a:pt x="825" y="371"/>
                  </a:lnTo>
                  <a:lnTo>
                    <a:pt x="827" y="371"/>
                  </a:lnTo>
                  <a:lnTo>
                    <a:pt x="827" y="371"/>
                  </a:lnTo>
                  <a:lnTo>
                    <a:pt x="827" y="368"/>
                  </a:lnTo>
                  <a:lnTo>
                    <a:pt x="829" y="368"/>
                  </a:lnTo>
                  <a:lnTo>
                    <a:pt x="829" y="366"/>
                  </a:lnTo>
                  <a:lnTo>
                    <a:pt x="829" y="366"/>
                  </a:lnTo>
                  <a:lnTo>
                    <a:pt x="832" y="364"/>
                  </a:lnTo>
                  <a:lnTo>
                    <a:pt x="832" y="364"/>
                  </a:lnTo>
                  <a:lnTo>
                    <a:pt x="832" y="361"/>
                  </a:lnTo>
                  <a:lnTo>
                    <a:pt x="829" y="361"/>
                  </a:lnTo>
                  <a:lnTo>
                    <a:pt x="827" y="359"/>
                  </a:lnTo>
                  <a:lnTo>
                    <a:pt x="827" y="359"/>
                  </a:lnTo>
                  <a:lnTo>
                    <a:pt x="829" y="359"/>
                  </a:lnTo>
                  <a:lnTo>
                    <a:pt x="829" y="357"/>
                  </a:lnTo>
                  <a:lnTo>
                    <a:pt x="832" y="357"/>
                  </a:lnTo>
                  <a:lnTo>
                    <a:pt x="832" y="359"/>
                  </a:lnTo>
                  <a:lnTo>
                    <a:pt x="832" y="359"/>
                  </a:lnTo>
                  <a:lnTo>
                    <a:pt x="832" y="361"/>
                  </a:lnTo>
                  <a:lnTo>
                    <a:pt x="834" y="361"/>
                  </a:lnTo>
                  <a:lnTo>
                    <a:pt x="834" y="359"/>
                  </a:lnTo>
                  <a:lnTo>
                    <a:pt x="836" y="359"/>
                  </a:lnTo>
                  <a:lnTo>
                    <a:pt x="836" y="359"/>
                  </a:lnTo>
                  <a:lnTo>
                    <a:pt x="836" y="354"/>
                  </a:lnTo>
                  <a:lnTo>
                    <a:pt x="836" y="354"/>
                  </a:lnTo>
                  <a:lnTo>
                    <a:pt x="836" y="352"/>
                  </a:lnTo>
                  <a:lnTo>
                    <a:pt x="839" y="354"/>
                  </a:lnTo>
                  <a:lnTo>
                    <a:pt x="839" y="352"/>
                  </a:lnTo>
                  <a:lnTo>
                    <a:pt x="839" y="352"/>
                  </a:lnTo>
                  <a:lnTo>
                    <a:pt x="839" y="352"/>
                  </a:lnTo>
                  <a:lnTo>
                    <a:pt x="836" y="349"/>
                  </a:lnTo>
                  <a:lnTo>
                    <a:pt x="836" y="349"/>
                  </a:lnTo>
                  <a:lnTo>
                    <a:pt x="836" y="349"/>
                  </a:lnTo>
                  <a:lnTo>
                    <a:pt x="839" y="349"/>
                  </a:lnTo>
                  <a:lnTo>
                    <a:pt x="841" y="349"/>
                  </a:lnTo>
                  <a:lnTo>
                    <a:pt x="841" y="347"/>
                  </a:lnTo>
                  <a:lnTo>
                    <a:pt x="846" y="347"/>
                  </a:lnTo>
                  <a:lnTo>
                    <a:pt x="848" y="345"/>
                  </a:lnTo>
                  <a:lnTo>
                    <a:pt x="853" y="342"/>
                  </a:lnTo>
                  <a:lnTo>
                    <a:pt x="855" y="342"/>
                  </a:lnTo>
                  <a:lnTo>
                    <a:pt x="858" y="342"/>
                  </a:lnTo>
                  <a:lnTo>
                    <a:pt x="858" y="342"/>
                  </a:lnTo>
                  <a:lnTo>
                    <a:pt x="858" y="342"/>
                  </a:lnTo>
                  <a:lnTo>
                    <a:pt x="860" y="345"/>
                  </a:lnTo>
                  <a:lnTo>
                    <a:pt x="860" y="345"/>
                  </a:lnTo>
                  <a:lnTo>
                    <a:pt x="860" y="345"/>
                  </a:lnTo>
                  <a:lnTo>
                    <a:pt x="862" y="342"/>
                  </a:lnTo>
                  <a:lnTo>
                    <a:pt x="862" y="342"/>
                  </a:lnTo>
                  <a:lnTo>
                    <a:pt x="862" y="340"/>
                  </a:lnTo>
                  <a:lnTo>
                    <a:pt x="862" y="340"/>
                  </a:lnTo>
                  <a:lnTo>
                    <a:pt x="860" y="340"/>
                  </a:lnTo>
                  <a:lnTo>
                    <a:pt x="862" y="338"/>
                  </a:lnTo>
                  <a:lnTo>
                    <a:pt x="862" y="338"/>
                  </a:lnTo>
                  <a:lnTo>
                    <a:pt x="860" y="333"/>
                  </a:lnTo>
                  <a:lnTo>
                    <a:pt x="862" y="333"/>
                  </a:lnTo>
                  <a:lnTo>
                    <a:pt x="860" y="331"/>
                  </a:lnTo>
                  <a:lnTo>
                    <a:pt x="858" y="333"/>
                  </a:lnTo>
                  <a:lnTo>
                    <a:pt x="855" y="333"/>
                  </a:lnTo>
                  <a:lnTo>
                    <a:pt x="853" y="331"/>
                  </a:lnTo>
                  <a:lnTo>
                    <a:pt x="850" y="331"/>
                  </a:lnTo>
                  <a:lnTo>
                    <a:pt x="850" y="331"/>
                  </a:lnTo>
                  <a:lnTo>
                    <a:pt x="850" y="331"/>
                  </a:lnTo>
                  <a:lnTo>
                    <a:pt x="848" y="331"/>
                  </a:lnTo>
                  <a:lnTo>
                    <a:pt x="846" y="331"/>
                  </a:lnTo>
                  <a:lnTo>
                    <a:pt x="843" y="331"/>
                  </a:lnTo>
                  <a:lnTo>
                    <a:pt x="841" y="331"/>
                  </a:lnTo>
                  <a:lnTo>
                    <a:pt x="839" y="328"/>
                  </a:lnTo>
                  <a:lnTo>
                    <a:pt x="834" y="328"/>
                  </a:lnTo>
                  <a:lnTo>
                    <a:pt x="832" y="326"/>
                  </a:lnTo>
                  <a:lnTo>
                    <a:pt x="825" y="323"/>
                  </a:lnTo>
                  <a:lnTo>
                    <a:pt x="820" y="326"/>
                  </a:lnTo>
                  <a:lnTo>
                    <a:pt x="817" y="326"/>
                  </a:lnTo>
                  <a:lnTo>
                    <a:pt x="817" y="326"/>
                  </a:lnTo>
                  <a:lnTo>
                    <a:pt x="817" y="326"/>
                  </a:lnTo>
                  <a:lnTo>
                    <a:pt x="820" y="328"/>
                  </a:lnTo>
                  <a:lnTo>
                    <a:pt x="817" y="331"/>
                  </a:lnTo>
                  <a:lnTo>
                    <a:pt x="813" y="333"/>
                  </a:lnTo>
                  <a:lnTo>
                    <a:pt x="815" y="335"/>
                  </a:lnTo>
                  <a:lnTo>
                    <a:pt x="815" y="335"/>
                  </a:lnTo>
                  <a:lnTo>
                    <a:pt x="813" y="338"/>
                  </a:lnTo>
                  <a:lnTo>
                    <a:pt x="808" y="338"/>
                  </a:lnTo>
                  <a:lnTo>
                    <a:pt x="806" y="338"/>
                  </a:lnTo>
                  <a:lnTo>
                    <a:pt x="801" y="338"/>
                  </a:lnTo>
                  <a:lnTo>
                    <a:pt x="799" y="335"/>
                  </a:lnTo>
                  <a:lnTo>
                    <a:pt x="799" y="333"/>
                  </a:lnTo>
                  <a:lnTo>
                    <a:pt x="796" y="331"/>
                  </a:lnTo>
                  <a:lnTo>
                    <a:pt x="796" y="328"/>
                  </a:lnTo>
                  <a:lnTo>
                    <a:pt x="796" y="326"/>
                  </a:lnTo>
                  <a:lnTo>
                    <a:pt x="796" y="326"/>
                  </a:lnTo>
                  <a:lnTo>
                    <a:pt x="796" y="326"/>
                  </a:lnTo>
                  <a:lnTo>
                    <a:pt x="796" y="323"/>
                  </a:lnTo>
                  <a:lnTo>
                    <a:pt x="796" y="323"/>
                  </a:lnTo>
                  <a:lnTo>
                    <a:pt x="794" y="321"/>
                  </a:lnTo>
                  <a:lnTo>
                    <a:pt x="792" y="319"/>
                  </a:lnTo>
                  <a:lnTo>
                    <a:pt x="789" y="316"/>
                  </a:lnTo>
                  <a:lnTo>
                    <a:pt x="787" y="316"/>
                  </a:lnTo>
                  <a:lnTo>
                    <a:pt x="784" y="316"/>
                  </a:lnTo>
                  <a:lnTo>
                    <a:pt x="775" y="316"/>
                  </a:lnTo>
                  <a:lnTo>
                    <a:pt x="768" y="312"/>
                  </a:lnTo>
                  <a:lnTo>
                    <a:pt x="766" y="309"/>
                  </a:lnTo>
                  <a:lnTo>
                    <a:pt x="763" y="307"/>
                  </a:lnTo>
                  <a:lnTo>
                    <a:pt x="761" y="305"/>
                  </a:lnTo>
                  <a:lnTo>
                    <a:pt x="761" y="302"/>
                  </a:lnTo>
                  <a:lnTo>
                    <a:pt x="761" y="295"/>
                  </a:lnTo>
                  <a:lnTo>
                    <a:pt x="763" y="295"/>
                  </a:lnTo>
                  <a:lnTo>
                    <a:pt x="766" y="293"/>
                  </a:lnTo>
                  <a:lnTo>
                    <a:pt x="768" y="295"/>
                  </a:lnTo>
                  <a:lnTo>
                    <a:pt x="770" y="297"/>
                  </a:lnTo>
                  <a:lnTo>
                    <a:pt x="775" y="295"/>
                  </a:lnTo>
                  <a:lnTo>
                    <a:pt x="775" y="295"/>
                  </a:lnTo>
                  <a:lnTo>
                    <a:pt x="777" y="295"/>
                  </a:lnTo>
                  <a:lnTo>
                    <a:pt x="780" y="295"/>
                  </a:lnTo>
                  <a:lnTo>
                    <a:pt x="782" y="295"/>
                  </a:lnTo>
                  <a:lnTo>
                    <a:pt x="782" y="295"/>
                  </a:lnTo>
                  <a:lnTo>
                    <a:pt x="782" y="293"/>
                  </a:lnTo>
                  <a:lnTo>
                    <a:pt x="784" y="290"/>
                  </a:lnTo>
                  <a:lnTo>
                    <a:pt x="784" y="286"/>
                  </a:lnTo>
                  <a:lnTo>
                    <a:pt x="784" y="283"/>
                  </a:lnTo>
                  <a:lnTo>
                    <a:pt x="784" y="283"/>
                  </a:lnTo>
                  <a:lnTo>
                    <a:pt x="787" y="279"/>
                  </a:lnTo>
                  <a:lnTo>
                    <a:pt x="789" y="276"/>
                  </a:lnTo>
                  <a:lnTo>
                    <a:pt x="796" y="274"/>
                  </a:lnTo>
                  <a:lnTo>
                    <a:pt x="799" y="274"/>
                  </a:lnTo>
                  <a:lnTo>
                    <a:pt x="799" y="267"/>
                  </a:lnTo>
                  <a:lnTo>
                    <a:pt x="801" y="264"/>
                  </a:lnTo>
                  <a:lnTo>
                    <a:pt x="801" y="264"/>
                  </a:lnTo>
                  <a:lnTo>
                    <a:pt x="801" y="262"/>
                  </a:lnTo>
                  <a:lnTo>
                    <a:pt x="803" y="262"/>
                  </a:lnTo>
                  <a:lnTo>
                    <a:pt x="803" y="260"/>
                  </a:lnTo>
                  <a:lnTo>
                    <a:pt x="810" y="260"/>
                  </a:lnTo>
                  <a:lnTo>
                    <a:pt x="810" y="262"/>
                  </a:lnTo>
                  <a:lnTo>
                    <a:pt x="813" y="262"/>
                  </a:lnTo>
                  <a:lnTo>
                    <a:pt x="813" y="260"/>
                  </a:lnTo>
                  <a:lnTo>
                    <a:pt x="813" y="260"/>
                  </a:lnTo>
                  <a:lnTo>
                    <a:pt x="813" y="257"/>
                  </a:lnTo>
                  <a:lnTo>
                    <a:pt x="815" y="262"/>
                  </a:lnTo>
                  <a:lnTo>
                    <a:pt x="822" y="264"/>
                  </a:lnTo>
                  <a:lnTo>
                    <a:pt x="825" y="267"/>
                  </a:lnTo>
                  <a:lnTo>
                    <a:pt x="825" y="267"/>
                  </a:lnTo>
                  <a:lnTo>
                    <a:pt x="827" y="269"/>
                  </a:lnTo>
                  <a:lnTo>
                    <a:pt x="827" y="271"/>
                  </a:lnTo>
                  <a:lnTo>
                    <a:pt x="827" y="271"/>
                  </a:lnTo>
                  <a:lnTo>
                    <a:pt x="825" y="276"/>
                  </a:lnTo>
                  <a:lnTo>
                    <a:pt x="825" y="279"/>
                  </a:lnTo>
                  <a:lnTo>
                    <a:pt x="822" y="279"/>
                  </a:lnTo>
                  <a:lnTo>
                    <a:pt x="820" y="281"/>
                  </a:lnTo>
                  <a:lnTo>
                    <a:pt x="820" y="281"/>
                  </a:lnTo>
                  <a:lnTo>
                    <a:pt x="820" y="283"/>
                  </a:lnTo>
                  <a:lnTo>
                    <a:pt x="822" y="286"/>
                  </a:lnTo>
                  <a:lnTo>
                    <a:pt x="820" y="286"/>
                  </a:lnTo>
                  <a:lnTo>
                    <a:pt x="820" y="286"/>
                  </a:lnTo>
                  <a:lnTo>
                    <a:pt x="817" y="286"/>
                  </a:lnTo>
                  <a:lnTo>
                    <a:pt x="817" y="288"/>
                  </a:lnTo>
                  <a:lnTo>
                    <a:pt x="820" y="288"/>
                  </a:lnTo>
                  <a:lnTo>
                    <a:pt x="820" y="290"/>
                  </a:lnTo>
                  <a:lnTo>
                    <a:pt x="822" y="290"/>
                  </a:lnTo>
                  <a:lnTo>
                    <a:pt x="825" y="290"/>
                  </a:lnTo>
                  <a:lnTo>
                    <a:pt x="829" y="290"/>
                  </a:lnTo>
                  <a:lnTo>
                    <a:pt x="829" y="290"/>
                  </a:lnTo>
                  <a:lnTo>
                    <a:pt x="829" y="290"/>
                  </a:lnTo>
                  <a:lnTo>
                    <a:pt x="827" y="293"/>
                  </a:lnTo>
                  <a:lnTo>
                    <a:pt x="827" y="293"/>
                  </a:lnTo>
                  <a:lnTo>
                    <a:pt x="829" y="295"/>
                  </a:lnTo>
                  <a:lnTo>
                    <a:pt x="825" y="300"/>
                  </a:lnTo>
                  <a:lnTo>
                    <a:pt x="822" y="300"/>
                  </a:lnTo>
                  <a:lnTo>
                    <a:pt x="822" y="300"/>
                  </a:lnTo>
                  <a:lnTo>
                    <a:pt x="822" y="302"/>
                  </a:lnTo>
                  <a:lnTo>
                    <a:pt x="825" y="305"/>
                  </a:lnTo>
                  <a:lnTo>
                    <a:pt x="825" y="305"/>
                  </a:lnTo>
                  <a:lnTo>
                    <a:pt x="825" y="302"/>
                  </a:lnTo>
                  <a:lnTo>
                    <a:pt x="827" y="302"/>
                  </a:lnTo>
                  <a:lnTo>
                    <a:pt x="829" y="302"/>
                  </a:lnTo>
                  <a:lnTo>
                    <a:pt x="832" y="300"/>
                  </a:lnTo>
                  <a:lnTo>
                    <a:pt x="832" y="300"/>
                  </a:lnTo>
                  <a:lnTo>
                    <a:pt x="829" y="300"/>
                  </a:lnTo>
                  <a:lnTo>
                    <a:pt x="829" y="297"/>
                  </a:lnTo>
                  <a:lnTo>
                    <a:pt x="832" y="297"/>
                  </a:lnTo>
                  <a:lnTo>
                    <a:pt x="832" y="297"/>
                  </a:lnTo>
                  <a:lnTo>
                    <a:pt x="834" y="297"/>
                  </a:lnTo>
                  <a:lnTo>
                    <a:pt x="834" y="297"/>
                  </a:lnTo>
                  <a:lnTo>
                    <a:pt x="834" y="297"/>
                  </a:lnTo>
                  <a:lnTo>
                    <a:pt x="836" y="295"/>
                  </a:lnTo>
                  <a:lnTo>
                    <a:pt x="836" y="295"/>
                  </a:lnTo>
                  <a:lnTo>
                    <a:pt x="836" y="293"/>
                  </a:lnTo>
                  <a:lnTo>
                    <a:pt x="839" y="290"/>
                  </a:lnTo>
                  <a:lnTo>
                    <a:pt x="843" y="286"/>
                  </a:lnTo>
                  <a:lnTo>
                    <a:pt x="846" y="286"/>
                  </a:lnTo>
                  <a:lnTo>
                    <a:pt x="848" y="283"/>
                  </a:lnTo>
                  <a:lnTo>
                    <a:pt x="850" y="283"/>
                  </a:lnTo>
                  <a:lnTo>
                    <a:pt x="850" y="283"/>
                  </a:lnTo>
                  <a:lnTo>
                    <a:pt x="853" y="281"/>
                  </a:lnTo>
                  <a:lnTo>
                    <a:pt x="855" y="281"/>
                  </a:lnTo>
                  <a:lnTo>
                    <a:pt x="855" y="281"/>
                  </a:lnTo>
                  <a:lnTo>
                    <a:pt x="855" y="281"/>
                  </a:lnTo>
                  <a:lnTo>
                    <a:pt x="855" y="279"/>
                  </a:lnTo>
                  <a:lnTo>
                    <a:pt x="858" y="281"/>
                  </a:lnTo>
                  <a:lnTo>
                    <a:pt x="865" y="281"/>
                  </a:lnTo>
                  <a:lnTo>
                    <a:pt x="867" y="279"/>
                  </a:lnTo>
                  <a:lnTo>
                    <a:pt x="867" y="279"/>
                  </a:lnTo>
                  <a:lnTo>
                    <a:pt x="867" y="279"/>
                  </a:lnTo>
                  <a:lnTo>
                    <a:pt x="867" y="276"/>
                  </a:lnTo>
                  <a:lnTo>
                    <a:pt x="867" y="274"/>
                  </a:lnTo>
                  <a:lnTo>
                    <a:pt x="869" y="271"/>
                  </a:lnTo>
                  <a:lnTo>
                    <a:pt x="869" y="271"/>
                  </a:lnTo>
                  <a:lnTo>
                    <a:pt x="872" y="269"/>
                  </a:lnTo>
                  <a:lnTo>
                    <a:pt x="872" y="269"/>
                  </a:lnTo>
                  <a:lnTo>
                    <a:pt x="874" y="269"/>
                  </a:lnTo>
                  <a:lnTo>
                    <a:pt x="874" y="269"/>
                  </a:lnTo>
                  <a:lnTo>
                    <a:pt x="874" y="267"/>
                  </a:lnTo>
                  <a:lnTo>
                    <a:pt x="874" y="267"/>
                  </a:lnTo>
                  <a:lnTo>
                    <a:pt x="874" y="267"/>
                  </a:lnTo>
                  <a:lnTo>
                    <a:pt x="876" y="264"/>
                  </a:lnTo>
                  <a:lnTo>
                    <a:pt x="879" y="264"/>
                  </a:lnTo>
                  <a:lnTo>
                    <a:pt x="879" y="262"/>
                  </a:lnTo>
                  <a:lnTo>
                    <a:pt x="881" y="262"/>
                  </a:lnTo>
                  <a:lnTo>
                    <a:pt x="881" y="262"/>
                  </a:lnTo>
                  <a:lnTo>
                    <a:pt x="881" y="262"/>
                  </a:lnTo>
                  <a:lnTo>
                    <a:pt x="881" y="262"/>
                  </a:lnTo>
                  <a:lnTo>
                    <a:pt x="881" y="260"/>
                  </a:lnTo>
                  <a:lnTo>
                    <a:pt x="881" y="260"/>
                  </a:lnTo>
                  <a:lnTo>
                    <a:pt x="883" y="260"/>
                  </a:lnTo>
                  <a:lnTo>
                    <a:pt x="886" y="260"/>
                  </a:lnTo>
                  <a:lnTo>
                    <a:pt x="886" y="257"/>
                  </a:lnTo>
                  <a:lnTo>
                    <a:pt x="886" y="257"/>
                  </a:lnTo>
                  <a:lnTo>
                    <a:pt x="886" y="257"/>
                  </a:lnTo>
                  <a:lnTo>
                    <a:pt x="888" y="255"/>
                  </a:lnTo>
                  <a:lnTo>
                    <a:pt x="888" y="253"/>
                  </a:lnTo>
                  <a:lnTo>
                    <a:pt x="888" y="250"/>
                  </a:lnTo>
                  <a:lnTo>
                    <a:pt x="888" y="250"/>
                  </a:lnTo>
                  <a:lnTo>
                    <a:pt x="888" y="250"/>
                  </a:lnTo>
                  <a:lnTo>
                    <a:pt x="888" y="250"/>
                  </a:lnTo>
                  <a:lnTo>
                    <a:pt x="888" y="248"/>
                  </a:lnTo>
                  <a:lnTo>
                    <a:pt x="888" y="245"/>
                  </a:lnTo>
                  <a:lnTo>
                    <a:pt x="888" y="245"/>
                  </a:lnTo>
                  <a:lnTo>
                    <a:pt x="888" y="243"/>
                  </a:lnTo>
                  <a:lnTo>
                    <a:pt x="888" y="243"/>
                  </a:lnTo>
                  <a:lnTo>
                    <a:pt x="891" y="243"/>
                  </a:lnTo>
                  <a:lnTo>
                    <a:pt x="891" y="243"/>
                  </a:lnTo>
                  <a:lnTo>
                    <a:pt x="891" y="243"/>
                  </a:lnTo>
                  <a:lnTo>
                    <a:pt x="891" y="241"/>
                  </a:lnTo>
                  <a:lnTo>
                    <a:pt x="893" y="243"/>
                  </a:lnTo>
                  <a:lnTo>
                    <a:pt x="893" y="243"/>
                  </a:lnTo>
                  <a:lnTo>
                    <a:pt x="895" y="243"/>
                  </a:lnTo>
                  <a:lnTo>
                    <a:pt x="895" y="245"/>
                  </a:lnTo>
                  <a:lnTo>
                    <a:pt x="898" y="245"/>
                  </a:lnTo>
                  <a:lnTo>
                    <a:pt x="898" y="245"/>
                  </a:lnTo>
                  <a:lnTo>
                    <a:pt x="900" y="248"/>
                  </a:lnTo>
                  <a:lnTo>
                    <a:pt x="900" y="248"/>
                  </a:lnTo>
                  <a:lnTo>
                    <a:pt x="905" y="248"/>
                  </a:lnTo>
                  <a:lnTo>
                    <a:pt x="905" y="248"/>
                  </a:lnTo>
                  <a:lnTo>
                    <a:pt x="907" y="248"/>
                  </a:lnTo>
                  <a:lnTo>
                    <a:pt x="909" y="248"/>
                  </a:lnTo>
                  <a:lnTo>
                    <a:pt x="912" y="248"/>
                  </a:lnTo>
                  <a:lnTo>
                    <a:pt x="914" y="248"/>
                  </a:lnTo>
                  <a:lnTo>
                    <a:pt x="914" y="250"/>
                  </a:lnTo>
                  <a:lnTo>
                    <a:pt x="916" y="250"/>
                  </a:lnTo>
                  <a:lnTo>
                    <a:pt x="916" y="250"/>
                  </a:lnTo>
                  <a:lnTo>
                    <a:pt x="916" y="248"/>
                  </a:lnTo>
                  <a:lnTo>
                    <a:pt x="916" y="248"/>
                  </a:lnTo>
                  <a:lnTo>
                    <a:pt x="916" y="245"/>
                  </a:lnTo>
                  <a:lnTo>
                    <a:pt x="916" y="245"/>
                  </a:lnTo>
                  <a:lnTo>
                    <a:pt x="916" y="245"/>
                  </a:lnTo>
                  <a:lnTo>
                    <a:pt x="914" y="243"/>
                  </a:lnTo>
                  <a:lnTo>
                    <a:pt x="912" y="243"/>
                  </a:lnTo>
                  <a:lnTo>
                    <a:pt x="912" y="241"/>
                  </a:lnTo>
                  <a:lnTo>
                    <a:pt x="909" y="241"/>
                  </a:lnTo>
                  <a:lnTo>
                    <a:pt x="909" y="238"/>
                  </a:lnTo>
                  <a:lnTo>
                    <a:pt x="909" y="238"/>
                  </a:lnTo>
                  <a:lnTo>
                    <a:pt x="909" y="238"/>
                  </a:lnTo>
                  <a:lnTo>
                    <a:pt x="909" y="236"/>
                  </a:lnTo>
                  <a:lnTo>
                    <a:pt x="912" y="236"/>
                  </a:lnTo>
                  <a:lnTo>
                    <a:pt x="914" y="236"/>
                  </a:lnTo>
                  <a:lnTo>
                    <a:pt x="919" y="236"/>
                  </a:lnTo>
                  <a:lnTo>
                    <a:pt x="921" y="236"/>
                  </a:lnTo>
                  <a:lnTo>
                    <a:pt x="921" y="236"/>
                  </a:lnTo>
                  <a:lnTo>
                    <a:pt x="924" y="236"/>
                  </a:lnTo>
                  <a:lnTo>
                    <a:pt x="924" y="236"/>
                  </a:lnTo>
                  <a:lnTo>
                    <a:pt x="924" y="234"/>
                  </a:lnTo>
                  <a:lnTo>
                    <a:pt x="926" y="234"/>
                  </a:lnTo>
                  <a:lnTo>
                    <a:pt x="926" y="234"/>
                  </a:lnTo>
                  <a:lnTo>
                    <a:pt x="926" y="231"/>
                  </a:lnTo>
                  <a:lnTo>
                    <a:pt x="926" y="231"/>
                  </a:lnTo>
                  <a:lnTo>
                    <a:pt x="926" y="229"/>
                  </a:lnTo>
                  <a:lnTo>
                    <a:pt x="926" y="229"/>
                  </a:lnTo>
                  <a:lnTo>
                    <a:pt x="926" y="229"/>
                  </a:lnTo>
                  <a:lnTo>
                    <a:pt x="928" y="229"/>
                  </a:lnTo>
                  <a:lnTo>
                    <a:pt x="928" y="229"/>
                  </a:lnTo>
                  <a:lnTo>
                    <a:pt x="931" y="229"/>
                  </a:lnTo>
                  <a:lnTo>
                    <a:pt x="931" y="229"/>
                  </a:lnTo>
                  <a:lnTo>
                    <a:pt x="931" y="229"/>
                  </a:lnTo>
                  <a:lnTo>
                    <a:pt x="931" y="229"/>
                  </a:lnTo>
                  <a:lnTo>
                    <a:pt x="931" y="229"/>
                  </a:lnTo>
                  <a:lnTo>
                    <a:pt x="931" y="227"/>
                  </a:lnTo>
                  <a:lnTo>
                    <a:pt x="931" y="224"/>
                  </a:lnTo>
                  <a:lnTo>
                    <a:pt x="931" y="222"/>
                  </a:lnTo>
                  <a:lnTo>
                    <a:pt x="928" y="222"/>
                  </a:lnTo>
                  <a:lnTo>
                    <a:pt x="928" y="219"/>
                  </a:lnTo>
                  <a:lnTo>
                    <a:pt x="928" y="217"/>
                  </a:lnTo>
                  <a:lnTo>
                    <a:pt x="928" y="217"/>
                  </a:lnTo>
                  <a:lnTo>
                    <a:pt x="931" y="217"/>
                  </a:lnTo>
                  <a:lnTo>
                    <a:pt x="931" y="217"/>
                  </a:lnTo>
                  <a:lnTo>
                    <a:pt x="931" y="217"/>
                  </a:lnTo>
                  <a:lnTo>
                    <a:pt x="933" y="217"/>
                  </a:lnTo>
                  <a:lnTo>
                    <a:pt x="933" y="217"/>
                  </a:lnTo>
                  <a:lnTo>
                    <a:pt x="933" y="219"/>
                  </a:lnTo>
                  <a:lnTo>
                    <a:pt x="935" y="219"/>
                  </a:lnTo>
                  <a:lnTo>
                    <a:pt x="935" y="219"/>
                  </a:lnTo>
                  <a:lnTo>
                    <a:pt x="938" y="222"/>
                  </a:lnTo>
                  <a:lnTo>
                    <a:pt x="940" y="224"/>
                  </a:lnTo>
                  <a:lnTo>
                    <a:pt x="940" y="224"/>
                  </a:lnTo>
                  <a:lnTo>
                    <a:pt x="942" y="224"/>
                  </a:lnTo>
                  <a:lnTo>
                    <a:pt x="945" y="227"/>
                  </a:lnTo>
                  <a:lnTo>
                    <a:pt x="945" y="227"/>
                  </a:lnTo>
                  <a:lnTo>
                    <a:pt x="945" y="227"/>
                  </a:lnTo>
                  <a:lnTo>
                    <a:pt x="945" y="224"/>
                  </a:lnTo>
                  <a:lnTo>
                    <a:pt x="942" y="224"/>
                  </a:lnTo>
                  <a:lnTo>
                    <a:pt x="942" y="224"/>
                  </a:lnTo>
                  <a:lnTo>
                    <a:pt x="940" y="222"/>
                  </a:lnTo>
                  <a:lnTo>
                    <a:pt x="940" y="222"/>
                  </a:lnTo>
                  <a:lnTo>
                    <a:pt x="940" y="222"/>
                  </a:lnTo>
                  <a:lnTo>
                    <a:pt x="942" y="222"/>
                  </a:lnTo>
                  <a:lnTo>
                    <a:pt x="942" y="222"/>
                  </a:lnTo>
                  <a:lnTo>
                    <a:pt x="945" y="219"/>
                  </a:lnTo>
                  <a:lnTo>
                    <a:pt x="945" y="219"/>
                  </a:lnTo>
                  <a:lnTo>
                    <a:pt x="947" y="219"/>
                  </a:lnTo>
                  <a:lnTo>
                    <a:pt x="947" y="219"/>
                  </a:lnTo>
                  <a:lnTo>
                    <a:pt x="949" y="219"/>
                  </a:lnTo>
                  <a:lnTo>
                    <a:pt x="949" y="219"/>
                  </a:lnTo>
                  <a:lnTo>
                    <a:pt x="949" y="217"/>
                  </a:lnTo>
                  <a:lnTo>
                    <a:pt x="949" y="217"/>
                  </a:lnTo>
                  <a:lnTo>
                    <a:pt x="949" y="215"/>
                  </a:lnTo>
                  <a:lnTo>
                    <a:pt x="949" y="215"/>
                  </a:lnTo>
                  <a:lnTo>
                    <a:pt x="949" y="215"/>
                  </a:lnTo>
                  <a:lnTo>
                    <a:pt x="947" y="212"/>
                  </a:lnTo>
                  <a:lnTo>
                    <a:pt x="947" y="210"/>
                  </a:lnTo>
                  <a:lnTo>
                    <a:pt x="947" y="210"/>
                  </a:lnTo>
                  <a:lnTo>
                    <a:pt x="947" y="208"/>
                  </a:lnTo>
                  <a:lnTo>
                    <a:pt x="947" y="208"/>
                  </a:lnTo>
                  <a:lnTo>
                    <a:pt x="945" y="208"/>
                  </a:lnTo>
                  <a:lnTo>
                    <a:pt x="945" y="208"/>
                  </a:lnTo>
                  <a:lnTo>
                    <a:pt x="945" y="205"/>
                  </a:lnTo>
                  <a:lnTo>
                    <a:pt x="942" y="203"/>
                  </a:lnTo>
                  <a:lnTo>
                    <a:pt x="942" y="203"/>
                  </a:lnTo>
                  <a:lnTo>
                    <a:pt x="940" y="196"/>
                  </a:lnTo>
                  <a:lnTo>
                    <a:pt x="940" y="196"/>
                  </a:lnTo>
                  <a:lnTo>
                    <a:pt x="933" y="186"/>
                  </a:lnTo>
                  <a:lnTo>
                    <a:pt x="931" y="184"/>
                  </a:lnTo>
                  <a:lnTo>
                    <a:pt x="928" y="184"/>
                  </a:lnTo>
                  <a:lnTo>
                    <a:pt x="926" y="182"/>
                  </a:lnTo>
                  <a:lnTo>
                    <a:pt x="926" y="179"/>
                  </a:lnTo>
                  <a:lnTo>
                    <a:pt x="926" y="179"/>
                  </a:lnTo>
                  <a:lnTo>
                    <a:pt x="926" y="179"/>
                  </a:lnTo>
                  <a:lnTo>
                    <a:pt x="926" y="177"/>
                  </a:lnTo>
                  <a:lnTo>
                    <a:pt x="928" y="177"/>
                  </a:lnTo>
                  <a:lnTo>
                    <a:pt x="928" y="177"/>
                  </a:lnTo>
                  <a:lnTo>
                    <a:pt x="931" y="177"/>
                  </a:lnTo>
                  <a:lnTo>
                    <a:pt x="933" y="175"/>
                  </a:lnTo>
                  <a:lnTo>
                    <a:pt x="933" y="172"/>
                  </a:lnTo>
                  <a:lnTo>
                    <a:pt x="933" y="172"/>
                  </a:lnTo>
                  <a:lnTo>
                    <a:pt x="933" y="170"/>
                  </a:lnTo>
                  <a:lnTo>
                    <a:pt x="933" y="170"/>
                  </a:lnTo>
                  <a:lnTo>
                    <a:pt x="933" y="167"/>
                  </a:lnTo>
                  <a:lnTo>
                    <a:pt x="933" y="167"/>
                  </a:lnTo>
                  <a:lnTo>
                    <a:pt x="935" y="170"/>
                  </a:lnTo>
                  <a:lnTo>
                    <a:pt x="938" y="170"/>
                  </a:lnTo>
                  <a:lnTo>
                    <a:pt x="940" y="170"/>
                  </a:lnTo>
                  <a:lnTo>
                    <a:pt x="940" y="170"/>
                  </a:lnTo>
                  <a:lnTo>
                    <a:pt x="945" y="172"/>
                  </a:lnTo>
                  <a:lnTo>
                    <a:pt x="947" y="172"/>
                  </a:lnTo>
                  <a:lnTo>
                    <a:pt x="949" y="172"/>
                  </a:lnTo>
                  <a:lnTo>
                    <a:pt x="952" y="172"/>
                  </a:lnTo>
                  <a:lnTo>
                    <a:pt x="954" y="172"/>
                  </a:lnTo>
                  <a:lnTo>
                    <a:pt x="954" y="175"/>
                  </a:lnTo>
                  <a:lnTo>
                    <a:pt x="957" y="175"/>
                  </a:lnTo>
                  <a:lnTo>
                    <a:pt x="957" y="172"/>
                  </a:lnTo>
                  <a:lnTo>
                    <a:pt x="957" y="172"/>
                  </a:lnTo>
                  <a:lnTo>
                    <a:pt x="957" y="17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1" name="Freeform 367"/>
            <p:cNvSpPr>
              <a:spLocks noEditPoints="1"/>
            </p:cNvSpPr>
            <p:nvPr userDrawn="1"/>
          </p:nvSpPr>
          <p:spPr bwMode="auto">
            <a:xfrm>
              <a:off x="2366" y="3177"/>
              <a:ext cx="290" cy="796"/>
            </a:xfrm>
            <a:custGeom>
              <a:avLst/>
              <a:gdLst>
                <a:gd name="T0" fmla="*/ 271 w 290"/>
                <a:gd name="T1" fmla="*/ 787 h 796"/>
                <a:gd name="T2" fmla="*/ 238 w 290"/>
                <a:gd name="T3" fmla="*/ 787 h 796"/>
                <a:gd name="T4" fmla="*/ 262 w 290"/>
                <a:gd name="T5" fmla="*/ 794 h 796"/>
                <a:gd name="T6" fmla="*/ 219 w 290"/>
                <a:gd name="T7" fmla="*/ 782 h 796"/>
                <a:gd name="T8" fmla="*/ 191 w 290"/>
                <a:gd name="T9" fmla="*/ 761 h 796"/>
                <a:gd name="T10" fmla="*/ 158 w 290"/>
                <a:gd name="T11" fmla="*/ 754 h 796"/>
                <a:gd name="T12" fmla="*/ 184 w 290"/>
                <a:gd name="T13" fmla="*/ 766 h 796"/>
                <a:gd name="T14" fmla="*/ 137 w 290"/>
                <a:gd name="T15" fmla="*/ 737 h 796"/>
                <a:gd name="T16" fmla="*/ 229 w 290"/>
                <a:gd name="T17" fmla="*/ 735 h 796"/>
                <a:gd name="T18" fmla="*/ 217 w 290"/>
                <a:gd name="T19" fmla="*/ 751 h 796"/>
                <a:gd name="T20" fmla="*/ 229 w 290"/>
                <a:gd name="T21" fmla="*/ 770 h 796"/>
                <a:gd name="T22" fmla="*/ 212 w 290"/>
                <a:gd name="T23" fmla="*/ 770 h 796"/>
                <a:gd name="T24" fmla="*/ 137 w 290"/>
                <a:gd name="T25" fmla="*/ 721 h 796"/>
                <a:gd name="T26" fmla="*/ 120 w 290"/>
                <a:gd name="T27" fmla="*/ 711 h 796"/>
                <a:gd name="T28" fmla="*/ 106 w 290"/>
                <a:gd name="T29" fmla="*/ 697 h 796"/>
                <a:gd name="T30" fmla="*/ 83 w 290"/>
                <a:gd name="T31" fmla="*/ 659 h 796"/>
                <a:gd name="T32" fmla="*/ 92 w 290"/>
                <a:gd name="T33" fmla="*/ 657 h 796"/>
                <a:gd name="T34" fmla="*/ 101 w 290"/>
                <a:gd name="T35" fmla="*/ 671 h 796"/>
                <a:gd name="T36" fmla="*/ 83 w 290"/>
                <a:gd name="T37" fmla="*/ 657 h 796"/>
                <a:gd name="T38" fmla="*/ 78 w 290"/>
                <a:gd name="T39" fmla="*/ 636 h 796"/>
                <a:gd name="T40" fmla="*/ 54 w 290"/>
                <a:gd name="T41" fmla="*/ 574 h 796"/>
                <a:gd name="T42" fmla="*/ 92 w 290"/>
                <a:gd name="T43" fmla="*/ 569 h 796"/>
                <a:gd name="T44" fmla="*/ 66 w 290"/>
                <a:gd name="T45" fmla="*/ 574 h 796"/>
                <a:gd name="T46" fmla="*/ 64 w 290"/>
                <a:gd name="T47" fmla="*/ 555 h 796"/>
                <a:gd name="T48" fmla="*/ 59 w 290"/>
                <a:gd name="T49" fmla="*/ 527 h 796"/>
                <a:gd name="T50" fmla="*/ 54 w 290"/>
                <a:gd name="T51" fmla="*/ 541 h 796"/>
                <a:gd name="T52" fmla="*/ 231 w 290"/>
                <a:gd name="T53" fmla="*/ 728 h 796"/>
                <a:gd name="T54" fmla="*/ 151 w 290"/>
                <a:gd name="T55" fmla="*/ 695 h 796"/>
                <a:gd name="T56" fmla="*/ 130 w 290"/>
                <a:gd name="T57" fmla="*/ 657 h 796"/>
                <a:gd name="T58" fmla="*/ 123 w 290"/>
                <a:gd name="T59" fmla="*/ 607 h 796"/>
                <a:gd name="T60" fmla="*/ 118 w 290"/>
                <a:gd name="T61" fmla="*/ 569 h 796"/>
                <a:gd name="T62" fmla="*/ 87 w 290"/>
                <a:gd name="T63" fmla="*/ 527 h 796"/>
                <a:gd name="T64" fmla="*/ 73 w 290"/>
                <a:gd name="T65" fmla="*/ 480 h 796"/>
                <a:gd name="T66" fmla="*/ 76 w 290"/>
                <a:gd name="T67" fmla="*/ 444 h 796"/>
                <a:gd name="T68" fmla="*/ 71 w 290"/>
                <a:gd name="T69" fmla="*/ 392 h 796"/>
                <a:gd name="T70" fmla="*/ 66 w 290"/>
                <a:gd name="T71" fmla="*/ 342 h 796"/>
                <a:gd name="T72" fmla="*/ 43 w 290"/>
                <a:gd name="T73" fmla="*/ 297 h 796"/>
                <a:gd name="T74" fmla="*/ 43 w 290"/>
                <a:gd name="T75" fmla="*/ 250 h 796"/>
                <a:gd name="T76" fmla="*/ 64 w 290"/>
                <a:gd name="T77" fmla="*/ 198 h 796"/>
                <a:gd name="T78" fmla="*/ 59 w 290"/>
                <a:gd name="T79" fmla="*/ 144 h 796"/>
                <a:gd name="T80" fmla="*/ 43 w 290"/>
                <a:gd name="T81" fmla="*/ 73 h 796"/>
                <a:gd name="T82" fmla="*/ 38 w 290"/>
                <a:gd name="T83" fmla="*/ 40 h 796"/>
                <a:gd name="T84" fmla="*/ 10 w 290"/>
                <a:gd name="T85" fmla="*/ 14 h 796"/>
                <a:gd name="T86" fmla="*/ 10 w 290"/>
                <a:gd name="T87" fmla="*/ 122 h 796"/>
                <a:gd name="T88" fmla="*/ 19 w 290"/>
                <a:gd name="T89" fmla="*/ 215 h 796"/>
                <a:gd name="T90" fmla="*/ 33 w 290"/>
                <a:gd name="T91" fmla="*/ 335 h 796"/>
                <a:gd name="T92" fmla="*/ 21 w 290"/>
                <a:gd name="T93" fmla="*/ 418 h 796"/>
                <a:gd name="T94" fmla="*/ 54 w 290"/>
                <a:gd name="T95" fmla="*/ 513 h 796"/>
                <a:gd name="T96" fmla="*/ 73 w 290"/>
                <a:gd name="T97" fmla="*/ 522 h 796"/>
                <a:gd name="T98" fmla="*/ 90 w 290"/>
                <a:gd name="T99" fmla="*/ 584 h 796"/>
                <a:gd name="T100" fmla="*/ 85 w 290"/>
                <a:gd name="T101" fmla="*/ 595 h 796"/>
                <a:gd name="T102" fmla="*/ 68 w 290"/>
                <a:gd name="T103" fmla="*/ 595 h 796"/>
                <a:gd name="T104" fmla="*/ 83 w 290"/>
                <a:gd name="T105" fmla="*/ 619 h 796"/>
                <a:gd name="T106" fmla="*/ 94 w 290"/>
                <a:gd name="T107" fmla="*/ 640 h 796"/>
                <a:gd name="T108" fmla="*/ 101 w 290"/>
                <a:gd name="T109" fmla="*/ 652 h 796"/>
                <a:gd name="T110" fmla="*/ 111 w 290"/>
                <a:gd name="T111" fmla="*/ 673 h 796"/>
                <a:gd name="T112" fmla="*/ 130 w 290"/>
                <a:gd name="T113" fmla="*/ 699 h 796"/>
                <a:gd name="T114" fmla="*/ 132 w 290"/>
                <a:gd name="T115" fmla="*/ 716 h 796"/>
                <a:gd name="T116" fmla="*/ 165 w 290"/>
                <a:gd name="T117" fmla="*/ 725 h 796"/>
                <a:gd name="T118" fmla="*/ 139 w 290"/>
                <a:gd name="T119" fmla="*/ 725 h 796"/>
                <a:gd name="T120" fmla="*/ 165 w 290"/>
                <a:gd name="T121" fmla="*/ 744 h 796"/>
                <a:gd name="T122" fmla="*/ 167 w 290"/>
                <a:gd name="T123" fmla="*/ 747 h 796"/>
                <a:gd name="T124" fmla="*/ 182 w 290"/>
                <a:gd name="T125" fmla="*/ 751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0" h="796">
                  <a:moveTo>
                    <a:pt x="290" y="787"/>
                  </a:moveTo>
                  <a:lnTo>
                    <a:pt x="290" y="787"/>
                  </a:lnTo>
                  <a:lnTo>
                    <a:pt x="288" y="787"/>
                  </a:lnTo>
                  <a:lnTo>
                    <a:pt x="288" y="787"/>
                  </a:lnTo>
                  <a:lnTo>
                    <a:pt x="288" y="787"/>
                  </a:lnTo>
                  <a:lnTo>
                    <a:pt x="288" y="789"/>
                  </a:lnTo>
                  <a:lnTo>
                    <a:pt x="290" y="789"/>
                  </a:lnTo>
                  <a:lnTo>
                    <a:pt x="290" y="789"/>
                  </a:lnTo>
                  <a:lnTo>
                    <a:pt x="290" y="787"/>
                  </a:lnTo>
                  <a:lnTo>
                    <a:pt x="290" y="787"/>
                  </a:lnTo>
                  <a:lnTo>
                    <a:pt x="290" y="787"/>
                  </a:lnTo>
                  <a:close/>
                  <a:moveTo>
                    <a:pt x="276" y="789"/>
                  </a:moveTo>
                  <a:lnTo>
                    <a:pt x="278" y="789"/>
                  </a:lnTo>
                  <a:lnTo>
                    <a:pt x="278" y="789"/>
                  </a:lnTo>
                  <a:lnTo>
                    <a:pt x="281" y="787"/>
                  </a:lnTo>
                  <a:lnTo>
                    <a:pt x="281" y="787"/>
                  </a:lnTo>
                  <a:lnTo>
                    <a:pt x="281" y="787"/>
                  </a:lnTo>
                  <a:lnTo>
                    <a:pt x="281" y="785"/>
                  </a:lnTo>
                  <a:lnTo>
                    <a:pt x="278" y="785"/>
                  </a:lnTo>
                  <a:lnTo>
                    <a:pt x="276" y="782"/>
                  </a:lnTo>
                  <a:lnTo>
                    <a:pt x="273" y="782"/>
                  </a:lnTo>
                  <a:lnTo>
                    <a:pt x="266" y="782"/>
                  </a:lnTo>
                  <a:lnTo>
                    <a:pt x="262" y="782"/>
                  </a:lnTo>
                  <a:lnTo>
                    <a:pt x="259" y="782"/>
                  </a:lnTo>
                  <a:lnTo>
                    <a:pt x="262" y="785"/>
                  </a:lnTo>
                  <a:lnTo>
                    <a:pt x="264" y="787"/>
                  </a:lnTo>
                  <a:lnTo>
                    <a:pt x="266" y="787"/>
                  </a:lnTo>
                  <a:lnTo>
                    <a:pt x="266" y="787"/>
                  </a:lnTo>
                  <a:lnTo>
                    <a:pt x="271" y="789"/>
                  </a:lnTo>
                  <a:lnTo>
                    <a:pt x="271" y="789"/>
                  </a:lnTo>
                  <a:lnTo>
                    <a:pt x="271" y="787"/>
                  </a:lnTo>
                  <a:lnTo>
                    <a:pt x="273" y="787"/>
                  </a:lnTo>
                  <a:lnTo>
                    <a:pt x="273" y="787"/>
                  </a:lnTo>
                  <a:lnTo>
                    <a:pt x="273" y="787"/>
                  </a:lnTo>
                  <a:lnTo>
                    <a:pt x="276" y="787"/>
                  </a:lnTo>
                  <a:lnTo>
                    <a:pt x="276" y="787"/>
                  </a:lnTo>
                  <a:lnTo>
                    <a:pt x="276" y="787"/>
                  </a:lnTo>
                  <a:lnTo>
                    <a:pt x="276" y="789"/>
                  </a:lnTo>
                  <a:close/>
                  <a:moveTo>
                    <a:pt x="269" y="794"/>
                  </a:moveTo>
                  <a:lnTo>
                    <a:pt x="269" y="792"/>
                  </a:lnTo>
                  <a:lnTo>
                    <a:pt x="266" y="792"/>
                  </a:lnTo>
                  <a:lnTo>
                    <a:pt x="264" y="789"/>
                  </a:lnTo>
                  <a:lnTo>
                    <a:pt x="264" y="789"/>
                  </a:lnTo>
                  <a:lnTo>
                    <a:pt x="264" y="789"/>
                  </a:lnTo>
                  <a:lnTo>
                    <a:pt x="264" y="789"/>
                  </a:lnTo>
                  <a:lnTo>
                    <a:pt x="262" y="787"/>
                  </a:lnTo>
                  <a:lnTo>
                    <a:pt x="262" y="787"/>
                  </a:lnTo>
                  <a:lnTo>
                    <a:pt x="257" y="787"/>
                  </a:lnTo>
                  <a:lnTo>
                    <a:pt x="257" y="787"/>
                  </a:lnTo>
                  <a:lnTo>
                    <a:pt x="257" y="785"/>
                  </a:lnTo>
                  <a:lnTo>
                    <a:pt x="259" y="785"/>
                  </a:lnTo>
                  <a:lnTo>
                    <a:pt x="257" y="782"/>
                  </a:lnTo>
                  <a:lnTo>
                    <a:pt x="255" y="782"/>
                  </a:lnTo>
                  <a:lnTo>
                    <a:pt x="250" y="785"/>
                  </a:lnTo>
                  <a:lnTo>
                    <a:pt x="238" y="782"/>
                  </a:lnTo>
                  <a:lnTo>
                    <a:pt x="233" y="780"/>
                  </a:lnTo>
                  <a:lnTo>
                    <a:pt x="236" y="785"/>
                  </a:lnTo>
                  <a:lnTo>
                    <a:pt x="236" y="785"/>
                  </a:lnTo>
                  <a:lnTo>
                    <a:pt x="236" y="787"/>
                  </a:lnTo>
                  <a:lnTo>
                    <a:pt x="236" y="787"/>
                  </a:lnTo>
                  <a:lnTo>
                    <a:pt x="238" y="787"/>
                  </a:lnTo>
                  <a:lnTo>
                    <a:pt x="238" y="787"/>
                  </a:lnTo>
                  <a:lnTo>
                    <a:pt x="238" y="787"/>
                  </a:lnTo>
                  <a:lnTo>
                    <a:pt x="238" y="787"/>
                  </a:lnTo>
                  <a:lnTo>
                    <a:pt x="241" y="787"/>
                  </a:lnTo>
                  <a:lnTo>
                    <a:pt x="241" y="787"/>
                  </a:lnTo>
                  <a:lnTo>
                    <a:pt x="243" y="789"/>
                  </a:lnTo>
                  <a:lnTo>
                    <a:pt x="243" y="789"/>
                  </a:lnTo>
                  <a:lnTo>
                    <a:pt x="243" y="789"/>
                  </a:lnTo>
                  <a:lnTo>
                    <a:pt x="245" y="792"/>
                  </a:lnTo>
                  <a:lnTo>
                    <a:pt x="248" y="792"/>
                  </a:lnTo>
                  <a:lnTo>
                    <a:pt x="248" y="792"/>
                  </a:lnTo>
                  <a:lnTo>
                    <a:pt x="250" y="792"/>
                  </a:lnTo>
                  <a:lnTo>
                    <a:pt x="252" y="792"/>
                  </a:lnTo>
                  <a:lnTo>
                    <a:pt x="248" y="792"/>
                  </a:lnTo>
                  <a:lnTo>
                    <a:pt x="248" y="789"/>
                  </a:lnTo>
                  <a:lnTo>
                    <a:pt x="248" y="789"/>
                  </a:lnTo>
                  <a:lnTo>
                    <a:pt x="248" y="787"/>
                  </a:lnTo>
                  <a:lnTo>
                    <a:pt x="248" y="787"/>
                  </a:lnTo>
                  <a:lnTo>
                    <a:pt x="250" y="787"/>
                  </a:lnTo>
                  <a:lnTo>
                    <a:pt x="252" y="787"/>
                  </a:lnTo>
                  <a:lnTo>
                    <a:pt x="252" y="789"/>
                  </a:lnTo>
                  <a:lnTo>
                    <a:pt x="252" y="787"/>
                  </a:lnTo>
                  <a:lnTo>
                    <a:pt x="255" y="787"/>
                  </a:lnTo>
                  <a:lnTo>
                    <a:pt x="255" y="789"/>
                  </a:lnTo>
                  <a:lnTo>
                    <a:pt x="255" y="789"/>
                  </a:lnTo>
                  <a:lnTo>
                    <a:pt x="255" y="792"/>
                  </a:lnTo>
                  <a:lnTo>
                    <a:pt x="255" y="792"/>
                  </a:lnTo>
                  <a:lnTo>
                    <a:pt x="257" y="792"/>
                  </a:lnTo>
                  <a:lnTo>
                    <a:pt x="257" y="792"/>
                  </a:lnTo>
                  <a:lnTo>
                    <a:pt x="259" y="792"/>
                  </a:lnTo>
                  <a:lnTo>
                    <a:pt x="259" y="792"/>
                  </a:lnTo>
                  <a:lnTo>
                    <a:pt x="262" y="794"/>
                  </a:lnTo>
                  <a:lnTo>
                    <a:pt x="264" y="794"/>
                  </a:lnTo>
                  <a:lnTo>
                    <a:pt x="266" y="794"/>
                  </a:lnTo>
                  <a:lnTo>
                    <a:pt x="266" y="794"/>
                  </a:lnTo>
                  <a:lnTo>
                    <a:pt x="269" y="796"/>
                  </a:lnTo>
                  <a:lnTo>
                    <a:pt x="271" y="796"/>
                  </a:lnTo>
                  <a:lnTo>
                    <a:pt x="271" y="796"/>
                  </a:lnTo>
                  <a:lnTo>
                    <a:pt x="271" y="794"/>
                  </a:lnTo>
                  <a:lnTo>
                    <a:pt x="269" y="794"/>
                  </a:lnTo>
                  <a:close/>
                  <a:moveTo>
                    <a:pt x="226" y="782"/>
                  </a:moveTo>
                  <a:lnTo>
                    <a:pt x="224" y="782"/>
                  </a:lnTo>
                  <a:lnTo>
                    <a:pt x="224" y="782"/>
                  </a:lnTo>
                  <a:lnTo>
                    <a:pt x="222" y="782"/>
                  </a:lnTo>
                  <a:lnTo>
                    <a:pt x="222" y="782"/>
                  </a:lnTo>
                  <a:lnTo>
                    <a:pt x="219" y="782"/>
                  </a:lnTo>
                  <a:lnTo>
                    <a:pt x="219" y="782"/>
                  </a:lnTo>
                  <a:lnTo>
                    <a:pt x="217" y="780"/>
                  </a:lnTo>
                  <a:lnTo>
                    <a:pt x="215" y="780"/>
                  </a:lnTo>
                  <a:lnTo>
                    <a:pt x="215" y="780"/>
                  </a:lnTo>
                  <a:lnTo>
                    <a:pt x="210" y="780"/>
                  </a:lnTo>
                  <a:lnTo>
                    <a:pt x="210" y="780"/>
                  </a:lnTo>
                  <a:lnTo>
                    <a:pt x="210" y="780"/>
                  </a:lnTo>
                  <a:lnTo>
                    <a:pt x="210" y="782"/>
                  </a:lnTo>
                  <a:lnTo>
                    <a:pt x="212" y="782"/>
                  </a:lnTo>
                  <a:lnTo>
                    <a:pt x="212" y="782"/>
                  </a:lnTo>
                  <a:lnTo>
                    <a:pt x="212" y="782"/>
                  </a:lnTo>
                  <a:lnTo>
                    <a:pt x="212" y="782"/>
                  </a:lnTo>
                  <a:lnTo>
                    <a:pt x="212" y="780"/>
                  </a:lnTo>
                  <a:lnTo>
                    <a:pt x="215" y="782"/>
                  </a:lnTo>
                  <a:lnTo>
                    <a:pt x="215" y="782"/>
                  </a:lnTo>
                  <a:lnTo>
                    <a:pt x="219" y="782"/>
                  </a:lnTo>
                  <a:lnTo>
                    <a:pt x="219" y="782"/>
                  </a:lnTo>
                  <a:lnTo>
                    <a:pt x="219" y="785"/>
                  </a:lnTo>
                  <a:lnTo>
                    <a:pt x="219" y="785"/>
                  </a:lnTo>
                  <a:lnTo>
                    <a:pt x="222" y="785"/>
                  </a:lnTo>
                  <a:lnTo>
                    <a:pt x="224" y="785"/>
                  </a:lnTo>
                  <a:lnTo>
                    <a:pt x="224" y="785"/>
                  </a:lnTo>
                  <a:lnTo>
                    <a:pt x="224" y="785"/>
                  </a:lnTo>
                  <a:lnTo>
                    <a:pt x="226" y="785"/>
                  </a:lnTo>
                  <a:lnTo>
                    <a:pt x="226" y="785"/>
                  </a:lnTo>
                  <a:lnTo>
                    <a:pt x="226" y="787"/>
                  </a:lnTo>
                  <a:lnTo>
                    <a:pt x="226" y="787"/>
                  </a:lnTo>
                  <a:lnTo>
                    <a:pt x="229" y="787"/>
                  </a:lnTo>
                  <a:lnTo>
                    <a:pt x="229" y="787"/>
                  </a:lnTo>
                  <a:lnTo>
                    <a:pt x="231" y="785"/>
                  </a:lnTo>
                  <a:lnTo>
                    <a:pt x="231" y="785"/>
                  </a:lnTo>
                  <a:lnTo>
                    <a:pt x="226" y="782"/>
                  </a:lnTo>
                  <a:close/>
                  <a:moveTo>
                    <a:pt x="200" y="768"/>
                  </a:moveTo>
                  <a:lnTo>
                    <a:pt x="203" y="768"/>
                  </a:lnTo>
                  <a:lnTo>
                    <a:pt x="205" y="770"/>
                  </a:lnTo>
                  <a:lnTo>
                    <a:pt x="210" y="770"/>
                  </a:lnTo>
                  <a:lnTo>
                    <a:pt x="210" y="770"/>
                  </a:lnTo>
                  <a:lnTo>
                    <a:pt x="210" y="770"/>
                  </a:lnTo>
                  <a:lnTo>
                    <a:pt x="210" y="768"/>
                  </a:lnTo>
                  <a:lnTo>
                    <a:pt x="210" y="768"/>
                  </a:lnTo>
                  <a:lnTo>
                    <a:pt x="210" y="766"/>
                  </a:lnTo>
                  <a:lnTo>
                    <a:pt x="208" y="766"/>
                  </a:lnTo>
                  <a:lnTo>
                    <a:pt x="205" y="766"/>
                  </a:lnTo>
                  <a:lnTo>
                    <a:pt x="203" y="763"/>
                  </a:lnTo>
                  <a:lnTo>
                    <a:pt x="198" y="763"/>
                  </a:lnTo>
                  <a:lnTo>
                    <a:pt x="196" y="761"/>
                  </a:lnTo>
                  <a:lnTo>
                    <a:pt x="191" y="761"/>
                  </a:lnTo>
                  <a:lnTo>
                    <a:pt x="191" y="761"/>
                  </a:lnTo>
                  <a:lnTo>
                    <a:pt x="189" y="761"/>
                  </a:lnTo>
                  <a:lnTo>
                    <a:pt x="189" y="763"/>
                  </a:lnTo>
                  <a:lnTo>
                    <a:pt x="191" y="766"/>
                  </a:lnTo>
                  <a:lnTo>
                    <a:pt x="196" y="768"/>
                  </a:lnTo>
                  <a:lnTo>
                    <a:pt x="196" y="770"/>
                  </a:lnTo>
                  <a:lnTo>
                    <a:pt x="198" y="768"/>
                  </a:lnTo>
                  <a:lnTo>
                    <a:pt x="198" y="768"/>
                  </a:lnTo>
                  <a:lnTo>
                    <a:pt x="200" y="768"/>
                  </a:lnTo>
                  <a:lnTo>
                    <a:pt x="200" y="768"/>
                  </a:lnTo>
                  <a:close/>
                  <a:moveTo>
                    <a:pt x="186" y="759"/>
                  </a:moveTo>
                  <a:lnTo>
                    <a:pt x="184" y="759"/>
                  </a:lnTo>
                  <a:lnTo>
                    <a:pt x="184" y="756"/>
                  </a:lnTo>
                  <a:lnTo>
                    <a:pt x="182" y="756"/>
                  </a:lnTo>
                  <a:lnTo>
                    <a:pt x="179" y="754"/>
                  </a:lnTo>
                  <a:lnTo>
                    <a:pt x="177" y="754"/>
                  </a:lnTo>
                  <a:lnTo>
                    <a:pt x="175" y="754"/>
                  </a:lnTo>
                  <a:lnTo>
                    <a:pt x="175" y="754"/>
                  </a:lnTo>
                  <a:lnTo>
                    <a:pt x="175" y="754"/>
                  </a:lnTo>
                  <a:lnTo>
                    <a:pt x="172" y="754"/>
                  </a:lnTo>
                  <a:lnTo>
                    <a:pt x="172" y="751"/>
                  </a:lnTo>
                  <a:lnTo>
                    <a:pt x="170" y="751"/>
                  </a:lnTo>
                  <a:lnTo>
                    <a:pt x="170" y="751"/>
                  </a:lnTo>
                  <a:lnTo>
                    <a:pt x="170" y="751"/>
                  </a:lnTo>
                  <a:lnTo>
                    <a:pt x="170" y="751"/>
                  </a:lnTo>
                  <a:lnTo>
                    <a:pt x="167" y="751"/>
                  </a:lnTo>
                  <a:lnTo>
                    <a:pt x="170" y="751"/>
                  </a:lnTo>
                  <a:lnTo>
                    <a:pt x="170" y="754"/>
                  </a:lnTo>
                  <a:lnTo>
                    <a:pt x="165" y="751"/>
                  </a:lnTo>
                  <a:lnTo>
                    <a:pt x="163" y="751"/>
                  </a:lnTo>
                  <a:lnTo>
                    <a:pt x="160" y="751"/>
                  </a:lnTo>
                  <a:lnTo>
                    <a:pt x="158" y="754"/>
                  </a:lnTo>
                  <a:lnTo>
                    <a:pt x="163" y="754"/>
                  </a:lnTo>
                  <a:lnTo>
                    <a:pt x="163" y="756"/>
                  </a:lnTo>
                  <a:lnTo>
                    <a:pt x="165" y="759"/>
                  </a:lnTo>
                  <a:lnTo>
                    <a:pt x="167" y="759"/>
                  </a:lnTo>
                  <a:lnTo>
                    <a:pt x="167" y="759"/>
                  </a:lnTo>
                  <a:lnTo>
                    <a:pt x="167" y="759"/>
                  </a:lnTo>
                  <a:lnTo>
                    <a:pt x="170" y="759"/>
                  </a:lnTo>
                  <a:lnTo>
                    <a:pt x="170" y="761"/>
                  </a:lnTo>
                  <a:lnTo>
                    <a:pt x="170" y="761"/>
                  </a:lnTo>
                  <a:lnTo>
                    <a:pt x="172" y="761"/>
                  </a:lnTo>
                  <a:lnTo>
                    <a:pt x="172" y="763"/>
                  </a:lnTo>
                  <a:lnTo>
                    <a:pt x="175" y="763"/>
                  </a:lnTo>
                  <a:lnTo>
                    <a:pt x="175" y="763"/>
                  </a:lnTo>
                  <a:lnTo>
                    <a:pt x="175" y="763"/>
                  </a:lnTo>
                  <a:lnTo>
                    <a:pt x="175" y="761"/>
                  </a:lnTo>
                  <a:lnTo>
                    <a:pt x="175" y="761"/>
                  </a:lnTo>
                  <a:lnTo>
                    <a:pt x="175" y="761"/>
                  </a:lnTo>
                  <a:lnTo>
                    <a:pt x="175" y="761"/>
                  </a:lnTo>
                  <a:lnTo>
                    <a:pt x="177" y="761"/>
                  </a:lnTo>
                  <a:lnTo>
                    <a:pt x="177" y="761"/>
                  </a:lnTo>
                  <a:lnTo>
                    <a:pt x="179" y="761"/>
                  </a:lnTo>
                  <a:lnTo>
                    <a:pt x="179" y="763"/>
                  </a:lnTo>
                  <a:lnTo>
                    <a:pt x="179" y="763"/>
                  </a:lnTo>
                  <a:lnTo>
                    <a:pt x="177" y="766"/>
                  </a:lnTo>
                  <a:lnTo>
                    <a:pt x="179" y="766"/>
                  </a:lnTo>
                  <a:lnTo>
                    <a:pt x="179" y="766"/>
                  </a:lnTo>
                  <a:lnTo>
                    <a:pt x="179" y="766"/>
                  </a:lnTo>
                  <a:lnTo>
                    <a:pt x="179" y="766"/>
                  </a:lnTo>
                  <a:lnTo>
                    <a:pt x="182" y="766"/>
                  </a:lnTo>
                  <a:lnTo>
                    <a:pt x="182" y="766"/>
                  </a:lnTo>
                  <a:lnTo>
                    <a:pt x="184" y="766"/>
                  </a:lnTo>
                  <a:lnTo>
                    <a:pt x="184" y="763"/>
                  </a:lnTo>
                  <a:lnTo>
                    <a:pt x="186" y="763"/>
                  </a:lnTo>
                  <a:lnTo>
                    <a:pt x="186" y="763"/>
                  </a:lnTo>
                  <a:lnTo>
                    <a:pt x="186" y="761"/>
                  </a:lnTo>
                  <a:lnTo>
                    <a:pt x="186" y="761"/>
                  </a:lnTo>
                  <a:lnTo>
                    <a:pt x="186" y="759"/>
                  </a:lnTo>
                  <a:close/>
                  <a:moveTo>
                    <a:pt x="158" y="749"/>
                  </a:moveTo>
                  <a:lnTo>
                    <a:pt x="160" y="749"/>
                  </a:lnTo>
                  <a:lnTo>
                    <a:pt x="160" y="749"/>
                  </a:lnTo>
                  <a:lnTo>
                    <a:pt x="160" y="749"/>
                  </a:lnTo>
                  <a:lnTo>
                    <a:pt x="163" y="749"/>
                  </a:lnTo>
                  <a:lnTo>
                    <a:pt x="165" y="751"/>
                  </a:lnTo>
                  <a:lnTo>
                    <a:pt x="167" y="749"/>
                  </a:lnTo>
                  <a:lnTo>
                    <a:pt x="167" y="749"/>
                  </a:lnTo>
                  <a:lnTo>
                    <a:pt x="163" y="749"/>
                  </a:lnTo>
                  <a:lnTo>
                    <a:pt x="163" y="749"/>
                  </a:lnTo>
                  <a:lnTo>
                    <a:pt x="160" y="747"/>
                  </a:lnTo>
                  <a:lnTo>
                    <a:pt x="160" y="747"/>
                  </a:lnTo>
                  <a:lnTo>
                    <a:pt x="158" y="747"/>
                  </a:lnTo>
                  <a:lnTo>
                    <a:pt x="156" y="744"/>
                  </a:lnTo>
                  <a:lnTo>
                    <a:pt x="153" y="744"/>
                  </a:lnTo>
                  <a:lnTo>
                    <a:pt x="151" y="744"/>
                  </a:lnTo>
                  <a:lnTo>
                    <a:pt x="149" y="742"/>
                  </a:lnTo>
                  <a:lnTo>
                    <a:pt x="146" y="742"/>
                  </a:lnTo>
                  <a:lnTo>
                    <a:pt x="144" y="742"/>
                  </a:lnTo>
                  <a:lnTo>
                    <a:pt x="144" y="742"/>
                  </a:lnTo>
                  <a:lnTo>
                    <a:pt x="144" y="742"/>
                  </a:lnTo>
                  <a:lnTo>
                    <a:pt x="142" y="740"/>
                  </a:lnTo>
                  <a:lnTo>
                    <a:pt x="142" y="740"/>
                  </a:lnTo>
                  <a:lnTo>
                    <a:pt x="139" y="740"/>
                  </a:lnTo>
                  <a:lnTo>
                    <a:pt x="137" y="737"/>
                  </a:lnTo>
                  <a:lnTo>
                    <a:pt x="137" y="737"/>
                  </a:lnTo>
                  <a:lnTo>
                    <a:pt x="137" y="740"/>
                  </a:lnTo>
                  <a:lnTo>
                    <a:pt x="139" y="740"/>
                  </a:lnTo>
                  <a:lnTo>
                    <a:pt x="142" y="742"/>
                  </a:lnTo>
                  <a:lnTo>
                    <a:pt x="144" y="742"/>
                  </a:lnTo>
                  <a:lnTo>
                    <a:pt x="146" y="744"/>
                  </a:lnTo>
                  <a:lnTo>
                    <a:pt x="146" y="744"/>
                  </a:lnTo>
                  <a:lnTo>
                    <a:pt x="149" y="744"/>
                  </a:lnTo>
                  <a:lnTo>
                    <a:pt x="151" y="744"/>
                  </a:lnTo>
                  <a:lnTo>
                    <a:pt x="153" y="744"/>
                  </a:lnTo>
                  <a:lnTo>
                    <a:pt x="156" y="747"/>
                  </a:lnTo>
                  <a:lnTo>
                    <a:pt x="158" y="747"/>
                  </a:lnTo>
                  <a:lnTo>
                    <a:pt x="158" y="749"/>
                  </a:lnTo>
                  <a:close/>
                  <a:moveTo>
                    <a:pt x="236" y="777"/>
                  </a:moveTo>
                  <a:lnTo>
                    <a:pt x="238" y="780"/>
                  </a:lnTo>
                  <a:lnTo>
                    <a:pt x="241" y="780"/>
                  </a:lnTo>
                  <a:lnTo>
                    <a:pt x="248" y="782"/>
                  </a:lnTo>
                  <a:lnTo>
                    <a:pt x="250" y="780"/>
                  </a:lnTo>
                  <a:lnTo>
                    <a:pt x="250" y="780"/>
                  </a:lnTo>
                  <a:lnTo>
                    <a:pt x="252" y="780"/>
                  </a:lnTo>
                  <a:lnTo>
                    <a:pt x="250" y="775"/>
                  </a:lnTo>
                  <a:lnTo>
                    <a:pt x="248" y="770"/>
                  </a:lnTo>
                  <a:lnTo>
                    <a:pt x="245" y="763"/>
                  </a:lnTo>
                  <a:lnTo>
                    <a:pt x="243" y="759"/>
                  </a:lnTo>
                  <a:lnTo>
                    <a:pt x="241" y="754"/>
                  </a:lnTo>
                  <a:lnTo>
                    <a:pt x="238" y="749"/>
                  </a:lnTo>
                  <a:lnTo>
                    <a:pt x="233" y="742"/>
                  </a:lnTo>
                  <a:lnTo>
                    <a:pt x="231" y="737"/>
                  </a:lnTo>
                  <a:lnTo>
                    <a:pt x="231" y="735"/>
                  </a:lnTo>
                  <a:lnTo>
                    <a:pt x="229" y="735"/>
                  </a:lnTo>
                  <a:lnTo>
                    <a:pt x="229" y="735"/>
                  </a:lnTo>
                  <a:lnTo>
                    <a:pt x="224" y="737"/>
                  </a:lnTo>
                  <a:lnTo>
                    <a:pt x="224" y="737"/>
                  </a:lnTo>
                  <a:lnTo>
                    <a:pt x="217" y="733"/>
                  </a:lnTo>
                  <a:lnTo>
                    <a:pt x="217" y="733"/>
                  </a:lnTo>
                  <a:lnTo>
                    <a:pt x="215" y="735"/>
                  </a:lnTo>
                  <a:lnTo>
                    <a:pt x="215" y="735"/>
                  </a:lnTo>
                  <a:lnTo>
                    <a:pt x="215" y="737"/>
                  </a:lnTo>
                  <a:lnTo>
                    <a:pt x="212" y="740"/>
                  </a:lnTo>
                  <a:lnTo>
                    <a:pt x="212" y="740"/>
                  </a:lnTo>
                  <a:lnTo>
                    <a:pt x="212" y="740"/>
                  </a:lnTo>
                  <a:lnTo>
                    <a:pt x="210" y="740"/>
                  </a:lnTo>
                  <a:lnTo>
                    <a:pt x="208" y="737"/>
                  </a:lnTo>
                  <a:lnTo>
                    <a:pt x="205" y="737"/>
                  </a:lnTo>
                  <a:lnTo>
                    <a:pt x="205" y="737"/>
                  </a:lnTo>
                  <a:lnTo>
                    <a:pt x="208" y="740"/>
                  </a:lnTo>
                  <a:lnTo>
                    <a:pt x="208" y="740"/>
                  </a:lnTo>
                  <a:lnTo>
                    <a:pt x="210" y="742"/>
                  </a:lnTo>
                  <a:lnTo>
                    <a:pt x="210" y="742"/>
                  </a:lnTo>
                  <a:lnTo>
                    <a:pt x="210" y="742"/>
                  </a:lnTo>
                  <a:lnTo>
                    <a:pt x="210" y="742"/>
                  </a:lnTo>
                  <a:lnTo>
                    <a:pt x="210" y="742"/>
                  </a:lnTo>
                  <a:lnTo>
                    <a:pt x="210" y="744"/>
                  </a:lnTo>
                  <a:lnTo>
                    <a:pt x="208" y="742"/>
                  </a:lnTo>
                  <a:lnTo>
                    <a:pt x="208" y="744"/>
                  </a:lnTo>
                  <a:lnTo>
                    <a:pt x="208" y="744"/>
                  </a:lnTo>
                  <a:lnTo>
                    <a:pt x="208" y="747"/>
                  </a:lnTo>
                  <a:lnTo>
                    <a:pt x="208" y="747"/>
                  </a:lnTo>
                  <a:lnTo>
                    <a:pt x="210" y="749"/>
                  </a:lnTo>
                  <a:lnTo>
                    <a:pt x="212" y="751"/>
                  </a:lnTo>
                  <a:lnTo>
                    <a:pt x="215" y="751"/>
                  </a:lnTo>
                  <a:lnTo>
                    <a:pt x="217" y="751"/>
                  </a:lnTo>
                  <a:lnTo>
                    <a:pt x="219" y="749"/>
                  </a:lnTo>
                  <a:lnTo>
                    <a:pt x="219" y="749"/>
                  </a:lnTo>
                  <a:lnTo>
                    <a:pt x="222" y="749"/>
                  </a:lnTo>
                  <a:lnTo>
                    <a:pt x="224" y="749"/>
                  </a:lnTo>
                  <a:lnTo>
                    <a:pt x="226" y="751"/>
                  </a:lnTo>
                  <a:lnTo>
                    <a:pt x="226" y="751"/>
                  </a:lnTo>
                  <a:lnTo>
                    <a:pt x="229" y="754"/>
                  </a:lnTo>
                  <a:lnTo>
                    <a:pt x="229" y="754"/>
                  </a:lnTo>
                  <a:lnTo>
                    <a:pt x="224" y="756"/>
                  </a:lnTo>
                  <a:lnTo>
                    <a:pt x="222" y="756"/>
                  </a:lnTo>
                  <a:lnTo>
                    <a:pt x="219" y="759"/>
                  </a:lnTo>
                  <a:lnTo>
                    <a:pt x="219" y="759"/>
                  </a:lnTo>
                  <a:lnTo>
                    <a:pt x="219" y="761"/>
                  </a:lnTo>
                  <a:lnTo>
                    <a:pt x="222" y="763"/>
                  </a:lnTo>
                  <a:lnTo>
                    <a:pt x="224" y="766"/>
                  </a:lnTo>
                  <a:lnTo>
                    <a:pt x="241" y="770"/>
                  </a:lnTo>
                  <a:lnTo>
                    <a:pt x="243" y="770"/>
                  </a:lnTo>
                  <a:lnTo>
                    <a:pt x="243" y="773"/>
                  </a:lnTo>
                  <a:lnTo>
                    <a:pt x="243" y="773"/>
                  </a:lnTo>
                  <a:lnTo>
                    <a:pt x="243" y="773"/>
                  </a:lnTo>
                  <a:lnTo>
                    <a:pt x="241" y="773"/>
                  </a:lnTo>
                  <a:lnTo>
                    <a:pt x="241" y="775"/>
                  </a:lnTo>
                  <a:lnTo>
                    <a:pt x="241" y="775"/>
                  </a:lnTo>
                  <a:lnTo>
                    <a:pt x="241" y="775"/>
                  </a:lnTo>
                  <a:lnTo>
                    <a:pt x="238" y="773"/>
                  </a:lnTo>
                  <a:lnTo>
                    <a:pt x="238" y="773"/>
                  </a:lnTo>
                  <a:lnTo>
                    <a:pt x="236" y="770"/>
                  </a:lnTo>
                  <a:lnTo>
                    <a:pt x="233" y="770"/>
                  </a:lnTo>
                  <a:lnTo>
                    <a:pt x="231" y="770"/>
                  </a:lnTo>
                  <a:lnTo>
                    <a:pt x="229" y="770"/>
                  </a:lnTo>
                  <a:lnTo>
                    <a:pt x="229" y="770"/>
                  </a:lnTo>
                  <a:lnTo>
                    <a:pt x="226" y="770"/>
                  </a:lnTo>
                  <a:lnTo>
                    <a:pt x="224" y="770"/>
                  </a:lnTo>
                  <a:lnTo>
                    <a:pt x="224" y="770"/>
                  </a:lnTo>
                  <a:lnTo>
                    <a:pt x="222" y="768"/>
                  </a:lnTo>
                  <a:lnTo>
                    <a:pt x="219" y="766"/>
                  </a:lnTo>
                  <a:lnTo>
                    <a:pt x="217" y="766"/>
                  </a:lnTo>
                  <a:lnTo>
                    <a:pt x="215" y="763"/>
                  </a:lnTo>
                  <a:lnTo>
                    <a:pt x="217" y="763"/>
                  </a:lnTo>
                  <a:lnTo>
                    <a:pt x="217" y="763"/>
                  </a:lnTo>
                  <a:lnTo>
                    <a:pt x="215" y="761"/>
                  </a:lnTo>
                  <a:lnTo>
                    <a:pt x="212" y="756"/>
                  </a:lnTo>
                  <a:lnTo>
                    <a:pt x="210" y="756"/>
                  </a:lnTo>
                  <a:lnTo>
                    <a:pt x="210" y="759"/>
                  </a:lnTo>
                  <a:lnTo>
                    <a:pt x="212" y="759"/>
                  </a:lnTo>
                  <a:lnTo>
                    <a:pt x="208" y="761"/>
                  </a:lnTo>
                  <a:lnTo>
                    <a:pt x="210" y="763"/>
                  </a:lnTo>
                  <a:lnTo>
                    <a:pt x="210" y="766"/>
                  </a:lnTo>
                  <a:lnTo>
                    <a:pt x="215" y="768"/>
                  </a:lnTo>
                  <a:lnTo>
                    <a:pt x="217" y="768"/>
                  </a:lnTo>
                  <a:lnTo>
                    <a:pt x="217" y="770"/>
                  </a:lnTo>
                  <a:lnTo>
                    <a:pt x="219" y="770"/>
                  </a:lnTo>
                  <a:lnTo>
                    <a:pt x="224" y="773"/>
                  </a:lnTo>
                  <a:lnTo>
                    <a:pt x="224" y="773"/>
                  </a:lnTo>
                  <a:lnTo>
                    <a:pt x="222" y="773"/>
                  </a:lnTo>
                  <a:lnTo>
                    <a:pt x="219" y="773"/>
                  </a:lnTo>
                  <a:lnTo>
                    <a:pt x="217" y="773"/>
                  </a:lnTo>
                  <a:lnTo>
                    <a:pt x="217" y="770"/>
                  </a:lnTo>
                  <a:lnTo>
                    <a:pt x="217" y="770"/>
                  </a:lnTo>
                  <a:lnTo>
                    <a:pt x="215" y="770"/>
                  </a:lnTo>
                  <a:lnTo>
                    <a:pt x="212" y="770"/>
                  </a:lnTo>
                  <a:lnTo>
                    <a:pt x="212" y="770"/>
                  </a:lnTo>
                  <a:lnTo>
                    <a:pt x="212" y="770"/>
                  </a:lnTo>
                  <a:lnTo>
                    <a:pt x="212" y="773"/>
                  </a:lnTo>
                  <a:lnTo>
                    <a:pt x="212" y="773"/>
                  </a:lnTo>
                  <a:lnTo>
                    <a:pt x="210" y="773"/>
                  </a:lnTo>
                  <a:lnTo>
                    <a:pt x="205" y="770"/>
                  </a:lnTo>
                  <a:lnTo>
                    <a:pt x="205" y="770"/>
                  </a:lnTo>
                  <a:lnTo>
                    <a:pt x="205" y="773"/>
                  </a:lnTo>
                  <a:lnTo>
                    <a:pt x="205" y="773"/>
                  </a:lnTo>
                  <a:lnTo>
                    <a:pt x="203" y="773"/>
                  </a:lnTo>
                  <a:lnTo>
                    <a:pt x="200" y="773"/>
                  </a:lnTo>
                  <a:lnTo>
                    <a:pt x="200" y="773"/>
                  </a:lnTo>
                  <a:lnTo>
                    <a:pt x="200" y="773"/>
                  </a:lnTo>
                  <a:lnTo>
                    <a:pt x="198" y="773"/>
                  </a:lnTo>
                  <a:lnTo>
                    <a:pt x="198" y="773"/>
                  </a:lnTo>
                  <a:lnTo>
                    <a:pt x="200" y="775"/>
                  </a:lnTo>
                  <a:lnTo>
                    <a:pt x="200" y="775"/>
                  </a:lnTo>
                  <a:lnTo>
                    <a:pt x="208" y="775"/>
                  </a:lnTo>
                  <a:lnTo>
                    <a:pt x="212" y="777"/>
                  </a:lnTo>
                  <a:lnTo>
                    <a:pt x="217" y="777"/>
                  </a:lnTo>
                  <a:lnTo>
                    <a:pt x="219" y="777"/>
                  </a:lnTo>
                  <a:lnTo>
                    <a:pt x="224" y="780"/>
                  </a:lnTo>
                  <a:lnTo>
                    <a:pt x="226" y="777"/>
                  </a:lnTo>
                  <a:lnTo>
                    <a:pt x="226" y="777"/>
                  </a:lnTo>
                  <a:lnTo>
                    <a:pt x="229" y="780"/>
                  </a:lnTo>
                  <a:lnTo>
                    <a:pt x="229" y="780"/>
                  </a:lnTo>
                  <a:lnTo>
                    <a:pt x="231" y="780"/>
                  </a:lnTo>
                  <a:lnTo>
                    <a:pt x="233" y="780"/>
                  </a:lnTo>
                  <a:lnTo>
                    <a:pt x="233" y="777"/>
                  </a:lnTo>
                  <a:lnTo>
                    <a:pt x="236" y="777"/>
                  </a:lnTo>
                  <a:close/>
                  <a:moveTo>
                    <a:pt x="137" y="721"/>
                  </a:moveTo>
                  <a:lnTo>
                    <a:pt x="137" y="721"/>
                  </a:lnTo>
                  <a:lnTo>
                    <a:pt x="137" y="721"/>
                  </a:lnTo>
                  <a:lnTo>
                    <a:pt x="137" y="721"/>
                  </a:lnTo>
                  <a:lnTo>
                    <a:pt x="134" y="718"/>
                  </a:lnTo>
                  <a:lnTo>
                    <a:pt x="132" y="718"/>
                  </a:lnTo>
                  <a:lnTo>
                    <a:pt x="132" y="718"/>
                  </a:lnTo>
                  <a:lnTo>
                    <a:pt x="130" y="718"/>
                  </a:lnTo>
                  <a:lnTo>
                    <a:pt x="130" y="718"/>
                  </a:lnTo>
                  <a:lnTo>
                    <a:pt x="130" y="718"/>
                  </a:lnTo>
                  <a:lnTo>
                    <a:pt x="132" y="721"/>
                  </a:lnTo>
                  <a:lnTo>
                    <a:pt x="132" y="721"/>
                  </a:lnTo>
                  <a:lnTo>
                    <a:pt x="134" y="721"/>
                  </a:lnTo>
                  <a:lnTo>
                    <a:pt x="137" y="721"/>
                  </a:lnTo>
                  <a:lnTo>
                    <a:pt x="137" y="721"/>
                  </a:lnTo>
                  <a:close/>
                  <a:moveTo>
                    <a:pt x="132" y="723"/>
                  </a:moveTo>
                  <a:lnTo>
                    <a:pt x="130" y="723"/>
                  </a:lnTo>
                  <a:lnTo>
                    <a:pt x="127" y="721"/>
                  </a:lnTo>
                  <a:lnTo>
                    <a:pt x="125" y="721"/>
                  </a:lnTo>
                  <a:lnTo>
                    <a:pt x="125" y="718"/>
                  </a:lnTo>
                  <a:lnTo>
                    <a:pt x="123" y="716"/>
                  </a:lnTo>
                  <a:lnTo>
                    <a:pt x="123" y="716"/>
                  </a:lnTo>
                  <a:lnTo>
                    <a:pt x="123" y="718"/>
                  </a:lnTo>
                  <a:lnTo>
                    <a:pt x="120" y="718"/>
                  </a:lnTo>
                  <a:lnTo>
                    <a:pt x="120" y="718"/>
                  </a:lnTo>
                  <a:lnTo>
                    <a:pt x="123" y="721"/>
                  </a:lnTo>
                  <a:lnTo>
                    <a:pt x="125" y="723"/>
                  </a:lnTo>
                  <a:lnTo>
                    <a:pt x="127" y="725"/>
                  </a:lnTo>
                  <a:lnTo>
                    <a:pt x="130" y="728"/>
                  </a:lnTo>
                  <a:lnTo>
                    <a:pt x="132" y="728"/>
                  </a:lnTo>
                  <a:lnTo>
                    <a:pt x="130" y="725"/>
                  </a:lnTo>
                  <a:lnTo>
                    <a:pt x="132" y="723"/>
                  </a:lnTo>
                  <a:close/>
                  <a:moveTo>
                    <a:pt x="120" y="711"/>
                  </a:moveTo>
                  <a:lnTo>
                    <a:pt x="123" y="711"/>
                  </a:lnTo>
                  <a:lnTo>
                    <a:pt x="123" y="711"/>
                  </a:lnTo>
                  <a:lnTo>
                    <a:pt x="123" y="711"/>
                  </a:lnTo>
                  <a:lnTo>
                    <a:pt x="125" y="711"/>
                  </a:lnTo>
                  <a:lnTo>
                    <a:pt x="125" y="709"/>
                  </a:lnTo>
                  <a:lnTo>
                    <a:pt x="123" y="709"/>
                  </a:lnTo>
                  <a:lnTo>
                    <a:pt x="123" y="707"/>
                  </a:lnTo>
                  <a:lnTo>
                    <a:pt x="123" y="707"/>
                  </a:lnTo>
                  <a:lnTo>
                    <a:pt x="120" y="707"/>
                  </a:lnTo>
                  <a:lnTo>
                    <a:pt x="118" y="709"/>
                  </a:lnTo>
                  <a:lnTo>
                    <a:pt x="116" y="709"/>
                  </a:lnTo>
                  <a:lnTo>
                    <a:pt x="113" y="709"/>
                  </a:lnTo>
                  <a:lnTo>
                    <a:pt x="113" y="711"/>
                  </a:lnTo>
                  <a:lnTo>
                    <a:pt x="113" y="711"/>
                  </a:lnTo>
                  <a:lnTo>
                    <a:pt x="113" y="714"/>
                  </a:lnTo>
                  <a:lnTo>
                    <a:pt x="116" y="716"/>
                  </a:lnTo>
                  <a:lnTo>
                    <a:pt x="116" y="714"/>
                  </a:lnTo>
                  <a:lnTo>
                    <a:pt x="116" y="714"/>
                  </a:lnTo>
                  <a:lnTo>
                    <a:pt x="116" y="711"/>
                  </a:lnTo>
                  <a:lnTo>
                    <a:pt x="118" y="711"/>
                  </a:lnTo>
                  <a:lnTo>
                    <a:pt x="120" y="711"/>
                  </a:lnTo>
                  <a:lnTo>
                    <a:pt x="120" y="711"/>
                  </a:lnTo>
                  <a:close/>
                  <a:moveTo>
                    <a:pt x="104" y="692"/>
                  </a:moveTo>
                  <a:lnTo>
                    <a:pt x="101" y="692"/>
                  </a:lnTo>
                  <a:lnTo>
                    <a:pt x="101" y="692"/>
                  </a:lnTo>
                  <a:lnTo>
                    <a:pt x="101" y="695"/>
                  </a:lnTo>
                  <a:lnTo>
                    <a:pt x="101" y="695"/>
                  </a:lnTo>
                  <a:lnTo>
                    <a:pt x="104" y="697"/>
                  </a:lnTo>
                  <a:lnTo>
                    <a:pt x="104" y="697"/>
                  </a:lnTo>
                  <a:lnTo>
                    <a:pt x="104" y="697"/>
                  </a:lnTo>
                  <a:lnTo>
                    <a:pt x="106" y="697"/>
                  </a:lnTo>
                  <a:lnTo>
                    <a:pt x="106" y="697"/>
                  </a:lnTo>
                  <a:lnTo>
                    <a:pt x="104" y="695"/>
                  </a:lnTo>
                  <a:lnTo>
                    <a:pt x="106" y="695"/>
                  </a:lnTo>
                  <a:lnTo>
                    <a:pt x="106" y="695"/>
                  </a:lnTo>
                  <a:lnTo>
                    <a:pt x="106" y="692"/>
                  </a:lnTo>
                  <a:lnTo>
                    <a:pt x="106" y="692"/>
                  </a:lnTo>
                  <a:lnTo>
                    <a:pt x="104" y="692"/>
                  </a:lnTo>
                  <a:close/>
                  <a:moveTo>
                    <a:pt x="104" y="683"/>
                  </a:moveTo>
                  <a:lnTo>
                    <a:pt x="101" y="683"/>
                  </a:lnTo>
                  <a:lnTo>
                    <a:pt x="101" y="683"/>
                  </a:lnTo>
                  <a:lnTo>
                    <a:pt x="99" y="683"/>
                  </a:lnTo>
                  <a:lnTo>
                    <a:pt x="99" y="685"/>
                  </a:lnTo>
                  <a:lnTo>
                    <a:pt x="99" y="685"/>
                  </a:lnTo>
                  <a:lnTo>
                    <a:pt x="99" y="685"/>
                  </a:lnTo>
                  <a:lnTo>
                    <a:pt x="99" y="688"/>
                  </a:lnTo>
                  <a:lnTo>
                    <a:pt x="99" y="690"/>
                  </a:lnTo>
                  <a:lnTo>
                    <a:pt x="101" y="690"/>
                  </a:lnTo>
                  <a:lnTo>
                    <a:pt x="104" y="690"/>
                  </a:lnTo>
                  <a:lnTo>
                    <a:pt x="106" y="688"/>
                  </a:lnTo>
                  <a:lnTo>
                    <a:pt x="106" y="688"/>
                  </a:lnTo>
                  <a:lnTo>
                    <a:pt x="109" y="685"/>
                  </a:lnTo>
                  <a:lnTo>
                    <a:pt x="106" y="685"/>
                  </a:lnTo>
                  <a:lnTo>
                    <a:pt x="104" y="683"/>
                  </a:lnTo>
                  <a:close/>
                  <a:moveTo>
                    <a:pt x="92" y="659"/>
                  </a:moveTo>
                  <a:lnTo>
                    <a:pt x="90" y="659"/>
                  </a:lnTo>
                  <a:lnTo>
                    <a:pt x="90" y="657"/>
                  </a:lnTo>
                  <a:lnTo>
                    <a:pt x="87" y="657"/>
                  </a:lnTo>
                  <a:lnTo>
                    <a:pt x="87" y="657"/>
                  </a:lnTo>
                  <a:lnTo>
                    <a:pt x="85" y="659"/>
                  </a:lnTo>
                  <a:lnTo>
                    <a:pt x="83" y="659"/>
                  </a:lnTo>
                  <a:lnTo>
                    <a:pt x="83" y="659"/>
                  </a:lnTo>
                  <a:lnTo>
                    <a:pt x="83" y="659"/>
                  </a:lnTo>
                  <a:lnTo>
                    <a:pt x="83" y="662"/>
                  </a:lnTo>
                  <a:lnTo>
                    <a:pt x="85" y="662"/>
                  </a:lnTo>
                  <a:lnTo>
                    <a:pt x="85" y="662"/>
                  </a:lnTo>
                  <a:lnTo>
                    <a:pt x="85" y="662"/>
                  </a:lnTo>
                  <a:lnTo>
                    <a:pt x="87" y="664"/>
                  </a:lnTo>
                  <a:lnTo>
                    <a:pt x="85" y="664"/>
                  </a:lnTo>
                  <a:lnTo>
                    <a:pt x="85" y="666"/>
                  </a:lnTo>
                  <a:lnTo>
                    <a:pt x="87" y="666"/>
                  </a:lnTo>
                  <a:lnTo>
                    <a:pt x="87" y="666"/>
                  </a:lnTo>
                  <a:lnTo>
                    <a:pt x="90" y="664"/>
                  </a:lnTo>
                  <a:lnTo>
                    <a:pt x="90" y="664"/>
                  </a:lnTo>
                  <a:lnTo>
                    <a:pt x="92" y="659"/>
                  </a:lnTo>
                  <a:close/>
                  <a:moveTo>
                    <a:pt x="111" y="683"/>
                  </a:moveTo>
                  <a:lnTo>
                    <a:pt x="111" y="681"/>
                  </a:lnTo>
                  <a:lnTo>
                    <a:pt x="111" y="678"/>
                  </a:lnTo>
                  <a:lnTo>
                    <a:pt x="111" y="678"/>
                  </a:lnTo>
                  <a:lnTo>
                    <a:pt x="109" y="676"/>
                  </a:lnTo>
                  <a:lnTo>
                    <a:pt x="109" y="676"/>
                  </a:lnTo>
                  <a:lnTo>
                    <a:pt x="109" y="676"/>
                  </a:lnTo>
                  <a:lnTo>
                    <a:pt x="109" y="673"/>
                  </a:lnTo>
                  <a:lnTo>
                    <a:pt x="106" y="671"/>
                  </a:lnTo>
                  <a:lnTo>
                    <a:pt x="106" y="669"/>
                  </a:lnTo>
                  <a:lnTo>
                    <a:pt x="104" y="664"/>
                  </a:lnTo>
                  <a:lnTo>
                    <a:pt x="99" y="657"/>
                  </a:lnTo>
                  <a:lnTo>
                    <a:pt x="99" y="657"/>
                  </a:lnTo>
                  <a:lnTo>
                    <a:pt x="99" y="657"/>
                  </a:lnTo>
                  <a:lnTo>
                    <a:pt x="97" y="657"/>
                  </a:lnTo>
                  <a:lnTo>
                    <a:pt x="94" y="654"/>
                  </a:lnTo>
                  <a:lnTo>
                    <a:pt x="94" y="654"/>
                  </a:lnTo>
                  <a:lnTo>
                    <a:pt x="92" y="657"/>
                  </a:lnTo>
                  <a:lnTo>
                    <a:pt x="92" y="657"/>
                  </a:lnTo>
                  <a:lnTo>
                    <a:pt x="92" y="657"/>
                  </a:lnTo>
                  <a:lnTo>
                    <a:pt x="94" y="659"/>
                  </a:lnTo>
                  <a:lnTo>
                    <a:pt x="94" y="662"/>
                  </a:lnTo>
                  <a:lnTo>
                    <a:pt x="94" y="662"/>
                  </a:lnTo>
                  <a:lnTo>
                    <a:pt x="92" y="664"/>
                  </a:lnTo>
                  <a:lnTo>
                    <a:pt x="92" y="664"/>
                  </a:lnTo>
                  <a:lnTo>
                    <a:pt x="94" y="666"/>
                  </a:lnTo>
                  <a:lnTo>
                    <a:pt x="94" y="666"/>
                  </a:lnTo>
                  <a:lnTo>
                    <a:pt x="94" y="669"/>
                  </a:lnTo>
                  <a:lnTo>
                    <a:pt x="92" y="666"/>
                  </a:lnTo>
                  <a:lnTo>
                    <a:pt x="92" y="666"/>
                  </a:lnTo>
                  <a:lnTo>
                    <a:pt x="90" y="669"/>
                  </a:lnTo>
                  <a:lnTo>
                    <a:pt x="90" y="669"/>
                  </a:lnTo>
                  <a:lnTo>
                    <a:pt x="92" y="671"/>
                  </a:lnTo>
                  <a:lnTo>
                    <a:pt x="92" y="671"/>
                  </a:lnTo>
                  <a:lnTo>
                    <a:pt x="94" y="671"/>
                  </a:lnTo>
                  <a:lnTo>
                    <a:pt x="94" y="673"/>
                  </a:lnTo>
                  <a:lnTo>
                    <a:pt x="92" y="673"/>
                  </a:lnTo>
                  <a:lnTo>
                    <a:pt x="92" y="676"/>
                  </a:lnTo>
                  <a:lnTo>
                    <a:pt x="92" y="678"/>
                  </a:lnTo>
                  <a:lnTo>
                    <a:pt x="94" y="678"/>
                  </a:lnTo>
                  <a:lnTo>
                    <a:pt x="97" y="678"/>
                  </a:lnTo>
                  <a:lnTo>
                    <a:pt x="99" y="678"/>
                  </a:lnTo>
                  <a:lnTo>
                    <a:pt x="101" y="678"/>
                  </a:lnTo>
                  <a:lnTo>
                    <a:pt x="101" y="678"/>
                  </a:lnTo>
                  <a:lnTo>
                    <a:pt x="101" y="678"/>
                  </a:lnTo>
                  <a:lnTo>
                    <a:pt x="99" y="673"/>
                  </a:lnTo>
                  <a:lnTo>
                    <a:pt x="99" y="673"/>
                  </a:lnTo>
                  <a:lnTo>
                    <a:pt x="99" y="673"/>
                  </a:lnTo>
                  <a:lnTo>
                    <a:pt x="101" y="671"/>
                  </a:lnTo>
                  <a:lnTo>
                    <a:pt x="101" y="671"/>
                  </a:lnTo>
                  <a:lnTo>
                    <a:pt x="104" y="671"/>
                  </a:lnTo>
                  <a:lnTo>
                    <a:pt x="104" y="671"/>
                  </a:lnTo>
                  <a:lnTo>
                    <a:pt x="101" y="671"/>
                  </a:lnTo>
                  <a:lnTo>
                    <a:pt x="101" y="673"/>
                  </a:lnTo>
                  <a:lnTo>
                    <a:pt x="104" y="673"/>
                  </a:lnTo>
                  <a:lnTo>
                    <a:pt x="101" y="676"/>
                  </a:lnTo>
                  <a:lnTo>
                    <a:pt x="101" y="676"/>
                  </a:lnTo>
                  <a:lnTo>
                    <a:pt x="104" y="676"/>
                  </a:lnTo>
                  <a:lnTo>
                    <a:pt x="104" y="678"/>
                  </a:lnTo>
                  <a:lnTo>
                    <a:pt x="106" y="681"/>
                  </a:lnTo>
                  <a:lnTo>
                    <a:pt x="106" y="681"/>
                  </a:lnTo>
                  <a:lnTo>
                    <a:pt x="109" y="683"/>
                  </a:lnTo>
                  <a:lnTo>
                    <a:pt x="109" y="683"/>
                  </a:lnTo>
                  <a:lnTo>
                    <a:pt x="111" y="683"/>
                  </a:lnTo>
                  <a:lnTo>
                    <a:pt x="111" y="683"/>
                  </a:lnTo>
                  <a:close/>
                  <a:moveTo>
                    <a:pt x="85" y="657"/>
                  </a:moveTo>
                  <a:lnTo>
                    <a:pt x="87" y="654"/>
                  </a:lnTo>
                  <a:lnTo>
                    <a:pt x="87" y="654"/>
                  </a:lnTo>
                  <a:lnTo>
                    <a:pt x="85" y="650"/>
                  </a:lnTo>
                  <a:lnTo>
                    <a:pt x="83" y="645"/>
                  </a:lnTo>
                  <a:lnTo>
                    <a:pt x="80" y="643"/>
                  </a:lnTo>
                  <a:lnTo>
                    <a:pt x="78" y="640"/>
                  </a:lnTo>
                  <a:lnTo>
                    <a:pt x="76" y="643"/>
                  </a:lnTo>
                  <a:lnTo>
                    <a:pt x="76" y="643"/>
                  </a:lnTo>
                  <a:lnTo>
                    <a:pt x="78" y="645"/>
                  </a:lnTo>
                  <a:lnTo>
                    <a:pt x="78" y="645"/>
                  </a:lnTo>
                  <a:lnTo>
                    <a:pt x="80" y="647"/>
                  </a:lnTo>
                  <a:lnTo>
                    <a:pt x="80" y="652"/>
                  </a:lnTo>
                  <a:lnTo>
                    <a:pt x="83" y="657"/>
                  </a:lnTo>
                  <a:lnTo>
                    <a:pt x="83" y="657"/>
                  </a:lnTo>
                  <a:lnTo>
                    <a:pt x="85" y="657"/>
                  </a:lnTo>
                  <a:close/>
                  <a:moveTo>
                    <a:pt x="80" y="643"/>
                  </a:moveTo>
                  <a:lnTo>
                    <a:pt x="80" y="643"/>
                  </a:lnTo>
                  <a:lnTo>
                    <a:pt x="83" y="645"/>
                  </a:lnTo>
                  <a:lnTo>
                    <a:pt x="85" y="645"/>
                  </a:lnTo>
                  <a:lnTo>
                    <a:pt x="85" y="647"/>
                  </a:lnTo>
                  <a:lnTo>
                    <a:pt x="87" y="647"/>
                  </a:lnTo>
                  <a:lnTo>
                    <a:pt x="87" y="650"/>
                  </a:lnTo>
                  <a:lnTo>
                    <a:pt x="90" y="652"/>
                  </a:lnTo>
                  <a:lnTo>
                    <a:pt x="92" y="654"/>
                  </a:lnTo>
                  <a:lnTo>
                    <a:pt x="94" y="654"/>
                  </a:lnTo>
                  <a:lnTo>
                    <a:pt x="97" y="654"/>
                  </a:lnTo>
                  <a:lnTo>
                    <a:pt x="97" y="652"/>
                  </a:lnTo>
                  <a:lnTo>
                    <a:pt x="94" y="650"/>
                  </a:lnTo>
                  <a:lnTo>
                    <a:pt x="94" y="650"/>
                  </a:lnTo>
                  <a:lnTo>
                    <a:pt x="94" y="650"/>
                  </a:lnTo>
                  <a:lnTo>
                    <a:pt x="94" y="647"/>
                  </a:lnTo>
                  <a:lnTo>
                    <a:pt x="92" y="647"/>
                  </a:lnTo>
                  <a:lnTo>
                    <a:pt x="92" y="645"/>
                  </a:lnTo>
                  <a:lnTo>
                    <a:pt x="90" y="645"/>
                  </a:lnTo>
                  <a:lnTo>
                    <a:pt x="90" y="643"/>
                  </a:lnTo>
                  <a:lnTo>
                    <a:pt x="90" y="643"/>
                  </a:lnTo>
                  <a:lnTo>
                    <a:pt x="87" y="640"/>
                  </a:lnTo>
                  <a:lnTo>
                    <a:pt x="87" y="638"/>
                  </a:lnTo>
                  <a:lnTo>
                    <a:pt x="85" y="638"/>
                  </a:lnTo>
                  <a:lnTo>
                    <a:pt x="85" y="640"/>
                  </a:lnTo>
                  <a:lnTo>
                    <a:pt x="80" y="640"/>
                  </a:lnTo>
                  <a:lnTo>
                    <a:pt x="80" y="643"/>
                  </a:lnTo>
                  <a:close/>
                  <a:moveTo>
                    <a:pt x="83" y="636"/>
                  </a:moveTo>
                  <a:lnTo>
                    <a:pt x="80" y="636"/>
                  </a:lnTo>
                  <a:lnTo>
                    <a:pt x="78" y="636"/>
                  </a:lnTo>
                  <a:lnTo>
                    <a:pt x="78" y="636"/>
                  </a:lnTo>
                  <a:lnTo>
                    <a:pt x="80" y="638"/>
                  </a:lnTo>
                  <a:lnTo>
                    <a:pt x="80" y="638"/>
                  </a:lnTo>
                  <a:lnTo>
                    <a:pt x="80" y="638"/>
                  </a:lnTo>
                  <a:lnTo>
                    <a:pt x="83" y="638"/>
                  </a:lnTo>
                  <a:lnTo>
                    <a:pt x="83" y="638"/>
                  </a:lnTo>
                  <a:lnTo>
                    <a:pt x="85" y="636"/>
                  </a:lnTo>
                  <a:lnTo>
                    <a:pt x="83" y="636"/>
                  </a:lnTo>
                  <a:lnTo>
                    <a:pt x="83" y="636"/>
                  </a:lnTo>
                  <a:close/>
                  <a:moveTo>
                    <a:pt x="68" y="591"/>
                  </a:moveTo>
                  <a:lnTo>
                    <a:pt x="68" y="593"/>
                  </a:lnTo>
                  <a:lnTo>
                    <a:pt x="71" y="595"/>
                  </a:lnTo>
                  <a:lnTo>
                    <a:pt x="71" y="593"/>
                  </a:lnTo>
                  <a:lnTo>
                    <a:pt x="73" y="595"/>
                  </a:lnTo>
                  <a:lnTo>
                    <a:pt x="76" y="595"/>
                  </a:lnTo>
                  <a:lnTo>
                    <a:pt x="76" y="593"/>
                  </a:lnTo>
                  <a:lnTo>
                    <a:pt x="76" y="593"/>
                  </a:lnTo>
                  <a:lnTo>
                    <a:pt x="76" y="591"/>
                  </a:lnTo>
                  <a:lnTo>
                    <a:pt x="76" y="591"/>
                  </a:lnTo>
                  <a:lnTo>
                    <a:pt x="73" y="588"/>
                  </a:lnTo>
                  <a:lnTo>
                    <a:pt x="73" y="586"/>
                  </a:lnTo>
                  <a:lnTo>
                    <a:pt x="71" y="584"/>
                  </a:lnTo>
                  <a:lnTo>
                    <a:pt x="71" y="584"/>
                  </a:lnTo>
                  <a:lnTo>
                    <a:pt x="68" y="584"/>
                  </a:lnTo>
                  <a:lnTo>
                    <a:pt x="68" y="586"/>
                  </a:lnTo>
                  <a:lnTo>
                    <a:pt x="71" y="588"/>
                  </a:lnTo>
                  <a:lnTo>
                    <a:pt x="71" y="591"/>
                  </a:lnTo>
                  <a:lnTo>
                    <a:pt x="68" y="591"/>
                  </a:lnTo>
                  <a:close/>
                  <a:moveTo>
                    <a:pt x="54" y="574"/>
                  </a:moveTo>
                  <a:lnTo>
                    <a:pt x="54" y="574"/>
                  </a:lnTo>
                  <a:lnTo>
                    <a:pt x="54" y="574"/>
                  </a:lnTo>
                  <a:lnTo>
                    <a:pt x="54" y="574"/>
                  </a:lnTo>
                  <a:lnTo>
                    <a:pt x="57" y="576"/>
                  </a:lnTo>
                  <a:lnTo>
                    <a:pt x="57" y="576"/>
                  </a:lnTo>
                  <a:lnTo>
                    <a:pt x="57" y="574"/>
                  </a:lnTo>
                  <a:lnTo>
                    <a:pt x="57" y="574"/>
                  </a:lnTo>
                  <a:lnTo>
                    <a:pt x="57" y="574"/>
                  </a:lnTo>
                  <a:lnTo>
                    <a:pt x="54" y="574"/>
                  </a:lnTo>
                  <a:close/>
                  <a:moveTo>
                    <a:pt x="78" y="572"/>
                  </a:moveTo>
                  <a:lnTo>
                    <a:pt x="78" y="574"/>
                  </a:lnTo>
                  <a:lnTo>
                    <a:pt x="78" y="574"/>
                  </a:lnTo>
                  <a:lnTo>
                    <a:pt x="80" y="574"/>
                  </a:lnTo>
                  <a:lnTo>
                    <a:pt x="80" y="574"/>
                  </a:lnTo>
                  <a:lnTo>
                    <a:pt x="80" y="572"/>
                  </a:lnTo>
                  <a:lnTo>
                    <a:pt x="78" y="572"/>
                  </a:lnTo>
                  <a:lnTo>
                    <a:pt x="78" y="569"/>
                  </a:lnTo>
                  <a:lnTo>
                    <a:pt x="76" y="569"/>
                  </a:lnTo>
                  <a:lnTo>
                    <a:pt x="76" y="567"/>
                  </a:lnTo>
                  <a:lnTo>
                    <a:pt x="76" y="569"/>
                  </a:lnTo>
                  <a:lnTo>
                    <a:pt x="76" y="569"/>
                  </a:lnTo>
                  <a:lnTo>
                    <a:pt x="76" y="569"/>
                  </a:lnTo>
                  <a:lnTo>
                    <a:pt x="76" y="572"/>
                  </a:lnTo>
                  <a:lnTo>
                    <a:pt x="78" y="572"/>
                  </a:lnTo>
                  <a:close/>
                  <a:moveTo>
                    <a:pt x="83" y="569"/>
                  </a:moveTo>
                  <a:lnTo>
                    <a:pt x="80" y="569"/>
                  </a:lnTo>
                  <a:lnTo>
                    <a:pt x="83" y="572"/>
                  </a:lnTo>
                  <a:lnTo>
                    <a:pt x="83" y="572"/>
                  </a:lnTo>
                  <a:lnTo>
                    <a:pt x="85" y="574"/>
                  </a:lnTo>
                  <a:lnTo>
                    <a:pt x="87" y="574"/>
                  </a:lnTo>
                  <a:lnTo>
                    <a:pt x="90" y="574"/>
                  </a:lnTo>
                  <a:lnTo>
                    <a:pt x="92" y="572"/>
                  </a:lnTo>
                  <a:lnTo>
                    <a:pt x="92" y="569"/>
                  </a:lnTo>
                  <a:lnTo>
                    <a:pt x="92" y="569"/>
                  </a:lnTo>
                  <a:lnTo>
                    <a:pt x="92" y="567"/>
                  </a:lnTo>
                  <a:lnTo>
                    <a:pt x="90" y="567"/>
                  </a:lnTo>
                  <a:lnTo>
                    <a:pt x="85" y="565"/>
                  </a:lnTo>
                  <a:lnTo>
                    <a:pt x="83" y="565"/>
                  </a:lnTo>
                  <a:lnTo>
                    <a:pt x="83" y="565"/>
                  </a:lnTo>
                  <a:lnTo>
                    <a:pt x="83" y="565"/>
                  </a:lnTo>
                  <a:lnTo>
                    <a:pt x="83" y="567"/>
                  </a:lnTo>
                  <a:lnTo>
                    <a:pt x="83" y="567"/>
                  </a:lnTo>
                  <a:lnTo>
                    <a:pt x="83" y="567"/>
                  </a:lnTo>
                  <a:lnTo>
                    <a:pt x="83" y="569"/>
                  </a:lnTo>
                  <a:close/>
                  <a:moveTo>
                    <a:pt x="73" y="567"/>
                  </a:moveTo>
                  <a:lnTo>
                    <a:pt x="73" y="565"/>
                  </a:lnTo>
                  <a:lnTo>
                    <a:pt x="73" y="565"/>
                  </a:lnTo>
                  <a:lnTo>
                    <a:pt x="73" y="562"/>
                  </a:lnTo>
                  <a:lnTo>
                    <a:pt x="71" y="562"/>
                  </a:lnTo>
                  <a:lnTo>
                    <a:pt x="71" y="560"/>
                  </a:lnTo>
                  <a:lnTo>
                    <a:pt x="68" y="560"/>
                  </a:lnTo>
                  <a:lnTo>
                    <a:pt x="68" y="560"/>
                  </a:lnTo>
                  <a:lnTo>
                    <a:pt x="66" y="560"/>
                  </a:lnTo>
                  <a:lnTo>
                    <a:pt x="66" y="562"/>
                  </a:lnTo>
                  <a:lnTo>
                    <a:pt x="68" y="565"/>
                  </a:lnTo>
                  <a:lnTo>
                    <a:pt x="68" y="565"/>
                  </a:lnTo>
                  <a:lnTo>
                    <a:pt x="66" y="565"/>
                  </a:lnTo>
                  <a:lnTo>
                    <a:pt x="64" y="565"/>
                  </a:lnTo>
                  <a:lnTo>
                    <a:pt x="64" y="567"/>
                  </a:lnTo>
                  <a:lnTo>
                    <a:pt x="61" y="567"/>
                  </a:lnTo>
                  <a:lnTo>
                    <a:pt x="64" y="569"/>
                  </a:lnTo>
                  <a:lnTo>
                    <a:pt x="61" y="569"/>
                  </a:lnTo>
                  <a:lnTo>
                    <a:pt x="64" y="572"/>
                  </a:lnTo>
                  <a:lnTo>
                    <a:pt x="66" y="574"/>
                  </a:lnTo>
                  <a:lnTo>
                    <a:pt x="68" y="576"/>
                  </a:lnTo>
                  <a:lnTo>
                    <a:pt x="71" y="581"/>
                  </a:lnTo>
                  <a:lnTo>
                    <a:pt x="73" y="581"/>
                  </a:lnTo>
                  <a:lnTo>
                    <a:pt x="76" y="584"/>
                  </a:lnTo>
                  <a:lnTo>
                    <a:pt x="76" y="586"/>
                  </a:lnTo>
                  <a:lnTo>
                    <a:pt x="78" y="586"/>
                  </a:lnTo>
                  <a:lnTo>
                    <a:pt x="80" y="586"/>
                  </a:lnTo>
                  <a:lnTo>
                    <a:pt x="80" y="586"/>
                  </a:lnTo>
                  <a:lnTo>
                    <a:pt x="80" y="586"/>
                  </a:lnTo>
                  <a:lnTo>
                    <a:pt x="80" y="586"/>
                  </a:lnTo>
                  <a:lnTo>
                    <a:pt x="80" y="584"/>
                  </a:lnTo>
                  <a:lnTo>
                    <a:pt x="80" y="584"/>
                  </a:lnTo>
                  <a:lnTo>
                    <a:pt x="80" y="584"/>
                  </a:lnTo>
                  <a:lnTo>
                    <a:pt x="80" y="581"/>
                  </a:lnTo>
                  <a:lnTo>
                    <a:pt x="78" y="579"/>
                  </a:lnTo>
                  <a:lnTo>
                    <a:pt x="78" y="576"/>
                  </a:lnTo>
                  <a:lnTo>
                    <a:pt x="78" y="576"/>
                  </a:lnTo>
                  <a:lnTo>
                    <a:pt x="76" y="574"/>
                  </a:lnTo>
                  <a:lnTo>
                    <a:pt x="76" y="572"/>
                  </a:lnTo>
                  <a:lnTo>
                    <a:pt x="73" y="569"/>
                  </a:lnTo>
                  <a:lnTo>
                    <a:pt x="71" y="569"/>
                  </a:lnTo>
                  <a:lnTo>
                    <a:pt x="71" y="567"/>
                  </a:lnTo>
                  <a:lnTo>
                    <a:pt x="71" y="567"/>
                  </a:lnTo>
                  <a:lnTo>
                    <a:pt x="73" y="567"/>
                  </a:lnTo>
                  <a:lnTo>
                    <a:pt x="73" y="567"/>
                  </a:lnTo>
                  <a:close/>
                  <a:moveTo>
                    <a:pt x="68" y="553"/>
                  </a:moveTo>
                  <a:lnTo>
                    <a:pt x="66" y="553"/>
                  </a:lnTo>
                  <a:lnTo>
                    <a:pt x="66" y="553"/>
                  </a:lnTo>
                  <a:lnTo>
                    <a:pt x="64" y="553"/>
                  </a:lnTo>
                  <a:lnTo>
                    <a:pt x="64" y="555"/>
                  </a:lnTo>
                  <a:lnTo>
                    <a:pt x="64" y="555"/>
                  </a:lnTo>
                  <a:lnTo>
                    <a:pt x="66" y="555"/>
                  </a:lnTo>
                  <a:lnTo>
                    <a:pt x="66" y="555"/>
                  </a:lnTo>
                  <a:lnTo>
                    <a:pt x="66" y="555"/>
                  </a:lnTo>
                  <a:lnTo>
                    <a:pt x="68" y="555"/>
                  </a:lnTo>
                  <a:lnTo>
                    <a:pt x="68" y="555"/>
                  </a:lnTo>
                  <a:lnTo>
                    <a:pt x="68" y="553"/>
                  </a:lnTo>
                  <a:lnTo>
                    <a:pt x="68" y="553"/>
                  </a:lnTo>
                  <a:close/>
                  <a:moveTo>
                    <a:pt x="52" y="548"/>
                  </a:moveTo>
                  <a:lnTo>
                    <a:pt x="52" y="548"/>
                  </a:lnTo>
                  <a:lnTo>
                    <a:pt x="50" y="548"/>
                  </a:lnTo>
                  <a:lnTo>
                    <a:pt x="50" y="548"/>
                  </a:lnTo>
                  <a:lnTo>
                    <a:pt x="50" y="548"/>
                  </a:lnTo>
                  <a:lnTo>
                    <a:pt x="50" y="548"/>
                  </a:lnTo>
                  <a:lnTo>
                    <a:pt x="50" y="550"/>
                  </a:lnTo>
                  <a:lnTo>
                    <a:pt x="52" y="548"/>
                  </a:lnTo>
                  <a:lnTo>
                    <a:pt x="52" y="548"/>
                  </a:lnTo>
                  <a:lnTo>
                    <a:pt x="52" y="548"/>
                  </a:lnTo>
                  <a:close/>
                  <a:moveTo>
                    <a:pt x="64" y="543"/>
                  </a:moveTo>
                  <a:lnTo>
                    <a:pt x="66" y="543"/>
                  </a:lnTo>
                  <a:lnTo>
                    <a:pt x="66" y="543"/>
                  </a:lnTo>
                  <a:lnTo>
                    <a:pt x="64" y="541"/>
                  </a:lnTo>
                  <a:lnTo>
                    <a:pt x="66" y="539"/>
                  </a:lnTo>
                  <a:lnTo>
                    <a:pt x="66" y="539"/>
                  </a:lnTo>
                  <a:lnTo>
                    <a:pt x="66" y="536"/>
                  </a:lnTo>
                  <a:lnTo>
                    <a:pt x="66" y="536"/>
                  </a:lnTo>
                  <a:lnTo>
                    <a:pt x="66" y="534"/>
                  </a:lnTo>
                  <a:lnTo>
                    <a:pt x="64" y="532"/>
                  </a:lnTo>
                  <a:lnTo>
                    <a:pt x="61" y="532"/>
                  </a:lnTo>
                  <a:lnTo>
                    <a:pt x="59" y="529"/>
                  </a:lnTo>
                  <a:lnTo>
                    <a:pt x="59" y="529"/>
                  </a:lnTo>
                  <a:lnTo>
                    <a:pt x="59" y="527"/>
                  </a:lnTo>
                  <a:lnTo>
                    <a:pt x="61" y="527"/>
                  </a:lnTo>
                  <a:lnTo>
                    <a:pt x="61" y="527"/>
                  </a:lnTo>
                  <a:lnTo>
                    <a:pt x="61" y="527"/>
                  </a:lnTo>
                  <a:lnTo>
                    <a:pt x="64" y="527"/>
                  </a:lnTo>
                  <a:lnTo>
                    <a:pt x="61" y="524"/>
                  </a:lnTo>
                  <a:lnTo>
                    <a:pt x="61" y="522"/>
                  </a:lnTo>
                  <a:lnTo>
                    <a:pt x="61" y="522"/>
                  </a:lnTo>
                  <a:lnTo>
                    <a:pt x="61" y="520"/>
                  </a:lnTo>
                  <a:lnTo>
                    <a:pt x="61" y="520"/>
                  </a:lnTo>
                  <a:lnTo>
                    <a:pt x="59" y="517"/>
                  </a:lnTo>
                  <a:lnTo>
                    <a:pt x="59" y="515"/>
                  </a:lnTo>
                  <a:lnTo>
                    <a:pt x="57" y="515"/>
                  </a:lnTo>
                  <a:lnTo>
                    <a:pt x="54" y="513"/>
                  </a:lnTo>
                  <a:lnTo>
                    <a:pt x="47" y="513"/>
                  </a:lnTo>
                  <a:lnTo>
                    <a:pt x="47" y="513"/>
                  </a:lnTo>
                  <a:lnTo>
                    <a:pt x="50" y="513"/>
                  </a:lnTo>
                  <a:lnTo>
                    <a:pt x="50" y="515"/>
                  </a:lnTo>
                  <a:lnTo>
                    <a:pt x="50" y="517"/>
                  </a:lnTo>
                  <a:lnTo>
                    <a:pt x="50" y="517"/>
                  </a:lnTo>
                  <a:lnTo>
                    <a:pt x="50" y="517"/>
                  </a:lnTo>
                  <a:lnTo>
                    <a:pt x="50" y="520"/>
                  </a:lnTo>
                  <a:lnTo>
                    <a:pt x="50" y="522"/>
                  </a:lnTo>
                  <a:lnTo>
                    <a:pt x="50" y="522"/>
                  </a:lnTo>
                  <a:lnTo>
                    <a:pt x="50" y="524"/>
                  </a:lnTo>
                  <a:lnTo>
                    <a:pt x="50" y="524"/>
                  </a:lnTo>
                  <a:lnTo>
                    <a:pt x="50" y="527"/>
                  </a:lnTo>
                  <a:lnTo>
                    <a:pt x="52" y="529"/>
                  </a:lnTo>
                  <a:lnTo>
                    <a:pt x="54" y="534"/>
                  </a:lnTo>
                  <a:lnTo>
                    <a:pt x="54" y="539"/>
                  </a:lnTo>
                  <a:lnTo>
                    <a:pt x="54" y="541"/>
                  </a:lnTo>
                  <a:lnTo>
                    <a:pt x="54" y="541"/>
                  </a:lnTo>
                  <a:lnTo>
                    <a:pt x="54" y="541"/>
                  </a:lnTo>
                  <a:lnTo>
                    <a:pt x="57" y="543"/>
                  </a:lnTo>
                  <a:lnTo>
                    <a:pt x="59" y="543"/>
                  </a:lnTo>
                  <a:lnTo>
                    <a:pt x="61" y="543"/>
                  </a:lnTo>
                  <a:lnTo>
                    <a:pt x="64" y="543"/>
                  </a:lnTo>
                  <a:lnTo>
                    <a:pt x="64" y="543"/>
                  </a:lnTo>
                  <a:close/>
                  <a:moveTo>
                    <a:pt x="196" y="759"/>
                  </a:moveTo>
                  <a:lnTo>
                    <a:pt x="198" y="761"/>
                  </a:lnTo>
                  <a:lnTo>
                    <a:pt x="203" y="761"/>
                  </a:lnTo>
                  <a:lnTo>
                    <a:pt x="205" y="759"/>
                  </a:lnTo>
                  <a:lnTo>
                    <a:pt x="205" y="759"/>
                  </a:lnTo>
                  <a:lnTo>
                    <a:pt x="205" y="754"/>
                  </a:lnTo>
                  <a:lnTo>
                    <a:pt x="203" y="751"/>
                  </a:lnTo>
                  <a:lnTo>
                    <a:pt x="200" y="751"/>
                  </a:lnTo>
                  <a:lnTo>
                    <a:pt x="200" y="747"/>
                  </a:lnTo>
                  <a:lnTo>
                    <a:pt x="200" y="742"/>
                  </a:lnTo>
                  <a:lnTo>
                    <a:pt x="198" y="742"/>
                  </a:lnTo>
                  <a:lnTo>
                    <a:pt x="198" y="740"/>
                  </a:lnTo>
                  <a:lnTo>
                    <a:pt x="200" y="737"/>
                  </a:lnTo>
                  <a:lnTo>
                    <a:pt x="200" y="737"/>
                  </a:lnTo>
                  <a:lnTo>
                    <a:pt x="203" y="737"/>
                  </a:lnTo>
                  <a:lnTo>
                    <a:pt x="210" y="733"/>
                  </a:lnTo>
                  <a:lnTo>
                    <a:pt x="212" y="733"/>
                  </a:lnTo>
                  <a:lnTo>
                    <a:pt x="215" y="733"/>
                  </a:lnTo>
                  <a:lnTo>
                    <a:pt x="215" y="733"/>
                  </a:lnTo>
                  <a:lnTo>
                    <a:pt x="215" y="728"/>
                  </a:lnTo>
                  <a:lnTo>
                    <a:pt x="217" y="728"/>
                  </a:lnTo>
                  <a:lnTo>
                    <a:pt x="219" y="728"/>
                  </a:lnTo>
                  <a:lnTo>
                    <a:pt x="222" y="728"/>
                  </a:lnTo>
                  <a:lnTo>
                    <a:pt x="231" y="730"/>
                  </a:lnTo>
                  <a:lnTo>
                    <a:pt x="231" y="728"/>
                  </a:lnTo>
                  <a:lnTo>
                    <a:pt x="229" y="728"/>
                  </a:lnTo>
                  <a:lnTo>
                    <a:pt x="226" y="728"/>
                  </a:lnTo>
                  <a:lnTo>
                    <a:pt x="222" y="728"/>
                  </a:lnTo>
                  <a:lnTo>
                    <a:pt x="217" y="725"/>
                  </a:lnTo>
                  <a:lnTo>
                    <a:pt x="212" y="725"/>
                  </a:lnTo>
                  <a:lnTo>
                    <a:pt x="208" y="725"/>
                  </a:lnTo>
                  <a:lnTo>
                    <a:pt x="203" y="723"/>
                  </a:lnTo>
                  <a:lnTo>
                    <a:pt x="196" y="723"/>
                  </a:lnTo>
                  <a:lnTo>
                    <a:pt x="189" y="723"/>
                  </a:lnTo>
                  <a:lnTo>
                    <a:pt x="182" y="723"/>
                  </a:lnTo>
                  <a:lnTo>
                    <a:pt x="177" y="723"/>
                  </a:lnTo>
                  <a:lnTo>
                    <a:pt x="172" y="723"/>
                  </a:lnTo>
                  <a:lnTo>
                    <a:pt x="172" y="723"/>
                  </a:lnTo>
                  <a:lnTo>
                    <a:pt x="170" y="721"/>
                  </a:lnTo>
                  <a:lnTo>
                    <a:pt x="170" y="718"/>
                  </a:lnTo>
                  <a:lnTo>
                    <a:pt x="167" y="718"/>
                  </a:lnTo>
                  <a:lnTo>
                    <a:pt x="165" y="716"/>
                  </a:lnTo>
                  <a:lnTo>
                    <a:pt x="163" y="716"/>
                  </a:lnTo>
                  <a:lnTo>
                    <a:pt x="160" y="714"/>
                  </a:lnTo>
                  <a:lnTo>
                    <a:pt x="160" y="711"/>
                  </a:lnTo>
                  <a:lnTo>
                    <a:pt x="160" y="709"/>
                  </a:lnTo>
                  <a:lnTo>
                    <a:pt x="158" y="707"/>
                  </a:lnTo>
                  <a:lnTo>
                    <a:pt x="158" y="707"/>
                  </a:lnTo>
                  <a:lnTo>
                    <a:pt x="156" y="704"/>
                  </a:lnTo>
                  <a:lnTo>
                    <a:pt x="156" y="704"/>
                  </a:lnTo>
                  <a:lnTo>
                    <a:pt x="158" y="704"/>
                  </a:lnTo>
                  <a:lnTo>
                    <a:pt x="156" y="702"/>
                  </a:lnTo>
                  <a:lnTo>
                    <a:pt x="156" y="699"/>
                  </a:lnTo>
                  <a:lnTo>
                    <a:pt x="153" y="697"/>
                  </a:lnTo>
                  <a:lnTo>
                    <a:pt x="151" y="695"/>
                  </a:lnTo>
                  <a:lnTo>
                    <a:pt x="151" y="695"/>
                  </a:lnTo>
                  <a:lnTo>
                    <a:pt x="149" y="695"/>
                  </a:lnTo>
                  <a:lnTo>
                    <a:pt x="149" y="695"/>
                  </a:lnTo>
                  <a:lnTo>
                    <a:pt x="146" y="695"/>
                  </a:lnTo>
                  <a:lnTo>
                    <a:pt x="144" y="695"/>
                  </a:lnTo>
                  <a:lnTo>
                    <a:pt x="144" y="697"/>
                  </a:lnTo>
                  <a:lnTo>
                    <a:pt x="142" y="697"/>
                  </a:lnTo>
                  <a:lnTo>
                    <a:pt x="142" y="697"/>
                  </a:lnTo>
                  <a:lnTo>
                    <a:pt x="139" y="697"/>
                  </a:lnTo>
                  <a:lnTo>
                    <a:pt x="139" y="695"/>
                  </a:lnTo>
                  <a:lnTo>
                    <a:pt x="137" y="695"/>
                  </a:lnTo>
                  <a:lnTo>
                    <a:pt x="137" y="692"/>
                  </a:lnTo>
                  <a:lnTo>
                    <a:pt x="134" y="690"/>
                  </a:lnTo>
                  <a:lnTo>
                    <a:pt x="132" y="688"/>
                  </a:lnTo>
                  <a:lnTo>
                    <a:pt x="130" y="685"/>
                  </a:lnTo>
                  <a:lnTo>
                    <a:pt x="127" y="683"/>
                  </a:lnTo>
                  <a:lnTo>
                    <a:pt x="127" y="681"/>
                  </a:lnTo>
                  <a:lnTo>
                    <a:pt x="127" y="678"/>
                  </a:lnTo>
                  <a:lnTo>
                    <a:pt x="125" y="676"/>
                  </a:lnTo>
                  <a:lnTo>
                    <a:pt x="123" y="673"/>
                  </a:lnTo>
                  <a:lnTo>
                    <a:pt x="123" y="671"/>
                  </a:lnTo>
                  <a:lnTo>
                    <a:pt x="123" y="669"/>
                  </a:lnTo>
                  <a:lnTo>
                    <a:pt x="123" y="669"/>
                  </a:lnTo>
                  <a:lnTo>
                    <a:pt x="127" y="669"/>
                  </a:lnTo>
                  <a:lnTo>
                    <a:pt x="125" y="666"/>
                  </a:lnTo>
                  <a:lnTo>
                    <a:pt x="125" y="664"/>
                  </a:lnTo>
                  <a:lnTo>
                    <a:pt x="125" y="662"/>
                  </a:lnTo>
                  <a:lnTo>
                    <a:pt x="127" y="662"/>
                  </a:lnTo>
                  <a:lnTo>
                    <a:pt x="127" y="662"/>
                  </a:lnTo>
                  <a:lnTo>
                    <a:pt x="130" y="659"/>
                  </a:lnTo>
                  <a:lnTo>
                    <a:pt x="130" y="659"/>
                  </a:lnTo>
                  <a:lnTo>
                    <a:pt x="130" y="657"/>
                  </a:lnTo>
                  <a:lnTo>
                    <a:pt x="130" y="657"/>
                  </a:lnTo>
                  <a:lnTo>
                    <a:pt x="130" y="654"/>
                  </a:lnTo>
                  <a:lnTo>
                    <a:pt x="127" y="652"/>
                  </a:lnTo>
                  <a:lnTo>
                    <a:pt x="127" y="650"/>
                  </a:lnTo>
                  <a:lnTo>
                    <a:pt x="130" y="650"/>
                  </a:lnTo>
                  <a:lnTo>
                    <a:pt x="132" y="647"/>
                  </a:lnTo>
                  <a:lnTo>
                    <a:pt x="132" y="645"/>
                  </a:lnTo>
                  <a:lnTo>
                    <a:pt x="130" y="643"/>
                  </a:lnTo>
                  <a:lnTo>
                    <a:pt x="127" y="640"/>
                  </a:lnTo>
                  <a:lnTo>
                    <a:pt x="125" y="640"/>
                  </a:lnTo>
                  <a:lnTo>
                    <a:pt x="125" y="638"/>
                  </a:lnTo>
                  <a:lnTo>
                    <a:pt x="125" y="636"/>
                  </a:lnTo>
                  <a:lnTo>
                    <a:pt x="125" y="636"/>
                  </a:lnTo>
                  <a:lnTo>
                    <a:pt x="125" y="633"/>
                  </a:lnTo>
                  <a:lnTo>
                    <a:pt x="123" y="631"/>
                  </a:lnTo>
                  <a:lnTo>
                    <a:pt x="125" y="628"/>
                  </a:lnTo>
                  <a:lnTo>
                    <a:pt x="127" y="628"/>
                  </a:lnTo>
                  <a:lnTo>
                    <a:pt x="127" y="626"/>
                  </a:lnTo>
                  <a:lnTo>
                    <a:pt x="127" y="624"/>
                  </a:lnTo>
                  <a:lnTo>
                    <a:pt x="127" y="624"/>
                  </a:lnTo>
                  <a:lnTo>
                    <a:pt x="127" y="624"/>
                  </a:lnTo>
                  <a:lnTo>
                    <a:pt x="127" y="621"/>
                  </a:lnTo>
                  <a:lnTo>
                    <a:pt x="125" y="621"/>
                  </a:lnTo>
                  <a:lnTo>
                    <a:pt x="125" y="619"/>
                  </a:lnTo>
                  <a:lnTo>
                    <a:pt x="125" y="617"/>
                  </a:lnTo>
                  <a:lnTo>
                    <a:pt x="125" y="617"/>
                  </a:lnTo>
                  <a:lnTo>
                    <a:pt x="127" y="614"/>
                  </a:lnTo>
                  <a:lnTo>
                    <a:pt x="127" y="614"/>
                  </a:lnTo>
                  <a:lnTo>
                    <a:pt x="127" y="612"/>
                  </a:lnTo>
                  <a:lnTo>
                    <a:pt x="125" y="610"/>
                  </a:lnTo>
                  <a:lnTo>
                    <a:pt x="123" y="607"/>
                  </a:lnTo>
                  <a:lnTo>
                    <a:pt x="123" y="605"/>
                  </a:lnTo>
                  <a:lnTo>
                    <a:pt x="120" y="605"/>
                  </a:lnTo>
                  <a:lnTo>
                    <a:pt x="120" y="602"/>
                  </a:lnTo>
                  <a:lnTo>
                    <a:pt x="120" y="602"/>
                  </a:lnTo>
                  <a:lnTo>
                    <a:pt x="123" y="600"/>
                  </a:lnTo>
                  <a:lnTo>
                    <a:pt x="123" y="598"/>
                  </a:lnTo>
                  <a:lnTo>
                    <a:pt x="120" y="598"/>
                  </a:lnTo>
                  <a:lnTo>
                    <a:pt x="120" y="595"/>
                  </a:lnTo>
                  <a:lnTo>
                    <a:pt x="118" y="593"/>
                  </a:lnTo>
                  <a:lnTo>
                    <a:pt x="118" y="591"/>
                  </a:lnTo>
                  <a:lnTo>
                    <a:pt x="118" y="591"/>
                  </a:lnTo>
                  <a:lnTo>
                    <a:pt x="120" y="591"/>
                  </a:lnTo>
                  <a:lnTo>
                    <a:pt x="120" y="588"/>
                  </a:lnTo>
                  <a:lnTo>
                    <a:pt x="123" y="586"/>
                  </a:lnTo>
                  <a:lnTo>
                    <a:pt x="120" y="584"/>
                  </a:lnTo>
                  <a:lnTo>
                    <a:pt x="118" y="584"/>
                  </a:lnTo>
                  <a:lnTo>
                    <a:pt x="116" y="581"/>
                  </a:lnTo>
                  <a:lnTo>
                    <a:pt x="116" y="576"/>
                  </a:lnTo>
                  <a:lnTo>
                    <a:pt x="111" y="576"/>
                  </a:lnTo>
                  <a:lnTo>
                    <a:pt x="106" y="576"/>
                  </a:lnTo>
                  <a:lnTo>
                    <a:pt x="106" y="574"/>
                  </a:lnTo>
                  <a:lnTo>
                    <a:pt x="106" y="572"/>
                  </a:lnTo>
                  <a:lnTo>
                    <a:pt x="106" y="574"/>
                  </a:lnTo>
                  <a:lnTo>
                    <a:pt x="111" y="572"/>
                  </a:lnTo>
                  <a:lnTo>
                    <a:pt x="113" y="572"/>
                  </a:lnTo>
                  <a:lnTo>
                    <a:pt x="113" y="572"/>
                  </a:lnTo>
                  <a:lnTo>
                    <a:pt x="116" y="572"/>
                  </a:lnTo>
                  <a:lnTo>
                    <a:pt x="118" y="574"/>
                  </a:lnTo>
                  <a:lnTo>
                    <a:pt x="118" y="572"/>
                  </a:lnTo>
                  <a:lnTo>
                    <a:pt x="118" y="569"/>
                  </a:lnTo>
                  <a:lnTo>
                    <a:pt x="118" y="569"/>
                  </a:lnTo>
                  <a:lnTo>
                    <a:pt x="118" y="567"/>
                  </a:lnTo>
                  <a:lnTo>
                    <a:pt x="118" y="567"/>
                  </a:lnTo>
                  <a:lnTo>
                    <a:pt x="116" y="565"/>
                  </a:lnTo>
                  <a:lnTo>
                    <a:pt x="106" y="565"/>
                  </a:lnTo>
                  <a:lnTo>
                    <a:pt x="106" y="565"/>
                  </a:lnTo>
                  <a:lnTo>
                    <a:pt x="104" y="562"/>
                  </a:lnTo>
                  <a:lnTo>
                    <a:pt x="104" y="560"/>
                  </a:lnTo>
                  <a:lnTo>
                    <a:pt x="104" y="560"/>
                  </a:lnTo>
                  <a:lnTo>
                    <a:pt x="104" y="558"/>
                  </a:lnTo>
                  <a:lnTo>
                    <a:pt x="104" y="558"/>
                  </a:lnTo>
                  <a:lnTo>
                    <a:pt x="104" y="555"/>
                  </a:lnTo>
                  <a:lnTo>
                    <a:pt x="104" y="555"/>
                  </a:lnTo>
                  <a:lnTo>
                    <a:pt x="101" y="553"/>
                  </a:lnTo>
                  <a:lnTo>
                    <a:pt x="101" y="550"/>
                  </a:lnTo>
                  <a:lnTo>
                    <a:pt x="101" y="550"/>
                  </a:lnTo>
                  <a:lnTo>
                    <a:pt x="101" y="548"/>
                  </a:lnTo>
                  <a:lnTo>
                    <a:pt x="99" y="548"/>
                  </a:lnTo>
                  <a:lnTo>
                    <a:pt x="97" y="546"/>
                  </a:lnTo>
                  <a:lnTo>
                    <a:pt x="97" y="543"/>
                  </a:lnTo>
                  <a:lnTo>
                    <a:pt x="97" y="543"/>
                  </a:lnTo>
                  <a:lnTo>
                    <a:pt x="99" y="543"/>
                  </a:lnTo>
                  <a:lnTo>
                    <a:pt x="99" y="541"/>
                  </a:lnTo>
                  <a:lnTo>
                    <a:pt x="97" y="541"/>
                  </a:lnTo>
                  <a:lnTo>
                    <a:pt x="94" y="539"/>
                  </a:lnTo>
                  <a:lnTo>
                    <a:pt x="92" y="539"/>
                  </a:lnTo>
                  <a:lnTo>
                    <a:pt x="90" y="539"/>
                  </a:lnTo>
                  <a:lnTo>
                    <a:pt x="90" y="536"/>
                  </a:lnTo>
                  <a:lnTo>
                    <a:pt x="87" y="532"/>
                  </a:lnTo>
                  <a:lnTo>
                    <a:pt x="87" y="529"/>
                  </a:lnTo>
                  <a:lnTo>
                    <a:pt x="87" y="529"/>
                  </a:lnTo>
                  <a:lnTo>
                    <a:pt x="87" y="527"/>
                  </a:lnTo>
                  <a:lnTo>
                    <a:pt x="87" y="527"/>
                  </a:lnTo>
                  <a:lnTo>
                    <a:pt x="85" y="524"/>
                  </a:lnTo>
                  <a:lnTo>
                    <a:pt x="85" y="522"/>
                  </a:lnTo>
                  <a:lnTo>
                    <a:pt x="85" y="522"/>
                  </a:lnTo>
                  <a:lnTo>
                    <a:pt x="85" y="520"/>
                  </a:lnTo>
                  <a:lnTo>
                    <a:pt x="85" y="520"/>
                  </a:lnTo>
                  <a:lnTo>
                    <a:pt x="85" y="520"/>
                  </a:lnTo>
                  <a:lnTo>
                    <a:pt x="87" y="520"/>
                  </a:lnTo>
                  <a:lnTo>
                    <a:pt x="87" y="520"/>
                  </a:lnTo>
                  <a:lnTo>
                    <a:pt x="90" y="517"/>
                  </a:lnTo>
                  <a:lnTo>
                    <a:pt x="90" y="517"/>
                  </a:lnTo>
                  <a:lnTo>
                    <a:pt x="87" y="515"/>
                  </a:lnTo>
                  <a:lnTo>
                    <a:pt x="85" y="513"/>
                  </a:lnTo>
                  <a:lnTo>
                    <a:pt x="83" y="508"/>
                  </a:lnTo>
                  <a:lnTo>
                    <a:pt x="83" y="508"/>
                  </a:lnTo>
                  <a:lnTo>
                    <a:pt x="83" y="508"/>
                  </a:lnTo>
                  <a:lnTo>
                    <a:pt x="80" y="503"/>
                  </a:lnTo>
                  <a:lnTo>
                    <a:pt x="80" y="501"/>
                  </a:lnTo>
                  <a:lnTo>
                    <a:pt x="78" y="496"/>
                  </a:lnTo>
                  <a:lnTo>
                    <a:pt x="78" y="494"/>
                  </a:lnTo>
                  <a:lnTo>
                    <a:pt x="76" y="491"/>
                  </a:lnTo>
                  <a:lnTo>
                    <a:pt x="76" y="489"/>
                  </a:lnTo>
                  <a:lnTo>
                    <a:pt x="76" y="487"/>
                  </a:lnTo>
                  <a:lnTo>
                    <a:pt x="76" y="487"/>
                  </a:lnTo>
                  <a:lnTo>
                    <a:pt x="76" y="484"/>
                  </a:lnTo>
                  <a:lnTo>
                    <a:pt x="76" y="484"/>
                  </a:lnTo>
                  <a:lnTo>
                    <a:pt x="78" y="482"/>
                  </a:lnTo>
                  <a:lnTo>
                    <a:pt x="78" y="482"/>
                  </a:lnTo>
                  <a:lnTo>
                    <a:pt x="76" y="482"/>
                  </a:lnTo>
                  <a:lnTo>
                    <a:pt x="73" y="480"/>
                  </a:lnTo>
                  <a:lnTo>
                    <a:pt x="73" y="480"/>
                  </a:lnTo>
                  <a:lnTo>
                    <a:pt x="73" y="477"/>
                  </a:lnTo>
                  <a:lnTo>
                    <a:pt x="73" y="477"/>
                  </a:lnTo>
                  <a:lnTo>
                    <a:pt x="76" y="477"/>
                  </a:lnTo>
                  <a:lnTo>
                    <a:pt x="76" y="475"/>
                  </a:lnTo>
                  <a:lnTo>
                    <a:pt x="76" y="475"/>
                  </a:lnTo>
                  <a:lnTo>
                    <a:pt x="76" y="475"/>
                  </a:lnTo>
                  <a:lnTo>
                    <a:pt x="73" y="472"/>
                  </a:lnTo>
                  <a:lnTo>
                    <a:pt x="73" y="470"/>
                  </a:lnTo>
                  <a:lnTo>
                    <a:pt x="71" y="468"/>
                  </a:lnTo>
                  <a:lnTo>
                    <a:pt x="71" y="468"/>
                  </a:lnTo>
                  <a:lnTo>
                    <a:pt x="73" y="468"/>
                  </a:lnTo>
                  <a:lnTo>
                    <a:pt x="73" y="468"/>
                  </a:lnTo>
                  <a:lnTo>
                    <a:pt x="73" y="468"/>
                  </a:lnTo>
                  <a:lnTo>
                    <a:pt x="73" y="468"/>
                  </a:lnTo>
                  <a:lnTo>
                    <a:pt x="73" y="465"/>
                  </a:lnTo>
                  <a:lnTo>
                    <a:pt x="73" y="465"/>
                  </a:lnTo>
                  <a:lnTo>
                    <a:pt x="73" y="463"/>
                  </a:lnTo>
                  <a:lnTo>
                    <a:pt x="73" y="461"/>
                  </a:lnTo>
                  <a:lnTo>
                    <a:pt x="73" y="461"/>
                  </a:lnTo>
                  <a:lnTo>
                    <a:pt x="71" y="456"/>
                  </a:lnTo>
                  <a:lnTo>
                    <a:pt x="71" y="454"/>
                  </a:lnTo>
                  <a:lnTo>
                    <a:pt x="73" y="454"/>
                  </a:lnTo>
                  <a:lnTo>
                    <a:pt x="73" y="451"/>
                  </a:lnTo>
                  <a:lnTo>
                    <a:pt x="76" y="451"/>
                  </a:lnTo>
                  <a:lnTo>
                    <a:pt x="76" y="451"/>
                  </a:lnTo>
                  <a:lnTo>
                    <a:pt x="78" y="449"/>
                  </a:lnTo>
                  <a:lnTo>
                    <a:pt x="78" y="449"/>
                  </a:lnTo>
                  <a:lnTo>
                    <a:pt x="78" y="446"/>
                  </a:lnTo>
                  <a:lnTo>
                    <a:pt x="78" y="446"/>
                  </a:lnTo>
                  <a:lnTo>
                    <a:pt x="78" y="444"/>
                  </a:lnTo>
                  <a:lnTo>
                    <a:pt x="76" y="444"/>
                  </a:lnTo>
                  <a:lnTo>
                    <a:pt x="76" y="442"/>
                  </a:lnTo>
                  <a:lnTo>
                    <a:pt x="73" y="439"/>
                  </a:lnTo>
                  <a:lnTo>
                    <a:pt x="73" y="435"/>
                  </a:lnTo>
                  <a:lnTo>
                    <a:pt x="71" y="432"/>
                  </a:lnTo>
                  <a:lnTo>
                    <a:pt x="68" y="430"/>
                  </a:lnTo>
                  <a:lnTo>
                    <a:pt x="66" y="425"/>
                  </a:lnTo>
                  <a:lnTo>
                    <a:pt x="66" y="425"/>
                  </a:lnTo>
                  <a:lnTo>
                    <a:pt x="66" y="423"/>
                  </a:lnTo>
                  <a:lnTo>
                    <a:pt x="66" y="420"/>
                  </a:lnTo>
                  <a:lnTo>
                    <a:pt x="64" y="418"/>
                  </a:lnTo>
                  <a:lnTo>
                    <a:pt x="64" y="418"/>
                  </a:lnTo>
                  <a:lnTo>
                    <a:pt x="64" y="416"/>
                  </a:lnTo>
                  <a:lnTo>
                    <a:pt x="64" y="413"/>
                  </a:lnTo>
                  <a:lnTo>
                    <a:pt x="64" y="411"/>
                  </a:lnTo>
                  <a:lnTo>
                    <a:pt x="61" y="409"/>
                  </a:lnTo>
                  <a:lnTo>
                    <a:pt x="61" y="409"/>
                  </a:lnTo>
                  <a:lnTo>
                    <a:pt x="61" y="406"/>
                  </a:lnTo>
                  <a:lnTo>
                    <a:pt x="64" y="404"/>
                  </a:lnTo>
                  <a:lnTo>
                    <a:pt x="61" y="404"/>
                  </a:lnTo>
                  <a:lnTo>
                    <a:pt x="61" y="401"/>
                  </a:lnTo>
                  <a:lnTo>
                    <a:pt x="64" y="401"/>
                  </a:lnTo>
                  <a:lnTo>
                    <a:pt x="64" y="399"/>
                  </a:lnTo>
                  <a:lnTo>
                    <a:pt x="66" y="399"/>
                  </a:lnTo>
                  <a:lnTo>
                    <a:pt x="66" y="399"/>
                  </a:lnTo>
                  <a:lnTo>
                    <a:pt x="66" y="399"/>
                  </a:lnTo>
                  <a:lnTo>
                    <a:pt x="66" y="399"/>
                  </a:lnTo>
                  <a:lnTo>
                    <a:pt x="66" y="397"/>
                  </a:lnTo>
                  <a:lnTo>
                    <a:pt x="68" y="397"/>
                  </a:lnTo>
                  <a:lnTo>
                    <a:pt x="68" y="394"/>
                  </a:lnTo>
                  <a:lnTo>
                    <a:pt x="71" y="394"/>
                  </a:lnTo>
                  <a:lnTo>
                    <a:pt x="71" y="392"/>
                  </a:lnTo>
                  <a:lnTo>
                    <a:pt x="71" y="390"/>
                  </a:lnTo>
                  <a:lnTo>
                    <a:pt x="68" y="387"/>
                  </a:lnTo>
                  <a:lnTo>
                    <a:pt x="68" y="387"/>
                  </a:lnTo>
                  <a:lnTo>
                    <a:pt x="68" y="383"/>
                  </a:lnTo>
                  <a:lnTo>
                    <a:pt x="68" y="380"/>
                  </a:lnTo>
                  <a:lnTo>
                    <a:pt x="66" y="380"/>
                  </a:lnTo>
                  <a:lnTo>
                    <a:pt x="66" y="378"/>
                  </a:lnTo>
                  <a:lnTo>
                    <a:pt x="66" y="375"/>
                  </a:lnTo>
                  <a:lnTo>
                    <a:pt x="64" y="375"/>
                  </a:lnTo>
                  <a:lnTo>
                    <a:pt x="64" y="375"/>
                  </a:lnTo>
                  <a:lnTo>
                    <a:pt x="64" y="373"/>
                  </a:lnTo>
                  <a:lnTo>
                    <a:pt x="64" y="373"/>
                  </a:lnTo>
                  <a:lnTo>
                    <a:pt x="66" y="373"/>
                  </a:lnTo>
                  <a:lnTo>
                    <a:pt x="66" y="368"/>
                  </a:lnTo>
                  <a:lnTo>
                    <a:pt x="66" y="366"/>
                  </a:lnTo>
                  <a:lnTo>
                    <a:pt x="66" y="364"/>
                  </a:lnTo>
                  <a:lnTo>
                    <a:pt x="66" y="364"/>
                  </a:lnTo>
                  <a:lnTo>
                    <a:pt x="66" y="364"/>
                  </a:lnTo>
                  <a:lnTo>
                    <a:pt x="66" y="361"/>
                  </a:lnTo>
                  <a:lnTo>
                    <a:pt x="66" y="359"/>
                  </a:lnTo>
                  <a:lnTo>
                    <a:pt x="66" y="357"/>
                  </a:lnTo>
                  <a:lnTo>
                    <a:pt x="66" y="357"/>
                  </a:lnTo>
                  <a:lnTo>
                    <a:pt x="66" y="354"/>
                  </a:lnTo>
                  <a:lnTo>
                    <a:pt x="68" y="354"/>
                  </a:lnTo>
                  <a:lnTo>
                    <a:pt x="68" y="354"/>
                  </a:lnTo>
                  <a:lnTo>
                    <a:pt x="68" y="354"/>
                  </a:lnTo>
                  <a:lnTo>
                    <a:pt x="71" y="354"/>
                  </a:lnTo>
                  <a:lnTo>
                    <a:pt x="68" y="352"/>
                  </a:lnTo>
                  <a:lnTo>
                    <a:pt x="68" y="349"/>
                  </a:lnTo>
                  <a:lnTo>
                    <a:pt x="68" y="347"/>
                  </a:lnTo>
                  <a:lnTo>
                    <a:pt x="66" y="342"/>
                  </a:lnTo>
                  <a:lnTo>
                    <a:pt x="66" y="340"/>
                  </a:lnTo>
                  <a:lnTo>
                    <a:pt x="66" y="338"/>
                  </a:lnTo>
                  <a:lnTo>
                    <a:pt x="66" y="335"/>
                  </a:lnTo>
                  <a:lnTo>
                    <a:pt x="66" y="335"/>
                  </a:lnTo>
                  <a:lnTo>
                    <a:pt x="66" y="333"/>
                  </a:lnTo>
                  <a:lnTo>
                    <a:pt x="64" y="333"/>
                  </a:lnTo>
                  <a:lnTo>
                    <a:pt x="61" y="333"/>
                  </a:lnTo>
                  <a:lnTo>
                    <a:pt x="61" y="333"/>
                  </a:lnTo>
                  <a:lnTo>
                    <a:pt x="59" y="331"/>
                  </a:lnTo>
                  <a:lnTo>
                    <a:pt x="59" y="331"/>
                  </a:lnTo>
                  <a:lnTo>
                    <a:pt x="59" y="328"/>
                  </a:lnTo>
                  <a:lnTo>
                    <a:pt x="59" y="326"/>
                  </a:lnTo>
                  <a:lnTo>
                    <a:pt x="59" y="326"/>
                  </a:lnTo>
                  <a:lnTo>
                    <a:pt x="59" y="323"/>
                  </a:lnTo>
                  <a:lnTo>
                    <a:pt x="57" y="323"/>
                  </a:lnTo>
                  <a:lnTo>
                    <a:pt x="54" y="319"/>
                  </a:lnTo>
                  <a:lnTo>
                    <a:pt x="54" y="316"/>
                  </a:lnTo>
                  <a:lnTo>
                    <a:pt x="54" y="314"/>
                  </a:lnTo>
                  <a:lnTo>
                    <a:pt x="52" y="312"/>
                  </a:lnTo>
                  <a:lnTo>
                    <a:pt x="52" y="312"/>
                  </a:lnTo>
                  <a:lnTo>
                    <a:pt x="50" y="309"/>
                  </a:lnTo>
                  <a:lnTo>
                    <a:pt x="50" y="307"/>
                  </a:lnTo>
                  <a:lnTo>
                    <a:pt x="50" y="307"/>
                  </a:lnTo>
                  <a:lnTo>
                    <a:pt x="50" y="307"/>
                  </a:lnTo>
                  <a:lnTo>
                    <a:pt x="50" y="305"/>
                  </a:lnTo>
                  <a:lnTo>
                    <a:pt x="50" y="305"/>
                  </a:lnTo>
                  <a:lnTo>
                    <a:pt x="50" y="305"/>
                  </a:lnTo>
                  <a:lnTo>
                    <a:pt x="47" y="305"/>
                  </a:lnTo>
                  <a:lnTo>
                    <a:pt x="47" y="302"/>
                  </a:lnTo>
                  <a:lnTo>
                    <a:pt x="45" y="300"/>
                  </a:lnTo>
                  <a:lnTo>
                    <a:pt x="43" y="297"/>
                  </a:lnTo>
                  <a:lnTo>
                    <a:pt x="43" y="295"/>
                  </a:lnTo>
                  <a:lnTo>
                    <a:pt x="43" y="293"/>
                  </a:lnTo>
                  <a:lnTo>
                    <a:pt x="43" y="290"/>
                  </a:lnTo>
                  <a:lnTo>
                    <a:pt x="43" y="288"/>
                  </a:lnTo>
                  <a:lnTo>
                    <a:pt x="43" y="288"/>
                  </a:lnTo>
                  <a:lnTo>
                    <a:pt x="43" y="288"/>
                  </a:lnTo>
                  <a:lnTo>
                    <a:pt x="45" y="288"/>
                  </a:lnTo>
                  <a:lnTo>
                    <a:pt x="45" y="286"/>
                  </a:lnTo>
                  <a:lnTo>
                    <a:pt x="45" y="286"/>
                  </a:lnTo>
                  <a:lnTo>
                    <a:pt x="45" y="286"/>
                  </a:lnTo>
                  <a:lnTo>
                    <a:pt x="45" y="283"/>
                  </a:lnTo>
                  <a:lnTo>
                    <a:pt x="43" y="283"/>
                  </a:lnTo>
                  <a:lnTo>
                    <a:pt x="45" y="281"/>
                  </a:lnTo>
                  <a:lnTo>
                    <a:pt x="45" y="279"/>
                  </a:lnTo>
                  <a:lnTo>
                    <a:pt x="45" y="274"/>
                  </a:lnTo>
                  <a:lnTo>
                    <a:pt x="45" y="274"/>
                  </a:lnTo>
                  <a:lnTo>
                    <a:pt x="45" y="271"/>
                  </a:lnTo>
                  <a:lnTo>
                    <a:pt x="45" y="271"/>
                  </a:lnTo>
                  <a:lnTo>
                    <a:pt x="45" y="271"/>
                  </a:lnTo>
                  <a:lnTo>
                    <a:pt x="47" y="271"/>
                  </a:lnTo>
                  <a:lnTo>
                    <a:pt x="50" y="269"/>
                  </a:lnTo>
                  <a:lnTo>
                    <a:pt x="50" y="269"/>
                  </a:lnTo>
                  <a:lnTo>
                    <a:pt x="50" y="267"/>
                  </a:lnTo>
                  <a:lnTo>
                    <a:pt x="50" y="267"/>
                  </a:lnTo>
                  <a:lnTo>
                    <a:pt x="47" y="267"/>
                  </a:lnTo>
                  <a:lnTo>
                    <a:pt x="47" y="267"/>
                  </a:lnTo>
                  <a:lnTo>
                    <a:pt x="47" y="264"/>
                  </a:lnTo>
                  <a:lnTo>
                    <a:pt x="47" y="262"/>
                  </a:lnTo>
                  <a:lnTo>
                    <a:pt x="45" y="260"/>
                  </a:lnTo>
                  <a:lnTo>
                    <a:pt x="45" y="255"/>
                  </a:lnTo>
                  <a:lnTo>
                    <a:pt x="43" y="250"/>
                  </a:lnTo>
                  <a:lnTo>
                    <a:pt x="43" y="248"/>
                  </a:lnTo>
                  <a:lnTo>
                    <a:pt x="43" y="245"/>
                  </a:lnTo>
                  <a:lnTo>
                    <a:pt x="45" y="245"/>
                  </a:lnTo>
                  <a:lnTo>
                    <a:pt x="45" y="243"/>
                  </a:lnTo>
                  <a:lnTo>
                    <a:pt x="45" y="238"/>
                  </a:lnTo>
                  <a:lnTo>
                    <a:pt x="45" y="236"/>
                  </a:lnTo>
                  <a:lnTo>
                    <a:pt x="45" y="234"/>
                  </a:lnTo>
                  <a:lnTo>
                    <a:pt x="45" y="231"/>
                  </a:lnTo>
                  <a:lnTo>
                    <a:pt x="47" y="229"/>
                  </a:lnTo>
                  <a:lnTo>
                    <a:pt x="47" y="227"/>
                  </a:lnTo>
                  <a:lnTo>
                    <a:pt x="47" y="227"/>
                  </a:lnTo>
                  <a:lnTo>
                    <a:pt x="47" y="227"/>
                  </a:lnTo>
                  <a:lnTo>
                    <a:pt x="50" y="224"/>
                  </a:lnTo>
                  <a:lnTo>
                    <a:pt x="50" y="222"/>
                  </a:lnTo>
                  <a:lnTo>
                    <a:pt x="52" y="219"/>
                  </a:lnTo>
                  <a:lnTo>
                    <a:pt x="52" y="219"/>
                  </a:lnTo>
                  <a:lnTo>
                    <a:pt x="52" y="217"/>
                  </a:lnTo>
                  <a:lnTo>
                    <a:pt x="52" y="212"/>
                  </a:lnTo>
                  <a:lnTo>
                    <a:pt x="52" y="210"/>
                  </a:lnTo>
                  <a:lnTo>
                    <a:pt x="54" y="210"/>
                  </a:lnTo>
                  <a:lnTo>
                    <a:pt x="54" y="205"/>
                  </a:lnTo>
                  <a:lnTo>
                    <a:pt x="54" y="203"/>
                  </a:lnTo>
                  <a:lnTo>
                    <a:pt x="57" y="203"/>
                  </a:lnTo>
                  <a:lnTo>
                    <a:pt x="57" y="203"/>
                  </a:lnTo>
                  <a:lnTo>
                    <a:pt x="57" y="203"/>
                  </a:lnTo>
                  <a:lnTo>
                    <a:pt x="59" y="203"/>
                  </a:lnTo>
                  <a:lnTo>
                    <a:pt x="59" y="203"/>
                  </a:lnTo>
                  <a:lnTo>
                    <a:pt x="61" y="203"/>
                  </a:lnTo>
                  <a:lnTo>
                    <a:pt x="64" y="201"/>
                  </a:lnTo>
                  <a:lnTo>
                    <a:pt x="64" y="201"/>
                  </a:lnTo>
                  <a:lnTo>
                    <a:pt x="64" y="198"/>
                  </a:lnTo>
                  <a:lnTo>
                    <a:pt x="61" y="196"/>
                  </a:lnTo>
                  <a:lnTo>
                    <a:pt x="59" y="193"/>
                  </a:lnTo>
                  <a:lnTo>
                    <a:pt x="57" y="191"/>
                  </a:lnTo>
                  <a:lnTo>
                    <a:pt x="57" y="189"/>
                  </a:lnTo>
                  <a:lnTo>
                    <a:pt x="57" y="189"/>
                  </a:lnTo>
                  <a:lnTo>
                    <a:pt x="57" y="186"/>
                  </a:lnTo>
                  <a:lnTo>
                    <a:pt x="57" y="186"/>
                  </a:lnTo>
                  <a:lnTo>
                    <a:pt x="59" y="184"/>
                  </a:lnTo>
                  <a:lnTo>
                    <a:pt x="59" y="182"/>
                  </a:lnTo>
                  <a:lnTo>
                    <a:pt x="54" y="175"/>
                  </a:lnTo>
                  <a:lnTo>
                    <a:pt x="54" y="172"/>
                  </a:lnTo>
                  <a:lnTo>
                    <a:pt x="52" y="170"/>
                  </a:lnTo>
                  <a:lnTo>
                    <a:pt x="52" y="167"/>
                  </a:lnTo>
                  <a:lnTo>
                    <a:pt x="52" y="163"/>
                  </a:lnTo>
                  <a:lnTo>
                    <a:pt x="54" y="163"/>
                  </a:lnTo>
                  <a:lnTo>
                    <a:pt x="54" y="163"/>
                  </a:lnTo>
                  <a:lnTo>
                    <a:pt x="54" y="160"/>
                  </a:lnTo>
                  <a:lnTo>
                    <a:pt x="54" y="160"/>
                  </a:lnTo>
                  <a:lnTo>
                    <a:pt x="54" y="160"/>
                  </a:lnTo>
                  <a:lnTo>
                    <a:pt x="54" y="158"/>
                  </a:lnTo>
                  <a:lnTo>
                    <a:pt x="54" y="158"/>
                  </a:lnTo>
                  <a:lnTo>
                    <a:pt x="52" y="156"/>
                  </a:lnTo>
                  <a:lnTo>
                    <a:pt x="52" y="156"/>
                  </a:lnTo>
                  <a:lnTo>
                    <a:pt x="52" y="153"/>
                  </a:lnTo>
                  <a:lnTo>
                    <a:pt x="52" y="151"/>
                  </a:lnTo>
                  <a:lnTo>
                    <a:pt x="52" y="151"/>
                  </a:lnTo>
                  <a:lnTo>
                    <a:pt x="52" y="148"/>
                  </a:lnTo>
                  <a:lnTo>
                    <a:pt x="54" y="148"/>
                  </a:lnTo>
                  <a:lnTo>
                    <a:pt x="54" y="146"/>
                  </a:lnTo>
                  <a:lnTo>
                    <a:pt x="57" y="146"/>
                  </a:lnTo>
                  <a:lnTo>
                    <a:pt x="59" y="144"/>
                  </a:lnTo>
                  <a:lnTo>
                    <a:pt x="61" y="141"/>
                  </a:lnTo>
                  <a:lnTo>
                    <a:pt x="66" y="139"/>
                  </a:lnTo>
                  <a:lnTo>
                    <a:pt x="71" y="139"/>
                  </a:lnTo>
                  <a:lnTo>
                    <a:pt x="71" y="137"/>
                  </a:lnTo>
                  <a:lnTo>
                    <a:pt x="71" y="137"/>
                  </a:lnTo>
                  <a:lnTo>
                    <a:pt x="73" y="130"/>
                  </a:lnTo>
                  <a:lnTo>
                    <a:pt x="73" y="122"/>
                  </a:lnTo>
                  <a:lnTo>
                    <a:pt x="73" y="115"/>
                  </a:lnTo>
                  <a:lnTo>
                    <a:pt x="71" y="113"/>
                  </a:lnTo>
                  <a:lnTo>
                    <a:pt x="68" y="113"/>
                  </a:lnTo>
                  <a:lnTo>
                    <a:pt x="64" y="113"/>
                  </a:lnTo>
                  <a:lnTo>
                    <a:pt x="61" y="113"/>
                  </a:lnTo>
                  <a:lnTo>
                    <a:pt x="59" y="113"/>
                  </a:lnTo>
                  <a:lnTo>
                    <a:pt x="59" y="113"/>
                  </a:lnTo>
                  <a:lnTo>
                    <a:pt x="59" y="113"/>
                  </a:lnTo>
                  <a:lnTo>
                    <a:pt x="57" y="111"/>
                  </a:lnTo>
                  <a:lnTo>
                    <a:pt x="57" y="111"/>
                  </a:lnTo>
                  <a:lnTo>
                    <a:pt x="57" y="108"/>
                  </a:lnTo>
                  <a:lnTo>
                    <a:pt x="57" y="106"/>
                  </a:lnTo>
                  <a:lnTo>
                    <a:pt x="54" y="101"/>
                  </a:lnTo>
                  <a:lnTo>
                    <a:pt x="54" y="101"/>
                  </a:lnTo>
                  <a:lnTo>
                    <a:pt x="54" y="99"/>
                  </a:lnTo>
                  <a:lnTo>
                    <a:pt x="54" y="96"/>
                  </a:lnTo>
                  <a:lnTo>
                    <a:pt x="52" y="94"/>
                  </a:lnTo>
                  <a:lnTo>
                    <a:pt x="52" y="92"/>
                  </a:lnTo>
                  <a:lnTo>
                    <a:pt x="52" y="89"/>
                  </a:lnTo>
                  <a:lnTo>
                    <a:pt x="50" y="87"/>
                  </a:lnTo>
                  <a:lnTo>
                    <a:pt x="50" y="85"/>
                  </a:lnTo>
                  <a:lnTo>
                    <a:pt x="47" y="80"/>
                  </a:lnTo>
                  <a:lnTo>
                    <a:pt x="45" y="78"/>
                  </a:lnTo>
                  <a:lnTo>
                    <a:pt x="43" y="73"/>
                  </a:lnTo>
                  <a:lnTo>
                    <a:pt x="40" y="73"/>
                  </a:lnTo>
                  <a:lnTo>
                    <a:pt x="40" y="73"/>
                  </a:lnTo>
                  <a:lnTo>
                    <a:pt x="40" y="70"/>
                  </a:lnTo>
                  <a:lnTo>
                    <a:pt x="40" y="68"/>
                  </a:lnTo>
                  <a:lnTo>
                    <a:pt x="40" y="68"/>
                  </a:lnTo>
                  <a:lnTo>
                    <a:pt x="40" y="66"/>
                  </a:lnTo>
                  <a:lnTo>
                    <a:pt x="40" y="66"/>
                  </a:lnTo>
                  <a:lnTo>
                    <a:pt x="40" y="66"/>
                  </a:lnTo>
                  <a:lnTo>
                    <a:pt x="38" y="63"/>
                  </a:lnTo>
                  <a:lnTo>
                    <a:pt x="35" y="63"/>
                  </a:lnTo>
                  <a:lnTo>
                    <a:pt x="35" y="61"/>
                  </a:lnTo>
                  <a:lnTo>
                    <a:pt x="35" y="61"/>
                  </a:lnTo>
                  <a:lnTo>
                    <a:pt x="35" y="61"/>
                  </a:lnTo>
                  <a:lnTo>
                    <a:pt x="38" y="59"/>
                  </a:lnTo>
                  <a:lnTo>
                    <a:pt x="35" y="59"/>
                  </a:lnTo>
                  <a:lnTo>
                    <a:pt x="35" y="56"/>
                  </a:lnTo>
                  <a:lnTo>
                    <a:pt x="35" y="56"/>
                  </a:lnTo>
                  <a:lnTo>
                    <a:pt x="35" y="54"/>
                  </a:lnTo>
                  <a:lnTo>
                    <a:pt x="35" y="54"/>
                  </a:lnTo>
                  <a:lnTo>
                    <a:pt x="38" y="54"/>
                  </a:lnTo>
                  <a:lnTo>
                    <a:pt x="38" y="52"/>
                  </a:lnTo>
                  <a:lnTo>
                    <a:pt x="38" y="52"/>
                  </a:lnTo>
                  <a:lnTo>
                    <a:pt x="38" y="49"/>
                  </a:lnTo>
                  <a:lnTo>
                    <a:pt x="35" y="47"/>
                  </a:lnTo>
                  <a:lnTo>
                    <a:pt x="35" y="47"/>
                  </a:lnTo>
                  <a:lnTo>
                    <a:pt x="38" y="44"/>
                  </a:lnTo>
                  <a:lnTo>
                    <a:pt x="38" y="42"/>
                  </a:lnTo>
                  <a:lnTo>
                    <a:pt x="38" y="42"/>
                  </a:lnTo>
                  <a:lnTo>
                    <a:pt x="38" y="40"/>
                  </a:lnTo>
                  <a:lnTo>
                    <a:pt x="38" y="40"/>
                  </a:lnTo>
                  <a:lnTo>
                    <a:pt x="38" y="40"/>
                  </a:lnTo>
                  <a:lnTo>
                    <a:pt x="35" y="37"/>
                  </a:lnTo>
                  <a:lnTo>
                    <a:pt x="35" y="37"/>
                  </a:lnTo>
                  <a:lnTo>
                    <a:pt x="33" y="35"/>
                  </a:lnTo>
                  <a:lnTo>
                    <a:pt x="31" y="35"/>
                  </a:lnTo>
                  <a:lnTo>
                    <a:pt x="28" y="33"/>
                  </a:lnTo>
                  <a:lnTo>
                    <a:pt x="28" y="30"/>
                  </a:lnTo>
                  <a:lnTo>
                    <a:pt x="28" y="30"/>
                  </a:lnTo>
                  <a:lnTo>
                    <a:pt x="28" y="28"/>
                  </a:lnTo>
                  <a:lnTo>
                    <a:pt x="26" y="26"/>
                  </a:lnTo>
                  <a:lnTo>
                    <a:pt x="26" y="23"/>
                  </a:lnTo>
                  <a:lnTo>
                    <a:pt x="26" y="21"/>
                  </a:lnTo>
                  <a:lnTo>
                    <a:pt x="24" y="18"/>
                  </a:lnTo>
                  <a:lnTo>
                    <a:pt x="24" y="16"/>
                  </a:lnTo>
                  <a:lnTo>
                    <a:pt x="24" y="16"/>
                  </a:lnTo>
                  <a:lnTo>
                    <a:pt x="24" y="14"/>
                  </a:lnTo>
                  <a:lnTo>
                    <a:pt x="24" y="14"/>
                  </a:lnTo>
                  <a:lnTo>
                    <a:pt x="24" y="11"/>
                  </a:lnTo>
                  <a:lnTo>
                    <a:pt x="24" y="11"/>
                  </a:lnTo>
                  <a:lnTo>
                    <a:pt x="21" y="9"/>
                  </a:lnTo>
                  <a:lnTo>
                    <a:pt x="19" y="9"/>
                  </a:lnTo>
                  <a:lnTo>
                    <a:pt x="19" y="7"/>
                  </a:lnTo>
                  <a:lnTo>
                    <a:pt x="17" y="2"/>
                  </a:lnTo>
                  <a:lnTo>
                    <a:pt x="14" y="0"/>
                  </a:lnTo>
                  <a:lnTo>
                    <a:pt x="14" y="2"/>
                  </a:lnTo>
                  <a:lnTo>
                    <a:pt x="12" y="4"/>
                  </a:lnTo>
                  <a:lnTo>
                    <a:pt x="10" y="4"/>
                  </a:lnTo>
                  <a:lnTo>
                    <a:pt x="10" y="4"/>
                  </a:lnTo>
                  <a:lnTo>
                    <a:pt x="10" y="7"/>
                  </a:lnTo>
                  <a:lnTo>
                    <a:pt x="10" y="9"/>
                  </a:lnTo>
                  <a:lnTo>
                    <a:pt x="12" y="11"/>
                  </a:lnTo>
                  <a:lnTo>
                    <a:pt x="10" y="14"/>
                  </a:lnTo>
                  <a:lnTo>
                    <a:pt x="10" y="16"/>
                  </a:lnTo>
                  <a:lnTo>
                    <a:pt x="7" y="16"/>
                  </a:lnTo>
                  <a:lnTo>
                    <a:pt x="5" y="18"/>
                  </a:lnTo>
                  <a:lnTo>
                    <a:pt x="2" y="18"/>
                  </a:lnTo>
                  <a:lnTo>
                    <a:pt x="0" y="18"/>
                  </a:lnTo>
                  <a:lnTo>
                    <a:pt x="0" y="18"/>
                  </a:lnTo>
                  <a:lnTo>
                    <a:pt x="2" y="18"/>
                  </a:lnTo>
                  <a:lnTo>
                    <a:pt x="2" y="23"/>
                  </a:lnTo>
                  <a:lnTo>
                    <a:pt x="2" y="28"/>
                  </a:lnTo>
                  <a:lnTo>
                    <a:pt x="5" y="37"/>
                  </a:lnTo>
                  <a:lnTo>
                    <a:pt x="7" y="42"/>
                  </a:lnTo>
                  <a:lnTo>
                    <a:pt x="7" y="44"/>
                  </a:lnTo>
                  <a:lnTo>
                    <a:pt x="10" y="47"/>
                  </a:lnTo>
                  <a:lnTo>
                    <a:pt x="10" y="49"/>
                  </a:lnTo>
                  <a:lnTo>
                    <a:pt x="10" y="59"/>
                  </a:lnTo>
                  <a:lnTo>
                    <a:pt x="10" y="63"/>
                  </a:lnTo>
                  <a:lnTo>
                    <a:pt x="10" y="68"/>
                  </a:lnTo>
                  <a:lnTo>
                    <a:pt x="14" y="80"/>
                  </a:lnTo>
                  <a:lnTo>
                    <a:pt x="14" y="82"/>
                  </a:lnTo>
                  <a:lnTo>
                    <a:pt x="14" y="85"/>
                  </a:lnTo>
                  <a:lnTo>
                    <a:pt x="14" y="87"/>
                  </a:lnTo>
                  <a:lnTo>
                    <a:pt x="14" y="92"/>
                  </a:lnTo>
                  <a:lnTo>
                    <a:pt x="14" y="94"/>
                  </a:lnTo>
                  <a:lnTo>
                    <a:pt x="14" y="99"/>
                  </a:lnTo>
                  <a:lnTo>
                    <a:pt x="14" y="106"/>
                  </a:lnTo>
                  <a:lnTo>
                    <a:pt x="14" y="113"/>
                  </a:lnTo>
                  <a:lnTo>
                    <a:pt x="12" y="115"/>
                  </a:lnTo>
                  <a:lnTo>
                    <a:pt x="12" y="118"/>
                  </a:lnTo>
                  <a:lnTo>
                    <a:pt x="10" y="118"/>
                  </a:lnTo>
                  <a:lnTo>
                    <a:pt x="10" y="120"/>
                  </a:lnTo>
                  <a:lnTo>
                    <a:pt x="10" y="122"/>
                  </a:lnTo>
                  <a:lnTo>
                    <a:pt x="10" y="125"/>
                  </a:lnTo>
                  <a:lnTo>
                    <a:pt x="12" y="127"/>
                  </a:lnTo>
                  <a:lnTo>
                    <a:pt x="14" y="127"/>
                  </a:lnTo>
                  <a:lnTo>
                    <a:pt x="14" y="127"/>
                  </a:lnTo>
                  <a:lnTo>
                    <a:pt x="14" y="130"/>
                  </a:lnTo>
                  <a:lnTo>
                    <a:pt x="14" y="132"/>
                  </a:lnTo>
                  <a:lnTo>
                    <a:pt x="14" y="134"/>
                  </a:lnTo>
                  <a:lnTo>
                    <a:pt x="14" y="137"/>
                  </a:lnTo>
                  <a:lnTo>
                    <a:pt x="14" y="139"/>
                  </a:lnTo>
                  <a:lnTo>
                    <a:pt x="14" y="144"/>
                  </a:lnTo>
                  <a:lnTo>
                    <a:pt x="14" y="151"/>
                  </a:lnTo>
                  <a:lnTo>
                    <a:pt x="14" y="153"/>
                  </a:lnTo>
                  <a:lnTo>
                    <a:pt x="19" y="163"/>
                  </a:lnTo>
                  <a:lnTo>
                    <a:pt x="19" y="163"/>
                  </a:lnTo>
                  <a:lnTo>
                    <a:pt x="19" y="167"/>
                  </a:lnTo>
                  <a:lnTo>
                    <a:pt x="17" y="170"/>
                  </a:lnTo>
                  <a:lnTo>
                    <a:pt x="17" y="170"/>
                  </a:lnTo>
                  <a:lnTo>
                    <a:pt x="17" y="175"/>
                  </a:lnTo>
                  <a:lnTo>
                    <a:pt x="17" y="177"/>
                  </a:lnTo>
                  <a:lnTo>
                    <a:pt x="19" y="179"/>
                  </a:lnTo>
                  <a:lnTo>
                    <a:pt x="19" y="184"/>
                  </a:lnTo>
                  <a:lnTo>
                    <a:pt x="19" y="186"/>
                  </a:lnTo>
                  <a:lnTo>
                    <a:pt x="19" y="189"/>
                  </a:lnTo>
                  <a:lnTo>
                    <a:pt x="19" y="193"/>
                  </a:lnTo>
                  <a:lnTo>
                    <a:pt x="19" y="198"/>
                  </a:lnTo>
                  <a:lnTo>
                    <a:pt x="19" y="201"/>
                  </a:lnTo>
                  <a:lnTo>
                    <a:pt x="17" y="205"/>
                  </a:lnTo>
                  <a:lnTo>
                    <a:pt x="17" y="208"/>
                  </a:lnTo>
                  <a:lnTo>
                    <a:pt x="19" y="212"/>
                  </a:lnTo>
                  <a:lnTo>
                    <a:pt x="19" y="212"/>
                  </a:lnTo>
                  <a:lnTo>
                    <a:pt x="19" y="215"/>
                  </a:lnTo>
                  <a:lnTo>
                    <a:pt x="17" y="217"/>
                  </a:lnTo>
                  <a:lnTo>
                    <a:pt x="17" y="217"/>
                  </a:lnTo>
                  <a:lnTo>
                    <a:pt x="17" y="224"/>
                  </a:lnTo>
                  <a:lnTo>
                    <a:pt x="17" y="229"/>
                  </a:lnTo>
                  <a:lnTo>
                    <a:pt x="17" y="234"/>
                  </a:lnTo>
                  <a:lnTo>
                    <a:pt x="17" y="236"/>
                  </a:lnTo>
                  <a:lnTo>
                    <a:pt x="14" y="238"/>
                  </a:lnTo>
                  <a:lnTo>
                    <a:pt x="14" y="241"/>
                  </a:lnTo>
                  <a:lnTo>
                    <a:pt x="14" y="241"/>
                  </a:lnTo>
                  <a:lnTo>
                    <a:pt x="14" y="248"/>
                  </a:lnTo>
                  <a:lnTo>
                    <a:pt x="19" y="250"/>
                  </a:lnTo>
                  <a:lnTo>
                    <a:pt x="19" y="253"/>
                  </a:lnTo>
                  <a:lnTo>
                    <a:pt x="21" y="257"/>
                  </a:lnTo>
                  <a:lnTo>
                    <a:pt x="21" y="262"/>
                  </a:lnTo>
                  <a:lnTo>
                    <a:pt x="21" y="267"/>
                  </a:lnTo>
                  <a:lnTo>
                    <a:pt x="17" y="271"/>
                  </a:lnTo>
                  <a:lnTo>
                    <a:pt x="19" y="276"/>
                  </a:lnTo>
                  <a:lnTo>
                    <a:pt x="19" y="281"/>
                  </a:lnTo>
                  <a:lnTo>
                    <a:pt x="21" y="286"/>
                  </a:lnTo>
                  <a:lnTo>
                    <a:pt x="21" y="288"/>
                  </a:lnTo>
                  <a:lnTo>
                    <a:pt x="24" y="295"/>
                  </a:lnTo>
                  <a:lnTo>
                    <a:pt x="26" y="302"/>
                  </a:lnTo>
                  <a:lnTo>
                    <a:pt x="28" y="312"/>
                  </a:lnTo>
                  <a:lnTo>
                    <a:pt x="33" y="314"/>
                  </a:lnTo>
                  <a:lnTo>
                    <a:pt x="33" y="316"/>
                  </a:lnTo>
                  <a:lnTo>
                    <a:pt x="33" y="321"/>
                  </a:lnTo>
                  <a:lnTo>
                    <a:pt x="33" y="326"/>
                  </a:lnTo>
                  <a:lnTo>
                    <a:pt x="31" y="328"/>
                  </a:lnTo>
                  <a:lnTo>
                    <a:pt x="31" y="328"/>
                  </a:lnTo>
                  <a:lnTo>
                    <a:pt x="33" y="333"/>
                  </a:lnTo>
                  <a:lnTo>
                    <a:pt x="33" y="335"/>
                  </a:lnTo>
                  <a:lnTo>
                    <a:pt x="35" y="338"/>
                  </a:lnTo>
                  <a:lnTo>
                    <a:pt x="35" y="340"/>
                  </a:lnTo>
                  <a:lnTo>
                    <a:pt x="33" y="345"/>
                  </a:lnTo>
                  <a:lnTo>
                    <a:pt x="33" y="347"/>
                  </a:lnTo>
                  <a:lnTo>
                    <a:pt x="33" y="349"/>
                  </a:lnTo>
                  <a:lnTo>
                    <a:pt x="31" y="352"/>
                  </a:lnTo>
                  <a:lnTo>
                    <a:pt x="33" y="354"/>
                  </a:lnTo>
                  <a:lnTo>
                    <a:pt x="33" y="357"/>
                  </a:lnTo>
                  <a:lnTo>
                    <a:pt x="33" y="361"/>
                  </a:lnTo>
                  <a:lnTo>
                    <a:pt x="33" y="368"/>
                  </a:lnTo>
                  <a:lnTo>
                    <a:pt x="33" y="371"/>
                  </a:lnTo>
                  <a:lnTo>
                    <a:pt x="31" y="375"/>
                  </a:lnTo>
                  <a:lnTo>
                    <a:pt x="31" y="378"/>
                  </a:lnTo>
                  <a:lnTo>
                    <a:pt x="31" y="380"/>
                  </a:lnTo>
                  <a:lnTo>
                    <a:pt x="31" y="380"/>
                  </a:lnTo>
                  <a:lnTo>
                    <a:pt x="28" y="383"/>
                  </a:lnTo>
                  <a:lnTo>
                    <a:pt x="31" y="385"/>
                  </a:lnTo>
                  <a:lnTo>
                    <a:pt x="31" y="387"/>
                  </a:lnTo>
                  <a:lnTo>
                    <a:pt x="28" y="390"/>
                  </a:lnTo>
                  <a:lnTo>
                    <a:pt x="31" y="399"/>
                  </a:lnTo>
                  <a:lnTo>
                    <a:pt x="28" y="401"/>
                  </a:lnTo>
                  <a:lnTo>
                    <a:pt x="28" y="404"/>
                  </a:lnTo>
                  <a:lnTo>
                    <a:pt x="28" y="406"/>
                  </a:lnTo>
                  <a:lnTo>
                    <a:pt x="28" y="409"/>
                  </a:lnTo>
                  <a:lnTo>
                    <a:pt x="28" y="411"/>
                  </a:lnTo>
                  <a:lnTo>
                    <a:pt x="28" y="413"/>
                  </a:lnTo>
                  <a:lnTo>
                    <a:pt x="28" y="416"/>
                  </a:lnTo>
                  <a:lnTo>
                    <a:pt x="28" y="418"/>
                  </a:lnTo>
                  <a:lnTo>
                    <a:pt x="26" y="418"/>
                  </a:lnTo>
                  <a:lnTo>
                    <a:pt x="21" y="416"/>
                  </a:lnTo>
                  <a:lnTo>
                    <a:pt x="21" y="418"/>
                  </a:lnTo>
                  <a:lnTo>
                    <a:pt x="21" y="420"/>
                  </a:lnTo>
                  <a:lnTo>
                    <a:pt x="24" y="423"/>
                  </a:lnTo>
                  <a:lnTo>
                    <a:pt x="24" y="425"/>
                  </a:lnTo>
                  <a:lnTo>
                    <a:pt x="24" y="428"/>
                  </a:lnTo>
                  <a:lnTo>
                    <a:pt x="28" y="432"/>
                  </a:lnTo>
                  <a:lnTo>
                    <a:pt x="31" y="435"/>
                  </a:lnTo>
                  <a:lnTo>
                    <a:pt x="31" y="437"/>
                  </a:lnTo>
                  <a:lnTo>
                    <a:pt x="31" y="442"/>
                  </a:lnTo>
                  <a:lnTo>
                    <a:pt x="33" y="444"/>
                  </a:lnTo>
                  <a:lnTo>
                    <a:pt x="33" y="446"/>
                  </a:lnTo>
                  <a:lnTo>
                    <a:pt x="43" y="461"/>
                  </a:lnTo>
                  <a:lnTo>
                    <a:pt x="43" y="465"/>
                  </a:lnTo>
                  <a:lnTo>
                    <a:pt x="43" y="472"/>
                  </a:lnTo>
                  <a:lnTo>
                    <a:pt x="43" y="472"/>
                  </a:lnTo>
                  <a:lnTo>
                    <a:pt x="40" y="475"/>
                  </a:lnTo>
                  <a:lnTo>
                    <a:pt x="40" y="477"/>
                  </a:lnTo>
                  <a:lnTo>
                    <a:pt x="40" y="480"/>
                  </a:lnTo>
                  <a:lnTo>
                    <a:pt x="43" y="484"/>
                  </a:lnTo>
                  <a:lnTo>
                    <a:pt x="43" y="494"/>
                  </a:lnTo>
                  <a:lnTo>
                    <a:pt x="43" y="496"/>
                  </a:lnTo>
                  <a:lnTo>
                    <a:pt x="45" y="498"/>
                  </a:lnTo>
                  <a:lnTo>
                    <a:pt x="47" y="503"/>
                  </a:lnTo>
                  <a:lnTo>
                    <a:pt x="47" y="506"/>
                  </a:lnTo>
                  <a:lnTo>
                    <a:pt x="50" y="506"/>
                  </a:lnTo>
                  <a:lnTo>
                    <a:pt x="52" y="508"/>
                  </a:lnTo>
                  <a:lnTo>
                    <a:pt x="54" y="508"/>
                  </a:lnTo>
                  <a:lnTo>
                    <a:pt x="54" y="508"/>
                  </a:lnTo>
                  <a:lnTo>
                    <a:pt x="52" y="508"/>
                  </a:lnTo>
                  <a:lnTo>
                    <a:pt x="52" y="510"/>
                  </a:lnTo>
                  <a:lnTo>
                    <a:pt x="52" y="510"/>
                  </a:lnTo>
                  <a:lnTo>
                    <a:pt x="54" y="513"/>
                  </a:lnTo>
                  <a:lnTo>
                    <a:pt x="57" y="513"/>
                  </a:lnTo>
                  <a:lnTo>
                    <a:pt x="61" y="513"/>
                  </a:lnTo>
                  <a:lnTo>
                    <a:pt x="61" y="510"/>
                  </a:lnTo>
                  <a:lnTo>
                    <a:pt x="64" y="508"/>
                  </a:lnTo>
                  <a:lnTo>
                    <a:pt x="64" y="506"/>
                  </a:lnTo>
                  <a:lnTo>
                    <a:pt x="66" y="506"/>
                  </a:lnTo>
                  <a:lnTo>
                    <a:pt x="66" y="508"/>
                  </a:lnTo>
                  <a:lnTo>
                    <a:pt x="71" y="510"/>
                  </a:lnTo>
                  <a:lnTo>
                    <a:pt x="71" y="510"/>
                  </a:lnTo>
                  <a:lnTo>
                    <a:pt x="73" y="510"/>
                  </a:lnTo>
                  <a:lnTo>
                    <a:pt x="73" y="508"/>
                  </a:lnTo>
                  <a:lnTo>
                    <a:pt x="73" y="506"/>
                  </a:lnTo>
                  <a:lnTo>
                    <a:pt x="76" y="506"/>
                  </a:lnTo>
                  <a:lnTo>
                    <a:pt x="76" y="508"/>
                  </a:lnTo>
                  <a:lnTo>
                    <a:pt x="73" y="510"/>
                  </a:lnTo>
                  <a:lnTo>
                    <a:pt x="71" y="510"/>
                  </a:lnTo>
                  <a:lnTo>
                    <a:pt x="71" y="513"/>
                  </a:lnTo>
                  <a:lnTo>
                    <a:pt x="68" y="513"/>
                  </a:lnTo>
                  <a:lnTo>
                    <a:pt x="68" y="515"/>
                  </a:lnTo>
                  <a:lnTo>
                    <a:pt x="71" y="515"/>
                  </a:lnTo>
                  <a:lnTo>
                    <a:pt x="71" y="515"/>
                  </a:lnTo>
                  <a:lnTo>
                    <a:pt x="73" y="517"/>
                  </a:lnTo>
                  <a:lnTo>
                    <a:pt x="76" y="515"/>
                  </a:lnTo>
                  <a:lnTo>
                    <a:pt x="78" y="520"/>
                  </a:lnTo>
                  <a:lnTo>
                    <a:pt x="80" y="524"/>
                  </a:lnTo>
                  <a:lnTo>
                    <a:pt x="80" y="524"/>
                  </a:lnTo>
                  <a:lnTo>
                    <a:pt x="78" y="522"/>
                  </a:lnTo>
                  <a:lnTo>
                    <a:pt x="76" y="520"/>
                  </a:lnTo>
                  <a:lnTo>
                    <a:pt x="73" y="520"/>
                  </a:lnTo>
                  <a:lnTo>
                    <a:pt x="73" y="522"/>
                  </a:lnTo>
                  <a:lnTo>
                    <a:pt x="73" y="522"/>
                  </a:lnTo>
                  <a:lnTo>
                    <a:pt x="76" y="524"/>
                  </a:lnTo>
                  <a:lnTo>
                    <a:pt x="78" y="527"/>
                  </a:lnTo>
                  <a:lnTo>
                    <a:pt x="78" y="527"/>
                  </a:lnTo>
                  <a:lnTo>
                    <a:pt x="76" y="527"/>
                  </a:lnTo>
                  <a:lnTo>
                    <a:pt x="76" y="529"/>
                  </a:lnTo>
                  <a:lnTo>
                    <a:pt x="76" y="534"/>
                  </a:lnTo>
                  <a:lnTo>
                    <a:pt x="78" y="534"/>
                  </a:lnTo>
                  <a:lnTo>
                    <a:pt x="80" y="536"/>
                  </a:lnTo>
                  <a:lnTo>
                    <a:pt x="80" y="539"/>
                  </a:lnTo>
                  <a:lnTo>
                    <a:pt x="78" y="539"/>
                  </a:lnTo>
                  <a:lnTo>
                    <a:pt x="78" y="539"/>
                  </a:lnTo>
                  <a:lnTo>
                    <a:pt x="78" y="541"/>
                  </a:lnTo>
                  <a:lnTo>
                    <a:pt x="76" y="543"/>
                  </a:lnTo>
                  <a:lnTo>
                    <a:pt x="78" y="546"/>
                  </a:lnTo>
                  <a:lnTo>
                    <a:pt x="80" y="550"/>
                  </a:lnTo>
                  <a:lnTo>
                    <a:pt x="80" y="555"/>
                  </a:lnTo>
                  <a:lnTo>
                    <a:pt x="78" y="555"/>
                  </a:lnTo>
                  <a:lnTo>
                    <a:pt x="80" y="558"/>
                  </a:lnTo>
                  <a:lnTo>
                    <a:pt x="80" y="560"/>
                  </a:lnTo>
                  <a:lnTo>
                    <a:pt x="83" y="562"/>
                  </a:lnTo>
                  <a:lnTo>
                    <a:pt x="85" y="562"/>
                  </a:lnTo>
                  <a:lnTo>
                    <a:pt x="90" y="565"/>
                  </a:lnTo>
                  <a:lnTo>
                    <a:pt x="92" y="567"/>
                  </a:lnTo>
                  <a:lnTo>
                    <a:pt x="94" y="569"/>
                  </a:lnTo>
                  <a:lnTo>
                    <a:pt x="94" y="572"/>
                  </a:lnTo>
                  <a:lnTo>
                    <a:pt x="90" y="576"/>
                  </a:lnTo>
                  <a:lnTo>
                    <a:pt x="87" y="576"/>
                  </a:lnTo>
                  <a:lnTo>
                    <a:pt x="85" y="576"/>
                  </a:lnTo>
                  <a:lnTo>
                    <a:pt x="85" y="581"/>
                  </a:lnTo>
                  <a:lnTo>
                    <a:pt x="87" y="584"/>
                  </a:lnTo>
                  <a:lnTo>
                    <a:pt x="90" y="584"/>
                  </a:lnTo>
                  <a:lnTo>
                    <a:pt x="94" y="586"/>
                  </a:lnTo>
                  <a:lnTo>
                    <a:pt x="94" y="588"/>
                  </a:lnTo>
                  <a:lnTo>
                    <a:pt x="97" y="588"/>
                  </a:lnTo>
                  <a:lnTo>
                    <a:pt x="97" y="588"/>
                  </a:lnTo>
                  <a:lnTo>
                    <a:pt x="97" y="588"/>
                  </a:lnTo>
                  <a:lnTo>
                    <a:pt x="92" y="586"/>
                  </a:lnTo>
                  <a:lnTo>
                    <a:pt x="90" y="586"/>
                  </a:lnTo>
                  <a:lnTo>
                    <a:pt x="90" y="586"/>
                  </a:lnTo>
                  <a:lnTo>
                    <a:pt x="87" y="588"/>
                  </a:lnTo>
                  <a:lnTo>
                    <a:pt x="83" y="588"/>
                  </a:lnTo>
                  <a:lnTo>
                    <a:pt x="85" y="593"/>
                  </a:lnTo>
                  <a:lnTo>
                    <a:pt x="85" y="593"/>
                  </a:lnTo>
                  <a:lnTo>
                    <a:pt x="87" y="595"/>
                  </a:lnTo>
                  <a:lnTo>
                    <a:pt x="87" y="595"/>
                  </a:lnTo>
                  <a:lnTo>
                    <a:pt x="90" y="598"/>
                  </a:lnTo>
                  <a:lnTo>
                    <a:pt x="90" y="600"/>
                  </a:lnTo>
                  <a:lnTo>
                    <a:pt x="90" y="602"/>
                  </a:lnTo>
                  <a:lnTo>
                    <a:pt x="90" y="605"/>
                  </a:lnTo>
                  <a:lnTo>
                    <a:pt x="92" y="605"/>
                  </a:lnTo>
                  <a:lnTo>
                    <a:pt x="92" y="607"/>
                  </a:lnTo>
                  <a:lnTo>
                    <a:pt x="92" y="610"/>
                  </a:lnTo>
                  <a:lnTo>
                    <a:pt x="92" y="612"/>
                  </a:lnTo>
                  <a:lnTo>
                    <a:pt x="90" y="612"/>
                  </a:lnTo>
                  <a:lnTo>
                    <a:pt x="90" y="610"/>
                  </a:lnTo>
                  <a:lnTo>
                    <a:pt x="90" y="610"/>
                  </a:lnTo>
                  <a:lnTo>
                    <a:pt x="90" y="607"/>
                  </a:lnTo>
                  <a:lnTo>
                    <a:pt x="90" y="600"/>
                  </a:lnTo>
                  <a:lnTo>
                    <a:pt x="87" y="600"/>
                  </a:lnTo>
                  <a:lnTo>
                    <a:pt x="87" y="598"/>
                  </a:lnTo>
                  <a:lnTo>
                    <a:pt x="87" y="595"/>
                  </a:lnTo>
                  <a:lnTo>
                    <a:pt x="85" y="595"/>
                  </a:lnTo>
                  <a:lnTo>
                    <a:pt x="85" y="598"/>
                  </a:lnTo>
                  <a:lnTo>
                    <a:pt x="85" y="600"/>
                  </a:lnTo>
                  <a:lnTo>
                    <a:pt x="85" y="602"/>
                  </a:lnTo>
                  <a:lnTo>
                    <a:pt x="85" y="605"/>
                  </a:lnTo>
                  <a:lnTo>
                    <a:pt x="83" y="605"/>
                  </a:lnTo>
                  <a:lnTo>
                    <a:pt x="80" y="605"/>
                  </a:lnTo>
                  <a:lnTo>
                    <a:pt x="78" y="605"/>
                  </a:lnTo>
                  <a:lnTo>
                    <a:pt x="80" y="605"/>
                  </a:lnTo>
                  <a:lnTo>
                    <a:pt x="83" y="602"/>
                  </a:lnTo>
                  <a:lnTo>
                    <a:pt x="83" y="600"/>
                  </a:lnTo>
                  <a:lnTo>
                    <a:pt x="83" y="598"/>
                  </a:lnTo>
                  <a:lnTo>
                    <a:pt x="83" y="598"/>
                  </a:lnTo>
                  <a:lnTo>
                    <a:pt x="83" y="595"/>
                  </a:lnTo>
                  <a:lnTo>
                    <a:pt x="83" y="591"/>
                  </a:lnTo>
                  <a:lnTo>
                    <a:pt x="83" y="591"/>
                  </a:lnTo>
                  <a:lnTo>
                    <a:pt x="83" y="588"/>
                  </a:lnTo>
                  <a:lnTo>
                    <a:pt x="80" y="588"/>
                  </a:lnTo>
                  <a:lnTo>
                    <a:pt x="80" y="588"/>
                  </a:lnTo>
                  <a:lnTo>
                    <a:pt x="78" y="588"/>
                  </a:lnTo>
                  <a:lnTo>
                    <a:pt x="78" y="588"/>
                  </a:lnTo>
                  <a:lnTo>
                    <a:pt x="78" y="588"/>
                  </a:lnTo>
                  <a:lnTo>
                    <a:pt x="78" y="591"/>
                  </a:lnTo>
                  <a:lnTo>
                    <a:pt x="80" y="593"/>
                  </a:lnTo>
                  <a:lnTo>
                    <a:pt x="80" y="593"/>
                  </a:lnTo>
                  <a:lnTo>
                    <a:pt x="80" y="593"/>
                  </a:lnTo>
                  <a:lnTo>
                    <a:pt x="78" y="595"/>
                  </a:lnTo>
                  <a:lnTo>
                    <a:pt x="78" y="595"/>
                  </a:lnTo>
                  <a:lnTo>
                    <a:pt x="76" y="595"/>
                  </a:lnTo>
                  <a:lnTo>
                    <a:pt x="76" y="595"/>
                  </a:lnTo>
                  <a:lnTo>
                    <a:pt x="71" y="595"/>
                  </a:lnTo>
                  <a:lnTo>
                    <a:pt x="68" y="595"/>
                  </a:lnTo>
                  <a:lnTo>
                    <a:pt x="64" y="598"/>
                  </a:lnTo>
                  <a:lnTo>
                    <a:pt x="66" y="600"/>
                  </a:lnTo>
                  <a:lnTo>
                    <a:pt x="68" y="602"/>
                  </a:lnTo>
                  <a:lnTo>
                    <a:pt x="68" y="602"/>
                  </a:lnTo>
                  <a:lnTo>
                    <a:pt x="68" y="605"/>
                  </a:lnTo>
                  <a:lnTo>
                    <a:pt x="66" y="607"/>
                  </a:lnTo>
                  <a:lnTo>
                    <a:pt x="64" y="610"/>
                  </a:lnTo>
                  <a:lnTo>
                    <a:pt x="64" y="610"/>
                  </a:lnTo>
                  <a:lnTo>
                    <a:pt x="61" y="612"/>
                  </a:lnTo>
                  <a:lnTo>
                    <a:pt x="61" y="614"/>
                  </a:lnTo>
                  <a:lnTo>
                    <a:pt x="61" y="617"/>
                  </a:lnTo>
                  <a:lnTo>
                    <a:pt x="64" y="617"/>
                  </a:lnTo>
                  <a:lnTo>
                    <a:pt x="66" y="619"/>
                  </a:lnTo>
                  <a:lnTo>
                    <a:pt x="68" y="619"/>
                  </a:lnTo>
                  <a:lnTo>
                    <a:pt x="68" y="619"/>
                  </a:lnTo>
                  <a:lnTo>
                    <a:pt x="68" y="617"/>
                  </a:lnTo>
                  <a:lnTo>
                    <a:pt x="66" y="614"/>
                  </a:lnTo>
                  <a:lnTo>
                    <a:pt x="64" y="614"/>
                  </a:lnTo>
                  <a:lnTo>
                    <a:pt x="64" y="614"/>
                  </a:lnTo>
                  <a:lnTo>
                    <a:pt x="64" y="614"/>
                  </a:lnTo>
                  <a:lnTo>
                    <a:pt x="64" y="614"/>
                  </a:lnTo>
                  <a:lnTo>
                    <a:pt x="66" y="612"/>
                  </a:lnTo>
                  <a:lnTo>
                    <a:pt x="71" y="612"/>
                  </a:lnTo>
                  <a:lnTo>
                    <a:pt x="71" y="610"/>
                  </a:lnTo>
                  <a:lnTo>
                    <a:pt x="71" y="610"/>
                  </a:lnTo>
                  <a:lnTo>
                    <a:pt x="71" y="612"/>
                  </a:lnTo>
                  <a:lnTo>
                    <a:pt x="73" y="614"/>
                  </a:lnTo>
                  <a:lnTo>
                    <a:pt x="73" y="614"/>
                  </a:lnTo>
                  <a:lnTo>
                    <a:pt x="78" y="617"/>
                  </a:lnTo>
                  <a:lnTo>
                    <a:pt x="80" y="617"/>
                  </a:lnTo>
                  <a:lnTo>
                    <a:pt x="83" y="619"/>
                  </a:lnTo>
                  <a:lnTo>
                    <a:pt x="83" y="619"/>
                  </a:lnTo>
                  <a:lnTo>
                    <a:pt x="83" y="617"/>
                  </a:lnTo>
                  <a:lnTo>
                    <a:pt x="83" y="617"/>
                  </a:lnTo>
                  <a:lnTo>
                    <a:pt x="83" y="617"/>
                  </a:lnTo>
                  <a:lnTo>
                    <a:pt x="83" y="617"/>
                  </a:lnTo>
                  <a:lnTo>
                    <a:pt x="85" y="617"/>
                  </a:lnTo>
                  <a:lnTo>
                    <a:pt x="87" y="619"/>
                  </a:lnTo>
                  <a:lnTo>
                    <a:pt x="90" y="619"/>
                  </a:lnTo>
                  <a:lnTo>
                    <a:pt x="90" y="621"/>
                  </a:lnTo>
                  <a:lnTo>
                    <a:pt x="92" y="624"/>
                  </a:lnTo>
                  <a:lnTo>
                    <a:pt x="90" y="624"/>
                  </a:lnTo>
                  <a:lnTo>
                    <a:pt x="87" y="626"/>
                  </a:lnTo>
                  <a:lnTo>
                    <a:pt x="87" y="628"/>
                  </a:lnTo>
                  <a:lnTo>
                    <a:pt x="92" y="631"/>
                  </a:lnTo>
                  <a:lnTo>
                    <a:pt x="92" y="631"/>
                  </a:lnTo>
                  <a:lnTo>
                    <a:pt x="94" y="633"/>
                  </a:lnTo>
                  <a:lnTo>
                    <a:pt x="94" y="633"/>
                  </a:lnTo>
                  <a:lnTo>
                    <a:pt x="94" y="633"/>
                  </a:lnTo>
                  <a:lnTo>
                    <a:pt x="94" y="636"/>
                  </a:lnTo>
                  <a:lnTo>
                    <a:pt x="92" y="633"/>
                  </a:lnTo>
                  <a:lnTo>
                    <a:pt x="92" y="633"/>
                  </a:lnTo>
                  <a:lnTo>
                    <a:pt x="90" y="633"/>
                  </a:lnTo>
                  <a:lnTo>
                    <a:pt x="87" y="633"/>
                  </a:lnTo>
                  <a:lnTo>
                    <a:pt x="87" y="633"/>
                  </a:lnTo>
                  <a:lnTo>
                    <a:pt x="87" y="636"/>
                  </a:lnTo>
                  <a:lnTo>
                    <a:pt x="90" y="636"/>
                  </a:lnTo>
                  <a:lnTo>
                    <a:pt x="90" y="636"/>
                  </a:lnTo>
                  <a:lnTo>
                    <a:pt x="92" y="638"/>
                  </a:lnTo>
                  <a:lnTo>
                    <a:pt x="94" y="638"/>
                  </a:lnTo>
                  <a:lnTo>
                    <a:pt x="94" y="638"/>
                  </a:lnTo>
                  <a:lnTo>
                    <a:pt x="94" y="640"/>
                  </a:lnTo>
                  <a:lnTo>
                    <a:pt x="97" y="640"/>
                  </a:lnTo>
                  <a:lnTo>
                    <a:pt x="99" y="640"/>
                  </a:lnTo>
                  <a:lnTo>
                    <a:pt x="101" y="640"/>
                  </a:lnTo>
                  <a:lnTo>
                    <a:pt x="101" y="638"/>
                  </a:lnTo>
                  <a:lnTo>
                    <a:pt x="101" y="636"/>
                  </a:lnTo>
                  <a:lnTo>
                    <a:pt x="101" y="633"/>
                  </a:lnTo>
                  <a:lnTo>
                    <a:pt x="104" y="633"/>
                  </a:lnTo>
                  <a:lnTo>
                    <a:pt x="106" y="638"/>
                  </a:lnTo>
                  <a:lnTo>
                    <a:pt x="106" y="640"/>
                  </a:lnTo>
                  <a:lnTo>
                    <a:pt x="109" y="640"/>
                  </a:lnTo>
                  <a:lnTo>
                    <a:pt x="109" y="640"/>
                  </a:lnTo>
                  <a:lnTo>
                    <a:pt x="111" y="643"/>
                  </a:lnTo>
                  <a:lnTo>
                    <a:pt x="113" y="645"/>
                  </a:lnTo>
                  <a:lnTo>
                    <a:pt x="113" y="645"/>
                  </a:lnTo>
                  <a:lnTo>
                    <a:pt x="111" y="645"/>
                  </a:lnTo>
                  <a:lnTo>
                    <a:pt x="104" y="643"/>
                  </a:lnTo>
                  <a:lnTo>
                    <a:pt x="97" y="643"/>
                  </a:lnTo>
                  <a:lnTo>
                    <a:pt x="94" y="640"/>
                  </a:lnTo>
                  <a:lnTo>
                    <a:pt x="92" y="640"/>
                  </a:lnTo>
                  <a:lnTo>
                    <a:pt x="92" y="645"/>
                  </a:lnTo>
                  <a:lnTo>
                    <a:pt x="94" y="647"/>
                  </a:lnTo>
                  <a:lnTo>
                    <a:pt x="97" y="647"/>
                  </a:lnTo>
                  <a:lnTo>
                    <a:pt x="97" y="650"/>
                  </a:lnTo>
                  <a:lnTo>
                    <a:pt x="99" y="652"/>
                  </a:lnTo>
                  <a:lnTo>
                    <a:pt x="101" y="650"/>
                  </a:lnTo>
                  <a:lnTo>
                    <a:pt x="101" y="650"/>
                  </a:lnTo>
                  <a:lnTo>
                    <a:pt x="106" y="650"/>
                  </a:lnTo>
                  <a:lnTo>
                    <a:pt x="104" y="652"/>
                  </a:lnTo>
                  <a:lnTo>
                    <a:pt x="104" y="652"/>
                  </a:lnTo>
                  <a:lnTo>
                    <a:pt x="104" y="652"/>
                  </a:lnTo>
                  <a:lnTo>
                    <a:pt x="101" y="652"/>
                  </a:lnTo>
                  <a:lnTo>
                    <a:pt x="101" y="654"/>
                  </a:lnTo>
                  <a:lnTo>
                    <a:pt x="101" y="657"/>
                  </a:lnTo>
                  <a:lnTo>
                    <a:pt x="104" y="662"/>
                  </a:lnTo>
                  <a:lnTo>
                    <a:pt x="109" y="669"/>
                  </a:lnTo>
                  <a:lnTo>
                    <a:pt x="109" y="671"/>
                  </a:lnTo>
                  <a:lnTo>
                    <a:pt x="109" y="671"/>
                  </a:lnTo>
                  <a:lnTo>
                    <a:pt x="109" y="671"/>
                  </a:lnTo>
                  <a:lnTo>
                    <a:pt x="111" y="671"/>
                  </a:lnTo>
                  <a:lnTo>
                    <a:pt x="111" y="671"/>
                  </a:lnTo>
                  <a:lnTo>
                    <a:pt x="111" y="669"/>
                  </a:lnTo>
                  <a:lnTo>
                    <a:pt x="111" y="666"/>
                  </a:lnTo>
                  <a:lnTo>
                    <a:pt x="111" y="666"/>
                  </a:lnTo>
                  <a:lnTo>
                    <a:pt x="111" y="664"/>
                  </a:lnTo>
                  <a:lnTo>
                    <a:pt x="111" y="662"/>
                  </a:lnTo>
                  <a:lnTo>
                    <a:pt x="111" y="662"/>
                  </a:lnTo>
                  <a:lnTo>
                    <a:pt x="111" y="662"/>
                  </a:lnTo>
                  <a:lnTo>
                    <a:pt x="111" y="664"/>
                  </a:lnTo>
                  <a:lnTo>
                    <a:pt x="111" y="664"/>
                  </a:lnTo>
                  <a:lnTo>
                    <a:pt x="111" y="664"/>
                  </a:lnTo>
                  <a:lnTo>
                    <a:pt x="113" y="666"/>
                  </a:lnTo>
                  <a:lnTo>
                    <a:pt x="113" y="669"/>
                  </a:lnTo>
                  <a:lnTo>
                    <a:pt x="113" y="669"/>
                  </a:lnTo>
                  <a:lnTo>
                    <a:pt x="113" y="671"/>
                  </a:lnTo>
                  <a:lnTo>
                    <a:pt x="116" y="671"/>
                  </a:lnTo>
                  <a:lnTo>
                    <a:pt x="118" y="673"/>
                  </a:lnTo>
                  <a:lnTo>
                    <a:pt x="118" y="673"/>
                  </a:lnTo>
                  <a:lnTo>
                    <a:pt x="118" y="673"/>
                  </a:lnTo>
                  <a:lnTo>
                    <a:pt x="116" y="673"/>
                  </a:lnTo>
                  <a:lnTo>
                    <a:pt x="113" y="673"/>
                  </a:lnTo>
                  <a:lnTo>
                    <a:pt x="111" y="673"/>
                  </a:lnTo>
                  <a:lnTo>
                    <a:pt x="111" y="673"/>
                  </a:lnTo>
                  <a:lnTo>
                    <a:pt x="111" y="676"/>
                  </a:lnTo>
                  <a:lnTo>
                    <a:pt x="113" y="678"/>
                  </a:lnTo>
                  <a:lnTo>
                    <a:pt x="116" y="681"/>
                  </a:lnTo>
                  <a:lnTo>
                    <a:pt x="118" y="681"/>
                  </a:lnTo>
                  <a:lnTo>
                    <a:pt x="118" y="681"/>
                  </a:lnTo>
                  <a:lnTo>
                    <a:pt x="120" y="683"/>
                  </a:lnTo>
                  <a:lnTo>
                    <a:pt x="120" y="683"/>
                  </a:lnTo>
                  <a:lnTo>
                    <a:pt x="113" y="681"/>
                  </a:lnTo>
                  <a:lnTo>
                    <a:pt x="113" y="683"/>
                  </a:lnTo>
                  <a:lnTo>
                    <a:pt x="111" y="685"/>
                  </a:lnTo>
                  <a:lnTo>
                    <a:pt x="113" y="688"/>
                  </a:lnTo>
                  <a:lnTo>
                    <a:pt x="116" y="690"/>
                  </a:lnTo>
                  <a:lnTo>
                    <a:pt x="118" y="690"/>
                  </a:lnTo>
                  <a:lnTo>
                    <a:pt x="118" y="690"/>
                  </a:lnTo>
                  <a:lnTo>
                    <a:pt x="123" y="692"/>
                  </a:lnTo>
                  <a:lnTo>
                    <a:pt x="125" y="692"/>
                  </a:lnTo>
                  <a:lnTo>
                    <a:pt x="120" y="692"/>
                  </a:lnTo>
                  <a:lnTo>
                    <a:pt x="123" y="695"/>
                  </a:lnTo>
                  <a:lnTo>
                    <a:pt x="123" y="695"/>
                  </a:lnTo>
                  <a:lnTo>
                    <a:pt x="125" y="697"/>
                  </a:lnTo>
                  <a:lnTo>
                    <a:pt x="127" y="699"/>
                  </a:lnTo>
                  <a:lnTo>
                    <a:pt x="130" y="697"/>
                  </a:lnTo>
                  <a:lnTo>
                    <a:pt x="130" y="692"/>
                  </a:lnTo>
                  <a:lnTo>
                    <a:pt x="130" y="692"/>
                  </a:lnTo>
                  <a:lnTo>
                    <a:pt x="130" y="692"/>
                  </a:lnTo>
                  <a:lnTo>
                    <a:pt x="130" y="695"/>
                  </a:lnTo>
                  <a:lnTo>
                    <a:pt x="132" y="695"/>
                  </a:lnTo>
                  <a:lnTo>
                    <a:pt x="132" y="695"/>
                  </a:lnTo>
                  <a:lnTo>
                    <a:pt x="132" y="695"/>
                  </a:lnTo>
                  <a:lnTo>
                    <a:pt x="130" y="697"/>
                  </a:lnTo>
                  <a:lnTo>
                    <a:pt x="130" y="699"/>
                  </a:lnTo>
                  <a:lnTo>
                    <a:pt x="132" y="702"/>
                  </a:lnTo>
                  <a:lnTo>
                    <a:pt x="132" y="702"/>
                  </a:lnTo>
                  <a:lnTo>
                    <a:pt x="125" y="699"/>
                  </a:lnTo>
                  <a:lnTo>
                    <a:pt x="125" y="699"/>
                  </a:lnTo>
                  <a:lnTo>
                    <a:pt x="125" y="697"/>
                  </a:lnTo>
                  <a:lnTo>
                    <a:pt x="120" y="695"/>
                  </a:lnTo>
                  <a:lnTo>
                    <a:pt x="118" y="692"/>
                  </a:lnTo>
                  <a:lnTo>
                    <a:pt x="113" y="690"/>
                  </a:lnTo>
                  <a:lnTo>
                    <a:pt x="113" y="690"/>
                  </a:lnTo>
                  <a:lnTo>
                    <a:pt x="111" y="690"/>
                  </a:lnTo>
                  <a:lnTo>
                    <a:pt x="111" y="692"/>
                  </a:lnTo>
                  <a:lnTo>
                    <a:pt x="113" y="692"/>
                  </a:lnTo>
                  <a:lnTo>
                    <a:pt x="116" y="695"/>
                  </a:lnTo>
                  <a:lnTo>
                    <a:pt x="116" y="695"/>
                  </a:lnTo>
                  <a:lnTo>
                    <a:pt x="113" y="697"/>
                  </a:lnTo>
                  <a:lnTo>
                    <a:pt x="109" y="697"/>
                  </a:lnTo>
                  <a:lnTo>
                    <a:pt x="111" y="699"/>
                  </a:lnTo>
                  <a:lnTo>
                    <a:pt x="113" y="699"/>
                  </a:lnTo>
                  <a:lnTo>
                    <a:pt x="118" y="704"/>
                  </a:lnTo>
                  <a:lnTo>
                    <a:pt x="120" y="704"/>
                  </a:lnTo>
                  <a:lnTo>
                    <a:pt x="120" y="704"/>
                  </a:lnTo>
                  <a:lnTo>
                    <a:pt x="123" y="707"/>
                  </a:lnTo>
                  <a:lnTo>
                    <a:pt x="125" y="707"/>
                  </a:lnTo>
                  <a:lnTo>
                    <a:pt x="125" y="707"/>
                  </a:lnTo>
                  <a:lnTo>
                    <a:pt x="127" y="707"/>
                  </a:lnTo>
                  <a:lnTo>
                    <a:pt x="130" y="707"/>
                  </a:lnTo>
                  <a:lnTo>
                    <a:pt x="132" y="709"/>
                  </a:lnTo>
                  <a:lnTo>
                    <a:pt x="134" y="709"/>
                  </a:lnTo>
                  <a:lnTo>
                    <a:pt x="137" y="716"/>
                  </a:lnTo>
                  <a:lnTo>
                    <a:pt x="134" y="714"/>
                  </a:lnTo>
                  <a:lnTo>
                    <a:pt x="132" y="716"/>
                  </a:lnTo>
                  <a:lnTo>
                    <a:pt x="134" y="716"/>
                  </a:lnTo>
                  <a:lnTo>
                    <a:pt x="137" y="718"/>
                  </a:lnTo>
                  <a:lnTo>
                    <a:pt x="139" y="718"/>
                  </a:lnTo>
                  <a:lnTo>
                    <a:pt x="139" y="718"/>
                  </a:lnTo>
                  <a:lnTo>
                    <a:pt x="142" y="718"/>
                  </a:lnTo>
                  <a:lnTo>
                    <a:pt x="142" y="718"/>
                  </a:lnTo>
                  <a:lnTo>
                    <a:pt x="144" y="721"/>
                  </a:lnTo>
                  <a:lnTo>
                    <a:pt x="146" y="723"/>
                  </a:lnTo>
                  <a:lnTo>
                    <a:pt x="149" y="723"/>
                  </a:lnTo>
                  <a:lnTo>
                    <a:pt x="151" y="725"/>
                  </a:lnTo>
                  <a:lnTo>
                    <a:pt x="153" y="723"/>
                  </a:lnTo>
                  <a:lnTo>
                    <a:pt x="156" y="721"/>
                  </a:lnTo>
                  <a:lnTo>
                    <a:pt x="160" y="718"/>
                  </a:lnTo>
                  <a:lnTo>
                    <a:pt x="160" y="718"/>
                  </a:lnTo>
                  <a:lnTo>
                    <a:pt x="158" y="716"/>
                  </a:lnTo>
                  <a:lnTo>
                    <a:pt x="158" y="716"/>
                  </a:lnTo>
                  <a:lnTo>
                    <a:pt x="156" y="716"/>
                  </a:lnTo>
                  <a:lnTo>
                    <a:pt x="149" y="714"/>
                  </a:lnTo>
                  <a:lnTo>
                    <a:pt x="149" y="714"/>
                  </a:lnTo>
                  <a:lnTo>
                    <a:pt x="146" y="711"/>
                  </a:lnTo>
                  <a:lnTo>
                    <a:pt x="146" y="711"/>
                  </a:lnTo>
                  <a:lnTo>
                    <a:pt x="149" y="711"/>
                  </a:lnTo>
                  <a:lnTo>
                    <a:pt x="156" y="714"/>
                  </a:lnTo>
                  <a:lnTo>
                    <a:pt x="160" y="716"/>
                  </a:lnTo>
                  <a:lnTo>
                    <a:pt x="160" y="718"/>
                  </a:lnTo>
                  <a:lnTo>
                    <a:pt x="163" y="721"/>
                  </a:lnTo>
                  <a:lnTo>
                    <a:pt x="163" y="721"/>
                  </a:lnTo>
                  <a:lnTo>
                    <a:pt x="160" y="721"/>
                  </a:lnTo>
                  <a:lnTo>
                    <a:pt x="163" y="723"/>
                  </a:lnTo>
                  <a:lnTo>
                    <a:pt x="163" y="723"/>
                  </a:lnTo>
                  <a:lnTo>
                    <a:pt x="165" y="725"/>
                  </a:lnTo>
                  <a:lnTo>
                    <a:pt x="165" y="728"/>
                  </a:lnTo>
                  <a:lnTo>
                    <a:pt x="165" y="728"/>
                  </a:lnTo>
                  <a:lnTo>
                    <a:pt x="165" y="728"/>
                  </a:lnTo>
                  <a:lnTo>
                    <a:pt x="165" y="730"/>
                  </a:lnTo>
                  <a:lnTo>
                    <a:pt x="165" y="730"/>
                  </a:lnTo>
                  <a:lnTo>
                    <a:pt x="165" y="730"/>
                  </a:lnTo>
                  <a:lnTo>
                    <a:pt x="163" y="730"/>
                  </a:lnTo>
                  <a:lnTo>
                    <a:pt x="163" y="730"/>
                  </a:lnTo>
                  <a:lnTo>
                    <a:pt x="165" y="728"/>
                  </a:lnTo>
                  <a:lnTo>
                    <a:pt x="165" y="728"/>
                  </a:lnTo>
                  <a:lnTo>
                    <a:pt x="163" y="725"/>
                  </a:lnTo>
                  <a:lnTo>
                    <a:pt x="163" y="725"/>
                  </a:lnTo>
                  <a:lnTo>
                    <a:pt x="160" y="723"/>
                  </a:lnTo>
                  <a:lnTo>
                    <a:pt x="160" y="723"/>
                  </a:lnTo>
                  <a:lnTo>
                    <a:pt x="160" y="723"/>
                  </a:lnTo>
                  <a:lnTo>
                    <a:pt x="158" y="723"/>
                  </a:lnTo>
                  <a:lnTo>
                    <a:pt x="158" y="723"/>
                  </a:lnTo>
                  <a:lnTo>
                    <a:pt x="158" y="723"/>
                  </a:lnTo>
                  <a:lnTo>
                    <a:pt x="156" y="725"/>
                  </a:lnTo>
                  <a:lnTo>
                    <a:pt x="153" y="725"/>
                  </a:lnTo>
                  <a:lnTo>
                    <a:pt x="151" y="725"/>
                  </a:lnTo>
                  <a:lnTo>
                    <a:pt x="149" y="725"/>
                  </a:lnTo>
                  <a:lnTo>
                    <a:pt x="149" y="725"/>
                  </a:lnTo>
                  <a:lnTo>
                    <a:pt x="146" y="725"/>
                  </a:lnTo>
                  <a:lnTo>
                    <a:pt x="146" y="725"/>
                  </a:lnTo>
                  <a:lnTo>
                    <a:pt x="146" y="725"/>
                  </a:lnTo>
                  <a:lnTo>
                    <a:pt x="146" y="728"/>
                  </a:lnTo>
                  <a:lnTo>
                    <a:pt x="146" y="728"/>
                  </a:lnTo>
                  <a:lnTo>
                    <a:pt x="144" y="728"/>
                  </a:lnTo>
                  <a:lnTo>
                    <a:pt x="142" y="725"/>
                  </a:lnTo>
                  <a:lnTo>
                    <a:pt x="139" y="725"/>
                  </a:lnTo>
                  <a:lnTo>
                    <a:pt x="137" y="725"/>
                  </a:lnTo>
                  <a:lnTo>
                    <a:pt x="137" y="725"/>
                  </a:lnTo>
                  <a:lnTo>
                    <a:pt x="137" y="725"/>
                  </a:lnTo>
                  <a:lnTo>
                    <a:pt x="137" y="725"/>
                  </a:lnTo>
                  <a:lnTo>
                    <a:pt x="137" y="728"/>
                  </a:lnTo>
                  <a:lnTo>
                    <a:pt x="139" y="730"/>
                  </a:lnTo>
                  <a:lnTo>
                    <a:pt x="142" y="730"/>
                  </a:lnTo>
                  <a:lnTo>
                    <a:pt x="142" y="730"/>
                  </a:lnTo>
                  <a:lnTo>
                    <a:pt x="144" y="730"/>
                  </a:lnTo>
                  <a:lnTo>
                    <a:pt x="144" y="733"/>
                  </a:lnTo>
                  <a:lnTo>
                    <a:pt x="144" y="735"/>
                  </a:lnTo>
                  <a:lnTo>
                    <a:pt x="146" y="735"/>
                  </a:lnTo>
                  <a:lnTo>
                    <a:pt x="149" y="737"/>
                  </a:lnTo>
                  <a:lnTo>
                    <a:pt x="151" y="737"/>
                  </a:lnTo>
                  <a:lnTo>
                    <a:pt x="153" y="737"/>
                  </a:lnTo>
                  <a:lnTo>
                    <a:pt x="156" y="735"/>
                  </a:lnTo>
                  <a:lnTo>
                    <a:pt x="158" y="735"/>
                  </a:lnTo>
                  <a:lnTo>
                    <a:pt x="158" y="735"/>
                  </a:lnTo>
                  <a:lnTo>
                    <a:pt x="158" y="733"/>
                  </a:lnTo>
                  <a:lnTo>
                    <a:pt x="158" y="733"/>
                  </a:lnTo>
                  <a:lnTo>
                    <a:pt x="160" y="735"/>
                  </a:lnTo>
                  <a:lnTo>
                    <a:pt x="160" y="735"/>
                  </a:lnTo>
                  <a:lnTo>
                    <a:pt x="158" y="737"/>
                  </a:lnTo>
                  <a:lnTo>
                    <a:pt x="158" y="737"/>
                  </a:lnTo>
                  <a:lnTo>
                    <a:pt x="153" y="740"/>
                  </a:lnTo>
                  <a:lnTo>
                    <a:pt x="156" y="742"/>
                  </a:lnTo>
                  <a:lnTo>
                    <a:pt x="158" y="742"/>
                  </a:lnTo>
                  <a:lnTo>
                    <a:pt x="160" y="744"/>
                  </a:lnTo>
                  <a:lnTo>
                    <a:pt x="165" y="744"/>
                  </a:lnTo>
                  <a:lnTo>
                    <a:pt x="165" y="744"/>
                  </a:lnTo>
                  <a:lnTo>
                    <a:pt x="165" y="744"/>
                  </a:lnTo>
                  <a:lnTo>
                    <a:pt x="165" y="742"/>
                  </a:lnTo>
                  <a:lnTo>
                    <a:pt x="165" y="742"/>
                  </a:lnTo>
                  <a:lnTo>
                    <a:pt x="165" y="740"/>
                  </a:lnTo>
                  <a:lnTo>
                    <a:pt x="165" y="737"/>
                  </a:lnTo>
                  <a:lnTo>
                    <a:pt x="165" y="735"/>
                  </a:lnTo>
                  <a:lnTo>
                    <a:pt x="165" y="735"/>
                  </a:lnTo>
                  <a:lnTo>
                    <a:pt x="165" y="735"/>
                  </a:lnTo>
                  <a:lnTo>
                    <a:pt x="167" y="733"/>
                  </a:lnTo>
                  <a:lnTo>
                    <a:pt x="170" y="735"/>
                  </a:lnTo>
                  <a:lnTo>
                    <a:pt x="170" y="735"/>
                  </a:lnTo>
                  <a:lnTo>
                    <a:pt x="170" y="735"/>
                  </a:lnTo>
                  <a:lnTo>
                    <a:pt x="172" y="735"/>
                  </a:lnTo>
                  <a:lnTo>
                    <a:pt x="172" y="733"/>
                  </a:lnTo>
                  <a:lnTo>
                    <a:pt x="179" y="735"/>
                  </a:lnTo>
                  <a:lnTo>
                    <a:pt x="182" y="735"/>
                  </a:lnTo>
                  <a:lnTo>
                    <a:pt x="186" y="735"/>
                  </a:lnTo>
                  <a:lnTo>
                    <a:pt x="184" y="735"/>
                  </a:lnTo>
                  <a:lnTo>
                    <a:pt x="184" y="737"/>
                  </a:lnTo>
                  <a:lnTo>
                    <a:pt x="182" y="737"/>
                  </a:lnTo>
                  <a:lnTo>
                    <a:pt x="179" y="735"/>
                  </a:lnTo>
                  <a:lnTo>
                    <a:pt x="177" y="735"/>
                  </a:lnTo>
                  <a:lnTo>
                    <a:pt x="172" y="740"/>
                  </a:lnTo>
                  <a:lnTo>
                    <a:pt x="170" y="740"/>
                  </a:lnTo>
                  <a:lnTo>
                    <a:pt x="170" y="740"/>
                  </a:lnTo>
                  <a:lnTo>
                    <a:pt x="167" y="737"/>
                  </a:lnTo>
                  <a:lnTo>
                    <a:pt x="167" y="737"/>
                  </a:lnTo>
                  <a:lnTo>
                    <a:pt x="167" y="740"/>
                  </a:lnTo>
                  <a:lnTo>
                    <a:pt x="165" y="740"/>
                  </a:lnTo>
                  <a:lnTo>
                    <a:pt x="167" y="742"/>
                  </a:lnTo>
                  <a:lnTo>
                    <a:pt x="167" y="747"/>
                  </a:lnTo>
                  <a:lnTo>
                    <a:pt x="167" y="747"/>
                  </a:lnTo>
                  <a:lnTo>
                    <a:pt x="167" y="749"/>
                  </a:lnTo>
                  <a:lnTo>
                    <a:pt x="170" y="749"/>
                  </a:lnTo>
                  <a:lnTo>
                    <a:pt x="175" y="751"/>
                  </a:lnTo>
                  <a:lnTo>
                    <a:pt x="177" y="751"/>
                  </a:lnTo>
                  <a:lnTo>
                    <a:pt x="177" y="751"/>
                  </a:lnTo>
                  <a:lnTo>
                    <a:pt x="177" y="749"/>
                  </a:lnTo>
                  <a:lnTo>
                    <a:pt x="177" y="749"/>
                  </a:lnTo>
                  <a:lnTo>
                    <a:pt x="179" y="747"/>
                  </a:lnTo>
                  <a:lnTo>
                    <a:pt x="179" y="744"/>
                  </a:lnTo>
                  <a:lnTo>
                    <a:pt x="184" y="742"/>
                  </a:lnTo>
                  <a:lnTo>
                    <a:pt x="189" y="737"/>
                  </a:lnTo>
                  <a:lnTo>
                    <a:pt x="191" y="740"/>
                  </a:lnTo>
                  <a:lnTo>
                    <a:pt x="193" y="740"/>
                  </a:lnTo>
                  <a:lnTo>
                    <a:pt x="193" y="742"/>
                  </a:lnTo>
                  <a:lnTo>
                    <a:pt x="193" y="742"/>
                  </a:lnTo>
                  <a:lnTo>
                    <a:pt x="193" y="744"/>
                  </a:lnTo>
                  <a:lnTo>
                    <a:pt x="191" y="744"/>
                  </a:lnTo>
                  <a:lnTo>
                    <a:pt x="189" y="747"/>
                  </a:lnTo>
                  <a:lnTo>
                    <a:pt x="191" y="754"/>
                  </a:lnTo>
                  <a:lnTo>
                    <a:pt x="189" y="754"/>
                  </a:lnTo>
                  <a:lnTo>
                    <a:pt x="189" y="754"/>
                  </a:lnTo>
                  <a:lnTo>
                    <a:pt x="189" y="751"/>
                  </a:lnTo>
                  <a:lnTo>
                    <a:pt x="189" y="751"/>
                  </a:lnTo>
                  <a:lnTo>
                    <a:pt x="186" y="749"/>
                  </a:lnTo>
                  <a:lnTo>
                    <a:pt x="184" y="747"/>
                  </a:lnTo>
                  <a:lnTo>
                    <a:pt x="184" y="749"/>
                  </a:lnTo>
                  <a:lnTo>
                    <a:pt x="179" y="749"/>
                  </a:lnTo>
                  <a:lnTo>
                    <a:pt x="179" y="749"/>
                  </a:lnTo>
                  <a:lnTo>
                    <a:pt x="179" y="749"/>
                  </a:lnTo>
                  <a:lnTo>
                    <a:pt x="179" y="751"/>
                  </a:lnTo>
                  <a:lnTo>
                    <a:pt x="182" y="751"/>
                  </a:lnTo>
                  <a:lnTo>
                    <a:pt x="186" y="756"/>
                  </a:lnTo>
                  <a:lnTo>
                    <a:pt x="186" y="756"/>
                  </a:lnTo>
                  <a:lnTo>
                    <a:pt x="191" y="759"/>
                  </a:lnTo>
                  <a:lnTo>
                    <a:pt x="196" y="75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2" name="Freeform 368"/>
            <p:cNvSpPr>
              <a:spLocks/>
            </p:cNvSpPr>
            <p:nvPr userDrawn="1"/>
          </p:nvSpPr>
          <p:spPr bwMode="auto">
            <a:xfrm>
              <a:off x="3903" y="2313"/>
              <a:ext cx="193" cy="336"/>
            </a:xfrm>
            <a:custGeom>
              <a:avLst/>
              <a:gdLst>
                <a:gd name="T0" fmla="*/ 193 w 193"/>
                <a:gd name="T1" fmla="*/ 121 h 336"/>
                <a:gd name="T2" fmla="*/ 184 w 193"/>
                <a:gd name="T3" fmla="*/ 79 h 336"/>
                <a:gd name="T4" fmla="*/ 139 w 193"/>
                <a:gd name="T5" fmla="*/ 53 h 336"/>
                <a:gd name="T6" fmla="*/ 94 w 193"/>
                <a:gd name="T7" fmla="*/ 29 h 336"/>
                <a:gd name="T8" fmla="*/ 52 w 193"/>
                <a:gd name="T9" fmla="*/ 3 h 336"/>
                <a:gd name="T10" fmla="*/ 28 w 193"/>
                <a:gd name="T11" fmla="*/ 22 h 336"/>
                <a:gd name="T12" fmla="*/ 33 w 193"/>
                <a:gd name="T13" fmla="*/ 43 h 336"/>
                <a:gd name="T14" fmla="*/ 45 w 193"/>
                <a:gd name="T15" fmla="*/ 64 h 336"/>
                <a:gd name="T16" fmla="*/ 40 w 193"/>
                <a:gd name="T17" fmla="*/ 83 h 336"/>
                <a:gd name="T18" fmla="*/ 37 w 193"/>
                <a:gd name="T19" fmla="*/ 128 h 336"/>
                <a:gd name="T20" fmla="*/ 14 w 193"/>
                <a:gd name="T21" fmla="*/ 168 h 336"/>
                <a:gd name="T22" fmla="*/ 0 w 193"/>
                <a:gd name="T23" fmla="*/ 197 h 336"/>
                <a:gd name="T24" fmla="*/ 14 w 193"/>
                <a:gd name="T25" fmla="*/ 218 h 336"/>
                <a:gd name="T26" fmla="*/ 23 w 193"/>
                <a:gd name="T27" fmla="*/ 227 h 336"/>
                <a:gd name="T28" fmla="*/ 30 w 193"/>
                <a:gd name="T29" fmla="*/ 244 h 336"/>
                <a:gd name="T30" fmla="*/ 30 w 193"/>
                <a:gd name="T31" fmla="*/ 256 h 336"/>
                <a:gd name="T32" fmla="*/ 33 w 193"/>
                <a:gd name="T33" fmla="*/ 272 h 336"/>
                <a:gd name="T34" fmla="*/ 37 w 193"/>
                <a:gd name="T35" fmla="*/ 284 h 336"/>
                <a:gd name="T36" fmla="*/ 26 w 193"/>
                <a:gd name="T37" fmla="*/ 284 h 336"/>
                <a:gd name="T38" fmla="*/ 12 w 193"/>
                <a:gd name="T39" fmla="*/ 289 h 336"/>
                <a:gd name="T40" fmla="*/ 14 w 193"/>
                <a:gd name="T41" fmla="*/ 298 h 336"/>
                <a:gd name="T42" fmla="*/ 26 w 193"/>
                <a:gd name="T43" fmla="*/ 308 h 336"/>
                <a:gd name="T44" fmla="*/ 35 w 193"/>
                <a:gd name="T45" fmla="*/ 324 h 336"/>
                <a:gd name="T46" fmla="*/ 40 w 193"/>
                <a:gd name="T47" fmla="*/ 334 h 336"/>
                <a:gd name="T48" fmla="*/ 45 w 193"/>
                <a:gd name="T49" fmla="*/ 336 h 336"/>
                <a:gd name="T50" fmla="*/ 54 w 193"/>
                <a:gd name="T51" fmla="*/ 332 h 336"/>
                <a:gd name="T52" fmla="*/ 59 w 193"/>
                <a:gd name="T53" fmla="*/ 332 h 336"/>
                <a:gd name="T54" fmla="*/ 66 w 193"/>
                <a:gd name="T55" fmla="*/ 332 h 336"/>
                <a:gd name="T56" fmla="*/ 75 w 193"/>
                <a:gd name="T57" fmla="*/ 327 h 336"/>
                <a:gd name="T58" fmla="*/ 92 w 193"/>
                <a:gd name="T59" fmla="*/ 324 h 336"/>
                <a:gd name="T60" fmla="*/ 99 w 193"/>
                <a:gd name="T61" fmla="*/ 320 h 336"/>
                <a:gd name="T62" fmla="*/ 103 w 193"/>
                <a:gd name="T63" fmla="*/ 313 h 336"/>
                <a:gd name="T64" fmla="*/ 101 w 193"/>
                <a:gd name="T65" fmla="*/ 308 h 336"/>
                <a:gd name="T66" fmla="*/ 111 w 193"/>
                <a:gd name="T67" fmla="*/ 306 h 336"/>
                <a:gd name="T68" fmla="*/ 122 w 193"/>
                <a:gd name="T69" fmla="*/ 301 h 336"/>
                <a:gd name="T70" fmla="*/ 134 w 193"/>
                <a:gd name="T71" fmla="*/ 298 h 336"/>
                <a:gd name="T72" fmla="*/ 144 w 193"/>
                <a:gd name="T73" fmla="*/ 284 h 336"/>
                <a:gd name="T74" fmla="*/ 151 w 193"/>
                <a:gd name="T75" fmla="*/ 280 h 336"/>
                <a:gd name="T76" fmla="*/ 153 w 193"/>
                <a:gd name="T77" fmla="*/ 272 h 336"/>
                <a:gd name="T78" fmla="*/ 158 w 193"/>
                <a:gd name="T79" fmla="*/ 268 h 336"/>
                <a:gd name="T80" fmla="*/ 162 w 193"/>
                <a:gd name="T81" fmla="*/ 265 h 336"/>
                <a:gd name="T82" fmla="*/ 172 w 193"/>
                <a:gd name="T83" fmla="*/ 263 h 336"/>
                <a:gd name="T84" fmla="*/ 174 w 193"/>
                <a:gd name="T85" fmla="*/ 256 h 336"/>
                <a:gd name="T86" fmla="*/ 169 w 193"/>
                <a:gd name="T87" fmla="*/ 251 h 336"/>
                <a:gd name="T88" fmla="*/ 167 w 193"/>
                <a:gd name="T89" fmla="*/ 239 h 336"/>
                <a:gd name="T90" fmla="*/ 165 w 193"/>
                <a:gd name="T91" fmla="*/ 230 h 336"/>
                <a:gd name="T92" fmla="*/ 155 w 193"/>
                <a:gd name="T93" fmla="*/ 227 h 336"/>
                <a:gd name="T94" fmla="*/ 155 w 193"/>
                <a:gd name="T95" fmla="*/ 220 h 336"/>
                <a:gd name="T96" fmla="*/ 162 w 193"/>
                <a:gd name="T97" fmla="*/ 211 h 336"/>
                <a:gd name="T98" fmla="*/ 160 w 193"/>
                <a:gd name="T99" fmla="*/ 204 h 336"/>
                <a:gd name="T100" fmla="*/ 162 w 193"/>
                <a:gd name="T101" fmla="*/ 199 h 336"/>
                <a:gd name="T102" fmla="*/ 167 w 193"/>
                <a:gd name="T103" fmla="*/ 194 h 336"/>
                <a:gd name="T104" fmla="*/ 165 w 193"/>
                <a:gd name="T105" fmla="*/ 187 h 336"/>
                <a:gd name="T106" fmla="*/ 169 w 193"/>
                <a:gd name="T107" fmla="*/ 185 h 336"/>
                <a:gd name="T108" fmla="*/ 172 w 193"/>
                <a:gd name="T109" fmla="*/ 178 h 336"/>
                <a:gd name="T110" fmla="*/ 174 w 193"/>
                <a:gd name="T111" fmla="*/ 166 h 336"/>
                <a:gd name="T112" fmla="*/ 186 w 193"/>
                <a:gd name="T113" fmla="*/ 161 h 336"/>
                <a:gd name="T114" fmla="*/ 193 w 193"/>
                <a:gd name="T115" fmla="*/ 16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3" h="336">
                  <a:moveTo>
                    <a:pt x="193" y="159"/>
                  </a:moveTo>
                  <a:lnTo>
                    <a:pt x="193" y="149"/>
                  </a:lnTo>
                  <a:lnTo>
                    <a:pt x="193" y="140"/>
                  </a:lnTo>
                  <a:lnTo>
                    <a:pt x="193" y="131"/>
                  </a:lnTo>
                  <a:lnTo>
                    <a:pt x="193" y="121"/>
                  </a:lnTo>
                  <a:lnTo>
                    <a:pt x="193" y="112"/>
                  </a:lnTo>
                  <a:lnTo>
                    <a:pt x="193" y="102"/>
                  </a:lnTo>
                  <a:lnTo>
                    <a:pt x="191" y="93"/>
                  </a:lnTo>
                  <a:lnTo>
                    <a:pt x="191" y="83"/>
                  </a:lnTo>
                  <a:lnTo>
                    <a:pt x="184" y="79"/>
                  </a:lnTo>
                  <a:lnTo>
                    <a:pt x="174" y="74"/>
                  </a:lnTo>
                  <a:lnTo>
                    <a:pt x="165" y="69"/>
                  </a:lnTo>
                  <a:lnTo>
                    <a:pt x="155" y="64"/>
                  </a:lnTo>
                  <a:lnTo>
                    <a:pt x="148" y="57"/>
                  </a:lnTo>
                  <a:lnTo>
                    <a:pt x="139" y="53"/>
                  </a:lnTo>
                  <a:lnTo>
                    <a:pt x="129" y="48"/>
                  </a:lnTo>
                  <a:lnTo>
                    <a:pt x="120" y="43"/>
                  </a:lnTo>
                  <a:lnTo>
                    <a:pt x="113" y="38"/>
                  </a:lnTo>
                  <a:lnTo>
                    <a:pt x="103" y="34"/>
                  </a:lnTo>
                  <a:lnTo>
                    <a:pt x="94" y="29"/>
                  </a:lnTo>
                  <a:lnTo>
                    <a:pt x="87" y="24"/>
                  </a:lnTo>
                  <a:lnTo>
                    <a:pt x="78" y="19"/>
                  </a:lnTo>
                  <a:lnTo>
                    <a:pt x="68" y="12"/>
                  </a:lnTo>
                  <a:lnTo>
                    <a:pt x="59" y="8"/>
                  </a:lnTo>
                  <a:lnTo>
                    <a:pt x="52" y="3"/>
                  </a:lnTo>
                  <a:lnTo>
                    <a:pt x="45" y="0"/>
                  </a:lnTo>
                  <a:lnTo>
                    <a:pt x="37" y="3"/>
                  </a:lnTo>
                  <a:lnTo>
                    <a:pt x="33" y="5"/>
                  </a:lnTo>
                  <a:lnTo>
                    <a:pt x="26" y="10"/>
                  </a:lnTo>
                  <a:lnTo>
                    <a:pt x="28" y="22"/>
                  </a:lnTo>
                  <a:lnTo>
                    <a:pt x="30" y="31"/>
                  </a:lnTo>
                  <a:lnTo>
                    <a:pt x="30" y="38"/>
                  </a:lnTo>
                  <a:lnTo>
                    <a:pt x="30" y="41"/>
                  </a:lnTo>
                  <a:lnTo>
                    <a:pt x="30" y="41"/>
                  </a:lnTo>
                  <a:lnTo>
                    <a:pt x="33" y="43"/>
                  </a:lnTo>
                  <a:lnTo>
                    <a:pt x="37" y="53"/>
                  </a:lnTo>
                  <a:lnTo>
                    <a:pt x="37" y="55"/>
                  </a:lnTo>
                  <a:lnTo>
                    <a:pt x="37" y="57"/>
                  </a:lnTo>
                  <a:lnTo>
                    <a:pt x="40" y="57"/>
                  </a:lnTo>
                  <a:lnTo>
                    <a:pt x="45" y="64"/>
                  </a:lnTo>
                  <a:lnTo>
                    <a:pt x="45" y="64"/>
                  </a:lnTo>
                  <a:lnTo>
                    <a:pt x="45" y="67"/>
                  </a:lnTo>
                  <a:lnTo>
                    <a:pt x="42" y="74"/>
                  </a:lnTo>
                  <a:lnTo>
                    <a:pt x="40" y="74"/>
                  </a:lnTo>
                  <a:lnTo>
                    <a:pt x="40" y="83"/>
                  </a:lnTo>
                  <a:lnTo>
                    <a:pt x="40" y="90"/>
                  </a:lnTo>
                  <a:lnTo>
                    <a:pt x="40" y="97"/>
                  </a:lnTo>
                  <a:lnTo>
                    <a:pt x="37" y="107"/>
                  </a:lnTo>
                  <a:lnTo>
                    <a:pt x="37" y="116"/>
                  </a:lnTo>
                  <a:lnTo>
                    <a:pt x="37" y="128"/>
                  </a:lnTo>
                  <a:lnTo>
                    <a:pt x="37" y="138"/>
                  </a:lnTo>
                  <a:lnTo>
                    <a:pt x="33" y="145"/>
                  </a:lnTo>
                  <a:lnTo>
                    <a:pt x="23" y="154"/>
                  </a:lnTo>
                  <a:lnTo>
                    <a:pt x="16" y="161"/>
                  </a:lnTo>
                  <a:lnTo>
                    <a:pt x="14" y="168"/>
                  </a:lnTo>
                  <a:lnTo>
                    <a:pt x="7" y="178"/>
                  </a:lnTo>
                  <a:lnTo>
                    <a:pt x="2" y="185"/>
                  </a:lnTo>
                  <a:lnTo>
                    <a:pt x="0" y="190"/>
                  </a:lnTo>
                  <a:lnTo>
                    <a:pt x="0" y="192"/>
                  </a:lnTo>
                  <a:lnTo>
                    <a:pt x="0" y="197"/>
                  </a:lnTo>
                  <a:lnTo>
                    <a:pt x="2" y="206"/>
                  </a:lnTo>
                  <a:lnTo>
                    <a:pt x="4" y="211"/>
                  </a:lnTo>
                  <a:lnTo>
                    <a:pt x="9" y="216"/>
                  </a:lnTo>
                  <a:lnTo>
                    <a:pt x="12" y="218"/>
                  </a:lnTo>
                  <a:lnTo>
                    <a:pt x="14" y="218"/>
                  </a:lnTo>
                  <a:lnTo>
                    <a:pt x="19" y="220"/>
                  </a:lnTo>
                  <a:lnTo>
                    <a:pt x="19" y="220"/>
                  </a:lnTo>
                  <a:lnTo>
                    <a:pt x="19" y="225"/>
                  </a:lnTo>
                  <a:lnTo>
                    <a:pt x="21" y="225"/>
                  </a:lnTo>
                  <a:lnTo>
                    <a:pt x="23" y="227"/>
                  </a:lnTo>
                  <a:lnTo>
                    <a:pt x="26" y="230"/>
                  </a:lnTo>
                  <a:lnTo>
                    <a:pt x="26" y="235"/>
                  </a:lnTo>
                  <a:lnTo>
                    <a:pt x="28" y="239"/>
                  </a:lnTo>
                  <a:lnTo>
                    <a:pt x="28" y="239"/>
                  </a:lnTo>
                  <a:lnTo>
                    <a:pt x="30" y="244"/>
                  </a:lnTo>
                  <a:lnTo>
                    <a:pt x="30" y="244"/>
                  </a:lnTo>
                  <a:lnTo>
                    <a:pt x="30" y="246"/>
                  </a:lnTo>
                  <a:lnTo>
                    <a:pt x="30" y="249"/>
                  </a:lnTo>
                  <a:lnTo>
                    <a:pt x="30" y="251"/>
                  </a:lnTo>
                  <a:lnTo>
                    <a:pt x="30" y="256"/>
                  </a:lnTo>
                  <a:lnTo>
                    <a:pt x="28" y="256"/>
                  </a:lnTo>
                  <a:lnTo>
                    <a:pt x="28" y="261"/>
                  </a:lnTo>
                  <a:lnTo>
                    <a:pt x="30" y="265"/>
                  </a:lnTo>
                  <a:lnTo>
                    <a:pt x="30" y="270"/>
                  </a:lnTo>
                  <a:lnTo>
                    <a:pt x="33" y="272"/>
                  </a:lnTo>
                  <a:lnTo>
                    <a:pt x="33" y="277"/>
                  </a:lnTo>
                  <a:lnTo>
                    <a:pt x="35" y="280"/>
                  </a:lnTo>
                  <a:lnTo>
                    <a:pt x="37" y="282"/>
                  </a:lnTo>
                  <a:lnTo>
                    <a:pt x="40" y="284"/>
                  </a:lnTo>
                  <a:lnTo>
                    <a:pt x="37" y="284"/>
                  </a:lnTo>
                  <a:lnTo>
                    <a:pt x="35" y="284"/>
                  </a:lnTo>
                  <a:lnTo>
                    <a:pt x="33" y="284"/>
                  </a:lnTo>
                  <a:lnTo>
                    <a:pt x="30" y="284"/>
                  </a:lnTo>
                  <a:lnTo>
                    <a:pt x="30" y="284"/>
                  </a:lnTo>
                  <a:lnTo>
                    <a:pt x="26" y="284"/>
                  </a:lnTo>
                  <a:lnTo>
                    <a:pt x="21" y="284"/>
                  </a:lnTo>
                  <a:lnTo>
                    <a:pt x="16" y="284"/>
                  </a:lnTo>
                  <a:lnTo>
                    <a:pt x="14" y="284"/>
                  </a:lnTo>
                  <a:lnTo>
                    <a:pt x="12" y="287"/>
                  </a:lnTo>
                  <a:lnTo>
                    <a:pt x="12" y="289"/>
                  </a:lnTo>
                  <a:lnTo>
                    <a:pt x="9" y="291"/>
                  </a:lnTo>
                  <a:lnTo>
                    <a:pt x="9" y="291"/>
                  </a:lnTo>
                  <a:lnTo>
                    <a:pt x="12" y="294"/>
                  </a:lnTo>
                  <a:lnTo>
                    <a:pt x="14" y="296"/>
                  </a:lnTo>
                  <a:lnTo>
                    <a:pt x="14" y="298"/>
                  </a:lnTo>
                  <a:lnTo>
                    <a:pt x="16" y="301"/>
                  </a:lnTo>
                  <a:lnTo>
                    <a:pt x="21" y="303"/>
                  </a:lnTo>
                  <a:lnTo>
                    <a:pt x="23" y="308"/>
                  </a:lnTo>
                  <a:lnTo>
                    <a:pt x="23" y="308"/>
                  </a:lnTo>
                  <a:lnTo>
                    <a:pt x="26" y="308"/>
                  </a:lnTo>
                  <a:lnTo>
                    <a:pt x="26" y="308"/>
                  </a:lnTo>
                  <a:lnTo>
                    <a:pt x="28" y="310"/>
                  </a:lnTo>
                  <a:lnTo>
                    <a:pt x="30" y="315"/>
                  </a:lnTo>
                  <a:lnTo>
                    <a:pt x="33" y="320"/>
                  </a:lnTo>
                  <a:lnTo>
                    <a:pt x="35" y="324"/>
                  </a:lnTo>
                  <a:lnTo>
                    <a:pt x="37" y="329"/>
                  </a:lnTo>
                  <a:lnTo>
                    <a:pt x="37" y="329"/>
                  </a:lnTo>
                  <a:lnTo>
                    <a:pt x="40" y="329"/>
                  </a:lnTo>
                  <a:lnTo>
                    <a:pt x="40" y="332"/>
                  </a:lnTo>
                  <a:lnTo>
                    <a:pt x="40" y="334"/>
                  </a:lnTo>
                  <a:lnTo>
                    <a:pt x="37" y="334"/>
                  </a:lnTo>
                  <a:lnTo>
                    <a:pt x="37" y="336"/>
                  </a:lnTo>
                  <a:lnTo>
                    <a:pt x="40" y="336"/>
                  </a:lnTo>
                  <a:lnTo>
                    <a:pt x="42" y="336"/>
                  </a:lnTo>
                  <a:lnTo>
                    <a:pt x="45" y="336"/>
                  </a:lnTo>
                  <a:lnTo>
                    <a:pt x="47" y="336"/>
                  </a:lnTo>
                  <a:lnTo>
                    <a:pt x="47" y="334"/>
                  </a:lnTo>
                  <a:lnTo>
                    <a:pt x="52" y="334"/>
                  </a:lnTo>
                  <a:lnTo>
                    <a:pt x="54" y="332"/>
                  </a:lnTo>
                  <a:lnTo>
                    <a:pt x="54" y="332"/>
                  </a:lnTo>
                  <a:lnTo>
                    <a:pt x="56" y="329"/>
                  </a:lnTo>
                  <a:lnTo>
                    <a:pt x="56" y="329"/>
                  </a:lnTo>
                  <a:lnTo>
                    <a:pt x="56" y="329"/>
                  </a:lnTo>
                  <a:lnTo>
                    <a:pt x="56" y="329"/>
                  </a:lnTo>
                  <a:lnTo>
                    <a:pt x="59" y="332"/>
                  </a:lnTo>
                  <a:lnTo>
                    <a:pt x="59" y="334"/>
                  </a:lnTo>
                  <a:lnTo>
                    <a:pt x="61" y="336"/>
                  </a:lnTo>
                  <a:lnTo>
                    <a:pt x="61" y="336"/>
                  </a:lnTo>
                  <a:lnTo>
                    <a:pt x="63" y="334"/>
                  </a:lnTo>
                  <a:lnTo>
                    <a:pt x="66" y="332"/>
                  </a:lnTo>
                  <a:lnTo>
                    <a:pt x="68" y="332"/>
                  </a:lnTo>
                  <a:lnTo>
                    <a:pt x="70" y="329"/>
                  </a:lnTo>
                  <a:lnTo>
                    <a:pt x="73" y="329"/>
                  </a:lnTo>
                  <a:lnTo>
                    <a:pt x="73" y="329"/>
                  </a:lnTo>
                  <a:lnTo>
                    <a:pt x="75" y="327"/>
                  </a:lnTo>
                  <a:lnTo>
                    <a:pt x="78" y="327"/>
                  </a:lnTo>
                  <a:lnTo>
                    <a:pt x="80" y="327"/>
                  </a:lnTo>
                  <a:lnTo>
                    <a:pt x="82" y="327"/>
                  </a:lnTo>
                  <a:lnTo>
                    <a:pt x="89" y="324"/>
                  </a:lnTo>
                  <a:lnTo>
                    <a:pt x="92" y="324"/>
                  </a:lnTo>
                  <a:lnTo>
                    <a:pt x="94" y="324"/>
                  </a:lnTo>
                  <a:lnTo>
                    <a:pt x="94" y="324"/>
                  </a:lnTo>
                  <a:lnTo>
                    <a:pt x="96" y="322"/>
                  </a:lnTo>
                  <a:lnTo>
                    <a:pt x="96" y="322"/>
                  </a:lnTo>
                  <a:lnTo>
                    <a:pt x="99" y="320"/>
                  </a:lnTo>
                  <a:lnTo>
                    <a:pt x="101" y="317"/>
                  </a:lnTo>
                  <a:lnTo>
                    <a:pt x="103" y="315"/>
                  </a:lnTo>
                  <a:lnTo>
                    <a:pt x="103" y="313"/>
                  </a:lnTo>
                  <a:lnTo>
                    <a:pt x="103" y="313"/>
                  </a:lnTo>
                  <a:lnTo>
                    <a:pt x="103" y="313"/>
                  </a:lnTo>
                  <a:lnTo>
                    <a:pt x="103" y="313"/>
                  </a:lnTo>
                  <a:lnTo>
                    <a:pt x="103" y="310"/>
                  </a:lnTo>
                  <a:lnTo>
                    <a:pt x="101" y="308"/>
                  </a:lnTo>
                  <a:lnTo>
                    <a:pt x="101" y="308"/>
                  </a:lnTo>
                  <a:lnTo>
                    <a:pt x="101" y="308"/>
                  </a:lnTo>
                  <a:lnTo>
                    <a:pt x="101" y="308"/>
                  </a:lnTo>
                  <a:lnTo>
                    <a:pt x="101" y="306"/>
                  </a:lnTo>
                  <a:lnTo>
                    <a:pt x="103" y="306"/>
                  </a:lnTo>
                  <a:lnTo>
                    <a:pt x="106" y="306"/>
                  </a:lnTo>
                  <a:lnTo>
                    <a:pt x="111" y="306"/>
                  </a:lnTo>
                  <a:lnTo>
                    <a:pt x="113" y="303"/>
                  </a:lnTo>
                  <a:lnTo>
                    <a:pt x="115" y="303"/>
                  </a:lnTo>
                  <a:lnTo>
                    <a:pt x="118" y="303"/>
                  </a:lnTo>
                  <a:lnTo>
                    <a:pt x="120" y="303"/>
                  </a:lnTo>
                  <a:lnTo>
                    <a:pt x="122" y="301"/>
                  </a:lnTo>
                  <a:lnTo>
                    <a:pt x="127" y="303"/>
                  </a:lnTo>
                  <a:lnTo>
                    <a:pt x="132" y="298"/>
                  </a:lnTo>
                  <a:lnTo>
                    <a:pt x="132" y="298"/>
                  </a:lnTo>
                  <a:lnTo>
                    <a:pt x="134" y="298"/>
                  </a:lnTo>
                  <a:lnTo>
                    <a:pt x="134" y="298"/>
                  </a:lnTo>
                  <a:lnTo>
                    <a:pt x="136" y="296"/>
                  </a:lnTo>
                  <a:lnTo>
                    <a:pt x="136" y="294"/>
                  </a:lnTo>
                  <a:lnTo>
                    <a:pt x="139" y="291"/>
                  </a:lnTo>
                  <a:lnTo>
                    <a:pt x="139" y="289"/>
                  </a:lnTo>
                  <a:lnTo>
                    <a:pt x="144" y="284"/>
                  </a:lnTo>
                  <a:lnTo>
                    <a:pt x="146" y="284"/>
                  </a:lnTo>
                  <a:lnTo>
                    <a:pt x="146" y="284"/>
                  </a:lnTo>
                  <a:lnTo>
                    <a:pt x="148" y="280"/>
                  </a:lnTo>
                  <a:lnTo>
                    <a:pt x="148" y="280"/>
                  </a:lnTo>
                  <a:lnTo>
                    <a:pt x="151" y="280"/>
                  </a:lnTo>
                  <a:lnTo>
                    <a:pt x="151" y="280"/>
                  </a:lnTo>
                  <a:lnTo>
                    <a:pt x="153" y="277"/>
                  </a:lnTo>
                  <a:lnTo>
                    <a:pt x="153" y="275"/>
                  </a:lnTo>
                  <a:lnTo>
                    <a:pt x="153" y="275"/>
                  </a:lnTo>
                  <a:lnTo>
                    <a:pt x="153" y="272"/>
                  </a:lnTo>
                  <a:lnTo>
                    <a:pt x="153" y="272"/>
                  </a:lnTo>
                  <a:lnTo>
                    <a:pt x="153" y="270"/>
                  </a:lnTo>
                  <a:lnTo>
                    <a:pt x="153" y="270"/>
                  </a:lnTo>
                  <a:lnTo>
                    <a:pt x="158" y="268"/>
                  </a:lnTo>
                  <a:lnTo>
                    <a:pt x="158" y="268"/>
                  </a:lnTo>
                  <a:lnTo>
                    <a:pt x="158" y="265"/>
                  </a:lnTo>
                  <a:lnTo>
                    <a:pt x="160" y="265"/>
                  </a:lnTo>
                  <a:lnTo>
                    <a:pt x="160" y="265"/>
                  </a:lnTo>
                  <a:lnTo>
                    <a:pt x="162" y="265"/>
                  </a:lnTo>
                  <a:lnTo>
                    <a:pt x="162" y="265"/>
                  </a:lnTo>
                  <a:lnTo>
                    <a:pt x="165" y="263"/>
                  </a:lnTo>
                  <a:lnTo>
                    <a:pt x="167" y="263"/>
                  </a:lnTo>
                  <a:lnTo>
                    <a:pt x="169" y="263"/>
                  </a:lnTo>
                  <a:lnTo>
                    <a:pt x="172" y="263"/>
                  </a:lnTo>
                  <a:lnTo>
                    <a:pt x="172" y="263"/>
                  </a:lnTo>
                  <a:lnTo>
                    <a:pt x="174" y="265"/>
                  </a:lnTo>
                  <a:lnTo>
                    <a:pt x="174" y="263"/>
                  </a:lnTo>
                  <a:lnTo>
                    <a:pt x="174" y="258"/>
                  </a:lnTo>
                  <a:lnTo>
                    <a:pt x="174" y="256"/>
                  </a:lnTo>
                  <a:lnTo>
                    <a:pt x="174" y="256"/>
                  </a:lnTo>
                  <a:lnTo>
                    <a:pt x="174" y="253"/>
                  </a:lnTo>
                  <a:lnTo>
                    <a:pt x="172" y="253"/>
                  </a:lnTo>
                  <a:lnTo>
                    <a:pt x="172" y="253"/>
                  </a:lnTo>
                  <a:lnTo>
                    <a:pt x="169" y="253"/>
                  </a:lnTo>
                  <a:lnTo>
                    <a:pt x="169" y="251"/>
                  </a:lnTo>
                  <a:lnTo>
                    <a:pt x="169" y="251"/>
                  </a:lnTo>
                  <a:lnTo>
                    <a:pt x="167" y="249"/>
                  </a:lnTo>
                  <a:lnTo>
                    <a:pt x="167" y="242"/>
                  </a:lnTo>
                  <a:lnTo>
                    <a:pt x="167" y="242"/>
                  </a:lnTo>
                  <a:lnTo>
                    <a:pt x="167" y="239"/>
                  </a:lnTo>
                  <a:lnTo>
                    <a:pt x="167" y="239"/>
                  </a:lnTo>
                  <a:lnTo>
                    <a:pt x="167" y="239"/>
                  </a:lnTo>
                  <a:lnTo>
                    <a:pt x="165" y="235"/>
                  </a:lnTo>
                  <a:lnTo>
                    <a:pt x="165" y="232"/>
                  </a:lnTo>
                  <a:lnTo>
                    <a:pt x="165" y="230"/>
                  </a:lnTo>
                  <a:lnTo>
                    <a:pt x="165" y="227"/>
                  </a:lnTo>
                  <a:lnTo>
                    <a:pt x="162" y="227"/>
                  </a:lnTo>
                  <a:lnTo>
                    <a:pt x="160" y="227"/>
                  </a:lnTo>
                  <a:lnTo>
                    <a:pt x="158" y="227"/>
                  </a:lnTo>
                  <a:lnTo>
                    <a:pt x="155" y="227"/>
                  </a:lnTo>
                  <a:lnTo>
                    <a:pt x="155" y="227"/>
                  </a:lnTo>
                  <a:lnTo>
                    <a:pt x="155" y="225"/>
                  </a:lnTo>
                  <a:lnTo>
                    <a:pt x="153" y="225"/>
                  </a:lnTo>
                  <a:lnTo>
                    <a:pt x="155" y="223"/>
                  </a:lnTo>
                  <a:lnTo>
                    <a:pt x="155" y="220"/>
                  </a:lnTo>
                  <a:lnTo>
                    <a:pt x="158" y="218"/>
                  </a:lnTo>
                  <a:lnTo>
                    <a:pt x="160" y="216"/>
                  </a:lnTo>
                  <a:lnTo>
                    <a:pt x="160" y="216"/>
                  </a:lnTo>
                  <a:lnTo>
                    <a:pt x="162" y="213"/>
                  </a:lnTo>
                  <a:lnTo>
                    <a:pt x="162" y="211"/>
                  </a:lnTo>
                  <a:lnTo>
                    <a:pt x="162" y="211"/>
                  </a:lnTo>
                  <a:lnTo>
                    <a:pt x="160" y="209"/>
                  </a:lnTo>
                  <a:lnTo>
                    <a:pt x="160" y="206"/>
                  </a:lnTo>
                  <a:lnTo>
                    <a:pt x="160" y="204"/>
                  </a:lnTo>
                  <a:lnTo>
                    <a:pt x="160" y="204"/>
                  </a:lnTo>
                  <a:lnTo>
                    <a:pt x="160" y="201"/>
                  </a:lnTo>
                  <a:lnTo>
                    <a:pt x="160" y="201"/>
                  </a:lnTo>
                  <a:lnTo>
                    <a:pt x="162" y="199"/>
                  </a:lnTo>
                  <a:lnTo>
                    <a:pt x="162" y="199"/>
                  </a:lnTo>
                  <a:lnTo>
                    <a:pt x="162" y="199"/>
                  </a:lnTo>
                  <a:lnTo>
                    <a:pt x="165" y="199"/>
                  </a:lnTo>
                  <a:lnTo>
                    <a:pt x="167" y="197"/>
                  </a:lnTo>
                  <a:lnTo>
                    <a:pt x="167" y="197"/>
                  </a:lnTo>
                  <a:lnTo>
                    <a:pt x="167" y="194"/>
                  </a:lnTo>
                  <a:lnTo>
                    <a:pt x="167" y="194"/>
                  </a:lnTo>
                  <a:lnTo>
                    <a:pt x="165" y="192"/>
                  </a:lnTo>
                  <a:lnTo>
                    <a:pt x="165" y="192"/>
                  </a:lnTo>
                  <a:lnTo>
                    <a:pt x="165" y="190"/>
                  </a:lnTo>
                  <a:lnTo>
                    <a:pt x="165" y="190"/>
                  </a:lnTo>
                  <a:lnTo>
                    <a:pt x="165" y="187"/>
                  </a:lnTo>
                  <a:lnTo>
                    <a:pt x="165" y="187"/>
                  </a:lnTo>
                  <a:lnTo>
                    <a:pt x="165" y="185"/>
                  </a:lnTo>
                  <a:lnTo>
                    <a:pt x="167" y="185"/>
                  </a:lnTo>
                  <a:lnTo>
                    <a:pt x="169" y="185"/>
                  </a:lnTo>
                  <a:lnTo>
                    <a:pt x="169" y="185"/>
                  </a:lnTo>
                  <a:lnTo>
                    <a:pt x="169" y="183"/>
                  </a:lnTo>
                  <a:lnTo>
                    <a:pt x="169" y="180"/>
                  </a:lnTo>
                  <a:lnTo>
                    <a:pt x="169" y="180"/>
                  </a:lnTo>
                  <a:lnTo>
                    <a:pt x="172" y="178"/>
                  </a:lnTo>
                  <a:lnTo>
                    <a:pt x="172" y="178"/>
                  </a:lnTo>
                  <a:lnTo>
                    <a:pt x="172" y="175"/>
                  </a:lnTo>
                  <a:lnTo>
                    <a:pt x="174" y="175"/>
                  </a:lnTo>
                  <a:lnTo>
                    <a:pt x="174" y="173"/>
                  </a:lnTo>
                  <a:lnTo>
                    <a:pt x="174" y="171"/>
                  </a:lnTo>
                  <a:lnTo>
                    <a:pt x="174" y="166"/>
                  </a:lnTo>
                  <a:lnTo>
                    <a:pt x="174" y="166"/>
                  </a:lnTo>
                  <a:lnTo>
                    <a:pt x="177" y="164"/>
                  </a:lnTo>
                  <a:lnTo>
                    <a:pt x="179" y="164"/>
                  </a:lnTo>
                  <a:lnTo>
                    <a:pt x="184" y="164"/>
                  </a:lnTo>
                  <a:lnTo>
                    <a:pt x="186" y="161"/>
                  </a:lnTo>
                  <a:lnTo>
                    <a:pt x="188" y="161"/>
                  </a:lnTo>
                  <a:lnTo>
                    <a:pt x="193" y="164"/>
                  </a:lnTo>
                  <a:lnTo>
                    <a:pt x="193" y="164"/>
                  </a:lnTo>
                  <a:lnTo>
                    <a:pt x="193" y="164"/>
                  </a:lnTo>
                  <a:lnTo>
                    <a:pt x="193" y="161"/>
                  </a:lnTo>
                  <a:lnTo>
                    <a:pt x="193" y="15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3" name="Freeform 369"/>
            <p:cNvSpPr>
              <a:spLocks/>
            </p:cNvSpPr>
            <p:nvPr userDrawn="1"/>
          </p:nvSpPr>
          <p:spPr bwMode="auto">
            <a:xfrm>
              <a:off x="3922" y="2576"/>
              <a:ext cx="240" cy="184"/>
            </a:xfrm>
            <a:custGeom>
              <a:avLst/>
              <a:gdLst>
                <a:gd name="T0" fmla="*/ 235 w 240"/>
                <a:gd name="T1" fmla="*/ 111 h 184"/>
                <a:gd name="T2" fmla="*/ 223 w 240"/>
                <a:gd name="T3" fmla="*/ 104 h 184"/>
                <a:gd name="T4" fmla="*/ 219 w 240"/>
                <a:gd name="T5" fmla="*/ 95 h 184"/>
                <a:gd name="T6" fmla="*/ 212 w 240"/>
                <a:gd name="T7" fmla="*/ 83 h 184"/>
                <a:gd name="T8" fmla="*/ 200 w 240"/>
                <a:gd name="T9" fmla="*/ 71 h 184"/>
                <a:gd name="T10" fmla="*/ 186 w 240"/>
                <a:gd name="T11" fmla="*/ 57 h 184"/>
                <a:gd name="T12" fmla="*/ 179 w 240"/>
                <a:gd name="T13" fmla="*/ 50 h 184"/>
                <a:gd name="T14" fmla="*/ 167 w 240"/>
                <a:gd name="T15" fmla="*/ 45 h 184"/>
                <a:gd name="T16" fmla="*/ 169 w 240"/>
                <a:gd name="T17" fmla="*/ 35 h 184"/>
                <a:gd name="T18" fmla="*/ 167 w 240"/>
                <a:gd name="T19" fmla="*/ 17 h 184"/>
                <a:gd name="T20" fmla="*/ 153 w 240"/>
                <a:gd name="T21" fmla="*/ 0 h 184"/>
                <a:gd name="T22" fmla="*/ 143 w 240"/>
                <a:gd name="T23" fmla="*/ 2 h 184"/>
                <a:gd name="T24" fmla="*/ 134 w 240"/>
                <a:gd name="T25" fmla="*/ 7 h 184"/>
                <a:gd name="T26" fmla="*/ 134 w 240"/>
                <a:gd name="T27" fmla="*/ 14 h 184"/>
                <a:gd name="T28" fmla="*/ 127 w 240"/>
                <a:gd name="T29" fmla="*/ 21 h 184"/>
                <a:gd name="T30" fmla="*/ 115 w 240"/>
                <a:gd name="T31" fmla="*/ 35 h 184"/>
                <a:gd name="T32" fmla="*/ 101 w 240"/>
                <a:gd name="T33" fmla="*/ 40 h 184"/>
                <a:gd name="T34" fmla="*/ 84 w 240"/>
                <a:gd name="T35" fmla="*/ 43 h 184"/>
                <a:gd name="T36" fmla="*/ 84 w 240"/>
                <a:gd name="T37" fmla="*/ 47 h 184"/>
                <a:gd name="T38" fmla="*/ 82 w 240"/>
                <a:gd name="T39" fmla="*/ 54 h 184"/>
                <a:gd name="T40" fmla="*/ 73 w 240"/>
                <a:gd name="T41" fmla="*/ 61 h 184"/>
                <a:gd name="T42" fmla="*/ 54 w 240"/>
                <a:gd name="T43" fmla="*/ 66 h 184"/>
                <a:gd name="T44" fmla="*/ 42 w 240"/>
                <a:gd name="T45" fmla="*/ 73 h 184"/>
                <a:gd name="T46" fmla="*/ 37 w 240"/>
                <a:gd name="T47" fmla="*/ 66 h 184"/>
                <a:gd name="T48" fmla="*/ 28 w 240"/>
                <a:gd name="T49" fmla="*/ 73 h 184"/>
                <a:gd name="T50" fmla="*/ 14 w 240"/>
                <a:gd name="T51" fmla="*/ 78 h 184"/>
                <a:gd name="T52" fmla="*/ 9 w 240"/>
                <a:gd name="T53" fmla="*/ 90 h 184"/>
                <a:gd name="T54" fmla="*/ 2 w 240"/>
                <a:gd name="T55" fmla="*/ 102 h 184"/>
                <a:gd name="T56" fmla="*/ 0 w 240"/>
                <a:gd name="T57" fmla="*/ 106 h 184"/>
                <a:gd name="T58" fmla="*/ 2 w 240"/>
                <a:gd name="T59" fmla="*/ 116 h 184"/>
                <a:gd name="T60" fmla="*/ 2 w 240"/>
                <a:gd name="T61" fmla="*/ 123 h 184"/>
                <a:gd name="T62" fmla="*/ 9 w 240"/>
                <a:gd name="T63" fmla="*/ 139 h 184"/>
                <a:gd name="T64" fmla="*/ 11 w 240"/>
                <a:gd name="T65" fmla="*/ 147 h 184"/>
                <a:gd name="T66" fmla="*/ 18 w 240"/>
                <a:gd name="T67" fmla="*/ 158 h 184"/>
                <a:gd name="T68" fmla="*/ 28 w 240"/>
                <a:gd name="T69" fmla="*/ 168 h 184"/>
                <a:gd name="T70" fmla="*/ 30 w 240"/>
                <a:gd name="T71" fmla="*/ 175 h 184"/>
                <a:gd name="T72" fmla="*/ 33 w 240"/>
                <a:gd name="T73" fmla="*/ 184 h 184"/>
                <a:gd name="T74" fmla="*/ 37 w 240"/>
                <a:gd name="T75" fmla="*/ 168 h 184"/>
                <a:gd name="T76" fmla="*/ 40 w 240"/>
                <a:gd name="T77" fmla="*/ 158 h 184"/>
                <a:gd name="T78" fmla="*/ 54 w 240"/>
                <a:gd name="T79" fmla="*/ 154 h 184"/>
                <a:gd name="T80" fmla="*/ 63 w 240"/>
                <a:gd name="T81" fmla="*/ 156 h 184"/>
                <a:gd name="T82" fmla="*/ 70 w 240"/>
                <a:gd name="T83" fmla="*/ 156 h 184"/>
                <a:gd name="T84" fmla="*/ 77 w 240"/>
                <a:gd name="T85" fmla="*/ 154 h 184"/>
                <a:gd name="T86" fmla="*/ 80 w 240"/>
                <a:gd name="T87" fmla="*/ 137 h 184"/>
                <a:gd name="T88" fmla="*/ 101 w 240"/>
                <a:gd name="T89" fmla="*/ 125 h 184"/>
                <a:gd name="T90" fmla="*/ 115 w 240"/>
                <a:gd name="T91" fmla="*/ 137 h 184"/>
                <a:gd name="T92" fmla="*/ 127 w 240"/>
                <a:gd name="T93" fmla="*/ 142 h 184"/>
                <a:gd name="T94" fmla="*/ 148 w 240"/>
                <a:gd name="T95" fmla="*/ 144 h 184"/>
                <a:gd name="T96" fmla="*/ 158 w 240"/>
                <a:gd name="T97" fmla="*/ 132 h 184"/>
                <a:gd name="T98" fmla="*/ 172 w 240"/>
                <a:gd name="T99" fmla="*/ 130 h 184"/>
                <a:gd name="T100" fmla="*/ 191 w 240"/>
                <a:gd name="T101" fmla="*/ 128 h 184"/>
                <a:gd name="T102" fmla="*/ 205 w 240"/>
                <a:gd name="T103" fmla="*/ 121 h 184"/>
                <a:gd name="T104" fmla="*/ 228 w 240"/>
                <a:gd name="T105" fmla="*/ 125 h 184"/>
                <a:gd name="T106" fmla="*/ 238 w 240"/>
                <a:gd name="T107"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0" h="184">
                  <a:moveTo>
                    <a:pt x="238" y="123"/>
                  </a:moveTo>
                  <a:lnTo>
                    <a:pt x="238" y="121"/>
                  </a:lnTo>
                  <a:lnTo>
                    <a:pt x="238" y="116"/>
                  </a:lnTo>
                  <a:lnTo>
                    <a:pt x="238" y="113"/>
                  </a:lnTo>
                  <a:lnTo>
                    <a:pt x="235" y="113"/>
                  </a:lnTo>
                  <a:lnTo>
                    <a:pt x="235" y="111"/>
                  </a:lnTo>
                  <a:lnTo>
                    <a:pt x="235" y="111"/>
                  </a:lnTo>
                  <a:lnTo>
                    <a:pt x="233" y="109"/>
                  </a:lnTo>
                  <a:lnTo>
                    <a:pt x="231" y="109"/>
                  </a:lnTo>
                  <a:lnTo>
                    <a:pt x="228" y="106"/>
                  </a:lnTo>
                  <a:lnTo>
                    <a:pt x="228" y="104"/>
                  </a:lnTo>
                  <a:lnTo>
                    <a:pt x="223" y="104"/>
                  </a:lnTo>
                  <a:lnTo>
                    <a:pt x="223" y="104"/>
                  </a:lnTo>
                  <a:lnTo>
                    <a:pt x="221" y="102"/>
                  </a:lnTo>
                  <a:lnTo>
                    <a:pt x="221" y="99"/>
                  </a:lnTo>
                  <a:lnTo>
                    <a:pt x="221" y="97"/>
                  </a:lnTo>
                  <a:lnTo>
                    <a:pt x="219" y="97"/>
                  </a:lnTo>
                  <a:lnTo>
                    <a:pt x="219" y="95"/>
                  </a:lnTo>
                  <a:lnTo>
                    <a:pt x="221" y="92"/>
                  </a:lnTo>
                  <a:lnTo>
                    <a:pt x="219" y="90"/>
                  </a:lnTo>
                  <a:lnTo>
                    <a:pt x="216" y="87"/>
                  </a:lnTo>
                  <a:lnTo>
                    <a:pt x="214" y="87"/>
                  </a:lnTo>
                  <a:lnTo>
                    <a:pt x="214" y="85"/>
                  </a:lnTo>
                  <a:lnTo>
                    <a:pt x="212" y="83"/>
                  </a:lnTo>
                  <a:lnTo>
                    <a:pt x="205" y="78"/>
                  </a:lnTo>
                  <a:lnTo>
                    <a:pt x="202" y="78"/>
                  </a:lnTo>
                  <a:lnTo>
                    <a:pt x="200" y="76"/>
                  </a:lnTo>
                  <a:lnTo>
                    <a:pt x="198" y="73"/>
                  </a:lnTo>
                  <a:lnTo>
                    <a:pt x="198" y="73"/>
                  </a:lnTo>
                  <a:lnTo>
                    <a:pt x="200" y="71"/>
                  </a:lnTo>
                  <a:lnTo>
                    <a:pt x="200" y="69"/>
                  </a:lnTo>
                  <a:lnTo>
                    <a:pt x="198" y="66"/>
                  </a:lnTo>
                  <a:lnTo>
                    <a:pt x="195" y="64"/>
                  </a:lnTo>
                  <a:lnTo>
                    <a:pt x="193" y="59"/>
                  </a:lnTo>
                  <a:lnTo>
                    <a:pt x="191" y="59"/>
                  </a:lnTo>
                  <a:lnTo>
                    <a:pt x="186" y="57"/>
                  </a:lnTo>
                  <a:lnTo>
                    <a:pt x="183" y="57"/>
                  </a:lnTo>
                  <a:lnTo>
                    <a:pt x="181" y="57"/>
                  </a:lnTo>
                  <a:lnTo>
                    <a:pt x="181" y="54"/>
                  </a:lnTo>
                  <a:lnTo>
                    <a:pt x="179" y="52"/>
                  </a:lnTo>
                  <a:lnTo>
                    <a:pt x="181" y="50"/>
                  </a:lnTo>
                  <a:lnTo>
                    <a:pt x="179" y="50"/>
                  </a:lnTo>
                  <a:lnTo>
                    <a:pt x="179" y="50"/>
                  </a:lnTo>
                  <a:lnTo>
                    <a:pt x="176" y="47"/>
                  </a:lnTo>
                  <a:lnTo>
                    <a:pt x="174" y="47"/>
                  </a:lnTo>
                  <a:lnTo>
                    <a:pt x="169" y="47"/>
                  </a:lnTo>
                  <a:lnTo>
                    <a:pt x="169" y="47"/>
                  </a:lnTo>
                  <a:lnTo>
                    <a:pt x="167" y="45"/>
                  </a:lnTo>
                  <a:lnTo>
                    <a:pt x="167" y="43"/>
                  </a:lnTo>
                  <a:lnTo>
                    <a:pt x="167" y="43"/>
                  </a:lnTo>
                  <a:lnTo>
                    <a:pt x="167" y="43"/>
                  </a:lnTo>
                  <a:lnTo>
                    <a:pt x="167" y="40"/>
                  </a:lnTo>
                  <a:lnTo>
                    <a:pt x="167" y="40"/>
                  </a:lnTo>
                  <a:lnTo>
                    <a:pt x="169" y="35"/>
                  </a:lnTo>
                  <a:lnTo>
                    <a:pt x="169" y="35"/>
                  </a:lnTo>
                  <a:lnTo>
                    <a:pt x="169" y="28"/>
                  </a:lnTo>
                  <a:lnTo>
                    <a:pt x="169" y="26"/>
                  </a:lnTo>
                  <a:lnTo>
                    <a:pt x="169" y="24"/>
                  </a:lnTo>
                  <a:lnTo>
                    <a:pt x="167" y="19"/>
                  </a:lnTo>
                  <a:lnTo>
                    <a:pt x="167" y="17"/>
                  </a:lnTo>
                  <a:lnTo>
                    <a:pt x="162" y="12"/>
                  </a:lnTo>
                  <a:lnTo>
                    <a:pt x="162" y="12"/>
                  </a:lnTo>
                  <a:lnTo>
                    <a:pt x="158" y="5"/>
                  </a:lnTo>
                  <a:lnTo>
                    <a:pt x="155" y="5"/>
                  </a:lnTo>
                  <a:lnTo>
                    <a:pt x="155" y="2"/>
                  </a:lnTo>
                  <a:lnTo>
                    <a:pt x="153" y="0"/>
                  </a:lnTo>
                  <a:lnTo>
                    <a:pt x="153" y="0"/>
                  </a:lnTo>
                  <a:lnTo>
                    <a:pt x="150" y="0"/>
                  </a:lnTo>
                  <a:lnTo>
                    <a:pt x="148" y="0"/>
                  </a:lnTo>
                  <a:lnTo>
                    <a:pt x="146" y="0"/>
                  </a:lnTo>
                  <a:lnTo>
                    <a:pt x="143" y="2"/>
                  </a:lnTo>
                  <a:lnTo>
                    <a:pt x="143" y="2"/>
                  </a:lnTo>
                  <a:lnTo>
                    <a:pt x="141" y="2"/>
                  </a:lnTo>
                  <a:lnTo>
                    <a:pt x="141" y="2"/>
                  </a:lnTo>
                  <a:lnTo>
                    <a:pt x="139" y="2"/>
                  </a:lnTo>
                  <a:lnTo>
                    <a:pt x="139" y="5"/>
                  </a:lnTo>
                  <a:lnTo>
                    <a:pt x="139" y="5"/>
                  </a:lnTo>
                  <a:lnTo>
                    <a:pt x="134" y="7"/>
                  </a:lnTo>
                  <a:lnTo>
                    <a:pt x="134" y="7"/>
                  </a:lnTo>
                  <a:lnTo>
                    <a:pt x="134" y="9"/>
                  </a:lnTo>
                  <a:lnTo>
                    <a:pt x="134" y="9"/>
                  </a:lnTo>
                  <a:lnTo>
                    <a:pt x="134" y="12"/>
                  </a:lnTo>
                  <a:lnTo>
                    <a:pt x="134" y="12"/>
                  </a:lnTo>
                  <a:lnTo>
                    <a:pt x="134" y="14"/>
                  </a:lnTo>
                  <a:lnTo>
                    <a:pt x="132" y="17"/>
                  </a:lnTo>
                  <a:lnTo>
                    <a:pt x="132" y="17"/>
                  </a:lnTo>
                  <a:lnTo>
                    <a:pt x="129" y="17"/>
                  </a:lnTo>
                  <a:lnTo>
                    <a:pt x="129" y="17"/>
                  </a:lnTo>
                  <a:lnTo>
                    <a:pt x="127" y="21"/>
                  </a:lnTo>
                  <a:lnTo>
                    <a:pt x="127" y="21"/>
                  </a:lnTo>
                  <a:lnTo>
                    <a:pt x="125" y="21"/>
                  </a:lnTo>
                  <a:lnTo>
                    <a:pt x="120" y="26"/>
                  </a:lnTo>
                  <a:lnTo>
                    <a:pt x="120" y="28"/>
                  </a:lnTo>
                  <a:lnTo>
                    <a:pt x="117" y="31"/>
                  </a:lnTo>
                  <a:lnTo>
                    <a:pt x="117" y="33"/>
                  </a:lnTo>
                  <a:lnTo>
                    <a:pt x="115" y="35"/>
                  </a:lnTo>
                  <a:lnTo>
                    <a:pt x="115" y="35"/>
                  </a:lnTo>
                  <a:lnTo>
                    <a:pt x="113" y="35"/>
                  </a:lnTo>
                  <a:lnTo>
                    <a:pt x="113" y="35"/>
                  </a:lnTo>
                  <a:lnTo>
                    <a:pt x="108" y="40"/>
                  </a:lnTo>
                  <a:lnTo>
                    <a:pt x="103" y="38"/>
                  </a:lnTo>
                  <a:lnTo>
                    <a:pt x="101" y="40"/>
                  </a:lnTo>
                  <a:lnTo>
                    <a:pt x="99" y="40"/>
                  </a:lnTo>
                  <a:lnTo>
                    <a:pt x="96" y="40"/>
                  </a:lnTo>
                  <a:lnTo>
                    <a:pt x="94" y="40"/>
                  </a:lnTo>
                  <a:lnTo>
                    <a:pt x="92" y="43"/>
                  </a:lnTo>
                  <a:lnTo>
                    <a:pt x="87" y="43"/>
                  </a:lnTo>
                  <a:lnTo>
                    <a:pt x="84" y="43"/>
                  </a:lnTo>
                  <a:lnTo>
                    <a:pt x="82" y="43"/>
                  </a:lnTo>
                  <a:lnTo>
                    <a:pt x="82" y="45"/>
                  </a:lnTo>
                  <a:lnTo>
                    <a:pt x="82" y="45"/>
                  </a:lnTo>
                  <a:lnTo>
                    <a:pt x="82" y="45"/>
                  </a:lnTo>
                  <a:lnTo>
                    <a:pt x="82" y="45"/>
                  </a:lnTo>
                  <a:lnTo>
                    <a:pt x="84" y="47"/>
                  </a:lnTo>
                  <a:lnTo>
                    <a:pt x="84" y="50"/>
                  </a:lnTo>
                  <a:lnTo>
                    <a:pt x="84" y="50"/>
                  </a:lnTo>
                  <a:lnTo>
                    <a:pt x="84" y="50"/>
                  </a:lnTo>
                  <a:lnTo>
                    <a:pt x="84" y="50"/>
                  </a:lnTo>
                  <a:lnTo>
                    <a:pt x="84" y="52"/>
                  </a:lnTo>
                  <a:lnTo>
                    <a:pt x="82" y="54"/>
                  </a:lnTo>
                  <a:lnTo>
                    <a:pt x="80" y="57"/>
                  </a:lnTo>
                  <a:lnTo>
                    <a:pt x="77" y="59"/>
                  </a:lnTo>
                  <a:lnTo>
                    <a:pt x="77" y="59"/>
                  </a:lnTo>
                  <a:lnTo>
                    <a:pt x="75" y="61"/>
                  </a:lnTo>
                  <a:lnTo>
                    <a:pt x="75" y="61"/>
                  </a:lnTo>
                  <a:lnTo>
                    <a:pt x="73" y="61"/>
                  </a:lnTo>
                  <a:lnTo>
                    <a:pt x="70" y="61"/>
                  </a:lnTo>
                  <a:lnTo>
                    <a:pt x="63" y="64"/>
                  </a:lnTo>
                  <a:lnTo>
                    <a:pt x="61" y="64"/>
                  </a:lnTo>
                  <a:lnTo>
                    <a:pt x="59" y="64"/>
                  </a:lnTo>
                  <a:lnTo>
                    <a:pt x="56" y="64"/>
                  </a:lnTo>
                  <a:lnTo>
                    <a:pt x="54" y="66"/>
                  </a:lnTo>
                  <a:lnTo>
                    <a:pt x="54" y="66"/>
                  </a:lnTo>
                  <a:lnTo>
                    <a:pt x="51" y="66"/>
                  </a:lnTo>
                  <a:lnTo>
                    <a:pt x="49" y="69"/>
                  </a:lnTo>
                  <a:lnTo>
                    <a:pt x="47" y="69"/>
                  </a:lnTo>
                  <a:lnTo>
                    <a:pt x="44" y="71"/>
                  </a:lnTo>
                  <a:lnTo>
                    <a:pt x="42" y="73"/>
                  </a:lnTo>
                  <a:lnTo>
                    <a:pt x="42" y="73"/>
                  </a:lnTo>
                  <a:lnTo>
                    <a:pt x="40" y="71"/>
                  </a:lnTo>
                  <a:lnTo>
                    <a:pt x="40" y="69"/>
                  </a:lnTo>
                  <a:lnTo>
                    <a:pt x="37" y="66"/>
                  </a:lnTo>
                  <a:lnTo>
                    <a:pt x="37" y="66"/>
                  </a:lnTo>
                  <a:lnTo>
                    <a:pt x="37" y="66"/>
                  </a:lnTo>
                  <a:lnTo>
                    <a:pt x="37" y="66"/>
                  </a:lnTo>
                  <a:lnTo>
                    <a:pt x="35" y="69"/>
                  </a:lnTo>
                  <a:lnTo>
                    <a:pt x="35" y="69"/>
                  </a:lnTo>
                  <a:lnTo>
                    <a:pt x="33" y="71"/>
                  </a:lnTo>
                  <a:lnTo>
                    <a:pt x="28" y="71"/>
                  </a:lnTo>
                  <a:lnTo>
                    <a:pt x="28" y="73"/>
                  </a:lnTo>
                  <a:lnTo>
                    <a:pt x="26" y="73"/>
                  </a:lnTo>
                  <a:lnTo>
                    <a:pt x="23" y="73"/>
                  </a:lnTo>
                  <a:lnTo>
                    <a:pt x="21" y="73"/>
                  </a:lnTo>
                  <a:lnTo>
                    <a:pt x="18" y="73"/>
                  </a:lnTo>
                  <a:lnTo>
                    <a:pt x="16" y="76"/>
                  </a:lnTo>
                  <a:lnTo>
                    <a:pt x="14" y="78"/>
                  </a:lnTo>
                  <a:lnTo>
                    <a:pt x="14" y="80"/>
                  </a:lnTo>
                  <a:lnTo>
                    <a:pt x="14" y="80"/>
                  </a:lnTo>
                  <a:lnTo>
                    <a:pt x="11" y="83"/>
                  </a:lnTo>
                  <a:lnTo>
                    <a:pt x="11" y="85"/>
                  </a:lnTo>
                  <a:lnTo>
                    <a:pt x="9" y="87"/>
                  </a:lnTo>
                  <a:lnTo>
                    <a:pt x="9" y="90"/>
                  </a:lnTo>
                  <a:lnTo>
                    <a:pt x="7" y="92"/>
                  </a:lnTo>
                  <a:lnTo>
                    <a:pt x="4" y="97"/>
                  </a:lnTo>
                  <a:lnTo>
                    <a:pt x="4" y="99"/>
                  </a:lnTo>
                  <a:lnTo>
                    <a:pt x="4" y="99"/>
                  </a:lnTo>
                  <a:lnTo>
                    <a:pt x="4" y="99"/>
                  </a:lnTo>
                  <a:lnTo>
                    <a:pt x="2" y="102"/>
                  </a:lnTo>
                  <a:lnTo>
                    <a:pt x="0" y="102"/>
                  </a:lnTo>
                  <a:lnTo>
                    <a:pt x="0" y="102"/>
                  </a:lnTo>
                  <a:lnTo>
                    <a:pt x="0" y="104"/>
                  </a:lnTo>
                  <a:lnTo>
                    <a:pt x="0" y="104"/>
                  </a:lnTo>
                  <a:lnTo>
                    <a:pt x="0" y="106"/>
                  </a:lnTo>
                  <a:lnTo>
                    <a:pt x="0" y="106"/>
                  </a:lnTo>
                  <a:lnTo>
                    <a:pt x="2" y="106"/>
                  </a:lnTo>
                  <a:lnTo>
                    <a:pt x="2" y="106"/>
                  </a:lnTo>
                  <a:lnTo>
                    <a:pt x="2" y="106"/>
                  </a:lnTo>
                  <a:lnTo>
                    <a:pt x="2" y="109"/>
                  </a:lnTo>
                  <a:lnTo>
                    <a:pt x="2" y="116"/>
                  </a:lnTo>
                  <a:lnTo>
                    <a:pt x="2" y="116"/>
                  </a:lnTo>
                  <a:lnTo>
                    <a:pt x="2" y="118"/>
                  </a:lnTo>
                  <a:lnTo>
                    <a:pt x="2" y="118"/>
                  </a:lnTo>
                  <a:lnTo>
                    <a:pt x="2" y="121"/>
                  </a:lnTo>
                  <a:lnTo>
                    <a:pt x="2" y="121"/>
                  </a:lnTo>
                  <a:lnTo>
                    <a:pt x="2" y="121"/>
                  </a:lnTo>
                  <a:lnTo>
                    <a:pt x="2" y="123"/>
                  </a:lnTo>
                  <a:lnTo>
                    <a:pt x="4" y="125"/>
                  </a:lnTo>
                  <a:lnTo>
                    <a:pt x="4" y="132"/>
                  </a:lnTo>
                  <a:lnTo>
                    <a:pt x="4" y="135"/>
                  </a:lnTo>
                  <a:lnTo>
                    <a:pt x="4" y="135"/>
                  </a:lnTo>
                  <a:lnTo>
                    <a:pt x="7" y="137"/>
                  </a:lnTo>
                  <a:lnTo>
                    <a:pt x="9" y="139"/>
                  </a:lnTo>
                  <a:lnTo>
                    <a:pt x="11" y="142"/>
                  </a:lnTo>
                  <a:lnTo>
                    <a:pt x="11" y="144"/>
                  </a:lnTo>
                  <a:lnTo>
                    <a:pt x="11" y="147"/>
                  </a:lnTo>
                  <a:lnTo>
                    <a:pt x="11" y="147"/>
                  </a:lnTo>
                  <a:lnTo>
                    <a:pt x="11" y="147"/>
                  </a:lnTo>
                  <a:lnTo>
                    <a:pt x="11" y="147"/>
                  </a:lnTo>
                  <a:lnTo>
                    <a:pt x="11" y="147"/>
                  </a:lnTo>
                  <a:lnTo>
                    <a:pt x="11" y="149"/>
                  </a:lnTo>
                  <a:lnTo>
                    <a:pt x="11" y="151"/>
                  </a:lnTo>
                  <a:lnTo>
                    <a:pt x="14" y="154"/>
                  </a:lnTo>
                  <a:lnTo>
                    <a:pt x="16" y="156"/>
                  </a:lnTo>
                  <a:lnTo>
                    <a:pt x="18" y="158"/>
                  </a:lnTo>
                  <a:lnTo>
                    <a:pt x="21" y="161"/>
                  </a:lnTo>
                  <a:lnTo>
                    <a:pt x="23" y="163"/>
                  </a:lnTo>
                  <a:lnTo>
                    <a:pt x="23" y="165"/>
                  </a:lnTo>
                  <a:lnTo>
                    <a:pt x="26" y="165"/>
                  </a:lnTo>
                  <a:lnTo>
                    <a:pt x="26" y="165"/>
                  </a:lnTo>
                  <a:lnTo>
                    <a:pt x="28" y="168"/>
                  </a:lnTo>
                  <a:lnTo>
                    <a:pt x="28" y="168"/>
                  </a:lnTo>
                  <a:lnTo>
                    <a:pt x="28" y="168"/>
                  </a:lnTo>
                  <a:lnTo>
                    <a:pt x="30" y="170"/>
                  </a:lnTo>
                  <a:lnTo>
                    <a:pt x="30" y="173"/>
                  </a:lnTo>
                  <a:lnTo>
                    <a:pt x="30" y="173"/>
                  </a:lnTo>
                  <a:lnTo>
                    <a:pt x="30" y="175"/>
                  </a:lnTo>
                  <a:lnTo>
                    <a:pt x="30" y="175"/>
                  </a:lnTo>
                  <a:lnTo>
                    <a:pt x="30" y="177"/>
                  </a:lnTo>
                  <a:lnTo>
                    <a:pt x="30" y="177"/>
                  </a:lnTo>
                  <a:lnTo>
                    <a:pt x="30" y="180"/>
                  </a:lnTo>
                  <a:lnTo>
                    <a:pt x="30" y="182"/>
                  </a:lnTo>
                  <a:lnTo>
                    <a:pt x="33" y="184"/>
                  </a:lnTo>
                  <a:lnTo>
                    <a:pt x="33" y="182"/>
                  </a:lnTo>
                  <a:lnTo>
                    <a:pt x="35" y="177"/>
                  </a:lnTo>
                  <a:lnTo>
                    <a:pt x="35" y="175"/>
                  </a:lnTo>
                  <a:lnTo>
                    <a:pt x="37" y="173"/>
                  </a:lnTo>
                  <a:lnTo>
                    <a:pt x="37" y="170"/>
                  </a:lnTo>
                  <a:lnTo>
                    <a:pt x="37" y="168"/>
                  </a:lnTo>
                  <a:lnTo>
                    <a:pt x="37" y="165"/>
                  </a:lnTo>
                  <a:lnTo>
                    <a:pt x="37" y="165"/>
                  </a:lnTo>
                  <a:lnTo>
                    <a:pt x="37" y="163"/>
                  </a:lnTo>
                  <a:lnTo>
                    <a:pt x="37" y="161"/>
                  </a:lnTo>
                  <a:lnTo>
                    <a:pt x="40" y="158"/>
                  </a:lnTo>
                  <a:lnTo>
                    <a:pt x="40" y="158"/>
                  </a:lnTo>
                  <a:lnTo>
                    <a:pt x="40" y="156"/>
                  </a:lnTo>
                  <a:lnTo>
                    <a:pt x="42" y="156"/>
                  </a:lnTo>
                  <a:lnTo>
                    <a:pt x="47" y="156"/>
                  </a:lnTo>
                  <a:lnTo>
                    <a:pt x="51" y="156"/>
                  </a:lnTo>
                  <a:lnTo>
                    <a:pt x="51" y="156"/>
                  </a:lnTo>
                  <a:lnTo>
                    <a:pt x="54" y="154"/>
                  </a:lnTo>
                  <a:lnTo>
                    <a:pt x="56" y="154"/>
                  </a:lnTo>
                  <a:lnTo>
                    <a:pt x="56" y="154"/>
                  </a:lnTo>
                  <a:lnTo>
                    <a:pt x="61" y="156"/>
                  </a:lnTo>
                  <a:lnTo>
                    <a:pt x="63" y="156"/>
                  </a:lnTo>
                  <a:lnTo>
                    <a:pt x="63" y="156"/>
                  </a:lnTo>
                  <a:lnTo>
                    <a:pt x="63" y="156"/>
                  </a:lnTo>
                  <a:lnTo>
                    <a:pt x="66" y="156"/>
                  </a:lnTo>
                  <a:lnTo>
                    <a:pt x="66" y="156"/>
                  </a:lnTo>
                  <a:lnTo>
                    <a:pt x="68" y="156"/>
                  </a:lnTo>
                  <a:lnTo>
                    <a:pt x="68" y="158"/>
                  </a:lnTo>
                  <a:lnTo>
                    <a:pt x="68" y="158"/>
                  </a:lnTo>
                  <a:lnTo>
                    <a:pt x="70" y="156"/>
                  </a:lnTo>
                  <a:lnTo>
                    <a:pt x="70" y="156"/>
                  </a:lnTo>
                  <a:lnTo>
                    <a:pt x="75" y="156"/>
                  </a:lnTo>
                  <a:lnTo>
                    <a:pt x="75" y="156"/>
                  </a:lnTo>
                  <a:lnTo>
                    <a:pt x="75" y="158"/>
                  </a:lnTo>
                  <a:lnTo>
                    <a:pt x="77" y="158"/>
                  </a:lnTo>
                  <a:lnTo>
                    <a:pt x="77" y="154"/>
                  </a:lnTo>
                  <a:lnTo>
                    <a:pt x="77" y="149"/>
                  </a:lnTo>
                  <a:lnTo>
                    <a:pt x="77" y="144"/>
                  </a:lnTo>
                  <a:lnTo>
                    <a:pt x="75" y="142"/>
                  </a:lnTo>
                  <a:lnTo>
                    <a:pt x="77" y="139"/>
                  </a:lnTo>
                  <a:lnTo>
                    <a:pt x="77" y="139"/>
                  </a:lnTo>
                  <a:lnTo>
                    <a:pt x="80" y="137"/>
                  </a:lnTo>
                  <a:lnTo>
                    <a:pt x="84" y="128"/>
                  </a:lnTo>
                  <a:lnTo>
                    <a:pt x="89" y="125"/>
                  </a:lnTo>
                  <a:lnTo>
                    <a:pt x="94" y="123"/>
                  </a:lnTo>
                  <a:lnTo>
                    <a:pt x="96" y="123"/>
                  </a:lnTo>
                  <a:lnTo>
                    <a:pt x="99" y="125"/>
                  </a:lnTo>
                  <a:lnTo>
                    <a:pt x="101" y="125"/>
                  </a:lnTo>
                  <a:lnTo>
                    <a:pt x="103" y="128"/>
                  </a:lnTo>
                  <a:lnTo>
                    <a:pt x="106" y="130"/>
                  </a:lnTo>
                  <a:lnTo>
                    <a:pt x="110" y="132"/>
                  </a:lnTo>
                  <a:lnTo>
                    <a:pt x="110" y="135"/>
                  </a:lnTo>
                  <a:lnTo>
                    <a:pt x="113" y="137"/>
                  </a:lnTo>
                  <a:lnTo>
                    <a:pt x="115" y="137"/>
                  </a:lnTo>
                  <a:lnTo>
                    <a:pt x="117" y="137"/>
                  </a:lnTo>
                  <a:lnTo>
                    <a:pt x="120" y="139"/>
                  </a:lnTo>
                  <a:lnTo>
                    <a:pt x="125" y="139"/>
                  </a:lnTo>
                  <a:lnTo>
                    <a:pt x="125" y="142"/>
                  </a:lnTo>
                  <a:lnTo>
                    <a:pt x="127" y="139"/>
                  </a:lnTo>
                  <a:lnTo>
                    <a:pt x="127" y="142"/>
                  </a:lnTo>
                  <a:lnTo>
                    <a:pt x="132" y="142"/>
                  </a:lnTo>
                  <a:lnTo>
                    <a:pt x="134" y="142"/>
                  </a:lnTo>
                  <a:lnTo>
                    <a:pt x="139" y="142"/>
                  </a:lnTo>
                  <a:lnTo>
                    <a:pt x="148" y="144"/>
                  </a:lnTo>
                  <a:lnTo>
                    <a:pt x="148" y="144"/>
                  </a:lnTo>
                  <a:lnTo>
                    <a:pt x="148" y="144"/>
                  </a:lnTo>
                  <a:lnTo>
                    <a:pt x="148" y="142"/>
                  </a:lnTo>
                  <a:lnTo>
                    <a:pt x="150" y="137"/>
                  </a:lnTo>
                  <a:lnTo>
                    <a:pt x="153" y="135"/>
                  </a:lnTo>
                  <a:lnTo>
                    <a:pt x="153" y="135"/>
                  </a:lnTo>
                  <a:lnTo>
                    <a:pt x="155" y="132"/>
                  </a:lnTo>
                  <a:lnTo>
                    <a:pt x="158" y="132"/>
                  </a:lnTo>
                  <a:lnTo>
                    <a:pt x="160" y="132"/>
                  </a:lnTo>
                  <a:lnTo>
                    <a:pt x="162" y="132"/>
                  </a:lnTo>
                  <a:lnTo>
                    <a:pt x="165" y="132"/>
                  </a:lnTo>
                  <a:lnTo>
                    <a:pt x="167" y="132"/>
                  </a:lnTo>
                  <a:lnTo>
                    <a:pt x="167" y="132"/>
                  </a:lnTo>
                  <a:lnTo>
                    <a:pt x="172" y="130"/>
                  </a:lnTo>
                  <a:lnTo>
                    <a:pt x="174" y="130"/>
                  </a:lnTo>
                  <a:lnTo>
                    <a:pt x="176" y="130"/>
                  </a:lnTo>
                  <a:lnTo>
                    <a:pt x="181" y="128"/>
                  </a:lnTo>
                  <a:lnTo>
                    <a:pt x="183" y="125"/>
                  </a:lnTo>
                  <a:lnTo>
                    <a:pt x="186" y="125"/>
                  </a:lnTo>
                  <a:lnTo>
                    <a:pt x="191" y="128"/>
                  </a:lnTo>
                  <a:lnTo>
                    <a:pt x="195" y="128"/>
                  </a:lnTo>
                  <a:lnTo>
                    <a:pt x="198" y="128"/>
                  </a:lnTo>
                  <a:lnTo>
                    <a:pt x="200" y="125"/>
                  </a:lnTo>
                  <a:lnTo>
                    <a:pt x="200" y="125"/>
                  </a:lnTo>
                  <a:lnTo>
                    <a:pt x="202" y="121"/>
                  </a:lnTo>
                  <a:lnTo>
                    <a:pt x="205" y="121"/>
                  </a:lnTo>
                  <a:lnTo>
                    <a:pt x="209" y="121"/>
                  </a:lnTo>
                  <a:lnTo>
                    <a:pt x="209" y="121"/>
                  </a:lnTo>
                  <a:lnTo>
                    <a:pt x="216" y="123"/>
                  </a:lnTo>
                  <a:lnTo>
                    <a:pt x="226" y="125"/>
                  </a:lnTo>
                  <a:lnTo>
                    <a:pt x="228" y="125"/>
                  </a:lnTo>
                  <a:lnTo>
                    <a:pt x="228" y="125"/>
                  </a:lnTo>
                  <a:lnTo>
                    <a:pt x="231" y="125"/>
                  </a:lnTo>
                  <a:lnTo>
                    <a:pt x="233" y="123"/>
                  </a:lnTo>
                  <a:lnTo>
                    <a:pt x="233" y="123"/>
                  </a:lnTo>
                  <a:lnTo>
                    <a:pt x="235" y="123"/>
                  </a:lnTo>
                  <a:lnTo>
                    <a:pt x="240" y="123"/>
                  </a:lnTo>
                  <a:lnTo>
                    <a:pt x="238" y="12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4" name="Freeform 370"/>
            <p:cNvSpPr>
              <a:spLocks noEditPoints="1"/>
            </p:cNvSpPr>
            <p:nvPr userDrawn="1"/>
          </p:nvSpPr>
          <p:spPr bwMode="auto">
            <a:xfrm>
              <a:off x="1595" y="1167"/>
              <a:ext cx="1459" cy="756"/>
            </a:xfrm>
            <a:custGeom>
              <a:avLst/>
              <a:gdLst>
                <a:gd name="T0" fmla="*/ 618 w 1459"/>
                <a:gd name="T1" fmla="*/ 101 h 756"/>
                <a:gd name="T2" fmla="*/ 766 w 1459"/>
                <a:gd name="T3" fmla="*/ 120 h 756"/>
                <a:gd name="T4" fmla="*/ 611 w 1459"/>
                <a:gd name="T5" fmla="*/ 151 h 756"/>
                <a:gd name="T6" fmla="*/ 785 w 1459"/>
                <a:gd name="T7" fmla="*/ 144 h 756"/>
                <a:gd name="T8" fmla="*/ 3 w 1459"/>
                <a:gd name="T9" fmla="*/ 529 h 756"/>
                <a:gd name="T10" fmla="*/ 26 w 1459"/>
                <a:gd name="T11" fmla="*/ 574 h 756"/>
                <a:gd name="T12" fmla="*/ 10 w 1459"/>
                <a:gd name="T13" fmla="*/ 515 h 756"/>
                <a:gd name="T14" fmla="*/ 1009 w 1459"/>
                <a:gd name="T15" fmla="*/ 125 h 756"/>
                <a:gd name="T16" fmla="*/ 1012 w 1459"/>
                <a:gd name="T17" fmla="*/ 94 h 756"/>
                <a:gd name="T18" fmla="*/ 877 w 1459"/>
                <a:gd name="T19" fmla="*/ 153 h 756"/>
                <a:gd name="T20" fmla="*/ 1099 w 1459"/>
                <a:gd name="T21" fmla="*/ 156 h 756"/>
                <a:gd name="T22" fmla="*/ 1139 w 1459"/>
                <a:gd name="T23" fmla="*/ 49 h 756"/>
                <a:gd name="T24" fmla="*/ 1030 w 1459"/>
                <a:gd name="T25" fmla="*/ 94 h 756"/>
                <a:gd name="T26" fmla="*/ 790 w 1459"/>
                <a:gd name="T27" fmla="*/ 215 h 756"/>
                <a:gd name="T28" fmla="*/ 863 w 1459"/>
                <a:gd name="T29" fmla="*/ 158 h 756"/>
                <a:gd name="T30" fmla="*/ 710 w 1459"/>
                <a:gd name="T31" fmla="*/ 158 h 756"/>
                <a:gd name="T32" fmla="*/ 575 w 1459"/>
                <a:gd name="T33" fmla="*/ 224 h 756"/>
                <a:gd name="T34" fmla="*/ 752 w 1459"/>
                <a:gd name="T35" fmla="*/ 222 h 756"/>
                <a:gd name="T36" fmla="*/ 898 w 1459"/>
                <a:gd name="T37" fmla="*/ 101 h 756"/>
                <a:gd name="T38" fmla="*/ 896 w 1459"/>
                <a:gd name="T39" fmla="*/ 59 h 756"/>
                <a:gd name="T40" fmla="*/ 1146 w 1459"/>
                <a:gd name="T41" fmla="*/ 359 h 756"/>
                <a:gd name="T42" fmla="*/ 1075 w 1459"/>
                <a:gd name="T43" fmla="*/ 335 h 756"/>
                <a:gd name="T44" fmla="*/ 1193 w 1459"/>
                <a:gd name="T45" fmla="*/ 562 h 756"/>
                <a:gd name="T46" fmla="*/ 1188 w 1459"/>
                <a:gd name="T47" fmla="*/ 641 h 756"/>
                <a:gd name="T48" fmla="*/ 1440 w 1459"/>
                <a:gd name="T49" fmla="*/ 4 h 756"/>
                <a:gd name="T50" fmla="*/ 1108 w 1459"/>
                <a:gd name="T51" fmla="*/ 19 h 756"/>
                <a:gd name="T52" fmla="*/ 1148 w 1459"/>
                <a:gd name="T53" fmla="*/ 56 h 756"/>
                <a:gd name="T54" fmla="*/ 1165 w 1459"/>
                <a:gd name="T55" fmla="*/ 87 h 756"/>
                <a:gd name="T56" fmla="*/ 1389 w 1459"/>
                <a:gd name="T57" fmla="*/ 19 h 756"/>
                <a:gd name="T58" fmla="*/ 1186 w 1459"/>
                <a:gd name="T59" fmla="*/ 227 h 756"/>
                <a:gd name="T60" fmla="*/ 1176 w 1459"/>
                <a:gd name="T61" fmla="*/ 177 h 756"/>
                <a:gd name="T62" fmla="*/ 1059 w 1459"/>
                <a:gd name="T63" fmla="*/ 142 h 756"/>
                <a:gd name="T64" fmla="*/ 946 w 1459"/>
                <a:gd name="T65" fmla="*/ 201 h 756"/>
                <a:gd name="T66" fmla="*/ 1108 w 1459"/>
                <a:gd name="T67" fmla="*/ 236 h 756"/>
                <a:gd name="T68" fmla="*/ 1075 w 1459"/>
                <a:gd name="T69" fmla="*/ 324 h 756"/>
                <a:gd name="T70" fmla="*/ 1176 w 1459"/>
                <a:gd name="T71" fmla="*/ 305 h 756"/>
                <a:gd name="T72" fmla="*/ 1233 w 1459"/>
                <a:gd name="T73" fmla="*/ 276 h 756"/>
                <a:gd name="T74" fmla="*/ 1068 w 1459"/>
                <a:gd name="T75" fmla="*/ 681 h 756"/>
                <a:gd name="T76" fmla="*/ 1153 w 1459"/>
                <a:gd name="T77" fmla="*/ 487 h 756"/>
                <a:gd name="T78" fmla="*/ 1129 w 1459"/>
                <a:gd name="T79" fmla="*/ 395 h 756"/>
                <a:gd name="T80" fmla="*/ 1075 w 1459"/>
                <a:gd name="T81" fmla="*/ 376 h 756"/>
                <a:gd name="T82" fmla="*/ 929 w 1459"/>
                <a:gd name="T83" fmla="*/ 437 h 756"/>
                <a:gd name="T84" fmla="*/ 783 w 1459"/>
                <a:gd name="T85" fmla="*/ 482 h 756"/>
                <a:gd name="T86" fmla="*/ 795 w 1459"/>
                <a:gd name="T87" fmla="*/ 333 h 756"/>
                <a:gd name="T88" fmla="*/ 938 w 1459"/>
                <a:gd name="T89" fmla="*/ 274 h 756"/>
                <a:gd name="T90" fmla="*/ 927 w 1459"/>
                <a:gd name="T91" fmla="*/ 243 h 756"/>
                <a:gd name="T92" fmla="*/ 861 w 1459"/>
                <a:gd name="T93" fmla="*/ 177 h 756"/>
                <a:gd name="T94" fmla="*/ 804 w 1459"/>
                <a:gd name="T95" fmla="*/ 236 h 756"/>
                <a:gd name="T96" fmla="*/ 639 w 1459"/>
                <a:gd name="T97" fmla="*/ 241 h 756"/>
                <a:gd name="T98" fmla="*/ 444 w 1459"/>
                <a:gd name="T99" fmla="*/ 215 h 756"/>
                <a:gd name="T100" fmla="*/ 337 w 1459"/>
                <a:gd name="T101" fmla="*/ 210 h 756"/>
                <a:gd name="T102" fmla="*/ 81 w 1459"/>
                <a:gd name="T103" fmla="*/ 444 h 756"/>
                <a:gd name="T104" fmla="*/ 73 w 1459"/>
                <a:gd name="T105" fmla="*/ 546 h 756"/>
                <a:gd name="T106" fmla="*/ 88 w 1459"/>
                <a:gd name="T107" fmla="*/ 610 h 756"/>
                <a:gd name="T108" fmla="*/ 691 w 1459"/>
                <a:gd name="T109" fmla="*/ 636 h 756"/>
                <a:gd name="T110" fmla="*/ 743 w 1459"/>
                <a:gd name="T111" fmla="*/ 697 h 756"/>
                <a:gd name="T112" fmla="*/ 743 w 1459"/>
                <a:gd name="T113" fmla="*/ 730 h 756"/>
                <a:gd name="T114" fmla="*/ 990 w 1459"/>
                <a:gd name="T115" fmla="*/ 603 h 756"/>
                <a:gd name="T116" fmla="*/ 979 w 1459"/>
                <a:gd name="T117" fmla="*/ 688 h 756"/>
                <a:gd name="T118" fmla="*/ 1014 w 1459"/>
                <a:gd name="T119" fmla="*/ 650 h 756"/>
                <a:gd name="T120" fmla="*/ 1066 w 1459"/>
                <a:gd name="T121" fmla="*/ 667 h 756"/>
                <a:gd name="T122" fmla="*/ 875 w 1459"/>
                <a:gd name="T123" fmla="*/ 463 h 756"/>
                <a:gd name="T124" fmla="*/ 898 w 1459"/>
                <a:gd name="T125" fmla="*/ 28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9" h="756">
                  <a:moveTo>
                    <a:pt x="731" y="90"/>
                  </a:moveTo>
                  <a:lnTo>
                    <a:pt x="729" y="90"/>
                  </a:lnTo>
                  <a:lnTo>
                    <a:pt x="731" y="92"/>
                  </a:lnTo>
                  <a:lnTo>
                    <a:pt x="740" y="92"/>
                  </a:lnTo>
                  <a:lnTo>
                    <a:pt x="745" y="92"/>
                  </a:lnTo>
                  <a:lnTo>
                    <a:pt x="745" y="90"/>
                  </a:lnTo>
                  <a:lnTo>
                    <a:pt x="748" y="90"/>
                  </a:lnTo>
                  <a:lnTo>
                    <a:pt x="748" y="90"/>
                  </a:lnTo>
                  <a:lnTo>
                    <a:pt x="745" y="90"/>
                  </a:lnTo>
                  <a:lnTo>
                    <a:pt x="743" y="90"/>
                  </a:lnTo>
                  <a:lnTo>
                    <a:pt x="738" y="90"/>
                  </a:lnTo>
                  <a:lnTo>
                    <a:pt x="733" y="90"/>
                  </a:lnTo>
                  <a:lnTo>
                    <a:pt x="731" y="90"/>
                  </a:lnTo>
                  <a:close/>
                  <a:moveTo>
                    <a:pt x="627" y="248"/>
                  </a:moveTo>
                  <a:lnTo>
                    <a:pt x="627" y="246"/>
                  </a:lnTo>
                  <a:lnTo>
                    <a:pt x="627" y="248"/>
                  </a:lnTo>
                  <a:lnTo>
                    <a:pt x="625" y="248"/>
                  </a:lnTo>
                  <a:lnTo>
                    <a:pt x="625" y="248"/>
                  </a:lnTo>
                  <a:lnTo>
                    <a:pt x="623" y="250"/>
                  </a:lnTo>
                  <a:lnTo>
                    <a:pt x="623" y="250"/>
                  </a:lnTo>
                  <a:lnTo>
                    <a:pt x="623" y="253"/>
                  </a:lnTo>
                  <a:lnTo>
                    <a:pt x="623" y="253"/>
                  </a:lnTo>
                  <a:lnTo>
                    <a:pt x="623" y="253"/>
                  </a:lnTo>
                  <a:lnTo>
                    <a:pt x="625" y="250"/>
                  </a:lnTo>
                  <a:lnTo>
                    <a:pt x="627" y="250"/>
                  </a:lnTo>
                  <a:lnTo>
                    <a:pt x="627" y="250"/>
                  </a:lnTo>
                  <a:lnTo>
                    <a:pt x="627" y="250"/>
                  </a:lnTo>
                  <a:lnTo>
                    <a:pt x="627" y="248"/>
                  </a:lnTo>
                  <a:lnTo>
                    <a:pt x="627" y="248"/>
                  </a:lnTo>
                  <a:lnTo>
                    <a:pt x="627" y="248"/>
                  </a:lnTo>
                  <a:close/>
                  <a:moveTo>
                    <a:pt x="616" y="101"/>
                  </a:moveTo>
                  <a:lnTo>
                    <a:pt x="616" y="101"/>
                  </a:lnTo>
                  <a:lnTo>
                    <a:pt x="616" y="104"/>
                  </a:lnTo>
                  <a:lnTo>
                    <a:pt x="616" y="104"/>
                  </a:lnTo>
                  <a:lnTo>
                    <a:pt x="616" y="104"/>
                  </a:lnTo>
                  <a:lnTo>
                    <a:pt x="616" y="104"/>
                  </a:lnTo>
                  <a:lnTo>
                    <a:pt x="618" y="104"/>
                  </a:lnTo>
                  <a:lnTo>
                    <a:pt x="623" y="104"/>
                  </a:lnTo>
                  <a:lnTo>
                    <a:pt x="625" y="101"/>
                  </a:lnTo>
                  <a:lnTo>
                    <a:pt x="627" y="104"/>
                  </a:lnTo>
                  <a:lnTo>
                    <a:pt x="630" y="104"/>
                  </a:lnTo>
                  <a:lnTo>
                    <a:pt x="630" y="104"/>
                  </a:lnTo>
                  <a:lnTo>
                    <a:pt x="632" y="104"/>
                  </a:lnTo>
                  <a:lnTo>
                    <a:pt x="634" y="104"/>
                  </a:lnTo>
                  <a:lnTo>
                    <a:pt x="639" y="101"/>
                  </a:lnTo>
                  <a:lnTo>
                    <a:pt x="641" y="99"/>
                  </a:lnTo>
                  <a:lnTo>
                    <a:pt x="641" y="99"/>
                  </a:lnTo>
                  <a:lnTo>
                    <a:pt x="641" y="101"/>
                  </a:lnTo>
                  <a:lnTo>
                    <a:pt x="641" y="101"/>
                  </a:lnTo>
                  <a:lnTo>
                    <a:pt x="639" y="101"/>
                  </a:lnTo>
                  <a:lnTo>
                    <a:pt x="641" y="104"/>
                  </a:lnTo>
                  <a:lnTo>
                    <a:pt x="639" y="104"/>
                  </a:lnTo>
                  <a:lnTo>
                    <a:pt x="639" y="106"/>
                  </a:lnTo>
                  <a:lnTo>
                    <a:pt x="637" y="106"/>
                  </a:lnTo>
                  <a:lnTo>
                    <a:pt x="639" y="106"/>
                  </a:lnTo>
                  <a:lnTo>
                    <a:pt x="641" y="106"/>
                  </a:lnTo>
                  <a:lnTo>
                    <a:pt x="644" y="106"/>
                  </a:lnTo>
                  <a:lnTo>
                    <a:pt x="649" y="104"/>
                  </a:lnTo>
                  <a:lnTo>
                    <a:pt x="651" y="104"/>
                  </a:lnTo>
                  <a:lnTo>
                    <a:pt x="651" y="104"/>
                  </a:lnTo>
                  <a:lnTo>
                    <a:pt x="653" y="104"/>
                  </a:lnTo>
                  <a:lnTo>
                    <a:pt x="653" y="104"/>
                  </a:lnTo>
                  <a:lnTo>
                    <a:pt x="653" y="101"/>
                  </a:lnTo>
                  <a:lnTo>
                    <a:pt x="653" y="101"/>
                  </a:lnTo>
                  <a:lnTo>
                    <a:pt x="653" y="101"/>
                  </a:lnTo>
                  <a:lnTo>
                    <a:pt x="653" y="101"/>
                  </a:lnTo>
                  <a:lnTo>
                    <a:pt x="656" y="101"/>
                  </a:lnTo>
                  <a:lnTo>
                    <a:pt x="656" y="99"/>
                  </a:lnTo>
                  <a:lnTo>
                    <a:pt x="658" y="99"/>
                  </a:lnTo>
                  <a:lnTo>
                    <a:pt x="658" y="99"/>
                  </a:lnTo>
                  <a:lnTo>
                    <a:pt x="660" y="97"/>
                  </a:lnTo>
                  <a:lnTo>
                    <a:pt x="660" y="97"/>
                  </a:lnTo>
                  <a:lnTo>
                    <a:pt x="660" y="97"/>
                  </a:lnTo>
                  <a:lnTo>
                    <a:pt x="660" y="99"/>
                  </a:lnTo>
                  <a:lnTo>
                    <a:pt x="660" y="99"/>
                  </a:lnTo>
                  <a:lnTo>
                    <a:pt x="660" y="101"/>
                  </a:lnTo>
                  <a:lnTo>
                    <a:pt x="660" y="101"/>
                  </a:lnTo>
                  <a:lnTo>
                    <a:pt x="660" y="101"/>
                  </a:lnTo>
                  <a:lnTo>
                    <a:pt x="663" y="101"/>
                  </a:lnTo>
                  <a:lnTo>
                    <a:pt x="665" y="101"/>
                  </a:lnTo>
                  <a:lnTo>
                    <a:pt x="667" y="99"/>
                  </a:lnTo>
                  <a:lnTo>
                    <a:pt x="667" y="99"/>
                  </a:lnTo>
                  <a:lnTo>
                    <a:pt x="672" y="97"/>
                  </a:lnTo>
                  <a:lnTo>
                    <a:pt x="672" y="97"/>
                  </a:lnTo>
                  <a:lnTo>
                    <a:pt x="674" y="97"/>
                  </a:lnTo>
                  <a:lnTo>
                    <a:pt x="674" y="97"/>
                  </a:lnTo>
                  <a:lnTo>
                    <a:pt x="674" y="94"/>
                  </a:lnTo>
                  <a:lnTo>
                    <a:pt x="674" y="94"/>
                  </a:lnTo>
                  <a:lnTo>
                    <a:pt x="677" y="94"/>
                  </a:lnTo>
                  <a:lnTo>
                    <a:pt x="677" y="94"/>
                  </a:lnTo>
                  <a:lnTo>
                    <a:pt x="679" y="94"/>
                  </a:lnTo>
                  <a:lnTo>
                    <a:pt x="682" y="94"/>
                  </a:lnTo>
                  <a:lnTo>
                    <a:pt x="684" y="92"/>
                  </a:lnTo>
                  <a:lnTo>
                    <a:pt x="684" y="92"/>
                  </a:lnTo>
                  <a:lnTo>
                    <a:pt x="686" y="92"/>
                  </a:lnTo>
                  <a:lnTo>
                    <a:pt x="689" y="92"/>
                  </a:lnTo>
                  <a:lnTo>
                    <a:pt x="691" y="90"/>
                  </a:lnTo>
                  <a:lnTo>
                    <a:pt x="693" y="90"/>
                  </a:lnTo>
                  <a:lnTo>
                    <a:pt x="693" y="90"/>
                  </a:lnTo>
                  <a:lnTo>
                    <a:pt x="693" y="90"/>
                  </a:lnTo>
                  <a:lnTo>
                    <a:pt x="693" y="92"/>
                  </a:lnTo>
                  <a:lnTo>
                    <a:pt x="689" y="92"/>
                  </a:lnTo>
                  <a:lnTo>
                    <a:pt x="686" y="94"/>
                  </a:lnTo>
                  <a:lnTo>
                    <a:pt x="684" y="94"/>
                  </a:lnTo>
                  <a:lnTo>
                    <a:pt x="682" y="97"/>
                  </a:lnTo>
                  <a:lnTo>
                    <a:pt x="682" y="97"/>
                  </a:lnTo>
                  <a:lnTo>
                    <a:pt x="682" y="97"/>
                  </a:lnTo>
                  <a:lnTo>
                    <a:pt x="684" y="99"/>
                  </a:lnTo>
                  <a:lnTo>
                    <a:pt x="684" y="99"/>
                  </a:lnTo>
                  <a:lnTo>
                    <a:pt x="686" y="99"/>
                  </a:lnTo>
                  <a:lnTo>
                    <a:pt x="689" y="99"/>
                  </a:lnTo>
                  <a:lnTo>
                    <a:pt x="689" y="99"/>
                  </a:lnTo>
                  <a:lnTo>
                    <a:pt x="691" y="97"/>
                  </a:lnTo>
                  <a:lnTo>
                    <a:pt x="693" y="97"/>
                  </a:lnTo>
                  <a:lnTo>
                    <a:pt x="693" y="97"/>
                  </a:lnTo>
                  <a:lnTo>
                    <a:pt x="696" y="94"/>
                  </a:lnTo>
                  <a:lnTo>
                    <a:pt x="696" y="94"/>
                  </a:lnTo>
                  <a:lnTo>
                    <a:pt x="698" y="94"/>
                  </a:lnTo>
                  <a:lnTo>
                    <a:pt x="705" y="94"/>
                  </a:lnTo>
                  <a:lnTo>
                    <a:pt x="707" y="94"/>
                  </a:lnTo>
                  <a:lnTo>
                    <a:pt x="712" y="92"/>
                  </a:lnTo>
                  <a:lnTo>
                    <a:pt x="712" y="92"/>
                  </a:lnTo>
                  <a:lnTo>
                    <a:pt x="715" y="92"/>
                  </a:lnTo>
                  <a:lnTo>
                    <a:pt x="715" y="92"/>
                  </a:lnTo>
                  <a:lnTo>
                    <a:pt x="715" y="90"/>
                  </a:lnTo>
                  <a:lnTo>
                    <a:pt x="715" y="90"/>
                  </a:lnTo>
                  <a:lnTo>
                    <a:pt x="715" y="90"/>
                  </a:lnTo>
                  <a:lnTo>
                    <a:pt x="717" y="87"/>
                  </a:lnTo>
                  <a:lnTo>
                    <a:pt x="717" y="87"/>
                  </a:lnTo>
                  <a:lnTo>
                    <a:pt x="719" y="90"/>
                  </a:lnTo>
                  <a:lnTo>
                    <a:pt x="722" y="87"/>
                  </a:lnTo>
                  <a:lnTo>
                    <a:pt x="722" y="87"/>
                  </a:lnTo>
                  <a:lnTo>
                    <a:pt x="722" y="87"/>
                  </a:lnTo>
                  <a:lnTo>
                    <a:pt x="719" y="85"/>
                  </a:lnTo>
                  <a:lnTo>
                    <a:pt x="719" y="85"/>
                  </a:lnTo>
                  <a:lnTo>
                    <a:pt x="722" y="85"/>
                  </a:lnTo>
                  <a:lnTo>
                    <a:pt x="731" y="82"/>
                  </a:lnTo>
                  <a:lnTo>
                    <a:pt x="733" y="82"/>
                  </a:lnTo>
                  <a:lnTo>
                    <a:pt x="736" y="82"/>
                  </a:lnTo>
                  <a:lnTo>
                    <a:pt x="736" y="82"/>
                  </a:lnTo>
                  <a:lnTo>
                    <a:pt x="736" y="80"/>
                  </a:lnTo>
                  <a:lnTo>
                    <a:pt x="731" y="80"/>
                  </a:lnTo>
                  <a:lnTo>
                    <a:pt x="731" y="78"/>
                  </a:lnTo>
                  <a:lnTo>
                    <a:pt x="729" y="78"/>
                  </a:lnTo>
                  <a:lnTo>
                    <a:pt x="729" y="78"/>
                  </a:lnTo>
                  <a:lnTo>
                    <a:pt x="724" y="78"/>
                  </a:lnTo>
                  <a:lnTo>
                    <a:pt x="722" y="80"/>
                  </a:lnTo>
                  <a:lnTo>
                    <a:pt x="719" y="80"/>
                  </a:lnTo>
                  <a:lnTo>
                    <a:pt x="719" y="80"/>
                  </a:lnTo>
                  <a:lnTo>
                    <a:pt x="719" y="80"/>
                  </a:lnTo>
                  <a:lnTo>
                    <a:pt x="722" y="80"/>
                  </a:lnTo>
                  <a:lnTo>
                    <a:pt x="722" y="80"/>
                  </a:lnTo>
                  <a:lnTo>
                    <a:pt x="719" y="82"/>
                  </a:lnTo>
                  <a:lnTo>
                    <a:pt x="719" y="82"/>
                  </a:lnTo>
                  <a:lnTo>
                    <a:pt x="717" y="82"/>
                  </a:lnTo>
                  <a:lnTo>
                    <a:pt x="717" y="80"/>
                  </a:lnTo>
                  <a:lnTo>
                    <a:pt x="715" y="82"/>
                  </a:lnTo>
                  <a:lnTo>
                    <a:pt x="712" y="82"/>
                  </a:lnTo>
                  <a:lnTo>
                    <a:pt x="712" y="82"/>
                  </a:lnTo>
                  <a:lnTo>
                    <a:pt x="705" y="80"/>
                  </a:lnTo>
                  <a:lnTo>
                    <a:pt x="696" y="82"/>
                  </a:lnTo>
                  <a:lnTo>
                    <a:pt x="691" y="82"/>
                  </a:lnTo>
                  <a:lnTo>
                    <a:pt x="686" y="82"/>
                  </a:lnTo>
                  <a:lnTo>
                    <a:pt x="684" y="85"/>
                  </a:lnTo>
                  <a:lnTo>
                    <a:pt x="677" y="85"/>
                  </a:lnTo>
                  <a:lnTo>
                    <a:pt x="667" y="87"/>
                  </a:lnTo>
                  <a:lnTo>
                    <a:pt x="665" y="90"/>
                  </a:lnTo>
                  <a:lnTo>
                    <a:pt x="665" y="90"/>
                  </a:lnTo>
                  <a:lnTo>
                    <a:pt x="663" y="90"/>
                  </a:lnTo>
                  <a:lnTo>
                    <a:pt x="660" y="90"/>
                  </a:lnTo>
                  <a:lnTo>
                    <a:pt x="653" y="92"/>
                  </a:lnTo>
                  <a:lnTo>
                    <a:pt x="651" y="92"/>
                  </a:lnTo>
                  <a:lnTo>
                    <a:pt x="649" y="92"/>
                  </a:lnTo>
                  <a:lnTo>
                    <a:pt x="639" y="97"/>
                  </a:lnTo>
                  <a:lnTo>
                    <a:pt x="639" y="97"/>
                  </a:lnTo>
                  <a:lnTo>
                    <a:pt x="627" y="97"/>
                  </a:lnTo>
                  <a:lnTo>
                    <a:pt x="627" y="97"/>
                  </a:lnTo>
                  <a:lnTo>
                    <a:pt x="625" y="97"/>
                  </a:lnTo>
                  <a:lnTo>
                    <a:pt x="618" y="99"/>
                  </a:lnTo>
                  <a:lnTo>
                    <a:pt x="616" y="101"/>
                  </a:lnTo>
                  <a:lnTo>
                    <a:pt x="616" y="101"/>
                  </a:lnTo>
                  <a:lnTo>
                    <a:pt x="618" y="101"/>
                  </a:lnTo>
                  <a:lnTo>
                    <a:pt x="618" y="101"/>
                  </a:lnTo>
                  <a:lnTo>
                    <a:pt x="620" y="101"/>
                  </a:lnTo>
                  <a:lnTo>
                    <a:pt x="618" y="101"/>
                  </a:lnTo>
                  <a:lnTo>
                    <a:pt x="618" y="101"/>
                  </a:lnTo>
                  <a:lnTo>
                    <a:pt x="618" y="101"/>
                  </a:lnTo>
                  <a:lnTo>
                    <a:pt x="618" y="101"/>
                  </a:lnTo>
                  <a:lnTo>
                    <a:pt x="618" y="101"/>
                  </a:lnTo>
                  <a:lnTo>
                    <a:pt x="616" y="101"/>
                  </a:lnTo>
                  <a:close/>
                  <a:moveTo>
                    <a:pt x="743" y="106"/>
                  </a:moveTo>
                  <a:lnTo>
                    <a:pt x="740" y="106"/>
                  </a:lnTo>
                  <a:lnTo>
                    <a:pt x="740" y="106"/>
                  </a:lnTo>
                  <a:lnTo>
                    <a:pt x="743" y="106"/>
                  </a:lnTo>
                  <a:lnTo>
                    <a:pt x="745" y="104"/>
                  </a:lnTo>
                  <a:lnTo>
                    <a:pt x="745" y="104"/>
                  </a:lnTo>
                  <a:lnTo>
                    <a:pt x="743" y="101"/>
                  </a:lnTo>
                  <a:lnTo>
                    <a:pt x="743" y="99"/>
                  </a:lnTo>
                  <a:lnTo>
                    <a:pt x="740" y="99"/>
                  </a:lnTo>
                  <a:lnTo>
                    <a:pt x="738" y="99"/>
                  </a:lnTo>
                  <a:lnTo>
                    <a:pt x="736" y="99"/>
                  </a:lnTo>
                  <a:lnTo>
                    <a:pt x="729" y="99"/>
                  </a:lnTo>
                  <a:lnTo>
                    <a:pt x="726" y="99"/>
                  </a:lnTo>
                  <a:lnTo>
                    <a:pt x="726" y="99"/>
                  </a:lnTo>
                  <a:lnTo>
                    <a:pt x="729" y="97"/>
                  </a:lnTo>
                  <a:lnTo>
                    <a:pt x="729" y="97"/>
                  </a:lnTo>
                  <a:lnTo>
                    <a:pt x="729" y="97"/>
                  </a:lnTo>
                  <a:lnTo>
                    <a:pt x="729" y="97"/>
                  </a:lnTo>
                  <a:lnTo>
                    <a:pt x="729" y="97"/>
                  </a:lnTo>
                  <a:lnTo>
                    <a:pt x="729" y="94"/>
                  </a:lnTo>
                  <a:lnTo>
                    <a:pt x="726" y="94"/>
                  </a:lnTo>
                  <a:lnTo>
                    <a:pt x="724" y="94"/>
                  </a:lnTo>
                  <a:lnTo>
                    <a:pt x="722" y="94"/>
                  </a:lnTo>
                  <a:lnTo>
                    <a:pt x="712" y="97"/>
                  </a:lnTo>
                  <a:lnTo>
                    <a:pt x="707" y="97"/>
                  </a:lnTo>
                  <a:lnTo>
                    <a:pt x="707" y="97"/>
                  </a:lnTo>
                  <a:lnTo>
                    <a:pt x="705" y="99"/>
                  </a:lnTo>
                  <a:lnTo>
                    <a:pt x="705" y="99"/>
                  </a:lnTo>
                  <a:lnTo>
                    <a:pt x="705" y="99"/>
                  </a:lnTo>
                  <a:lnTo>
                    <a:pt x="707" y="99"/>
                  </a:lnTo>
                  <a:lnTo>
                    <a:pt x="715" y="99"/>
                  </a:lnTo>
                  <a:lnTo>
                    <a:pt x="715" y="99"/>
                  </a:lnTo>
                  <a:lnTo>
                    <a:pt x="715" y="101"/>
                  </a:lnTo>
                  <a:lnTo>
                    <a:pt x="715" y="101"/>
                  </a:lnTo>
                  <a:lnTo>
                    <a:pt x="703" y="99"/>
                  </a:lnTo>
                  <a:lnTo>
                    <a:pt x="700" y="99"/>
                  </a:lnTo>
                  <a:lnTo>
                    <a:pt x="698" y="99"/>
                  </a:lnTo>
                  <a:lnTo>
                    <a:pt x="693" y="101"/>
                  </a:lnTo>
                  <a:lnTo>
                    <a:pt x="691" y="101"/>
                  </a:lnTo>
                  <a:lnTo>
                    <a:pt x="691" y="101"/>
                  </a:lnTo>
                  <a:lnTo>
                    <a:pt x="691" y="104"/>
                  </a:lnTo>
                  <a:lnTo>
                    <a:pt x="689" y="104"/>
                  </a:lnTo>
                  <a:lnTo>
                    <a:pt x="686" y="104"/>
                  </a:lnTo>
                  <a:lnTo>
                    <a:pt x="686" y="104"/>
                  </a:lnTo>
                  <a:lnTo>
                    <a:pt x="689" y="104"/>
                  </a:lnTo>
                  <a:lnTo>
                    <a:pt x="689" y="106"/>
                  </a:lnTo>
                  <a:lnTo>
                    <a:pt x="698" y="104"/>
                  </a:lnTo>
                  <a:lnTo>
                    <a:pt x="707" y="104"/>
                  </a:lnTo>
                  <a:lnTo>
                    <a:pt x="703" y="106"/>
                  </a:lnTo>
                  <a:lnTo>
                    <a:pt x="698" y="106"/>
                  </a:lnTo>
                  <a:lnTo>
                    <a:pt x="696" y="106"/>
                  </a:lnTo>
                  <a:lnTo>
                    <a:pt x="686" y="106"/>
                  </a:lnTo>
                  <a:lnTo>
                    <a:pt x="682" y="106"/>
                  </a:lnTo>
                  <a:lnTo>
                    <a:pt x="679" y="106"/>
                  </a:lnTo>
                  <a:lnTo>
                    <a:pt x="677" y="108"/>
                  </a:lnTo>
                  <a:lnTo>
                    <a:pt x="674" y="108"/>
                  </a:lnTo>
                  <a:lnTo>
                    <a:pt x="672" y="108"/>
                  </a:lnTo>
                  <a:lnTo>
                    <a:pt x="674" y="108"/>
                  </a:lnTo>
                  <a:lnTo>
                    <a:pt x="682" y="111"/>
                  </a:lnTo>
                  <a:lnTo>
                    <a:pt x="686" y="108"/>
                  </a:lnTo>
                  <a:lnTo>
                    <a:pt x="700" y="108"/>
                  </a:lnTo>
                  <a:lnTo>
                    <a:pt x="700" y="108"/>
                  </a:lnTo>
                  <a:lnTo>
                    <a:pt x="700" y="108"/>
                  </a:lnTo>
                  <a:lnTo>
                    <a:pt x="698" y="108"/>
                  </a:lnTo>
                  <a:lnTo>
                    <a:pt x="696" y="108"/>
                  </a:lnTo>
                  <a:lnTo>
                    <a:pt x="684" y="111"/>
                  </a:lnTo>
                  <a:lnTo>
                    <a:pt x="682" y="111"/>
                  </a:lnTo>
                  <a:lnTo>
                    <a:pt x="672" y="111"/>
                  </a:lnTo>
                  <a:lnTo>
                    <a:pt x="670" y="111"/>
                  </a:lnTo>
                  <a:lnTo>
                    <a:pt x="667" y="111"/>
                  </a:lnTo>
                  <a:lnTo>
                    <a:pt x="667" y="113"/>
                  </a:lnTo>
                  <a:lnTo>
                    <a:pt x="665" y="113"/>
                  </a:lnTo>
                  <a:lnTo>
                    <a:pt x="663" y="113"/>
                  </a:lnTo>
                  <a:lnTo>
                    <a:pt x="660" y="113"/>
                  </a:lnTo>
                  <a:lnTo>
                    <a:pt x="660" y="116"/>
                  </a:lnTo>
                  <a:lnTo>
                    <a:pt x="658" y="116"/>
                  </a:lnTo>
                  <a:lnTo>
                    <a:pt x="658" y="116"/>
                  </a:lnTo>
                  <a:lnTo>
                    <a:pt x="658" y="116"/>
                  </a:lnTo>
                  <a:lnTo>
                    <a:pt x="663" y="118"/>
                  </a:lnTo>
                  <a:lnTo>
                    <a:pt x="665" y="118"/>
                  </a:lnTo>
                  <a:lnTo>
                    <a:pt x="670" y="116"/>
                  </a:lnTo>
                  <a:lnTo>
                    <a:pt x="672" y="118"/>
                  </a:lnTo>
                  <a:lnTo>
                    <a:pt x="674" y="120"/>
                  </a:lnTo>
                  <a:lnTo>
                    <a:pt x="677" y="120"/>
                  </a:lnTo>
                  <a:lnTo>
                    <a:pt x="677" y="120"/>
                  </a:lnTo>
                  <a:lnTo>
                    <a:pt x="679" y="118"/>
                  </a:lnTo>
                  <a:lnTo>
                    <a:pt x="679" y="118"/>
                  </a:lnTo>
                  <a:lnTo>
                    <a:pt x="682" y="118"/>
                  </a:lnTo>
                  <a:lnTo>
                    <a:pt x="682" y="118"/>
                  </a:lnTo>
                  <a:lnTo>
                    <a:pt x="684" y="118"/>
                  </a:lnTo>
                  <a:lnTo>
                    <a:pt x="684" y="118"/>
                  </a:lnTo>
                  <a:lnTo>
                    <a:pt x="684" y="118"/>
                  </a:lnTo>
                  <a:lnTo>
                    <a:pt x="684" y="120"/>
                  </a:lnTo>
                  <a:lnTo>
                    <a:pt x="684" y="120"/>
                  </a:lnTo>
                  <a:lnTo>
                    <a:pt x="684" y="120"/>
                  </a:lnTo>
                  <a:lnTo>
                    <a:pt x="686" y="120"/>
                  </a:lnTo>
                  <a:lnTo>
                    <a:pt x="693" y="118"/>
                  </a:lnTo>
                  <a:lnTo>
                    <a:pt x="696" y="118"/>
                  </a:lnTo>
                  <a:lnTo>
                    <a:pt x="698" y="116"/>
                  </a:lnTo>
                  <a:lnTo>
                    <a:pt x="698" y="116"/>
                  </a:lnTo>
                  <a:lnTo>
                    <a:pt x="698" y="116"/>
                  </a:lnTo>
                  <a:lnTo>
                    <a:pt x="698" y="116"/>
                  </a:lnTo>
                  <a:lnTo>
                    <a:pt x="698" y="116"/>
                  </a:lnTo>
                  <a:lnTo>
                    <a:pt x="700" y="116"/>
                  </a:lnTo>
                  <a:lnTo>
                    <a:pt x="700" y="116"/>
                  </a:lnTo>
                  <a:lnTo>
                    <a:pt x="703" y="116"/>
                  </a:lnTo>
                  <a:lnTo>
                    <a:pt x="705" y="113"/>
                  </a:lnTo>
                  <a:lnTo>
                    <a:pt x="707" y="113"/>
                  </a:lnTo>
                  <a:lnTo>
                    <a:pt x="707" y="113"/>
                  </a:lnTo>
                  <a:lnTo>
                    <a:pt x="707" y="113"/>
                  </a:lnTo>
                  <a:lnTo>
                    <a:pt x="707" y="113"/>
                  </a:lnTo>
                  <a:lnTo>
                    <a:pt x="707" y="113"/>
                  </a:lnTo>
                  <a:lnTo>
                    <a:pt x="712" y="113"/>
                  </a:lnTo>
                  <a:lnTo>
                    <a:pt x="715" y="113"/>
                  </a:lnTo>
                  <a:lnTo>
                    <a:pt x="712" y="113"/>
                  </a:lnTo>
                  <a:lnTo>
                    <a:pt x="707" y="113"/>
                  </a:lnTo>
                  <a:lnTo>
                    <a:pt x="707" y="116"/>
                  </a:lnTo>
                  <a:lnTo>
                    <a:pt x="705" y="116"/>
                  </a:lnTo>
                  <a:lnTo>
                    <a:pt x="705" y="116"/>
                  </a:lnTo>
                  <a:lnTo>
                    <a:pt x="703" y="116"/>
                  </a:lnTo>
                  <a:lnTo>
                    <a:pt x="703" y="118"/>
                  </a:lnTo>
                  <a:lnTo>
                    <a:pt x="703" y="118"/>
                  </a:lnTo>
                  <a:lnTo>
                    <a:pt x="703" y="118"/>
                  </a:lnTo>
                  <a:lnTo>
                    <a:pt x="703" y="118"/>
                  </a:lnTo>
                  <a:lnTo>
                    <a:pt x="707" y="118"/>
                  </a:lnTo>
                  <a:lnTo>
                    <a:pt x="712" y="118"/>
                  </a:lnTo>
                  <a:lnTo>
                    <a:pt x="715" y="118"/>
                  </a:lnTo>
                  <a:lnTo>
                    <a:pt x="717" y="118"/>
                  </a:lnTo>
                  <a:lnTo>
                    <a:pt x="719" y="116"/>
                  </a:lnTo>
                  <a:lnTo>
                    <a:pt x="719" y="116"/>
                  </a:lnTo>
                  <a:lnTo>
                    <a:pt x="719" y="116"/>
                  </a:lnTo>
                  <a:lnTo>
                    <a:pt x="722" y="116"/>
                  </a:lnTo>
                  <a:lnTo>
                    <a:pt x="722" y="118"/>
                  </a:lnTo>
                  <a:lnTo>
                    <a:pt x="724" y="118"/>
                  </a:lnTo>
                  <a:lnTo>
                    <a:pt x="726" y="118"/>
                  </a:lnTo>
                  <a:lnTo>
                    <a:pt x="729" y="116"/>
                  </a:lnTo>
                  <a:lnTo>
                    <a:pt x="731" y="116"/>
                  </a:lnTo>
                  <a:lnTo>
                    <a:pt x="733" y="116"/>
                  </a:lnTo>
                  <a:lnTo>
                    <a:pt x="738" y="116"/>
                  </a:lnTo>
                  <a:lnTo>
                    <a:pt x="740" y="116"/>
                  </a:lnTo>
                  <a:lnTo>
                    <a:pt x="740" y="116"/>
                  </a:lnTo>
                  <a:lnTo>
                    <a:pt x="738" y="116"/>
                  </a:lnTo>
                  <a:lnTo>
                    <a:pt x="736" y="118"/>
                  </a:lnTo>
                  <a:lnTo>
                    <a:pt x="731" y="118"/>
                  </a:lnTo>
                  <a:lnTo>
                    <a:pt x="726" y="118"/>
                  </a:lnTo>
                  <a:lnTo>
                    <a:pt x="726" y="120"/>
                  </a:lnTo>
                  <a:lnTo>
                    <a:pt x="724" y="120"/>
                  </a:lnTo>
                  <a:lnTo>
                    <a:pt x="722" y="120"/>
                  </a:lnTo>
                  <a:lnTo>
                    <a:pt x="715" y="120"/>
                  </a:lnTo>
                  <a:lnTo>
                    <a:pt x="712" y="120"/>
                  </a:lnTo>
                  <a:lnTo>
                    <a:pt x="703" y="120"/>
                  </a:lnTo>
                  <a:lnTo>
                    <a:pt x="696" y="123"/>
                  </a:lnTo>
                  <a:lnTo>
                    <a:pt x="691" y="123"/>
                  </a:lnTo>
                  <a:lnTo>
                    <a:pt x="686" y="125"/>
                  </a:lnTo>
                  <a:lnTo>
                    <a:pt x="686" y="125"/>
                  </a:lnTo>
                  <a:lnTo>
                    <a:pt x="686" y="125"/>
                  </a:lnTo>
                  <a:lnTo>
                    <a:pt x="686" y="127"/>
                  </a:lnTo>
                  <a:lnTo>
                    <a:pt x="689" y="127"/>
                  </a:lnTo>
                  <a:lnTo>
                    <a:pt x="689" y="127"/>
                  </a:lnTo>
                  <a:lnTo>
                    <a:pt x="691" y="130"/>
                  </a:lnTo>
                  <a:lnTo>
                    <a:pt x="696" y="130"/>
                  </a:lnTo>
                  <a:lnTo>
                    <a:pt x="703" y="130"/>
                  </a:lnTo>
                  <a:lnTo>
                    <a:pt x="715" y="127"/>
                  </a:lnTo>
                  <a:lnTo>
                    <a:pt x="722" y="127"/>
                  </a:lnTo>
                  <a:lnTo>
                    <a:pt x="729" y="125"/>
                  </a:lnTo>
                  <a:lnTo>
                    <a:pt x="731" y="125"/>
                  </a:lnTo>
                  <a:lnTo>
                    <a:pt x="733" y="123"/>
                  </a:lnTo>
                  <a:lnTo>
                    <a:pt x="736" y="123"/>
                  </a:lnTo>
                  <a:lnTo>
                    <a:pt x="738" y="123"/>
                  </a:lnTo>
                  <a:lnTo>
                    <a:pt x="743" y="123"/>
                  </a:lnTo>
                  <a:lnTo>
                    <a:pt x="752" y="120"/>
                  </a:lnTo>
                  <a:lnTo>
                    <a:pt x="759" y="120"/>
                  </a:lnTo>
                  <a:lnTo>
                    <a:pt x="764" y="118"/>
                  </a:lnTo>
                  <a:lnTo>
                    <a:pt x="766" y="118"/>
                  </a:lnTo>
                  <a:lnTo>
                    <a:pt x="766" y="118"/>
                  </a:lnTo>
                  <a:lnTo>
                    <a:pt x="764" y="120"/>
                  </a:lnTo>
                  <a:lnTo>
                    <a:pt x="764" y="120"/>
                  </a:lnTo>
                  <a:lnTo>
                    <a:pt x="764" y="120"/>
                  </a:lnTo>
                  <a:lnTo>
                    <a:pt x="766" y="120"/>
                  </a:lnTo>
                  <a:lnTo>
                    <a:pt x="766" y="120"/>
                  </a:lnTo>
                  <a:lnTo>
                    <a:pt x="769" y="120"/>
                  </a:lnTo>
                  <a:lnTo>
                    <a:pt x="771" y="120"/>
                  </a:lnTo>
                  <a:lnTo>
                    <a:pt x="776" y="120"/>
                  </a:lnTo>
                  <a:lnTo>
                    <a:pt x="778" y="120"/>
                  </a:lnTo>
                  <a:lnTo>
                    <a:pt x="783" y="120"/>
                  </a:lnTo>
                  <a:lnTo>
                    <a:pt x="783" y="120"/>
                  </a:lnTo>
                  <a:lnTo>
                    <a:pt x="785" y="120"/>
                  </a:lnTo>
                  <a:lnTo>
                    <a:pt x="790" y="120"/>
                  </a:lnTo>
                  <a:lnTo>
                    <a:pt x="799" y="118"/>
                  </a:lnTo>
                  <a:lnTo>
                    <a:pt x="802" y="118"/>
                  </a:lnTo>
                  <a:lnTo>
                    <a:pt x="804" y="116"/>
                  </a:lnTo>
                  <a:lnTo>
                    <a:pt x="811" y="113"/>
                  </a:lnTo>
                  <a:lnTo>
                    <a:pt x="814" y="111"/>
                  </a:lnTo>
                  <a:lnTo>
                    <a:pt x="818" y="108"/>
                  </a:lnTo>
                  <a:lnTo>
                    <a:pt x="821" y="108"/>
                  </a:lnTo>
                  <a:lnTo>
                    <a:pt x="821" y="106"/>
                  </a:lnTo>
                  <a:lnTo>
                    <a:pt x="823" y="106"/>
                  </a:lnTo>
                  <a:lnTo>
                    <a:pt x="823" y="104"/>
                  </a:lnTo>
                  <a:lnTo>
                    <a:pt x="823" y="104"/>
                  </a:lnTo>
                  <a:lnTo>
                    <a:pt x="823" y="104"/>
                  </a:lnTo>
                  <a:lnTo>
                    <a:pt x="821" y="104"/>
                  </a:lnTo>
                  <a:lnTo>
                    <a:pt x="816" y="101"/>
                  </a:lnTo>
                  <a:lnTo>
                    <a:pt x="814" y="101"/>
                  </a:lnTo>
                  <a:lnTo>
                    <a:pt x="811" y="104"/>
                  </a:lnTo>
                  <a:lnTo>
                    <a:pt x="809" y="104"/>
                  </a:lnTo>
                  <a:lnTo>
                    <a:pt x="809" y="104"/>
                  </a:lnTo>
                  <a:lnTo>
                    <a:pt x="806" y="104"/>
                  </a:lnTo>
                  <a:lnTo>
                    <a:pt x="806" y="106"/>
                  </a:lnTo>
                  <a:lnTo>
                    <a:pt x="806" y="106"/>
                  </a:lnTo>
                  <a:lnTo>
                    <a:pt x="806" y="106"/>
                  </a:lnTo>
                  <a:lnTo>
                    <a:pt x="806" y="106"/>
                  </a:lnTo>
                  <a:lnTo>
                    <a:pt x="804" y="106"/>
                  </a:lnTo>
                  <a:lnTo>
                    <a:pt x="802" y="106"/>
                  </a:lnTo>
                  <a:lnTo>
                    <a:pt x="802" y="108"/>
                  </a:lnTo>
                  <a:lnTo>
                    <a:pt x="802" y="108"/>
                  </a:lnTo>
                  <a:lnTo>
                    <a:pt x="802" y="106"/>
                  </a:lnTo>
                  <a:lnTo>
                    <a:pt x="804" y="106"/>
                  </a:lnTo>
                  <a:lnTo>
                    <a:pt x="804" y="106"/>
                  </a:lnTo>
                  <a:lnTo>
                    <a:pt x="804" y="106"/>
                  </a:lnTo>
                  <a:lnTo>
                    <a:pt x="802" y="104"/>
                  </a:lnTo>
                  <a:lnTo>
                    <a:pt x="799" y="104"/>
                  </a:lnTo>
                  <a:lnTo>
                    <a:pt x="799" y="104"/>
                  </a:lnTo>
                  <a:lnTo>
                    <a:pt x="797" y="106"/>
                  </a:lnTo>
                  <a:lnTo>
                    <a:pt x="792" y="106"/>
                  </a:lnTo>
                  <a:lnTo>
                    <a:pt x="790" y="106"/>
                  </a:lnTo>
                  <a:lnTo>
                    <a:pt x="790" y="106"/>
                  </a:lnTo>
                  <a:lnTo>
                    <a:pt x="792" y="106"/>
                  </a:lnTo>
                  <a:lnTo>
                    <a:pt x="797" y="104"/>
                  </a:lnTo>
                  <a:lnTo>
                    <a:pt x="797" y="104"/>
                  </a:lnTo>
                  <a:lnTo>
                    <a:pt x="797" y="104"/>
                  </a:lnTo>
                  <a:lnTo>
                    <a:pt x="799" y="104"/>
                  </a:lnTo>
                  <a:lnTo>
                    <a:pt x="799" y="101"/>
                  </a:lnTo>
                  <a:lnTo>
                    <a:pt x="797" y="101"/>
                  </a:lnTo>
                  <a:lnTo>
                    <a:pt x="797" y="101"/>
                  </a:lnTo>
                  <a:lnTo>
                    <a:pt x="795" y="101"/>
                  </a:lnTo>
                  <a:lnTo>
                    <a:pt x="792" y="101"/>
                  </a:lnTo>
                  <a:lnTo>
                    <a:pt x="792" y="101"/>
                  </a:lnTo>
                  <a:lnTo>
                    <a:pt x="792" y="101"/>
                  </a:lnTo>
                  <a:lnTo>
                    <a:pt x="792" y="101"/>
                  </a:lnTo>
                  <a:lnTo>
                    <a:pt x="795" y="101"/>
                  </a:lnTo>
                  <a:lnTo>
                    <a:pt x="797" y="99"/>
                  </a:lnTo>
                  <a:lnTo>
                    <a:pt x="799" y="99"/>
                  </a:lnTo>
                  <a:lnTo>
                    <a:pt x="799" y="97"/>
                  </a:lnTo>
                  <a:lnTo>
                    <a:pt x="799" y="97"/>
                  </a:lnTo>
                  <a:lnTo>
                    <a:pt x="799" y="97"/>
                  </a:lnTo>
                  <a:lnTo>
                    <a:pt x="799" y="97"/>
                  </a:lnTo>
                  <a:lnTo>
                    <a:pt x="799" y="94"/>
                  </a:lnTo>
                  <a:lnTo>
                    <a:pt x="799" y="94"/>
                  </a:lnTo>
                  <a:lnTo>
                    <a:pt x="802" y="94"/>
                  </a:lnTo>
                  <a:lnTo>
                    <a:pt x="802" y="94"/>
                  </a:lnTo>
                  <a:lnTo>
                    <a:pt x="802" y="92"/>
                  </a:lnTo>
                  <a:lnTo>
                    <a:pt x="804" y="92"/>
                  </a:lnTo>
                  <a:lnTo>
                    <a:pt x="806" y="92"/>
                  </a:lnTo>
                  <a:lnTo>
                    <a:pt x="806" y="92"/>
                  </a:lnTo>
                  <a:lnTo>
                    <a:pt x="806" y="92"/>
                  </a:lnTo>
                  <a:lnTo>
                    <a:pt x="806" y="92"/>
                  </a:lnTo>
                  <a:lnTo>
                    <a:pt x="804" y="90"/>
                  </a:lnTo>
                  <a:lnTo>
                    <a:pt x="799" y="90"/>
                  </a:lnTo>
                  <a:lnTo>
                    <a:pt x="799" y="90"/>
                  </a:lnTo>
                  <a:lnTo>
                    <a:pt x="797" y="92"/>
                  </a:lnTo>
                  <a:lnTo>
                    <a:pt x="792" y="92"/>
                  </a:lnTo>
                  <a:lnTo>
                    <a:pt x="785" y="94"/>
                  </a:lnTo>
                  <a:lnTo>
                    <a:pt x="783" y="94"/>
                  </a:lnTo>
                  <a:lnTo>
                    <a:pt x="776" y="97"/>
                  </a:lnTo>
                  <a:lnTo>
                    <a:pt x="776" y="97"/>
                  </a:lnTo>
                  <a:lnTo>
                    <a:pt x="776" y="97"/>
                  </a:lnTo>
                  <a:lnTo>
                    <a:pt x="773" y="97"/>
                  </a:lnTo>
                  <a:lnTo>
                    <a:pt x="773" y="99"/>
                  </a:lnTo>
                  <a:lnTo>
                    <a:pt x="773" y="99"/>
                  </a:lnTo>
                  <a:lnTo>
                    <a:pt x="776" y="99"/>
                  </a:lnTo>
                  <a:lnTo>
                    <a:pt x="778" y="99"/>
                  </a:lnTo>
                  <a:lnTo>
                    <a:pt x="781" y="101"/>
                  </a:lnTo>
                  <a:lnTo>
                    <a:pt x="781" y="101"/>
                  </a:lnTo>
                  <a:lnTo>
                    <a:pt x="778" y="101"/>
                  </a:lnTo>
                  <a:lnTo>
                    <a:pt x="778" y="101"/>
                  </a:lnTo>
                  <a:lnTo>
                    <a:pt x="778" y="104"/>
                  </a:lnTo>
                  <a:lnTo>
                    <a:pt x="771" y="104"/>
                  </a:lnTo>
                  <a:lnTo>
                    <a:pt x="769" y="106"/>
                  </a:lnTo>
                  <a:lnTo>
                    <a:pt x="776" y="108"/>
                  </a:lnTo>
                  <a:lnTo>
                    <a:pt x="776" y="108"/>
                  </a:lnTo>
                  <a:lnTo>
                    <a:pt x="776" y="108"/>
                  </a:lnTo>
                  <a:lnTo>
                    <a:pt x="773" y="111"/>
                  </a:lnTo>
                  <a:lnTo>
                    <a:pt x="773" y="111"/>
                  </a:lnTo>
                  <a:lnTo>
                    <a:pt x="771" y="111"/>
                  </a:lnTo>
                  <a:lnTo>
                    <a:pt x="771" y="111"/>
                  </a:lnTo>
                  <a:lnTo>
                    <a:pt x="755" y="111"/>
                  </a:lnTo>
                  <a:lnTo>
                    <a:pt x="752" y="111"/>
                  </a:lnTo>
                  <a:lnTo>
                    <a:pt x="750" y="111"/>
                  </a:lnTo>
                  <a:lnTo>
                    <a:pt x="748" y="111"/>
                  </a:lnTo>
                  <a:lnTo>
                    <a:pt x="745" y="111"/>
                  </a:lnTo>
                  <a:lnTo>
                    <a:pt x="745" y="108"/>
                  </a:lnTo>
                  <a:lnTo>
                    <a:pt x="745" y="108"/>
                  </a:lnTo>
                  <a:lnTo>
                    <a:pt x="748" y="106"/>
                  </a:lnTo>
                  <a:lnTo>
                    <a:pt x="748" y="106"/>
                  </a:lnTo>
                  <a:lnTo>
                    <a:pt x="748" y="106"/>
                  </a:lnTo>
                  <a:lnTo>
                    <a:pt x="745" y="106"/>
                  </a:lnTo>
                  <a:lnTo>
                    <a:pt x="743" y="106"/>
                  </a:lnTo>
                  <a:close/>
                  <a:moveTo>
                    <a:pt x="632" y="104"/>
                  </a:moveTo>
                  <a:lnTo>
                    <a:pt x="632" y="104"/>
                  </a:lnTo>
                  <a:lnTo>
                    <a:pt x="632" y="106"/>
                  </a:lnTo>
                  <a:lnTo>
                    <a:pt x="630" y="106"/>
                  </a:lnTo>
                  <a:lnTo>
                    <a:pt x="627" y="106"/>
                  </a:lnTo>
                  <a:lnTo>
                    <a:pt x="625" y="106"/>
                  </a:lnTo>
                  <a:lnTo>
                    <a:pt x="627" y="106"/>
                  </a:lnTo>
                  <a:lnTo>
                    <a:pt x="627" y="106"/>
                  </a:lnTo>
                  <a:lnTo>
                    <a:pt x="630" y="106"/>
                  </a:lnTo>
                  <a:lnTo>
                    <a:pt x="630" y="106"/>
                  </a:lnTo>
                  <a:lnTo>
                    <a:pt x="632" y="106"/>
                  </a:lnTo>
                  <a:lnTo>
                    <a:pt x="632" y="106"/>
                  </a:lnTo>
                  <a:lnTo>
                    <a:pt x="634" y="104"/>
                  </a:lnTo>
                  <a:lnTo>
                    <a:pt x="634" y="104"/>
                  </a:lnTo>
                  <a:lnTo>
                    <a:pt x="634" y="104"/>
                  </a:lnTo>
                  <a:lnTo>
                    <a:pt x="632" y="104"/>
                  </a:lnTo>
                  <a:lnTo>
                    <a:pt x="632" y="104"/>
                  </a:lnTo>
                  <a:close/>
                  <a:moveTo>
                    <a:pt x="246" y="213"/>
                  </a:moveTo>
                  <a:lnTo>
                    <a:pt x="248" y="213"/>
                  </a:lnTo>
                  <a:lnTo>
                    <a:pt x="250" y="213"/>
                  </a:lnTo>
                  <a:lnTo>
                    <a:pt x="250" y="213"/>
                  </a:lnTo>
                  <a:lnTo>
                    <a:pt x="248" y="210"/>
                  </a:lnTo>
                  <a:lnTo>
                    <a:pt x="248" y="210"/>
                  </a:lnTo>
                  <a:lnTo>
                    <a:pt x="246" y="213"/>
                  </a:lnTo>
                  <a:lnTo>
                    <a:pt x="246" y="213"/>
                  </a:lnTo>
                  <a:lnTo>
                    <a:pt x="246" y="213"/>
                  </a:lnTo>
                  <a:close/>
                  <a:moveTo>
                    <a:pt x="484" y="170"/>
                  </a:moveTo>
                  <a:lnTo>
                    <a:pt x="486" y="170"/>
                  </a:lnTo>
                  <a:lnTo>
                    <a:pt x="486" y="172"/>
                  </a:lnTo>
                  <a:lnTo>
                    <a:pt x="488" y="172"/>
                  </a:lnTo>
                  <a:lnTo>
                    <a:pt x="495" y="175"/>
                  </a:lnTo>
                  <a:lnTo>
                    <a:pt x="495" y="177"/>
                  </a:lnTo>
                  <a:lnTo>
                    <a:pt x="495" y="177"/>
                  </a:lnTo>
                  <a:lnTo>
                    <a:pt x="495" y="179"/>
                  </a:lnTo>
                  <a:lnTo>
                    <a:pt x="495" y="179"/>
                  </a:lnTo>
                  <a:lnTo>
                    <a:pt x="493" y="184"/>
                  </a:lnTo>
                  <a:lnTo>
                    <a:pt x="493" y="184"/>
                  </a:lnTo>
                  <a:lnTo>
                    <a:pt x="493" y="184"/>
                  </a:lnTo>
                  <a:lnTo>
                    <a:pt x="493" y="187"/>
                  </a:lnTo>
                  <a:lnTo>
                    <a:pt x="495" y="187"/>
                  </a:lnTo>
                  <a:lnTo>
                    <a:pt x="498" y="187"/>
                  </a:lnTo>
                  <a:lnTo>
                    <a:pt x="500" y="184"/>
                  </a:lnTo>
                  <a:lnTo>
                    <a:pt x="502" y="184"/>
                  </a:lnTo>
                  <a:lnTo>
                    <a:pt x="510" y="182"/>
                  </a:lnTo>
                  <a:lnTo>
                    <a:pt x="519" y="179"/>
                  </a:lnTo>
                  <a:lnTo>
                    <a:pt x="521" y="179"/>
                  </a:lnTo>
                  <a:lnTo>
                    <a:pt x="521" y="179"/>
                  </a:lnTo>
                  <a:lnTo>
                    <a:pt x="521" y="179"/>
                  </a:lnTo>
                  <a:lnTo>
                    <a:pt x="521" y="179"/>
                  </a:lnTo>
                  <a:lnTo>
                    <a:pt x="526" y="179"/>
                  </a:lnTo>
                  <a:lnTo>
                    <a:pt x="531" y="179"/>
                  </a:lnTo>
                  <a:lnTo>
                    <a:pt x="535" y="179"/>
                  </a:lnTo>
                  <a:lnTo>
                    <a:pt x="538" y="177"/>
                  </a:lnTo>
                  <a:lnTo>
                    <a:pt x="540" y="177"/>
                  </a:lnTo>
                  <a:lnTo>
                    <a:pt x="540" y="177"/>
                  </a:lnTo>
                  <a:lnTo>
                    <a:pt x="547" y="172"/>
                  </a:lnTo>
                  <a:lnTo>
                    <a:pt x="550" y="170"/>
                  </a:lnTo>
                  <a:lnTo>
                    <a:pt x="554" y="168"/>
                  </a:lnTo>
                  <a:lnTo>
                    <a:pt x="557" y="165"/>
                  </a:lnTo>
                  <a:lnTo>
                    <a:pt x="559" y="165"/>
                  </a:lnTo>
                  <a:lnTo>
                    <a:pt x="564" y="165"/>
                  </a:lnTo>
                  <a:lnTo>
                    <a:pt x="568" y="165"/>
                  </a:lnTo>
                  <a:lnTo>
                    <a:pt x="571" y="163"/>
                  </a:lnTo>
                  <a:lnTo>
                    <a:pt x="578" y="161"/>
                  </a:lnTo>
                  <a:lnTo>
                    <a:pt x="580" y="158"/>
                  </a:lnTo>
                  <a:lnTo>
                    <a:pt x="583" y="158"/>
                  </a:lnTo>
                  <a:lnTo>
                    <a:pt x="599" y="153"/>
                  </a:lnTo>
                  <a:lnTo>
                    <a:pt x="611" y="151"/>
                  </a:lnTo>
                  <a:lnTo>
                    <a:pt x="616" y="151"/>
                  </a:lnTo>
                  <a:lnTo>
                    <a:pt x="627" y="149"/>
                  </a:lnTo>
                  <a:lnTo>
                    <a:pt x="632" y="149"/>
                  </a:lnTo>
                  <a:lnTo>
                    <a:pt x="634" y="146"/>
                  </a:lnTo>
                  <a:lnTo>
                    <a:pt x="644" y="146"/>
                  </a:lnTo>
                  <a:lnTo>
                    <a:pt x="644" y="146"/>
                  </a:lnTo>
                  <a:lnTo>
                    <a:pt x="646" y="144"/>
                  </a:lnTo>
                  <a:lnTo>
                    <a:pt x="646" y="144"/>
                  </a:lnTo>
                  <a:lnTo>
                    <a:pt x="646" y="144"/>
                  </a:lnTo>
                  <a:lnTo>
                    <a:pt x="649" y="144"/>
                  </a:lnTo>
                  <a:lnTo>
                    <a:pt x="649" y="142"/>
                  </a:lnTo>
                  <a:lnTo>
                    <a:pt x="646" y="142"/>
                  </a:lnTo>
                  <a:lnTo>
                    <a:pt x="644" y="139"/>
                  </a:lnTo>
                  <a:lnTo>
                    <a:pt x="641" y="135"/>
                  </a:lnTo>
                  <a:lnTo>
                    <a:pt x="639" y="135"/>
                  </a:lnTo>
                  <a:lnTo>
                    <a:pt x="639" y="132"/>
                  </a:lnTo>
                  <a:lnTo>
                    <a:pt x="637" y="132"/>
                  </a:lnTo>
                  <a:lnTo>
                    <a:pt x="634" y="132"/>
                  </a:lnTo>
                  <a:lnTo>
                    <a:pt x="632" y="132"/>
                  </a:lnTo>
                  <a:lnTo>
                    <a:pt x="627" y="132"/>
                  </a:lnTo>
                  <a:lnTo>
                    <a:pt x="623" y="132"/>
                  </a:lnTo>
                  <a:lnTo>
                    <a:pt x="623" y="132"/>
                  </a:lnTo>
                  <a:lnTo>
                    <a:pt x="620" y="132"/>
                  </a:lnTo>
                  <a:lnTo>
                    <a:pt x="613" y="135"/>
                  </a:lnTo>
                  <a:lnTo>
                    <a:pt x="611" y="135"/>
                  </a:lnTo>
                  <a:lnTo>
                    <a:pt x="611" y="137"/>
                  </a:lnTo>
                  <a:lnTo>
                    <a:pt x="611" y="135"/>
                  </a:lnTo>
                  <a:lnTo>
                    <a:pt x="613" y="135"/>
                  </a:lnTo>
                  <a:lnTo>
                    <a:pt x="613" y="132"/>
                  </a:lnTo>
                  <a:lnTo>
                    <a:pt x="613" y="132"/>
                  </a:lnTo>
                  <a:lnTo>
                    <a:pt x="613" y="132"/>
                  </a:lnTo>
                  <a:lnTo>
                    <a:pt x="613" y="132"/>
                  </a:lnTo>
                  <a:lnTo>
                    <a:pt x="611" y="132"/>
                  </a:lnTo>
                  <a:lnTo>
                    <a:pt x="606" y="135"/>
                  </a:lnTo>
                  <a:lnTo>
                    <a:pt x="606" y="135"/>
                  </a:lnTo>
                  <a:lnTo>
                    <a:pt x="606" y="135"/>
                  </a:lnTo>
                  <a:lnTo>
                    <a:pt x="606" y="135"/>
                  </a:lnTo>
                  <a:lnTo>
                    <a:pt x="611" y="132"/>
                  </a:lnTo>
                  <a:lnTo>
                    <a:pt x="606" y="132"/>
                  </a:lnTo>
                  <a:lnTo>
                    <a:pt x="601" y="130"/>
                  </a:lnTo>
                  <a:lnTo>
                    <a:pt x="597" y="130"/>
                  </a:lnTo>
                  <a:lnTo>
                    <a:pt x="597" y="127"/>
                  </a:lnTo>
                  <a:lnTo>
                    <a:pt x="594" y="127"/>
                  </a:lnTo>
                  <a:lnTo>
                    <a:pt x="592" y="127"/>
                  </a:lnTo>
                  <a:lnTo>
                    <a:pt x="590" y="127"/>
                  </a:lnTo>
                  <a:lnTo>
                    <a:pt x="578" y="127"/>
                  </a:lnTo>
                  <a:lnTo>
                    <a:pt x="566" y="130"/>
                  </a:lnTo>
                  <a:lnTo>
                    <a:pt x="547" y="130"/>
                  </a:lnTo>
                  <a:lnTo>
                    <a:pt x="547" y="130"/>
                  </a:lnTo>
                  <a:lnTo>
                    <a:pt x="547" y="130"/>
                  </a:lnTo>
                  <a:lnTo>
                    <a:pt x="547" y="132"/>
                  </a:lnTo>
                  <a:lnTo>
                    <a:pt x="547" y="132"/>
                  </a:lnTo>
                  <a:lnTo>
                    <a:pt x="545" y="137"/>
                  </a:lnTo>
                  <a:lnTo>
                    <a:pt x="542" y="137"/>
                  </a:lnTo>
                  <a:lnTo>
                    <a:pt x="545" y="139"/>
                  </a:lnTo>
                  <a:lnTo>
                    <a:pt x="545" y="139"/>
                  </a:lnTo>
                  <a:lnTo>
                    <a:pt x="545" y="139"/>
                  </a:lnTo>
                  <a:lnTo>
                    <a:pt x="545" y="139"/>
                  </a:lnTo>
                  <a:lnTo>
                    <a:pt x="540" y="142"/>
                  </a:lnTo>
                  <a:lnTo>
                    <a:pt x="535" y="144"/>
                  </a:lnTo>
                  <a:lnTo>
                    <a:pt x="528" y="146"/>
                  </a:lnTo>
                  <a:lnTo>
                    <a:pt x="524" y="149"/>
                  </a:lnTo>
                  <a:lnTo>
                    <a:pt x="521" y="149"/>
                  </a:lnTo>
                  <a:lnTo>
                    <a:pt x="517" y="151"/>
                  </a:lnTo>
                  <a:lnTo>
                    <a:pt x="517" y="151"/>
                  </a:lnTo>
                  <a:lnTo>
                    <a:pt x="517" y="151"/>
                  </a:lnTo>
                  <a:lnTo>
                    <a:pt x="517" y="153"/>
                  </a:lnTo>
                  <a:lnTo>
                    <a:pt x="517" y="153"/>
                  </a:lnTo>
                  <a:lnTo>
                    <a:pt x="517" y="153"/>
                  </a:lnTo>
                  <a:lnTo>
                    <a:pt x="517" y="153"/>
                  </a:lnTo>
                  <a:lnTo>
                    <a:pt x="517" y="153"/>
                  </a:lnTo>
                  <a:lnTo>
                    <a:pt x="517" y="153"/>
                  </a:lnTo>
                  <a:lnTo>
                    <a:pt x="517" y="153"/>
                  </a:lnTo>
                  <a:lnTo>
                    <a:pt x="510" y="156"/>
                  </a:lnTo>
                  <a:lnTo>
                    <a:pt x="510" y="156"/>
                  </a:lnTo>
                  <a:lnTo>
                    <a:pt x="507" y="156"/>
                  </a:lnTo>
                  <a:lnTo>
                    <a:pt x="507" y="156"/>
                  </a:lnTo>
                  <a:lnTo>
                    <a:pt x="505" y="158"/>
                  </a:lnTo>
                  <a:lnTo>
                    <a:pt x="502" y="158"/>
                  </a:lnTo>
                  <a:lnTo>
                    <a:pt x="502" y="161"/>
                  </a:lnTo>
                  <a:lnTo>
                    <a:pt x="502" y="161"/>
                  </a:lnTo>
                  <a:lnTo>
                    <a:pt x="502" y="161"/>
                  </a:lnTo>
                  <a:lnTo>
                    <a:pt x="500" y="161"/>
                  </a:lnTo>
                  <a:lnTo>
                    <a:pt x="498" y="161"/>
                  </a:lnTo>
                  <a:lnTo>
                    <a:pt x="495" y="163"/>
                  </a:lnTo>
                  <a:lnTo>
                    <a:pt x="493" y="163"/>
                  </a:lnTo>
                  <a:lnTo>
                    <a:pt x="493" y="163"/>
                  </a:lnTo>
                  <a:lnTo>
                    <a:pt x="491" y="165"/>
                  </a:lnTo>
                  <a:lnTo>
                    <a:pt x="488" y="165"/>
                  </a:lnTo>
                  <a:lnTo>
                    <a:pt x="486" y="165"/>
                  </a:lnTo>
                  <a:lnTo>
                    <a:pt x="486" y="165"/>
                  </a:lnTo>
                  <a:lnTo>
                    <a:pt x="486" y="165"/>
                  </a:lnTo>
                  <a:lnTo>
                    <a:pt x="486" y="168"/>
                  </a:lnTo>
                  <a:lnTo>
                    <a:pt x="486" y="168"/>
                  </a:lnTo>
                  <a:lnTo>
                    <a:pt x="481" y="168"/>
                  </a:lnTo>
                  <a:lnTo>
                    <a:pt x="481" y="168"/>
                  </a:lnTo>
                  <a:lnTo>
                    <a:pt x="481" y="168"/>
                  </a:lnTo>
                  <a:lnTo>
                    <a:pt x="481" y="170"/>
                  </a:lnTo>
                  <a:lnTo>
                    <a:pt x="479" y="170"/>
                  </a:lnTo>
                  <a:lnTo>
                    <a:pt x="477" y="170"/>
                  </a:lnTo>
                  <a:lnTo>
                    <a:pt x="477" y="170"/>
                  </a:lnTo>
                  <a:lnTo>
                    <a:pt x="479" y="170"/>
                  </a:lnTo>
                  <a:lnTo>
                    <a:pt x="484" y="170"/>
                  </a:lnTo>
                  <a:close/>
                  <a:moveTo>
                    <a:pt x="769" y="78"/>
                  </a:moveTo>
                  <a:lnTo>
                    <a:pt x="769" y="78"/>
                  </a:lnTo>
                  <a:lnTo>
                    <a:pt x="769" y="78"/>
                  </a:lnTo>
                  <a:lnTo>
                    <a:pt x="769" y="78"/>
                  </a:lnTo>
                  <a:lnTo>
                    <a:pt x="769" y="80"/>
                  </a:lnTo>
                  <a:lnTo>
                    <a:pt x="771" y="80"/>
                  </a:lnTo>
                  <a:lnTo>
                    <a:pt x="773" y="80"/>
                  </a:lnTo>
                  <a:lnTo>
                    <a:pt x="776" y="82"/>
                  </a:lnTo>
                  <a:lnTo>
                    <a:pt x="778" y="82"/>
                  </a:lnTo>
                  <a:lnTo>
                    <a:pt x="790" y="80"/>
                  </a:lnTo>
                  <a:lnTo>
                    <a:pt x="790" y="80"/>
                  </a:lnTo>
                  <a:lnTo>
                    <a:pt x="792" y="80"/>
                  </a:lnTo>
                  <a:lnTo>
                    <a:pt x="797" y="80"/>
                  </a:lnTo>
                  <a:lnTo>
                    <a:pt x="802" y="80"/>
                  </a:lnTo>
                  <a:lnTo>
                    <a:pt x="804" y="78"/>
                  </a:lnTo>
                  <a:lnTo>
                    <a:pt x="806" y="78"/>
                  </a:lnTo>
                  <a:lnTo>
                    <a:pt x="806" y="78"/>
                  </a:lnTo>
                  <a:lnTo>
                    <a:pt x="809" y="75"/>
                  </a:lnTo>
                  <a:lnTo>
                    <a:pt x="809" y="75"/>
                  </a:lnTo>
                  <a:lnTo>
                    <a:pt x="809" y="75"/>
                  </a:lnTo>
                  <a:lnTo>
                    <a:pt x="809" y="75"/>
                  </a:lnTo>
                  <a:lnTo>
                    <a:pt x="809" y="75"/>
                  </a:lnTo>
                  <a:lnTo>
                    <a:pt x="804" y="75"/>
                  </a:lnTo>
                  <a:lnTo>
                    <a:pt x="802" y="75"/>
                  </a:lnTo>
                  <a:lnTo>
                    <a:pt x="802" y="73"/>
                  </a:lnTo>
                  <a:lnTo>
                    <a:pt x="804" y="73"/>
                  </a:lnTo>
                  <a:lnTo>
                    <a:pt x="804" y="73"/>
                  </a:lnTo>
                  <a:lnTo>
                    <a:pt x="814" y="73"/>
                  </a:lnTo>
                  <a:lnTo>
                    <a:pt x="818" y="73"/>
                  </a:lnTo>
                  <a:lnTo>
                    <a:pt x="821" y="71"/>
                  </a:lnTo>
                  <a:lnTo>
                    <a:pt x="823" y="71"/>
                  </a:lnTo>
                  <a:lnTo>
                    <a:pt x="823" y="71"/>
                  </a:lnTo>
                  <a:lnTo>
                    <a:pt x="823" y="71"/>
                  </a:lnTo>
                  <a:lnTo>
                    <a:pt x="814" y="71"/>
                  </a:lnTo>
                  <a:lnTo>
                    <a:pt x="811" y="71"/>
                  </a:lnTo>
                  <a:lnTo>
                    <a:pt x="809" y="71"/>
                  </a:lnTo>
                  <a:lnTo>
                    <a:pt x="804" y="71"/>
                  </a:lnTo>
                  <a:lnTo>
                    <a:pt x="790" y="71"/>
                  </a:lnTo>
                  <a:lnTo>
                    <a:pt x="783" y="73"/>
                  </a:lnTo>
                  <a:lnTo>
                    <a:pt x="778" y="73"/>
                  </a:lnTo>
                  <a:lnTo>
                    <a:pt x="778" y="73"/>
                  </a:lnTo>
                  <a:lnTo>
                    <a:pt x="776" y="73"/>
                  </a:lnTo>
                  <a:lnTo>
                    <a:pt x="776" y="73"/>
                  </a:lnTo>
                  <a:lnTo>
                    <a:pt x="773" y="73"/>
                  </a:lnTo>
                  <a:lnTo>
                    <a:pt x="773" y="73"/>
                  </a:lnTo>
                  <a:lnTo>
                    <a:pt x="773" y="75"/>
                  </a:lnTo>
                  <a:lnTo>
                    <a:pt x="771" y="75"/>
                  </a:lnTo>
                  <a:lnTo>
                    <a:pt x="771" y="75"/>
                  </a:lnTo>
                  <a:lnTo>
                    <a:pt x="771" y="78"/>
                  </a:lnTo>
                  <a:lnTo>
                    <a:pt x="771" y="78"/>
                  </a:lnTo>
                  <a:lnTo>
                    <a:pt x="769" y="78"/>
                  </a:lnTo>
                  <a:lnTo>
                    <a:pt x="769" y="78"/>
                  </a:lnTo>
                  <a:close/>
                  <a:moveTo>
                    <a:pt x="658" y="111"/>
                  </a:moveTo>
                  <a:lnTo>
                    <a:pt x="660" y="108"/>
                  </a:lnTo>
                  <a:lnTo>
                    <a:pt x="667" y="106"/>
                  </a:lnTo>
                  <a:lnTo>
                    <a:pt x="674" y="104"/>
                  </a:lnTo>
                  <a:lnTo>
                    <a:pt x="674" y="104"/>
                  </a:lnTo>
                  <a:lnTo>
                    <a:pt x="679" y="101"/>
                  </a:lnTo>
                  <a:lnTo>
                    <a:pt x="679" y="101"/>
                  </a:lnTo>
                  <a:lnTo>
                    <a:pt x="679" y="101"/>
                  </a:lnTo>
                  <a:lnTo>
                    <a:pt x="677" y="101"/>
                  </a:lnTo>
                  <a:lnTo>
                    <a:pt x="674" y="101"/>
                  </a:lnTo>
                  <a:lnTo>
                    <a:pt x="670" y="104"/>
                  </a:lnTo>
                  <a:lnTo>
                    <a:pt x="665" y="104"/>
                  </a:lnTo>
                  <a:lnTo>
                    <a:pt x="663" y="104"/>
                  </a:lnTo>
                  <a:lnTo>
                    <a:pt x="653" y="106"/>
                  </a:lnTo>
                  <a:lnTo>
                    <a:pt x="649" y="108"/>
                  </a:lnTo>
                  <a:lnTo>
                    <a:pt x="646" y="108"/>
                  </a:lnTo>
                  <a:lnTo>
                    <a:pt x="646" y="108"/>
                  </a:lnTo>
                  <a:lnTo>
                    <a:pt x="644" y="108"/>
                  </a:lnTo>
                  <a:lnTo>
                    <a:pt x="646" y="111"/>
                  </a:lnTo>
                  <a:lnTo>
                    <a:pt x="649" y="111"/>
                  </a:lnTo>
                  <a:lnTo>
                    <a:pt x="651" y="111"/>
                  </a:lnTo>
                  <a:lnTo>
                    <a:pt x="653" y="111"/>
                  </a:lnTo>
                  <a:lnTo>
                    <a:pt x="658" y="111"/>
                  </a:lnTo>
                  <a:close/>
                  <a:moveTo>
                    <a:pt x="771" y="151"/>
                  </a:moveTo>
                  <a:lnTo>
                    <a:pt x="771" y="151"/>
                  </a:lnTo>
                  <a:lnTo>
                    <a:pt x="776" y="151"/>
                  </a:lnTo>
                  <a:lnTo>
                    <a:pt x="781" y="149"/>
                  </a:lnTo>
                  <a:lnTo>
                    <a:pt x="783" y="146"/>
                  </a:lnTo>
                  <a:lnTo>
                    <a:pt x="785" y="144"/>
                  </a:lnTo>
                  <a:lnTo>
                    <a:pt x="785" y="144"/>
                  </a:lnTo>
                  <a:lnTo>
                    <a:pt x="785" y="144"/>
                  </a:lnTo>
                  <a:lnTo>
                    <a:pt x="785" y="142"/>
                  </a:lnTo>
                  <a:lnTo>
                    <a:pt x="785" y="142"/>
                  </a:lnTo>
                  <a:lnTo>
                    <a:pt x="785" y="142"/>
                  </a:lnTo>
                  <a:lnTo>
                    <a:pt x="783" y="139"/>
                  </a:lnTo>
                  <a:lnTo>
                    <a:pt x="781" y="139"/>
                  </a:lnTo>
                  <a:lnTo>
                    <a:pt x="778" y="139"/>
                  </a:lnTo>
                  <a:lnTo>
                    <a:pt x="766" y="142"/>
                  </a:lnTo>
                  <a:lnTo>
                    <a:pt x="762" y="142"/>
                  </a:lnTo>
                  <a:lnTo>
                    <a:pt x="762" y="142"/>
                  </a:lnTo>
                  <a:lnTo>
                    <a:pt x="757" y="142"/>
                  </a:lnTo>
                  <a:lnTo>
                    <a:pt x="755" y="144"/>
                  </a:lnTo>
                  <a:lnTo>
                    <a:pt x="755" y="144"/>
                  </a:lnTo>
                  <a:lnTo>
                    <a:pt x="757" y="144"/>
                  </a:lnTo>
                  <a:lnTo>
                    <a:pt x="757" y="146"/>
                  </a:lnTo>
                  <a:lnTo>
                    <a:pt x="759" y="149"/>
                  </a:lnTo>
                  <a:lnTo>
                    <a:pt x="759" y="149"/>
                  </a:lnTo>
                  <a:lnTo>
                    <a:pt x="759" y="149"/>
                  </a:lnTo>
                  <a:lnTo>
                    <a:pt x="762" y="151"/>
                  </a:lnTo>
                  <a:lnTo>
                    <a:pt x="762" y="153"/>
                  </a:lnTo>
                  <a:lnTo>
                    <a:pt x="762" y="153"/>
                  </a:lnTo>
                  <a:lnTo>
                    <a:pt x="764" y="153"/>
                  </a:lnTo>
                  <a:lnTo>
                    <a:pt x="764" y="153"/>
                  </a:lnTo>
                  <a:lnTo>
                    <a:pt x="766" y="153"/>
                  </a:lnTo>
                  <a:lnTo>
                    <a:pt x="769" y="153"/>
                  </a:lnTo>
                  <a:lnTo>
                    <a:pt x="771" y="151"/>
                  </a:lnTo>
                  <a:close/>
                  <a:moveTo>
                    <a:pt x="616" y="241"/>
                  </a:moveTo>
                  <a:lnTo>
                    <a:pt x="618" y="241"/>
                  </a:lnTo>
                  <a:lnTo>
                    <a:pt x="618" y="241"/>
                  </a:lnTo>
                  <a:lnTo>
                    <a:pt x="618" y="239"/>
                  </a:lnTo>
                  <a:lnTo>
                    <a:pt x="618" y="239"/>
                  </a:lnTo>
                  <a:lnTo>
                    <a:pt x="616" y="239"/>
                  </a:lnTo>
                  <a:lnTo>
                    <a:pt x="616" y="241"/>
                  </a:lnTo>
                  <a:close/>
                  <a:moveTo>
                    <a:pt x="618" y="241"/>
                  </a:moveTo>
                  <a:lnTo>
                    <a:pt x="618" y="241"/>
                  </a:lnTo>
                  <a:lnTo>
                    <a:pt x="618" y="241"/>
                  </a:lnTo>
                  <a:lnTo>
                    <a:pt x="618" y="241"/>
                  </a:lnTo>
                  <a:lnTo>
                    <a:pt x="620" y="243"/>
                  </a:lnTo>
                  <a:lnTo>
                    <a:pt x="620" y="243"/>
                  </a:lnTo>
                  <a:lnTo>
                    <a:pt x="620" y="243"/>
                  </a:lnTo>
                  <a:lnTo>
                    <a:pt x="623" y="241"/>
                  </a:lnTo>
                  <a:lnTo>
                    <a:pt x="623" y="241"/>
                  </a:lnTo>
                  <a:lnTo>
                    <a:pt x="620" y="241"/>
                  </a:lnTo>
                  <a:lnTo>
                    <a:pt x="618" y="241"/>
                  </a:lnTo>
                  <a:close/>
                  <a:moveTo>
                    <a:pt x="788" y="66"/>
                  </a:moveTo>
                  <a:lnTo>
                    <a:pt x="795" y="66"/>
                  </a:lnTo>
                  <a:lnTo>
                    <a:pt x="802" y="66"/>
                  </a:lnTo>
                  <a:lnTo>
                    <a:pt x="804" y="66"/>
                  </a:lnTo>
                  <a:lnTo>
                    <a:pt x="806" y="66"/>
                  </a:lnTo>
                  <a:lnTo>
                    <a:pt x="806" y="66"/>
                  </a:lnTo>
                  <a:lnTo>
                    <a:pt x="809" y="66"/>
                  </a:lnTo>
                  <a:lnTo>
                    <a:pt x="811" y="66"/>
                  </a:lnTo>
                  <a:lnTo>
                    <a:pt x="814" y="66"/>
                  </a:lnTo>
                  <a:lnTo>
                    <a:pt x="814" y="66"/>
                  </a:lnTo>
                  <a:lnTo>
                    <a:pt x="816" y="66"/>
                  </a:lnTo>
                  <a:lnTo>
                    <a:pt x="816" y="66"/>
                  </a:lnTo>
                  <a:lnTo>
                    <a:pt x="818" y="66"/>
                  </a:lnTo>
                  <a:lnTo>
                    <a:pt x="821" y="66"/>
                  </a:lnTo>
                  <a:lnTo>
                    <a:pt x="825" y="66"/>
                  </a:lnTo>
                  <a:lnTo>
                    <a:pt x="828" y="66"/>
                  </a:lnTo>
                  <a:lnTo>
                    <a:pt x="830" y="66"/>
                  </a:lnTo>
                  <a:lnTo>
                    <a:pt x="832" y="66"/>
                  </a:lnTo>
                  <a:lnTo>
                    <a:pt x="835" y="66"/>
                  </a:lnTo>
                  <a:lnTo>
                    <a:pt x="835" y="66"/>
                  </a:lnTo>
                  <a:lnTo>
                    <a:pt x="835" y="64"/>
                  </a:lnTo>
                  <a:lnTo>
                    <a:pt x="837" y="64"/>
                  </a:lnTo>
                  <a:lnTo>
                    <a:pt x="837" y="64"/>
                  </a:lnTo>
                  <a:lnTo>
                    <a:pt x="837" y="61"/>
                  </a:lnTo>
                  <a:lnTo>
                    <a:pt x="837" y="61"/>
                  </a:lnTo>
                  <a:lnTo>
                    <a:pt x="835" y="61"/>
                  </a:lnTo>
                  <a:lnTo>
                    <a:pt x="835" y="61"/>
                  </a:lnTo>
                  <a:lnTo>
                    <a:pt x="835" y="61"/>
                  </a:lnTo>
                  <a:lnTo>
                    <a:pt x="832" y="61"/>
                  </a:lnTo>
                  <a:lnTo>
                    <a:pt x="830" y="59"/>
                  </a:lnTo>
                  <a:lnTo>
                    <a:pt x="828" y="59"/>
                  </a:lnTo>
                  <a:lnTo>
                    <a:pt x="825" y="61"/>
                  </a:lnTo>
                  <a:lnTo>
                    <a:pt x="821" y="61"/>
                  </a:lnTo>
                  <a:lnTo>
                    <a:pt x="816" y="61"/>
                  </a:lnTo>
                  <a:lnTo>
                    <a:pt x="814" y="61"/>
                  </a:lnTo>
                  <a:lnTo>
                    <a:pt x="811" y="64"/>
                  </a:lnTo>
                  <a:lnTo>
                    <a:pt x="804" y="64"/>
                  </a:lnTo>
                  <a:lnTo>
                    <a:pt x="797" y="64"/>
                  </a:lnTo>
                  <a:lnTo>
                    <a:pt x="795" y="64"/>
                  </a:lnTo>
                  <a:lnTo>
                    <a:pt x="790" y="66"/>
                  </a:lnTo>
                  <a:lnTo>
                    <a:pt x="788" y="66"/>
                  </a:lnTo>
                  <a:lnTo>
                    <a:pt x="785" y="66"/>
                  </a:lnTo>
                  <a:lnTo>
                    <a:pt x="785" y="66"/>
                  </a:lnTo>
                  <a:lnTo>
                    <a:pt x="785" y="66"/>
                  </a:lnTo>
                  <a:lnTo>
                    <a:pt x="788" y="66"/>
                  </a:lnTo>
                  <a:close/>
                  <a:moveTo>
                    <a:pt x="5" y="546"/>
                  </a:moveTo>
                  <a:lnTo>
                    <a:pt x="5" y="546"/>
                  </a:lnTo>
                  <a:lnTo>
                    <a:pt x="3" y="548"/>
                  </a:lnTo>
                  <a:lnTo>
                    <a:pt x="3" y="548"/>
                  </a:lnTo>
                  <a:lnTo>
                    <a:pt x="3" y="548"/>
                  </a:lnTo>
                  <a:lnTo>
                    <a:pt x="3" y="548"/>
                  </a:lnTo>
                  <a:lnTo>
                    <a:pt x="5" y="546"/>
                  </a:lnTo>
                  <a:lnTo>
                    <a:pt x="5" y="546"/>
                  </a:lnTo>
                  <a:lnTo>
                    <a:pt x="5" y="546"/>
                  </a:lnTo>
                  <a:close/>
                  <a:moveTo>
                    <a:pt x="783" y="194"/>
                  </a:moveTo>
                  <a:lnTo>
                    <a:pt x="783" y="194"/>
                  </a:lnTo>
                  <a:lnTo>
                    <a:pt x="781" y="194"/>
                  </a:lnTo>
                  <a:lnTo>
                    <a:pt x="781" y="194"/>
                  </a:lnTo>
                  <a:lnTo>
                    <a:pt x="781" y="196"/>
                  </a:lnTo>
                  <a:lnTo>
                    <a:pt x="781" y="196"/>
                  </a:lnTo>
                  <a:lnTo>
                    <a:pt x="781" y="196"/>
                  </a:lnTo>
                  <a:lnTo>
                    <a:pt x="783" y="196"/>
                  </a:lnTo>
                  <a:lnTo>
                    <a:pt x="783" y="196"/>
                  </a:lnTo>
                  <a:lnTo>
                    <a:pt x="785" y="196"/>
                  </a:lnTo>
                  <a:lnTo>
                    <a:pt x="785" y="196"/>
                  </a:lnTo>
                  <a:lnTo>
                    <a:pt x="785" y="194"/>
                  </a:lnTo>
                  <a:lnTo>
                    <a:pt x="785" y="194"/>
                  </a:lnTo>
                  <a:lnTo>
                    <a:pt x="785" y="194"/>
                  </a:lnTo>
                  <a:lnTo>
                    <a:pt x="783" y="194"/>
                  </a:lnTo>
                  <a:close/>
                  <a:moveTo>
                    <a:pt x="832" y="113"/>
                  </a:moveTo>
                  <a:lnTo>
                    <a:pt x="832" y="113"/>
                  </a:lnTo>
                  <a:lnTo>
                    <a:pt x="832" y="113"/>
                  </a:lnTo>
                  <a:lnTo>
                    <a:pt x="830" y="113"/>
                  </a:lnTo>
                  <a:lnTo>
                    <a:pt x="828" y="113"/>
                  </a:lnTo>
                  <a:lnTo>
                    <a:pt x="825" y="113"/>
                  </a:lnTo>
                  <a:lnTo>
                    <a:pt x="823" y="113"/>
                  </a:lnTo>
                  <a:lnTo>
                    <a:pt x="821" y="113"/>
                  </a:lnTo>
                  <a:lnTo>
                    <a:pt x="818" y="116"/>
                  </a:lnTo>
                  <a:lnTo>
                    <a:pt x="816" y="116"/>
                  </a:lnTo>
                  <a:lnTo>
                    <a:pt x="816" y="116"/>
                  </a:lnTo>
                  <a:lnTo>
                    <a:pt x="816" y="118"/>
                  </a:lnTo>
                  <a:lnTo>
                    <a:pt x="816" y="118"/>
                  </a:lnTo>
                  <a:lnTo>
                    <a:pt x="816" y="118"/>
                  </a:lnTo>
                  <a:lnTo>
                    <a:pt x="821" y="118"/>
                  </a:lnTo>
                  <a:lnTo>
                    <a:pt x="823" y="118"/>
                  </a:lnTo>
                  <a:lnTo>
                    <a:pt x="828" y="118"/>
                  </a:lnTo>
                  <a:lnTo>
                    <a:pt x="830" y="118"/>
                  </a:lnTo>
                  <a:lnTo>
                    <a:pt x="830" y="118"/>
                  </a:lnTo>
                  <a:lnTo>
                    <a:pt x="830" y="116"/>
                  </a:lnTo>
                  <a:lnTo>
                    <a:pt x="832" y="116"/>
                  </a:lnTo>
                  <a:lnTo>
                    <a:pt x="832" y="116"/>
                  </a:lnTo>
                  <a:lnTo>
                    <a:pt x="832" y="116"/>
                  </a:lnTo>
                  <a:lnTo>
                    <a:pt x="832" y="116"/>
                  </a:lnTo>
                  <a:lnTo>
                    <a:pt x="832" y="113"/>
                  </a:lnTo>
                  <a:close/>
                  <a:moveTo>
                    <a:pt x="759" y="75"/>
                  </a:moveTo>
                  <a:lnTo>
                    <a:pt x="762" y="75"/>
                  </a:lnTo>
                  <a:lnTo>
                    <a:pt x="766" y="75"/>
                  </a:lnTo>
                  <a:lnTo>
                    <a:pt x="766" y="75"/>
                  </a:lnTo>
                  <a:lnTo>
                    <a:pt x="769" y="73"/>
                  </a:lnTo>
                  <a:lnTo>
                    <a:pt x="769" y="73"/>
                  </a:lnTo>
                  <a:lnTo>
                    <a:pt x="769" y="73"/>
                  </a:lnTo>
                  <a:lnTo>
                    <a:pt x="771" y="73"/>
                  </a:lnTo>
                  <a:lnTo>
                    <a:pt x="769" y="73"/>
                  </a:lnTo>
                  <a:lnTo>
                    <a:pt x="769" y="73"/>
                  </a:lnTo>
                  <a:lnTo>
                    <a:pt x="769" y="71"/>
                  </a:lnTo>
                  <a:lnTo>
                    <a:pt x="766" y="71"/>
                  </a:lnTo>
                  <a:lnTo>
                    <a:pt x="766" y="71"/>
                  </a:lnTo>
                  <a:lnTo>
                    <a:pt x="766" y="71"/>
                  </a:lnTo>
                  <a:lnTo>
                    <a:pt x="766" y="71"/>
                  </a:lnTo>
                  <a:lnTo>
                    <a:pt x="766" y="71"/>
                  </a:lnTo>
                  <a:lnTo>
                    <a:pt x="764" y="71"/>
                  </a:lnTo>
                  <a:lnTo>
                    <a:pt x="762" y="71"/>
                  </a:lnTo>
                  <a:lnTo>
                    <a:pt x="759" y="71"/>
                  </a:lnTo>
                  <a:lnTo>
                    <a:pt x="759" y="71"/>
                  </a:lnTo>
                  <a:lnTo>
                    <a:pt x="757" y="71"/>
                  </a:lnTo>
                  <a:lnTo>
                    <a:pt x="755" y="73"/>
                  </a:lnTo>
                  <a:lnTo>
                    <a:pt x="757" y="75"/>
                  </a:lnTo>
                  <a:lnTo>
                    <a:pt x="759" y="75"/>
                  </a:lnTo>
                  <a:close/>
                  <a:moveTo>
                    <a:pt x="52" y="527"/>
                  </a:moveTo>
                  <a:lnTo>
                    <a:pt x="52" y="527"/>
                  </a:lnTo>
                  <a:lnTo>
                    <a:pt x="55" y="522"/>
                  </a:lnTo>
                  <a:lnTo>
                    <a:pt x="55" y="522"/>
                  </a:lnTo>
                  <a:lnTo>
                    <a:pt x="55" y="522"/>
                  </a:lnTo>
                  <a:lnTo>
                    <a:pt x="55" y="522"/>
                  </a:lnTo>
                  <a:lnTo>
                    <a:pt x="55" y="522"/>
                  </a:lnTo>
                  <a:lnTo>
                    <a:pt x="52" y="525"/>
                  </a:lnTo>
                  <a:lnTo>
                    <a:pt x="50" y="525"/>
                  </a:lnTo>
                  <a:lnTo>
                    <a:pt x="50" y="525"/>
                  </a:lnTo>
                  <a:lnTo>
                    <a:pt x="50" y="527"/>
                  </a:lnTo>
                  <a:lnTo>
                    <a:pt x="50" y="527"/>
                  </a:lnTo>
                  <a:lnTo>
                    <a:pt x="52" y="527"/>
                  </a:lnTo>
                  <a:close/>
                  <a:moveTo>
                    <a:pt x="12" y="525"/>
                  </a:moveTo>
                  <a:lnTo>
                    <a:pt x="10" y="525"/>
                  </a:lnTo>
                  <a:lnTo>
                    <a:pt x="8" y="525"/>
                  </a:lnTo>
                  <a:lnTo>
                    <a:pt x="5" y="525"/>
                  </a:lnTo>
                  <a:lnTo>
                    <a:pt x="3" y="525"/>
                  </a:lnTo>
                  <a:lnTo>
                    <a:pt x="0" y="525"/>
                  </a:lnTo>
                  <a:lnTo>
                    <a:pt x="0" y="525"/>
                  </a:lnTo>
                  <a:lnTo>
                    <a:pt x="0" y="527"/>
                  </a:lnTo>
                  <a:lnTo>
                    <a:pt x="0" y="527"/>
                  </a:lnTo>
                  <a:lnTo>
                    <a:pt x="3" y="529"/>
                  </a:lnTo>
                  <a:lnTo>
                    <a:pt x="3" y="529"/>
                  </a:lnTo>
                  <a:lnTo>
                    <a:pt x="0" y="529"/>
                  </a:lnTo>
                  <a:lnTo>
                    <a:pt x="0" y="529"/>
                  </a:lnTo>
                  <a:lnTo>
                    <a:pt x="0" y="529"/>
                  </a:lnTo>
                  <a:lnTo>
                    <a:pt x="0" y="532"/>
                  </a:lnTo>
                  <a:lnTo>
                    <a:pt x="0" y="532"/>
                  </a:lnTo>
                  <a:lnTo>
                    <a:pt x="0" y="534"/>
                  </a:lnTo>
                  <a:lnTo>
                    <a:pt x="0" y="536"/>
                  </a:lnTo>
                  <a:lnTo>
                    <a:pt x="3" y="539"/>
                  </a:lnTo>
                  <a:lnTo>
                    <a:pt x="3" y="541"/>
                  </a:lnTo>
                  <a:lnTo>
                    <a:pt x="3" y="541"/>
                  </a:lnTo>
                  <a:lnTo>
                    <a:pt x="3" y="544"/>
                  </a:lnTo>
                  <a:lnTo>
                    <a:pt x="3" y="546"/>
                  </a:lnTo>
                  <a:lnTo>
                    <a:pt x="5" y="544"/>
                  </a:lnTo>
                  <a:lnTo>
                    <a:pt x="8" y="544"/>
                  </a:lnTo>
                  <a:lnTo>
                    <a:pt x="5" y="544"/>
                  </a:lnTo>
                  <a:lnTo>
                    <a:pt x="5" y="544"/>
                  </a:lnTo>
                  <a:lnTo>
                    <a:pt x="5" y="541"/>
                  </a:lnTo>
                  <a:lnTo>
                    <a:pt x="8" y="541"/>
                  </a:lnTo>
                  <a:lnTo>
                    <a:pt x="8" y="541"/>
                  </a:lnTo>
                  <a:lnTo>
                    <a:pt x="8" y="539"/>
                  </a:lnTo>
                  <a:lnTo>
                    <a:pt x="5" y="541"/>
                  </a:lnTo>
                  <a:lnTo>
                    <a:pt x="5" y="541"/>
                  </a:lnTo>
                  <a:lnTo>
                    <a:pt x="5" y="539"/>
                  </a:lnTo>
                  <a:lnTo>
                    <a:pt x="5" y="536"/>
                  </a:lnTo>
                  <a:lnTo>
                    <a:pt x="5" y="536"/>
                  </a:lnTo>
                  <a:lnTo>
                    <a:pt x="10" y="534"/>
                  </a:lnTo>
                  <a:lnTo>
                    <a:pt x="8" y="534"/>
                  </a:lnTo>
                  <a:lnTo>
                    <a:pt x="5" y="534"/>
                  </a:lnTo>
                  <a:lnTo>
                    <a:pt x="5" y="532"/>
                  </a:lnTo>
                  <a:lnTo>
                    <a:pt x="5" y="532"/>
                  </a:lnTo>
                  <a:lnTo>
                    <a:pt x="5" y="532"/>
                  </a:lnTo>
                  <a:lnTo>
                    <a:pt x="5" y="529"/>
                  </a:lnTo>
                  <a:lnTo>
                    <a:pt x="5" y="529"/>
                  </a:lnTo>
                  <a:lnTo>
                    <a:pt x="8" y="532"/>
                  </a:lnTo>
                  <a:lnTo>
                    <a:pt x="10" y="529"/>
                  </a:lnTo>
                  <a:lnTo>
                    <a:pt x="12" y="527"/>
                  </a:lnTo>
                  <a:lnTo>
                    <a:pt x="12" y="527"/>
                  </a:lnTo>
                  <a:lnTo>
                    <a:pt x="12" y="525"/>
                  </a:lnTo>
                  <a:lnTo>
                    <a:pt x="12" y="525"/>
                  </a:lnTo>
                  <a:lnTo>
                    <a:pt x="12" y="525"/>
                  </a:lnTo>
                  <a:close/>
                  <a:moveTo>
                    <a:pt x="45" y="532"/>
                  </a:moveTo>
                  <a:lnTo>
                    <a:pt x="45" y="532"/>
                  </a:lnTo>
                  <a:lnTo>
                    <a:pt x="45" y="532"/>
                  </a:lnTo>
                  <a:lnTo>
                    <a:pt x="45" y="534"/>
                  </a:lnTo>
                  <a:lnTo>
                    <a:pt x="45" y="534"/>
                  </a:lnTo>
                  <a:lnTo>
                    <a:pt x="43" y="536"/>
                  </a:lnTo>
                  <a:lnTo>
                    <a:pt x="45" y="536"/>
                  </a:lnTo>
                  <a:lnTo>
                    <a:pt x="45" y="539"/>
                  </a:lnTo>
                  <a:lnTo>
                    <a:pt x="45" y="539"/>
                  </a:lnTo>
                  <a:lnTo>
                    <a:pt x="48" y="536"/>
                  </a:lnTo>
                  <a:lnTo>
                    <a:pt x="48" y="534"/>
                  </a:lnTo>
                  <a:lnTo>
                    <a:pt x="48" y="532"/>
                  </a:lnTo>
                  <a:lnTo>
                    <a:pt x="45" y="532"/>
                  </a:lnTo>
                  <a:close/>
                  <a:moveTo>
                    <a:pt x="55" y="536"/>
                  </a:moveTo>
                  <a:lnTo>
                    <a:pt x="55" y="539"/>
                  </a:lnTo>
                  <a:lnTo>
                    <a:pt x="52" y="539"/>
                  </a:lnTo>
                  <a:lnTo>
                    <a:pt x="52" y="539"/>
                  </a:lnTo>
                  <a:lnTo>
                    <a:pt x="52" y="541"/>
                  </a:lnTo>
                  <a:lnTo>
                    <a:pt x="52" y="541"/>
                  </a:lnTo>
                  <a:lnTo>
                    <a:pt x="55" y="539"/>
                  </a:lnTo>
                  <a:lnTo>
                    <a:pt x="55" y="539"/>
                  </a:lnTo>
                  <a:lnTo>
                    <a:pt x="57" y="536"/>
                  </a:lnTo>
                  <a:lnTo>
                    <a:pt x="62" y="534"/>
                  </a:lnTo>
                  <a:lnTo>
                    <a:pt x="62" y="532"/>
                  </a:lnTo>
                  <a:lnTo>
                    <a:pt x="59" y="532"/>
                  </a:lnTo>
                  <a:lnTo>
                    <a:pt x="57" y="534"/>
                  </a:lnTo>
                  <a:lnTo>
                    <a:pt x="55" y="536"/>
                  </a:lnTo>
                  <a:close/>
                  <a:moveTo>
                    <a:pt x="48" y="525"/>
                  </a:moveTo>
                  <a:lnTo>
                    <a:pt x="48" y="525"/>
                  </a:lnTo>
                  <a:lnTo>
                    <a:pt x="48" y="525"/>
                  </a:lnTo>
                  <a:lnTo>
                    <a:pt x="48" y="527"/>
                  </a:lnTo>
                  <a:lnTo>
                    <a:pt x="48" y="527"/>
                  </a:lnTo>
                  <a:lnTo>
                    <a:pt x="48" y="529"/>
                  </a:lnTo>
                  <a:lnTo>
                    <a:pt x="48" y="529"/>
                  </a:lnTo>
                  <a:lnTo>
                    <a:pt x="48" y="529"/>
                  </a:lnTo>
                  <a:lnTo>
                    <a:pt x="48" y="527"/>
                  </a:lnTo>
                  <a:lnTo>
                    <a:pt x="50" y="525"/>
                  </a:lnTo>
                  <a:lnTo>
                    <a:pt x="50" y="525"/>
                  </a:lnTo>
                  <a:lnTo>
                    <a:pt x="48" y="525"/>
                  </a:lnTo>
                  <a:close/>
                  <a:moveTo>
                    <a:pt x="71" y="581"/>
                  </a:moveTo>
                  <a:lnTo>
                    <a:pt x="69" y="581"/>
                  </a:lnTo>
                  <a:lnTo>
                    <a:pt x="69" y="581"/>
                  </a:lnTo>
                  <a:lnTo>
                    <a:pt x="66" y="584"/>
                  </a:lnTo>
                  <a:lnTo>
                    <a:pt x="66" y="586"/>
                  </a:lnTo>
                  <a:lnTo>
                    <a:pt x="66" y="588"/>
                  </a:lnTo>
                  <a:lnTo>
                    <a:pt x="66" y="588"/>
                  </a:lnTo>
                  <a:lnTo>
                    <a:pt x="69" y="586"/>
                  </a:lnTo>
                  <a:lnTo>
                    <a:pt x="69" y="584"/>
                  </a:lnTo>
                  <a:lnTo>
                    <a:pt x="71" y="584"/>
                  </a:lnTo>
                  <a:lnTo>
                    <a:pt x="71" y="584"/>
                  </a:lnTo>
                  <a:lnTo>
                    <a:pt x="71" y="581"/>
                  </a:lnTo>
                  <a:lnTo>
                    <a:pt x="71" y="581"/>
                  </a:lnTo>
                  <a:lnTo>
                    <a:pt x="71" y="581"/>
                  </a:lnTo>
                  <a:close/>
                  <a:moveTo>
                    <a:pt x="71" y="586"/>
                  </a:moveTo>
                  <a:lnTo>
                    <a:pt x="71" y="586"/>
                  </a:lnTo>
                  <a:lnTo>
                    <a:pt x="69" y="586"/>
                  </a:lnTo>
                  <a:lnTo>
                    <a:pt x="69" y="588"/>
                  </a:lnTo>
                  <a:lnTo>
                    <a:pt x="69" y="588"/>
                  </a:lnTo>
                  <a:lnTo>
                    <a:pt x="71" y="588"/>
                  </a:lnTo>
                  <a:lnTo>
                    <a:pt x="71" y="588"/>
                  </a:lnTo>
                  <a:lnTo>
                    <a:pt x="71" y="586"/>
                  </a:lnTo>
                  <a:lnTo>
                    <a:pt x="71" y="586"/>
                  </a:lnTo>
                  <a:lnTo>
                    <a:pt x="71" y="584"/>
                  </a:lnTo>
                  <a:lnTo>
                    <a:pt x="71" y="586"/>
                  </a:lnTo>
                  <a:close/>
                  <a:moveTo>
                    <a:pt x="69" y="593"/>
                  </a:moveTo>
                  <a:lnTo>
                    <a:pt x="69" y="596"/>
                  </a:lnTo>
                  <a:lnTo>
                    <a:pt x="71" y="596"/>
                  </a:lnTo>
                  <a:lnTo>
                    <a:pt x="71" y="596"/>
                  </a:lnTo>
                  <a:lnTo>
                    <a:pt x="71" y="598"/>
                  </a:lnTo>
                  <a:lnTo>
                    <a:pt x="71" y="598"/>
                  </a:lnTo>
                  <a:lnTo>
                    <a:pt x="73" y="600"/>
                  </a:lnTo>
                  <a:lnTo>
                    <a:pt x="73" y="598"/>
                  </a:lnTo>
                  <a:lnTo>
                    <a:pt x="73" y="596"/>
                  </a:lnTo>
                  <a:lnTo>
                    <a:pt x="73" y="596"/>
                  </a:lnTo>
                  <a:lnTo>
                    <a:pt x="71" y="593"/>
                  </a:lnTo>
                  <a:lnTo>
                    <a:pt x="71" y="593"/>
                  </a:lnTo>
                  <a:lnTo>
                    <a:pt x="69" y="593"/>
                  </a:lnTo>
                  <a:close/>
                  <a:moveTo>
                    <a:pt x="43" y="555"/>
                  </a:moveTo>
                  <a:lnTo>
                    <a:pt x="43" y="555"/>
                  </a:lnTo>
                  <a:lnTo>
                    <a:pt x="43" y="558"/>
                  </a:lnTo>
                  <a:lnTo>
                    <a:pt x="43" y="560"/>
                  </a:lnTo>
                  <a:lnTo>
                    <a:pt x="43" y="560"/>
                  </a:lnTo>
                  <a:lnTo>
                    <a:pt x="43" y="560"/>
                  </a:lnTo>
                  <a:lnTo>
                    <a:pt x="45" y="560"/>
                  </a:lnTo>
                  <a:lnTo>
                    <a:pt x="45" y="558"/>
                  </a:lnTo>
                  <a:lnTo>
                    <a:pt x="45" y="558"/>
                  </a:lnTo>
                  <a:lnTo>
                    <a:pt x="48" y="555"/>
                  </a:lnTo>
                  <a:lnTo>
                    <a:pt x="48" y="555"/>
                  </a:lnTo>
                  <a:lnTo>
                    <a:pt x="48" y="555"/>
                  </a:lnTo>
                  <a:lnTo>
                    <a:pt x="48" y="555"/>
                  </a:lnTo>
                  <a:lnTo>
                    <a:pt x="45" y="555"/>
                  </a:lnTo>
                  <a:lnTo>
                    <a:pt x="43" y="555"/>
                  </a:lnTo>
                  <a:close/>
                  <a:moveTo>
                    <a:pt x="36" y="598"/>
                  </a:moveTo>
                  <a:lnTo>
                    <a:pt x="36" y="598"/>
                  </a:lnTo>
                  <a:lnTo>
                    <a:pt x="36" y="596"/>
                  </a:lnTo>
                  <a:lnTo>
                    <a:pt x="38" y="596"/>
                  </a:lnTo>
                  <a:lnTo>
                    <a:pt x="38" y="593"/>
                  </a:lnTo>
                  <a:lnTo>
                    <a:pt x="38" y="593"/>
                  </a:lnTo>
                  <a:lnTo>
                    <a:pt x="36" y="591"/>
                  </a:lnTo>
                  <a:lnTo>
                    <a:pt x="33" y="593"/>
                  </a:lnTo>
                  <a:lnTo>
                    <a:pt x="33" y="593"/>
                  </a:lnTo>
                  <a:lnTo>
                    <a:pt x="33" y="593"/>
                  </a:lnTo>
                  <a:lnTo>
                    <a:pt x="33" y="596"/>
                  </a:lnTo>
                  <a:lnTo>
                    <a:pt x="31" y="596"/>
                  </a:lnTo>
                  <a:lnTo>
                    <a:pt x="31" y="596"/>
                  </a:lnTo>
                  <a:lnTo>
                    <a:pt x="33" y="596"/>
                  </a:lnTo>
                  <a:lnTo>
                    <a:pt x="33" y="598"/>
                  </a:lnTo>
                  <a:lnTo>
                    <a:pt x="33" y="598"/>
                  </a:lnTo>
                  <a:lnTo>
                    <a:pt x="36" y="598"/>
                  </a:lnTo>
                  <a:close/>
                  <a:moveTo>
                    <a:pt x="73" y="617"/>
                  </a:moveTo>
                  <a:lnTo>
                    <a:pt x="73" y="617"/>
                  </a:lnTo>
                  <a:lnTo>
                    <a:pt x="71" y="619"/>
                  </a:lnTo>
                  <a:lnTo>
                    <a:pt x="71" y="619"/>
                  </a:lnTo>
                  <a:lnTo>
                    <a:pt x="73" y="614"/>
                  </a:lnTo>
                  <a:lnTo>
                    <a:pt x="71" y="610"/>
                  </a:lnTo>
                  <a:lnTo>
                    <a:pt x="73" y="607"/>
                  </a:lnTo>
                  <a:lnTo>
                    <a:pt x="73" y="607"/>
                  </a:lnTo>
                  <a:lnTo>
                    <a:pt x="73" y="607"/>
                  </a:lnTo>
                  <a:lnTo>
                    <a:pt x="71" y="605"/>
                  </a:lnTo>
                  <a:lnTo>
                    <a:pt x="71" y="603"/>
                  </a:lnTo>
                  <a:lnTo>
                    <a:pt x="66" y="603"/>
                  </a:lnTo>
                  <a:lnTo>
                    <a:pt x="64" y="600"/>
                  </a:lnTo>
                  <a:lnTo>
                    <a:pt x="64" y="598"/>
                  </a:lnTo>
                  <a:lnTo>
                    <a:pt x="64" y="596"/>
                  </a:lnTo>
                  <a:lnTo>
                    <a:pt x="64" y="596"/>
                  </a:lnTo>
                  <a:lnTo>
                    <a:pt x="64" y="596"/>
                  </a:lnTo>
                  <a:lnTo>
                    <a:pt x="64" y="596"/>
                  </a:lnTo>
                  <a:lnTo>
                    <a:pt x="64" y="593"/>
                  </a:lnTo>
                  <a:lnTo>
                    <a:pt x="64" y="588"/>
                  </a:lnTo>
                  <a:lnTo>
                    <a:pt x="64" y="586"/>
                  </a:lnTo>
                  <a:lnTo>
                    <a:pt x="64" y="584"/>
                  </a:lnTo>
                  <a:lnTo>
                    <a:pt x="64" y="584"/>
                  </a:lnTo>
                  <a:lnTo>
                    <a:pt x="64" y="581"/>
                  </a:lnTo>
                  <a:lnTo>
                    <a:pt x="64" y="581"/>
                  </a:lnTo>
                  <a:lnTo>
                    <a:pt x="59" y="581"/>
                  </a:lnTo>
                  <a:lnTo>
                    <a:pt x="55" y="579"/>
                  </a:lnTo>
                  <a:lnTo>
                    <a:pt x="48" y="579"/>
                  </a:lnTo>
                  <a:lnTo>
                    <a:pt x="43" y="577"/>
                  </a:lnTo>
                  <a:lnTo>
                    <a:pt x="38" y="572"/>
                  </a:lnTo>
                  <a:lnTo>
                    <a:pt x="33" y="572"/>
                  </a:lnTo>
                  <a:lnTo>
                    <a:pt x="31" y="572"/>
                  </a:lnTo>
                  <a:lnTo>
                    <a:pt x="29" y="572"/>
                  </a:lnTo>
                  <a:lnTo>
                    <a:pt x="26" y="572"/>
                  </a:lnTo>
                  <a:lnTo>
                    <a:pt x="26" y="574"/>
                  </a:lnTo>
                  <a:lnTo>
                    <a:pt x="24" y="574"/>
                  </a:lnTo>
                  <a:lnTo>
                    <a:pt x="24" y="577"/>
                  </a:lnTo>
                  <a:lnTo>
                    <a:pt x="26" y="579"/>
                  </a:lnTo>
                  <a:lnTo>
                    <a:pt x="26" y="579"/>
                  </a:lnTo>
                  <a:lnTo>
                    <a:pt x="29" y="579"/>
                  </a:lnTo>
                  <a:lnTo>
                    <a:pt x="29" y="579"/>
                  </a:lnTo>
                  <a:lnTo>
                    <a:pt x="31" y="579"/>
                  </a:lnTo>
                  <a:lnTo>
                    <a:pt x="33" y="577"/>
                  </a:lnTo>
                  <a:lnTo>
                    <a:pt x="33" y="577"/>
                  </a:lnTo>
                  <a:lnTo>
                    <a:pt x="36" y="577"/>
                  </a:lnTo>
                  <a:lnTo>
                    <a:pt x="38" y="577"/>
                  </a:lnTo>
                  <a:lnTo>
                    <a:pt x="36" y="579"/>
                  </a:lnTo>
                  <a:lnTo>
                    <a:pt x="36" y="579"/>
                  </a:lnTo>
                  <a:lnTo>
                    <a:pt x="33" y="581"/>
                  </a:lnTo>
                  <a:lnTo>
                    <a:pt x="33" y="581"/>
                  </a:lnTo>
                  <a:lnTo>
                    <a:pt x="33" y="579"/>
                  </a:lnTo>
                  <a:lnTo>
                    <a:pt x="33" y="579"/>
                  </a:lnTo>
                  <a:lnTo>
                    <a:pt x="29" y="579"/>
                  </a:lnTo>
                  <a:lnTo>
                    <a:pt x="29" y="579"/>
                  </a:lnTo>
                  <a:lnTo>
                    <a:pt x="29" y="579"/>
                  </a:lnTo>
                  <a:lnTo>
                    <a:pt x="26" y="581"/>
                  </a:lnTo>
                  <a:lnTo>
                    <a:pt x="26" y="584"/>
                  </a:lnTo>
                  <a:lnTo>
                    <a:pt x="26" y="584"/>
                  </a:lnTo>
                  <a:lnTo>
                    <a:pt x="26" y="584"/>
                  </a:lnTo>
                  <a:lnTo>
                    <a:pt x="26" y="586"/>
                  </a:lnTo>
                  <a:lnTo>
                    <a:pt x="24" y="586"/>
                  </a:lnTo>
                  <a:lnTo>
                    <a:pt x="24" y="586"/>
                  </a:lnTo>
                  <a:lnTo>
                    <a:pt x="24" y="586"/>
                  </a:lnTo>
                  <a:lnTo>
                    <a:pt x="24" y="586"/>
                  </a:lnTo>
                  <a:lnTo>
                    <a:pt x="26" y="586"/>
                  </a:lnTo>
                  <a:lnTo>
                    <a:pt x="31" y="586"/>
                  </a:lnTo>
                  <a:lnTo>
                    <a:pt x="31" y="586"/>
                  </a:lnTo>
                  <a:lnTo>
                    <a:pt x="31" y="588"/>
                  </a:lnTo>
                  <a:lnTo>
                    <a:pt x="31" y="588"/>
                  </a:lnTo>
                  <a:lnTo>
                    <a:pt x="31" y="588"/>
                  </a:lnTo>
                  <a:lnTo>
                    <a:pt x="33" y="588"/>
                  </a:lnTo>
                  <a:lnTo>
                    <a:pt x="33" y="586"/>
                  </a:lnTo>
                  <a:lnTo>
                    <a:pt x="33" y="586"/>
                  </a:lnTo>
                  <a:lnTo>
                    <a:pt x="33" y="586"/>
                  </a:lnTo>
                  <a:lnTo>
                    <a:pt x="33" y="586"/>
                  </a:lnTo>
                  <a:lnTo>
                    <a:pt x="33" y="588"/>
                  </a:lnTo>
                  <a:lnTo>
                    <a:pt x="33" y="588"/>
                  </a:lnTo>
                  <a:lnTo>
                    <a:pt x="31" y="588"/>
                  </a:lnTo>
                  <a:lnTo>
                    <a:pt x="31" y="591"/>
                  </a:lnTo>
                  <a:lnTo>
                    <a:pt x="31" y="591"/>
                  </a:lnTo>
                  <a:lnTo>
                    <a:pt x="31" y="591"/>
                  </a:lnTo>
                  <a:lnTo>
                    <a:pt x="33" y="591"/>
                  </a:lnTo>
                  <a:lnTo>
                    <a:pt x="33" y="591"/>
                  </a:lnTo>
                  <a:lnTo>
                    <a:pt x="36" y="591"/>
                  </a:lnTo>
                  <a:lnTo>
                    <a:pt x="36" y="591"/>
                  </a:lnTo>
                  <a:lnTo>
                    <a:pt x="36" y="591"/>
                  </a:lnTo>
                  <a:lnTo>
                    <a:pt x="36" y="591"/>
                  </a:lnTo>
                  <a:lnTo>
                    <a:pt x="38" y="591"/>
                  </a:lnTo>
                  <a:lnTo>
                    <a:pt x="38" y="591"/>
                  </a:lnTo>
                  <a:lnTo>
                    <a:pt x="38" y="593"/>
                  </a:lnTo>
                  <a:lnTo>
                    <a:pt x="38" y="596"/>
                  </a:lnTo>
                  <a:lnTo>
                    <a:pt x="38" y="596"/>
                  </a:lnTo>
                  <a:lnTo>
                    <a:pt x="40" y="596"/>
                  </a:lnTo>
                  <a:lnTo>
                    <a:pt x="40" y="596"/>
                  </a:lnTo>
                  <a:lnTo>
                    <a:pt x="40" y="596"/>
                  </a:lnTo>
                  <a:lnTo>
                    <a:pt x="45" y="596"/>
                  </a:lnTo>
                  <a:lnTo>
                    <a:pt x="43" y="596"/>
                  </a:lnTo>
                  <a:lnTo>
                    <a:pt x="38" y="598"/>
                  </a:lnTo>
                  <a:lnTo>
                    <a:pt x="36" y="598"/>
                  </a:lnTo>
                  <a:lnTo>
                    <a:pt x="36" y="598"/>
                  </a:lnTo>
                  <a:lnTo>
                    <a:pt x="36" y="598"/>
                  </a:lnTo>
                  <a:lnTo>
                    <a:pt x="33" y="600"/>
                  </a:lnTo>
                  <a:lnTo>
                    <a:pt x="33" y="603"/>
                  </a:lnTo>
                  <a:lnTo>
                    <a:pt x="33" y="603"/>
                  </a:lnTo>
                  <a:lnTo>
                    <a:pt x="36" y="600"/>
                  </a:lnTo>
                  <a:lnTo>
                    <a:pt x="36" y="600"/>
                  </a:lnTo>
                  <a:lnTo>
                    <a:pt x="38" y="603"/>
                  </a:lnTo>
                  <a:lnTo>
                    <a:pt x="38" y="603"/>
                  </a:lnTo>
                  <a:lnTo>
                    <a:pt x="38" y="600"/>
                  </a:lnTo>
                  <a:lnTo>
                    <a:pt x="38" y="600"/>
                  </a:lnTo>
                  <a:lnTo>
                    <a:pt x="40" y="600"/>
                  </a:lnTo>
                  <a:lnTo>
                    <a:pt x="40" y="600"/>
                  </a:lnTo>
                  <a:lnTo>
                    <a:pt x="40" y="600"/>
                  </a:lnTo>
                  <a:lnTo>
                    <a:pt x="40" y="603"/>
                  </a:lnTo>
                  <a:lnTo>
                    <a:pt x="40" y="603"/>
                  </a:lnTo>
                  <a:lnTo>
                    <a:pt x="43" y="603"/>
                  </a:lnTo>
                  <a:lnTo>
                    <a:pt x="43" y="603"/>
                  </a:lnTo>
                  <a:lnTo>
                    <a:pt x="40" y="605"/>
                  </a:lnTo>
                  <a:lnTo>
                    <a:pt x="40" y="605"/>
                  </a:lnTo>
                  <a:lnTo>
                    <a:pt x="40" y="605"/>
                  </a:lnTo>
                  <a:lnTo>
                    <a:pt x="43" y="605"/>
                  </a:lnTo>
                  <a:lnTo>
                    <a:pt x="43" y="605"/>
                  </a:lnTo>
                  <a:lnTo>
                    <a:pt x="43" y="605"/>
                  </a:lnTo>
                  <a:lnTo>
                    <a:pt x="45" y="605"/>
                  </a:lnTo>
                  <a:lnTo>
                    <a:pt x="45" y="605"/>
                  </a:lnTo>
                  <a:lnTo>
                    <a:pt x="45" y="605"/>
                  </a:lnTo>
                  <a:lnTo>
                    <a:pt x="43" y="607"/>
                  </a:lnTo>
                  <a:lnTo>
                    <a:pt x="40" y="607"/>
                  </a:lnTo>
                  <a:lnTo>
                    <a:pt x="40" y="607"/>
                  </a:lnTo>
                  <a:lnTo>
                    <a:pt x="43" y="610"/>
                  </a:lnTo>
                  <a:lnTo>
                    <a:pt x="43" y="610"/>
                  </a:lnTo>
                  <a:lnTo>
                    <a:pt x="43" y="612"/>
                  </a:lnTo>
                  <a:lnTo>
                    <a:pt x="45" y="612"/>
                  </a:lnTo>
                  <a:lnTo>
                    <a:pt x="48" y="610"/>
                  </a:lnTo>
                  <a:lnTo>
                    <a:pt x="50" y="610"/>
                  </a:lnTo>
                  <a:lnTo>
                    <a:pt x="55" y="610"/>
                  </a:lnTo>
                  <a:lnTo>
                    <a:pt x="55" y="610"/>
                  </a:lnTo>
                  <a:lnTo>
                    <a:pt x="57" y="607"/>
                  </a:lnTo>
                  <a:lnTo>
                    <a:pt x="57" y="607"/>
                  </a:lnTo>
                  <a:lnTo>
                    <a:pt x="59" y="605"/>
                  </a:lnTo>
                  <a:lnTo>
                    <a:pt x="59" y="605"/>
                  </a:lnTo>
                  <a:lnTo>
                    <a:pt x="57" y="607"/>
                  </a:lnTo>
                  <a:lnTo>
                    <a:pt x="57" y="607"/>
                  </a:lnTo>
                  <a:lnTo>
                    <a:pt x="55" y="610"/>
                  </a:lnTo>
                  <a:lnTo>
                    <a:pt x="52" y="610"/>
                  </a:lnTo>
                  <a:lnTo>
                    <a:pt x="48" y="614"/>
                  </a:lnTo>
                  <a:lnTo>
                    <a:pt x="48" y="614"/>
                  </a:lnTo>
                  <a:lnTo>
                    <a:pt x="48" y="614"/>
                  </a:lnTo>
                  <a:lnTo>
                    <a:pt x="48" y="617"/>
                  </a:lnTo>
                  <a:lnTo>
                    <a:pt x="50" y="617"/>
                  </a:lnTo>
                  <a:lnTo>
                    <a:pt x="52" y="619"/>
                  </a:lnTo>
                  <a:lnTo>
                    <a:pt x="55" y="619"/>
                  </a:lnTo>
                  <a:lnTo>
                    <a:pt x="59" y="622"/>
                  </a:lnTo>
                  <a:lnTo>
                    <a:pt x="62" y="622"/>
                  </a:lnTo>
                  <a:lnTo>
                    <a:pt x="66" y="624"/>
                  </a:lnTo>
                  <a:lnTo>
                    <a:pt x="66" y="624"/>
                  </a:lnTo>
                  <a:lnTo>
                    <a:pt x="66" y="624"/>
                  </a:lnTo>
                  <a:lnTo>
                    <a:pt x="69" y="622"/>
                  </a:lnTo>
                  <a:lnTo>
                    <a:pt x="69" y="622"/>
                  </a:lnTo>
                  <a:lnTo>
                    <a:pt x="71" y="622"/>
                  </a:lnTo>
                  <a:lnTo>
                    <a:pt x="71" y="622"/>
                  </a:lnTo>
                  <a:lnTo>
                    <a:pt x="73" y="622"/>
                  </a:lnTo>
                  <a:lnTo>
                    <a:pt x="73" y="617"/>
                  </a:lnTo>
                  <a:lnTo>
                    <a:pt x="73" y="617"/>
                  </a:lnTo>
                  <a:lnTo>
                    <a:pt x="73" y="617"/>
                  </a:lnTo>
                  <a:lnTo>
                    <a:pt x="73" y="617"/>
                  </a:lnTo>
                  <a:close/>
                  <a:moveTo>
                    <a:pt x="38" y="603"/>
                  </a:moveTo>
                  <a:lnTo>
                    <a:pt x="38" y="603"/>
                  </a:lnTo>
                  <a:lnTo>
                    <a:pt x="38" y="603"/>
                  </a:lnTo>
                  <a:lnTo>
                    <a:pt x="38" y="605"/>
                  </a:lnTo>
                  <a:lnTo>
                    <a:pt x="38" y="605"/>
                  </a:lnTo>
                  <a:lnTo>
                    <a:pt x="40" y="603"/>
                  </a:lnTo>
                  <a:lnTo>
                    <a:pt x="40" y="603"/>
                  </a:lnTo>
                  <a:lnTo>
                    <a:pt x="38" y="603"/>
                  </a:lnTo>
                  <a:close/>
                  <a:moveTo>
                    <a:pt x="48" y="534"/>
                  </a:moveTo>
                  <a:lnTo>
                    <a:pt x="50" y="534"/>
                  </a:lnTo>
                  <a:lnTo>
                    <a:pt x="50" y="534"/>
                  </a:lnTo>
                  <a:lnTo>
                    <a:pt x="52" y="534"/>
                  </a:lnTo>
                  <a:lnTo>
                    <a:pt x="52" y="534"/>
                  </a:lnTo>
                  <a:lnTo>
                    <a:pt x="50" y="536"/>
                  </a:lnTo>
                  <a:lnTo>
                    <a:pt x="50" y="536"/>
                  </a:lnTo>
                  <a:lnTo>
                    <a:pt x="48" y="539"/>
                  </a:lnTo>
                  <a:lnTo>
                    <a:pt x="45" y="541"/>
                  </a:lnTo>
                  <a:lnTo>
                    <a:pt x="45" y="544"/>
                  </a:lnTo>
                  <a:lnTo>
                    <a:pt x="48" y="541"/>
                  </a:lnTo>
                  <a:lnTo>
                    <a:pt x="50" y="539"/>
                  </a:lnTo>
                  <a:lnTo>
                    <a:pt x="52" y="539"/>
                  </a:lnTo>
                  <a:lnTo>
                    <a:pt x="55" y="536"/>
                  </a:lnTo>
                  <a:lnTo>
                    <a:pt x="59" y="529"/>
                  </a:lnTo>
                  <a:lnTo>
                    <a:pt x="62" y="527"/>
                  </a:lnTo>
                  <a:lnTo>
                    <a:pt x="59" y="525"/>
                  </a:lnTo>
                  <a:lnTo>
                    <a:pt x="59" y="525"/>
                  </a:lnTo>
                  <a:lnTo>
                    <a:pt x="59" y="522"/>
                  </a:lnTo>
                  <a:lnTo>
                    <a:pt x="57" y="522"/>
                  </a:lnTo>
                  <a:lnTo>
                    <a:pt x="57" y="525"/>
                  </a:lnTo>
                  <a:lnTo>
                    <a:pt x="55" y="525"/>
                  </a:lnTo>
                  <a:lnTo>
                    <a:pt x="52" y="527"/>
                  </a:lnTo>
                  <a:lnTo>
                    <a:pt x="50" y="527"/>
                  </a:lnTo>
                  <a:lnTo>
                    <a:pt x="50" y="529"/>
                  </a:lnTo>
                  <a:lnTo>
                    <a:pt x="50" y="529"/>
                  </a:lnTo>
                  <a:lnTo>
                    <a:pt x="50" y="532"/>
                  </a:lnTo>
                  <a:lnTo>
                    <a:pt x="50" y="532"/>
                  </a:lnTo>
                  <a:lnTo>
                    <a:pt x="48" y="534"/>
                  </a:lnTo>
                  <a:close/>
                  <a:moveTo>
                    <a:pt x="29" y="508"/>
                  </a:moveTo>
                  <a:lnTo>
                    <a:pt x="29" y="508"/>
                  </a:lnTo>
                  <a:lnTo>
                    <a:pt x="31" y="506"/>
                  </a:lnTo>
                  <a:lnTo>
                    <a:pt x="31" y="506"/>
                  </a:lnTo>
                  <a:lnTo>
                    <a:pt x="29" y="506"/>
                  </a:lnTo>
                  <a:lnTo>
                    <a:pt x="26" y="508"/>
                  </a:lnTo>
                  <a:lnTo>
                    <a:pt x="22" y="508"/>
                  </a:lnTo>
                  <a:lnTo>
                    <a:pt x="22" y="508"/>
                  </a:lnTo>
                  <a:lnTo>
                    <a:pt x="19" y="510"/>
                  </a:lnTo>
                  <a:lnTo>
                    <a:pt x="19" y="510"/>
                  </a:lnTo>
                  <a:lnTo>
                    <a:pt x="17" y="513"/>
                  </a:lnTo>
                  <a:lnTo>
                    <a:pt x="17" y="515"/>
                  </a:lnTo>
                  <a:lnTo>
                    <a:pt x="15" y="515"/>
                  </a:lnTo>
                  <a:lnTo>
                    <a:pt x="10" y="515"/>
                  </a:lnTo>
                  <a:lnTo>
                    <a:pt x="10" y="515"/>
                  </a:lnTo>
                  <a:lnTo>
                    <a:pt x="10" y="515"/>
                  </a:lnTo>
                  <a:lnTo>
                    <a:pt x="10" y="515"/>
                  </a:lnTo>
                  <a:lnTo>
                    <a:pt x="10" y="515"/>
                  </a:lnTo>
                  <a:lnTo>
                    <a:pt x="17" y="513"/>
                  </a:lnTo>
                  <a:lnTo>
                    <a:pt x="19" y="510"/>
                  </a:lnTo>
                  <a:lnTo>
                    <a:pt x="19" y="510"/>
                  </a:lnTo>
                  <a:lnTo>
                    <a:pt x="19" y="508"/>
                  </a:lnTo>
                  <a:lnTo>
                    <a:pt x="22" y="508"/>
                  </a:lnTo>
                  <a:lnTo>
                    <a:pt x="22" y="506"/>
                  </a:lnTo>
                  <a:lnTo>
                    <a:pt x="22" y="506"/>
                  </a:lnTo>
                  <a:lnTo>
                    <a:pt x="19" y="506"/>
                  </a:lnTo>
                  <a:lnTo>
                    <a:pt x="17" y="508"/>
                  </a:lnTo>
                  <a:lnTo>
                    <a:pt x="17" y="506"/>
                  </a:lnTo>
                  <a:lnTo>
                    <a:pt x="12" y="506"/>
                  </a:lnTo>
                  <a:lnTo>
                    <a:pt x="12" y="506"/>
                  </a:lnTo>
                  <a:lnTo>
                    <a:pt x="10" y="506"/>
                  </a:lnTo>
                  <a:lnTo>
                    <a:pt x="10" y="506"/>
                  </a:lnTo>
                  <a:lnTo>
                    <a:pt x="8" y="508"/>
                  </a:lnTo>
                  <a:lnTo>
                    <a:pt x="5" y="510"/>
                  </a:lnTo>
                  <a:lnTo>
                    <a:pt x="3" y="510"/>
                  </a:lnTo>
                  <a:lnTo>
                    <a:pt x="3" y="513"/>
                  </a:lnTo>
                  <a:lnTo>
                    <a:pt x="3" y="515"/>
                  </a:lnTo>
                  <a:lnTo>
                    <a:pt x="3" y="515"/>
                  </a:lnTo>
                  <a:lnTo>
                    <a:pt x="3" y="518"/>
                  </a:lnTo>
                  <a:lnTo>
                    <a:pt x="3" y="518"/>
                  </a:lnTo>
                  <a:lnTo>
                    <a:pt x="3" y="520"/>
                  </a:lnTo>
                  <a:lnTo>
                    <a:pt x="5" y="522"/>
                  </a:lnTo>
                  <a:lnTo>
                    <a:pt x="5" y="522"/>
                  </a:lnTo>
                  <a:lnTo>
                    <a:pt x="5" y="522"/>
                  </a:lnTo>
                  <a:lnTo>
                    <a:pt x="3" y="522"/>
                  </a:lnTo>
                  <a:lnTo>
                    <a:pt x="3" y="520"/>
                  </a:lnTo>
                  <a:lnTo>
                    <a:pt x="0" y="520"/>
                  </a:lnTo>
                  <a:lnTo>
                    <a:pt x="0" y="522"/>
                  </a:lnTo>
                  <a:lnTo>
                    <a:pt x="0" y="522"/>
                  </a:lnTo>
                  <a:lnTo>
                    <a:pt x="0" y="525"/>
                  </a:lnTo>
                  <a:lnTo>
                    <a:pt x="3" y="525"/>
                  </a:lnTo>
                  <a:lnTo>
                    <a:pt x="10" y="522"/>
                  </a:lnTo>
                  <a:lnTo>
                    <a:pt x="12" y="522"/>
                  </a:lnTo>
                  <a:lnTo>
                    <a:pt x="15" y="520"/>
                  </a:lnTo>
                  <a:lnTo>
                    <a:pt x="17" y="518"/>
                  </a:lnTo>
                  <a:lnTo>
                    <a:pt x="19" y="515"/>
                  </a:lnTo>
                  <a:lnTo>
                    <a:pt x="24" y="510"/>
                  </a:lnTo>
                  <a:lnTo>
                    <a:pt x="29" y="508"/>
                  </a:lnTo>
                  <a:close/>
                  <a:moveTo>
                    <a:pt x="38" y="518"/>
                  </a:moveTo>
                  <a:lnTo>
                    <a:pt x="40" y="518"/>
                  </a:lnTo>
                  <a:lnTo>
                    <a:pt x="40" y="520"/>
                  </a:lnTo>
                  <a:lnTo>
                    <a:pt x="40" y="522"/>
                  </a:lnTo>
                  <a:lnTo>
                    <a:pt x="40" y="525"/>
                  </a:lnTo>
                  <a:lnTo>
                    <a:pt x="43" y="525"/>
                  </a:lnTo>
                  <a:lnTo>
                    <a:pt x="43" y="525"/>
                  </a:lnTo>
                  <a:lnTo>
                    <a:pt x="45" y="525"/>
                  </a:lnTo>
                  <a:lnTo>
                    <a:pt x="45" y="522"/>
                  </a:lnTo>
                  <a:lnTo>
                    <a:pt x="45" y="520"/>
                  </a:lnTo>
                  <a:lnTo>
                    <a:pt x="45" y="518"/>
                  </a:lnTo>
                  <a:lnTo>
                    <a:pt x="45" y="518"/>
                  </a:lnTo>
                  <a:lnTo>
                    <a:pt x="43" y="515"/>
                  </a:lnTo>
                  <a:lnTo>
                    <a:pt x="40" y="515"/>
                  </a:lnTo>
                  <a:lnTo>
                    <a:pt x="38" y="518"/>
                  </a:lnTo>
                  <a:close/>
                  <a:moveTo>
                    <a:pt x="45" y="508"/>
                  </a:moveTo>
                  <a:lnTo>
                    <a:pt x="43" y="510"/>
                  </a:lnTo>
                  <a:lnTo>
                    <a:pt x="43" y="510"/>
                  </a:lnTo>
                  <a:lnTo>
                    <a:pt x="43" y="510"/>
                  </a:lnTo>
                  <a:lnTo>
                    <a:pt x="43" y="510"/>
                  </a:lnTo>
                  <a:lnTo>
                    <a:pt x="43" y="510"/>
                  </a:lnTo>
                  <a:lnTo>
                    <a:pt x="43" y="510"/>
                  </a:lnTo>
                  <a:lnTo>
                    <a:pt x="43" y="510"/>
                  </a:lnTo>
                  <a:lnTo>
                    <a:pt x="43" y="510"/>
                  </a:lnTo>
                  <a:lnTo>
                    <a:pt x="43" y="510"/>
                  </a:lnTo>
                  <a:lnTo>
                    <a:pt x="45" y="510"/>
                  </a:lnTo>
                  <a:lnTo>
                    <a:pt x="45" y="510"/>
                  </a:lnTo>
                  <a:lnTo>
                    <a:pt x="45" y="510"/>
                  </a:lnTo>
                  <a:lnTo>
                    <a:pt x="45" y="510"/>
                  </a:lnTo>
                  <a:lnTo>
                    <a:pt x="45" y="510"/>
                  </a:lnTo>
                  <a:lnTo>
                    <a:pt x="45" y="510"/>
                  </a:lnTo>
                  <a:lnTo>
                    <a:pt x="48" y="510"/>
                  </a:lnTo>
                  <a:lnTo>
                    <a:pt x="50" y="510"/>
                  </a:lnTo>
                  <a:lnTo>
                    <a:pt x="50" y="508"/>
                  </a:lnTo>
                  <a:lnTo>
                    <a:pt x="52" y="508"/>
                  </a:lnTo>
                  <a:lnTo>
                    <a:pt x="50" y="508"/>
                  </a:lnTo>
                  <a:lnTo>
                    <a:pt x="50" y="506"/>
                  </a:lnTo>
                  <a:lnTo>
                    <a:pt x="50" y="506"/>
                  </a:lnTo>
                  <a:lnTo>
                    <a:pt x="50" y="506"/>
                  </a:lnTo>
                  <a:lnTo>
                    <a:pt x="45" y="508"/>
                  </a:lnTo>
                  <a:close/>
                  <a:moveTo>
                    <a:pt x="953" y="87"/>
                  </a:moveTo>
                  <a:lnTo>
                    <a:pt x="953" y="87"/>
                  </a:lnTo>
                  <a:lnTo>
                    <a:pt x="953" y="90"/>
                  </a:lnTo>
                  <a:lnTo>
                    <a:pt x="953" y="90"/>
                  </a:lnTo>
                  <a:lnTo>
                    <a:pt x="955" y="90"/>
                  </a:lnTo>
                  <a:lnTo>
                    <a:pt x="955" y="90"/>
                  </a:lnTo>
                  <a:lnTo>
                    <a:pt x="953" y="90"/>
                  </a:lnTo>
                  <a:lnTo>
                    <a:pt x="953" y="90"/>
                  </a:lnTo>
                  <a:lnTo>
                    <a:pt x="950" y="90"/>
                  </a:lnTo>
                  <a:lnTo>
                    <a:pt x="948" y="90"/>
                  </a:lnTo>
                  <a:lnTo>
                    <a:pt x="948" y="90"/>
                  </a:lnTo>
                  <a:lnTo>
                    <a:pt x="948" y="92"/>
                  </a:lnTo>
                  <a:lnTo>
                    <a:pt x="948" y="92"/>
                  </a:lnTo>
                  <a:lnTo>
                    <a:pt x="948" y="92"/>
                  </a:lnTo>
                  <a:lnTo>
                    <a:pt x="950" y="92"/>
                  </a:lnTo>
                  <a:lnTo>
                    <a:pt x="955" y="94"/>
                  </a:lnTo>
                  <a:lnTo>
                    <a:pt x="957" y="94"/>
                  </a:lnTo>
                  <a:lnTo>
                    <a:pt x="960" y="94"/>
                  </a:lnTo>
                  <a:lnTo>
                    <a:pt x="957" y="94"/>
                  </a:lnTo>
                  <a:lnTo>
                    <a:pt x="957" y="94"/>
                  </a:lnTo>
                  <a:lnTo>
                    <a:pt x="953" y="94"/>
                  </a:lnTo>
                  <a:lnTo>
                    <a:pt x="953" y="94"/>
                  </a:lnTo>
                  <a:lnTo>
                    <a:pt x="953" y="97"/>
                  </a:lnTo>
                  <a:lnTo>
                    <a:pt x="953" y="97"/>
                  </a:lnTo>
                  <a:lnTo>
                    <a:pt x="957" y="97"/>
                  </a:lnTo>
                  <a:lnTo>
                    <a:pt x="957" y="99"/>
                  </a:lnTo>
                  <a:lnTo>
                    <a:pt x="960" y="99"/>
                  </a:lnTo>
                  <a:lnTo>
                    <a:pt x="964" y="99"/>
                  </a:lnTo>
                  <a:lnTo>
                    <a:pt x="967" y="99"/>
                  </a:lnTo>
                  <a:lnTo>
                    <a:pt x="969" y="99"/>
                  </a:lnTo>
                  <a:lnTo>
                    <a:pt x="974" y="99"/>
                  </a:lnTo>
                  <a:lnTo>
                    <a:pt x="976" y="99"/>
                  </a:lnTo>
                  <a:lnTo>
                    <a:pt x="979" y="99"/>
                  </a:lnTo>
                  <a:lnTo>
                    <a:pt x="979" y="99"/>
                  </a:lnTo>
                  <a:lnTo>
                    <a:pt x="983" y="97"/>
                  </a:lnTo>
                  <a:lnTo>
                    <a:pt x="986" y="97"/>
                  </a:lnTo>
                  <a:lnTo>
                    <a:pt x="986" y="97"/>
                  </a:lnTo>
                  <a:lnTo>
                    <a:pt x="986" y="99"/>
                  </a:lnTo>
                  <a:lnTo>
                    <a:pt x="986" y="101"/>
                  </a:lnTo>
                  <a:lnTo>
                    <a:pt x="986" y="104"/>
                  </a:lnTo>
                  <a:lnTo>
                    <a:pt x="988" y="104"/>
                  </a:lnTo>
                  <a:lnTo>
                    <a:pt x="988" y="106"/>
                  </a:lnTo>
                  <a:lnTo>
                    <a:pt x="986" y="106"/>
                  </a:lnTo>
                  <a:lnTo>
                    <a:pt x="986" y="108"/>
                  </a:lnTo>
                  <a:lnTo>
                    <a:pt x="986" y="108"/>
                  </a:lnTo>
                  <a:lnTo>
                    <a:pt x="983" y="108"/>
                  </a:lnTo>
                  <a:lnTo>
                    <a:pt x="983" y="108"/>
                  </a:lnTo>
                  <a:lnTo>
                    <a:pt x="979" y="111"/>
                  </a:lnTo>
                  <a:lnTo>
                    <a:pt x="976" y="113"/>
                  </a:lnTo>
                  <a:lnTo>
                    <a:pt x="976" y="113"/>
                  </a:lnTo>
                  <a:lnTo>
                    <a:pt x="974" y="113"/>
                  </a:lnTo>
                  <a:lnTo>
                    <a:pt x="974" y="116"/>
                  </a:lnTo>
                  <a:lnTo>
                    <a:pt x="974" y="116"/>
                  </a:lnTo>
                  <a:lnTo>
                    <a:pt x="974" y="116"/>
                  </a:lnTo>
                  <a:lnTo>
                    <a:pt x="974" y="116"/>
                  </a:lnTo>
                  <a:lnTo>
                    <a:pt x="974" y="118"/>
                  </a:lnTo>
                  <a:lnTo>
                    <a:pt x="974" y="118"/>
                  </a:lnTo>
                  <a:lnTo>
                    <a:pt x="971" y="118"/>
                  </a:lnTo>
                  <a:lnTo>
                    <a:pt x="971" y="118"/>
                  </a:lnTo>
                  <a:lnTo>
                    <a:pt x="971" y="120"/>
                  </a:lnTo>
                  <a:lnTo>
                    <a:pt x="969" y="123"/>
                  </a:lnTo>
                  <a:lnTo>
                    <a:pt x="969" y="123"/>
                  </a:lnTo>
                  <a:lnTo>
                    <a:pt x="971" y="125"/>
                  </a:lnTo>
                  <a:lnTo>
                    <a:pt x="971" y="125"/>
                  </a:lnTo>
                  <a:lnTo>
                    <a:pt x="974" y="125"/>
                  </a:lnTo>
                  <a:lnTo>
                    <a:pt x="976" y="125"/>
                  </a:lnTo>
                  <a:lnTo>
                    <a:pt x="976" y="125"/>
                  </a:lnTo>
                  <a:lnTo>
                    <a:pt x="979" y="125"/>
                  </a:lnTo>
                  <a:lnTo>
                    <a:pt x="979" y="125"/>
                  </a:lnTo>
                  <a:lnTo>
                    <a:pt x="979" y="123"/>
                  </a:lnTo>
                  <a:lnTo>
                    <a:pt x="983" y="123"/>
                  </a:lnTo>
                  <a:lnTo>
                    <a:pt x="983" y="123"/>
                  </a:lnTo>
                  <a:lnTo>
                    <a:pt x="981" y="123"/>
                  </a:lnTo>
                  <a:lnTo>
                    <a:pt x="981" y="125"/>
                  </a:lnTo>
                  <a:lnTo>
                    <a:pt x="983" y="125"/>
                  </a:lnTo>
                  <a:lnTo>
                    <a:pt x="983" y="125"/>
                  </a:lnTo>
                  <a:lnTo>
                    <a:pt x="986" y="125"/>
                  </a:lnTo>
                  <a:lnTo>
                    <a:pt x="990" y="127"/>
                  </a:lnTo>
                  <a:lnTo>
                    <a:pt x="993" y="127"/>
                  </a:lnTo>
                  <a:lnTo>
                    <a:pt x="995" y="127"/>
                  </a:lnTo>
                  <a:lnTo>
                    <a:pt x="997" y="127"/>
                  </a:lnTo>
                  <a:lnTo>
                    <a:pt x="1000" y="125"/>
                  </a:lnTo>
                  <a:lnTo>
                    <a:pt x="1002" y="125"/>
                  </a:lnTo>
                  <a:lnTo>
                    <a:pt x="1002" y="125"/>
                  </a:lnTo>
                  <a:lnTo>
                    <a:pt x="1002" y="125"/>
                  </a:lnTo>
                  <a:lnTo>
                    <a:pt x="1002" y="123"/>
                  </a:lnTo>
                  <a:lnTo>
                    <a:pt x="1004" y="123"/>
                  </a:lnTo>
                  <a:lnTo>
                    <a:pt x="1004" y="123"/>
                  </a:lnTo>
                  <a:lnTo>
                    <a:pt x="1004" y="123"/>
                  </a:lnTo>
                  <a:lnTo>
                    <a:pt x="1007" y="123"/>
                  </a:lnTo>
                  <a:lnTo>
                    <a:pt x="1007" y="123"/>
                  </a:lnTo>
                  <a:lnTo>
                    <a:pt x="1007" y="123"/>
                  </a:lnTo>
                  <a:lnTo>
                    <a:pt x="1007" y="123"/>
                  </a:lnTo>
                  <a:lnTo>
                    <a:pt x="1007" y="125"/>
                  </a:lnTo>
                  <a:lnTo>
                    <a:pt x="1007" y="125"/>
                  </a:lnTo>
                  <a:lnTo>
                    <a:pt x="1009" y="125"/>
                  </a:lnTo>
                  <a:lnTo>
                    <a:pt x="1012" y="123"/>
                  </a:lnTo>
                  <a:lnTo>
                    <a:pt x="1014" y="123"/>
                  </a:lnTo>
                  <a:lnTo>
                    <a:pt x="1014" y="123"/>
                  </a:lnTo>
                  <a:lnTo>
                    <a:pt x="1014" y="123"/>
                  </a:lnTo>
                  <a:lnTo>
                    <a:pt x="1014" y="123"/>
                  </a:lnTo>
                  <a:lnTo>
                    <a:pt x="1014" y="123"/>
                  </a:lnTo>
                  <a:lnTo>
                    <a:pt x="1012" y="125"/>
                  </a:lnTo>
                  <a:lnTo>
                    <a:pt x="1009" y="125"/>
                  </a:lnTo>
                  <a:lnTo>
                    <a:pt x="1009" y="127"/>
                  </a:lnTo>
                  <a:lnTo>
                    <a:pt x="1007" y="127"/>
                  </a:lnTo>
                  <a:lnTo>
                    <a:pt x="1009" y="127"/>
                  </a:lnTo>
                  <a:lnTo>
                    <a:pt x="1009" y="127"/>
                  </a:lnTo>
                  <a:lnTo>
                    <a:pt x="1014" y="127"/>
                  </a:lnTo>
                  <a:lnTo>
                    <a:pt x="1019" y="127"/>
                  </a:lnTo>
                  <a:lnTo>
                    <a:pt x="1023" y="127"/>
                  </a:lnTo>
                  <a:lnTo>
                    <a:pt x="1026" y="127"/>
                  </a:lnTo>
                  <a:lnTo>
                    <a:pt x="1030" y="127"/>
                  </a:lnTo>
                  <a:lnTo>
                    <a:pt x="1030" y="127"/>
                  </a:lnTo>
                  <a:lnTo>
                    <a:pt x="1030" y="127"/>
                  </a:lnTo>
                  <a:lnTo>
                    <a:pt x="1033" y="127"/>
                  </a:lnTo>
                  <a:lnTo>
                    <a:pt x="1035" y="127"/>
                  </a:lnTo>
                  <a:lnTo>
                    <a:pt x="1037" y="127"/>
                  </a:lnTo>
                  <a:lnTo>
                    <a:pt x="1040" y="127"/>
                  </a:lnTo>
                  <a:lnTo>
                    <a:pt x="1040" y="127"/>
                  </a:lnTo>
                  <a:lnTo>
                    <a:pt x="1042" y="127"/>
                  </a:lnTo>
                  <a:lnTo>
                    <a:pt x="1047" y="127"/>
                  </a:lnTo>
                  <a:lnTo>
                    <a:pt x="1047" y="127"/>
                  </a:lnTo>
                  <a:lnTo>
                    <a:pt x="1047" y="127"/>
                  </a:lnTo>
                  <a:lnTo>
                    <a:pt x="1047" y="125"/>
                  </a:lnTo>
                  <a:lnTo>
                    <a:pt x="1049" y="125"/>
                  </a:lnTo>
                  <a:lnTo>
                    <a:pt x="1049" y="127"/>
                  </a:lnTo>
                  <a:lnTo>
                    <a:pt x="1049" y="127"/>
                  </a:lnTo>
                  <a:lnTo>
                    <a:pt x="1052" y="127"/>
                  </a:lnTo>
                  <a:lnTo>
                    <a:pt x="1052" y="127"/>
                  </a:lnTo>
                  <a:lnTo>
                    <a:pt x="1054" y="125"/>
                  </a:lnTo>
                  <a:lnTo>
                    <a:pt x="1054" y="125"/>
                  </a:lnTo>
                  <a:lnTo>
                    <a:pt x="1054" y="127"/>
                  </a:lnTo>
                  <a:lnTo>
                    <a:pt x="1054" y="127"/>
                  </a:lnTo>
                  <a:lnTo>
                    <a:pt x="1056" y="127"/>
                  </a:lnTo>
                  <a:lnTo>
                    <a:pt x="1059" y="127"/>
                  </a:lnTo>
                  <a:lnTo>
                    <a:pt x="1061" y="127"/>
                  </a:lnTo>
                  <a:lnTo>
                    <a:pt x="1068" y="127"/>
                  </a:lnTo>
                  <a:lnTo>
                    <a:pt x="1070" y="127"/>
                  </a:lnTo>
                  <a:lnTo>
                    <a:pt x="1073" y="127"/>
                  </a:lnTo>
                  <a:lnTo>
                    <a:pt x="1075" y="125"/>
                  </a:lnTo>
                  <a:lnTo>
                    <a:pt x="1075" y="125"/>
                  </a:lnTo>
                  <a:lnTo>
                    <a:pt x="1077" y="123"/>
                  </a:lnTo>
                  <a:lnTo>
                    <a:pt x="1077" y="123"/>
                  </a:lnTo>
                  <a:lnTo>
                    <a:pt x="1077" y="123"/>
                  </a:lnTo>
                  <a:lnTo>
                    <a:pt x="1077" y="123"/>
                  </a:lnTo>
                  <a:lnTo>
                    <a:pt x="1077" y="120"/>
                  </a:lnTo>
                  <a:lnTo>
                    <a:pt x="1077" y="120"/>
                  </a:lnTo>
                  <a:lnTo>
                    <a:pt x="1077" y="120"/>
                  </a:lnTo>
                  <a:lnTo>
                    <a:pt x="1080" y="123"/>
                  </a:lnTo>
                  <a:lnTo>
                    <a:pt x="1080" y="123"/>
                  </a:lnTo>
                  <a:lnTo>
                    <a:pt x="1082" y="123"/>
                  </a:lnTo>
                  <a:lnTo>
                    <a:pt x="1080" y="123"/>
                  </a:lnTo>
                  <a:lnTo>
                    <a:pt x="1080" y="123"/>
                  </a:lnTo>
                  <a:lnTo>
                    <a:pt x="1080" y="125"/>
                  </a:lnTo>
                  <a:lnTo>
                    <a:pt x="1080" y="125"/>
                  </a:lnTo>
                  <a:lnTo>
                    <a:pt x="1080" y="127"/>
                  </a:lnTo>
                  <a:lnTo>
                    <a:pt x="1080" y="127"/>
                  </a:lnTo>
                  <a:lnTo>
                    <a:pt x="1082" y="127"/>
                  </a:lnTo>
                  <a:lnTo>
                    <a:pt x="1082" y="127"/>
                  </a:lnTo>
                  <a:lnTo>
                    <a:pt x="1085" y="127"/>
                  </a:lnTo>
                  <a:lnTo>
                    <a:pt x="1089" y="127"/>
                  </a:lnTo>
                  <a:lnTo>
                    <a:pt x="1089" y="127"/>
                  </a:lnTo>
                  <a:lnTo>
                    <a:pt x="1092" y="127"/>
                  </a:lnTo>
                  <a:lnTo>
                    <a:pt x="1094" y="127"/>
                  </a:lnTo>
                  <a:lnTo>
                    <a:pt x="1099" y="127"/>
                  </a:lnTo>
                  <a:lnTo>
                    <a:pt x="1101" y="127"/>
                  </a:lnTo>
                  <a:lnTo>
                    <a:pt x="1113" y="127"/>
                  </a:lnTo>
                  <a:lnTo>
                    <a:pt x="1113" y="127"/>
                  </a:lnTo>
                  <a:lnTo>
                    <a:pt x="1115" y="125"/>
                  </a:lnTo>
                  <a:lnTo>
                    <a:pt x="1115" y="125"/>
                  </a:lnTo>
                  <a:lnTo>
                    <a:pt x="1118" y="123"/>
                  </a:lnTo>
                  <a:lnTo>
                    <a:pt x="1118" y="123"/>
                  </a:lnTo>
                  <a:lnTo>
                    <a:pt x="1118" y="123"/>
                  </a:lnTo>
                  <a:lnTo>
                    <a:pt x="1118" y="123"/>
                  </a:lnTo>
                  <a:lnTo>
                    <a:pt x="1118" y="120"/>
                  </a:lnTo>
                  <a:lnTo>
                    <a:pt x="1118" y="120"/>
                  </a:lnTo>
                  <a:lnTo>
                    <a:pt x="1118" y="120"/>
                  </a:lnTo>
                  <a:lnTo>
                    <a:pt x="1120" y="120"/>
                  </a:lnTo>
                  <a:lnTo>
                    <a:pt x="1122" y="123"/>
                  </a:lnTo>
                  <a:lnTo>
                    <a:pt x="1127" y="120"/>
                  </a:lnTo>
                  <a:lnTo>
                    <a:pt x="1129" y="120"/>
                  </a:lnTo>
                  <a:lnTo>
                    <a:pt x="1129" y="120"/>
                  </a:lnTo>
                  <a:lnTo>
                    <a:pt x="1129" y="120"/>
                  </a:lnTo>
                  <a:lnTo>
                    <a:pt x="1127" y="118"/>
                  </a:lnTo>
                  <a:lnTo>
                    <a:pt x="1127" y="118"/>
                  </a:lnTo>
                  <a:lnTo>
                    <a:pt x="1122" y="120"/>
                  </a:lnTo>
                  <a:lnTo>
                    <a:pt x="1122" y="120"/>
                  </a:lnTo>
                  <a:lnTo>
                    <a:pt x="1120" y="120"/>
                  </a:lnTo>
                  <a:lnTo>
                    <a:pt x="1120" y="118"/>
                  </a:lnTo>
                  <a:lnTo>
                    <a:pt x="1120" y="118"/>
                  </a:lnTo>
                  <a:lnTo>
                    <a:pt x="1125" y="118"/>
                  </a:lnTo>
                  <a:lnTo>
                    <a:pt x="1132" y="116"/>
                  </a:lnTo>
                  <a:lnTo>
                    <a:pt x="1134" y="116"/>
                  </a:lnTo>
                  <a:lnTo>
                    <a:pt x="1134" y="116"/>
                  </a:lnTo>
                  <a:lnTo>
                    <a:pt x="1134" y="113"/>
                  </a:lnTo>
                  <a:lnTo>
                    <a:pt x="1134" y="111"/>
                  </a:lnTo>
                  <a:lnTo>
                    <a:pt x="1134" y="111"/>
                  </a:lnTo>
                  <a:lnTo>
                    <a:pt x="1129" y="111"/>
                  </a:lnTo>
                  <a:lnTo>
                    <a:pt x="1127" y="111"/>
                  </a:lnTo>
                  <a:lnTo>
                    <a:pt x="1127" y="111"/>
                  </a:lnTo>
                  <a:lnTo>
                    <a:pt x="1132" y="111"/>
                  </a:lnTo>
                  <a:lnTo>
                    <a:pt x="1132" y="111"/>
                  </a:lnTo>
                  <a:lnTo>
                    <a:pt x="1132" y="111"/>
                  </a:lnTo>
                  <a:lnTo>
                    <a:pt x="1129" y="108"/>
                  </a:lnTo>
                  <a:lnTo>
                    <a:pt x="1127" y="108"/>
                  </a:lnTo>
                  <a:lnTo>
                    <a:pt x="1122" y="108"/>
                  </a:lnTo>
                  <a:lnTo>
                    <a:pt x="1120" y="108"/>
                  </a:lnTo>
                  <a:lnTo>
                    <a:pt x="1120" y="108"/>
                  </a:lnTo>
                  <a:lnTo>
                    <a:pt x="1120" y="108"/>
                  </a:lnTo>
                  <a:lnTo>
                    <a:pt x="1122" y="108"/>
                  </a:lnTo>
                  <a:lnTo>
                    <a:pt x="1120" y="106"/>
                  </a:lnTo>
                  <a:lnTo>
                    <a:pt x="1115" y="106"/>
                  </a:lnTo>
                  <a:lnTo>
                    <a:pt x="1110" y="106"/>
                  </a:lnTo>
                  <a:lnTo>
                    <a:pt x="1108" y="106"/>
                  </a:lnTo>
                  <a:lnTo>
                    <a:pt x="1106" y="106"/>
                  </a:lnTo>
                  <a:lnTo>
                    <a:pt x="1099" y="106"/>
                  </a:lnTo>
                  <a:lnTo>
                    <a:pt x="1096" y="106"/>
                  </a:lnTo>
                  <a:lnTo>
                    <a:pt x="1092" y="106"/>
                  </a:lnTo>
                  <a:lnTo>
                    <a:pt x="1089" y="106"/>
                  </a:lnTo>
                  <a:lnTo>
                    <a:pt x="1087" y="106"/>
                  </a:lnTo>
                  <a:lnTo>
                    <a:pt x="1085" y="106"/>
                  </a:lnTo>
                  <a:lnTo>
                    <a:pt x="1077" y="108"/>
                  </a:lnTo>
                  <a:lnTo>
                    <a:pt x="1075" y="108"/>
                  </a:lnTo>
                  <a:lnTo>
                    <a:pt x="1073" y="108"/>
                  </a:lnTo>
                  <a:lnTo>
                    <a:pt x="1066" y="111"/>
                  </a:lnTo>
                  <a:lnTo>
                    <a:pt x="1063" y="111"/>
                  </a:lnTo>
                  <a:lnTo>
                    <a:pt x="1059" y="111"/>
                  </a:lnTo>
                  <a:lnTo>
                    <a:pt x="1056" y="111"/>
                  </a:lnTo>
                  <a:lnTo>
                    <a:pt x="1056" y="113"/>
                  </a:lnTo>
                  <a:lnTo>
                    <a:pt x="1056" y="113"/>
                  </a:lnTo>
                  <a:lnTo>
                    <a:pt x="1052" y="113"/>
                  </a:lnTo>
                  <a:lnTo>
                    <a:pt x="1052" y="113"/>
                  </a:lnTo>
                  <a:lnTo>
                    <a:pt x="1049" y="111"/>
                  </a:lnTo>
                  <a:lnTo>
                    <a:pt x="1047" y="111"/>
                  </a:lnTo>
                  <a:lnTo>
                    <a:pt x="1044" y="108"/>
                  </a:lnTo>
                  <a:lnTo>
                    <a:pt x="1042" y="111"/>
                  </a:lnTo>
                  <a:lnTo>
                    <a:pt x="1037" y="111"/>
                  </a:lnTo>
                  <a:lnTo>
                    <a:pt x="1037" y="111"/>
                  </a:lnTo>
                  <a:lnTo>
                    <a:pt x="1037" y="111"/>
                  </a:lnTo>
                  <a:lnTo>
                    <a:pt x="1037" y="111"/>
                  </a:lnTo>
                  <a:lnTo>
                    <a:pt x="1030" y="111"/>
                  </a:lnTo>
                  <a:lnTo>
                    <a:pt x="1028" y="108"/>
                  </a:lnTo>
                  <a:lnTo>
                    <a:pt x="1028" y="108"/>
                  </a:lnTo>
                  <a:lnTo>
                    <a:pt x="1026" y="108"/>
                  </a:lnTo>
                  <a:lnTo>
                    <a:pt x="1026" y="108"/>
                  </a:lnTo>
                  <a:lnTo>
                    <a:pt x="1023" y="108"/>
                  </a:lnTo>
                  <a:lnTo>
                    <a:pt x="1023" y="111"/>
                  </a:lnTo>
                  <a:lnTo>
                    <a:pt x="1023" y="111"/>
                  </a:lnTo>
                  <a:lnTo>
                    <a:pt x="1023" y="111"/>
                  </a:lnTo>
                  <a:lnTo>
                    <a:pt x="1021" y="111"/>
                  </a:lnTo>
                  <a:lnTo>
                    <a:pt x="1021" y="111"/>
                  </a:lnTo>
                  <a:lnTo>
                    <a:pt x="1021" y="111"/>
                  </a:lnTo>
                  <a:lnTo>
                    <a:pt x="1019" y="111"/>
                  </a:lnTo>
                  <a:lnTo>
                    <a:pt x="1016" y="111"/>
                  </a:lnTo>
                  <a:lnTo>
                    <a:pt x="1014" y="111"/>
                  </a:lnTo>
                  <a:lnTo>
                    <a:pt x="1014" y="111"/>
                  </a:lnTo>
                  <a:lnTo>
                    <a:pt x="1019" y="108"/>
                  </a:lnTo>
                  <a:lnTo>
                    <a:pt x="1021" y="108"/>
                  </a:lnTo>
                  <a:lnTo>
                    <a:pt x="1021" y="106"/>
                  </a:lnTo>
                  <a:lnTo>
                    <a:pt x="1023" y="106"/>
                  </a:lnTo>
                  <a:lnTo>
                    <a:pt x="1021" y="106"/>
                  </a:lnTo>
                  <a:lnTo>
                    <a:pt x="1021" y="106"/>
                  </a:lnTo>
                  <a:lnTo>
                    <a:pt x="1019" y="106"/>
                  </a:lnTo>
                  <a:lnTo>
                    <a:pt x="1019" y="106"/>
                  </a:lnTo>
                  <a:lnTo>
                    <a:pt x="1019" y="104"/>
                  </a:lnTo>
                  <a:lnTo>
                    <a:pt x="1019" y="104"/>
                  </a:lnTo>
                  <a:lnTo>
                    <a:pt x="1016" y="104"/>
                  </a:lnTo>
                  <a:lnTo>
                    <a:pt x="1016" y="101"/>
                  </a:lnTo>
                  <a:lnTo>
                    <a:pt x="1014" y="101"/>
                  </a:lnTo>
                  <a:lnTo>
                    <a:pt x="1009" y="101"/>
                  </a:lnTo>
                  <a:lnTo>
                    <a:pt x="1009" y="101"/>
                  </a:lnTo>
                  <a:lnTo>
                    <a:pt x="1007" y="101"/>
                  </a:lnTo>
                  <a:lnTo>
                    <a:pt x="1004" y="101"/>
                  </a:lnTo>
                  <a:lnTo>
                    <a:pt x="1004" y="99"/>
                  </a:lnTo>
                  <a:lnTo>
                    <a:pt x="1007" y="99"/>
                  </a:lnTo>
                  <a:lnTo>
                    <a:pt x="1012" y="99"/>
                  </a:lnTo>
                  <a:lnTo>
                    <a:pt x="1016" y="101"/>
                  </a:lnTo>
                  <a:lnTo>
                    <a:pt x="1028" y="99"/>
                  </a:lnTo>
                  <a:lnTo>
                    <a:pt x="1030" y="99"/>
                  </a:lnTo>
                  <a:lnTo>
                    <a:pt x="1030" y="99"/>
                  </a:lnTo>
                  <a:lnTo>
                    <a:pt x="1030" y="99"/>
                  </a:lnTo>
                  <a:lnTo>
                    <a:pt x="1033" y="99"/>
                  </a:lnTo>
                  <a:lnTo>
                    <a:pt x="1014" y="97"/>
                  </a:lnTo>
                  <a:lnTo>
                    <a:pt x="1009" y="97"/>
                  </a:lnTo>
                  <a:lnTo>
                    <a:pt x="1009" y="97"/>
                  </a:lnTo>
                  <a:lnTo>
                    <a:pt x="1009" y="94"/>
                  </a:lnTo>
                  <a:lnTo>
                    <a:pt x="1009" y="94"/>
                  </a:lnTo>
                  <a:lnTo>
                    <a:pt x="1012" y="94"/>
                  </a:lnTo>
                  <a:lnTo>
                    <a:pt x="1012" y="94"/>
                  </a:lnTo>
                  <a:lnTo>
                    <a:pt x="1016" y="94"/>
                  </a:lnTo>
                  <a:lnTo>
                    <a:pt x="1019" y="97"/>
                  </a:lnTo>
                  <a:lnTo>
                    <a:pt x="1021" y="94"/>
                  </a:lnTo>
                  <a:lnTo>
                    <a:pt x="1021" y="94"/>
                  </a:lnTo>
                  <a:lnTo>
                    <a:pt x="1021" y="94"/>
                  </a:lnTo>
                  <a:lnTo>
                    <a:pt x="1019" y="94"/>
                  </a:lnTo>
                  <a:lnTo>
                    <a:pt x="1016" y="92"/>
                  </a:lnTo>
                  <a:lnTo>
                    <a:pt x="1014" y="92"/>
                  </a:lnTo>
                  <a:lnTo>
                    <a:pt x="1012" y="92"/>
                  </a:lnTo>
                  <a:lnTo>
                    <a:pt x="1009" y="92"/>
                  </a:lnTo>
                  <a:lnTo>
                    <a:pt x="1000" y="92"/>
                  </a:lnTo>
                  <a:lnTo>
                    <a:pt x="995" y="94"/>
                  </a:lnTo>
                  <a:lnTo>
                    <a:pt x="993" y="92"/>
                  </a:lnTo>
                  <a:lnTo>
                    <a:pt x="983" y="94"/>
                  </a:lnTo>
                  <a:lnTo>
                    <a:pt x="983" y="97"/>
                  </a:lnTo>
                  <a:lnTo>
                    <a:pt x="983" y="94"/>
                  </a:lnTo>
                  <a:lnTo>
                    <a:pt x="986" y="94"/>
                  </a:lnTo>
                  <a:lnTo>
                    <a:pt x="988" y="94"/>
                  </a:lnTo>
                  <a:lnTo>
                    <a:pt x="990" y="92"/>
                  </a:lnTo>
                  <a:lnTo>
                    <a:pt x="990" y="92"/>
                  </a:lnTo>
                  <a:lnTo>
                    <a:pt x="990" y="92"/>
                  </a:lnTo>
                  <a:lnTo>
                    <a:pt x="993" y="92"/>
                  </a:lnTo>
                  <a:lnTo>
                    <a:pt x="993" y="92"/>
                  </a:lnTo>
                  <a:lnTo>
                    <a:pt x="993" y="90"/>
                  </a:lnTo>
                  <a:lnTo>
                    <a:pt x="993" y="90"/>
                  </a:lnTo>
                  <a:lnTo>
                    <a:pt x="990" y="90"/>
                  </a:lnTo>
                  <a:lnTo>
                    <a:pt x="990" y="90"/>
                  </a:lnTo>
                  <a:lnTo>
                    <a:pt x="988" y="87"/>
                  </a:lnTo>
                  <a:lnTo>
                    <a:pt x="988" y="87"/>
                  </a:lnTo>
                  <a:lnTo>
                    <a:pt x="986" y="90"/>
                  </a:lnTo>
                  <a:lnTo>
                    <a:pt x="983" y="87"/>
                  </a:lnTo>
                  <a:lnTo>
                    <a:pt x="979" y="87"/>
                  </a:lnTo>
                  <a:lnTo>
                    <a:pt x="974" y="87"/>
                  </a:lnTo>
                  <a:lnTo>
                    <a:pt x="969" y="85"/>
                  </a:lnTo>
                  <a:lnTo>
                    <a:pt x="967" y="85"/>
                  </a:lnTo>
                  <a:lnTo>
                    <a:pt x="964" y="87"/>
                  </a:lnTo>
                  <a:lnTo>
                    <a:pt x="960" y="87"/>
                  </a:lnTo>
                  <a:lnTo>
                    <a:pt x="957" y="87"/>
                  </a:lnTo>
                  <a:lnTo>
                    <a:pt x="955" y="87"/>
                  </a:lnTo>
                  <a:lnTo>
                    <a:pt x="953" y="87"/>
                  </a:lnTo>
                  <a:lnTo>
                    <a:pt x="953" y="87"/>
                  </a:lnTo>
                  <a:close/>
                  <a:moveTo>
                    <a:pt x="953" y="149"/>
                  </a:moveTo>
                  <a:lnTo>
                    <a:pt x="955" y="146"/>
                  </a:lnTo>
                  <a:lnTo>
                    <a:pt x="957" y="144"/>
                  </a:lnTo>
                  <a:lnTo>
                    <a:pt x="960" y="144"/>
                  </a:lnTo>
                  <a:lnTo>
                    <a:pt x="960" y="144"/>
                  </a:lnTo>
                  <a:lnTo>
                    <a:pt x="962" y="144"/>
                  </a:lnTo>
                  <a:lnTo>
                    <a:pt x="967" y="142"/>
                  </a:lnTo>
                  <a:lnTo>
                    <a:pt x="969" y="139"/>
                  </a:lnTo>
                  <a:lnTo>
                    <a:pt x="971" y="139"/>
                  </a:lnTo>
                  <a:lnTo>
                    <a:pt x="974" y="139"/>
                  </a:lnTo>
                  <a:lnTo>
                    <a:pt x="971" y="137"/>
                  </a:lnTo>
                  <a:lnTo>
                    <a:pt x="971" y="137"/>
                  </a:lnTo>
                  <a:lnTo>
                    <a:pt x="967" y="137"/>
                  </a:lnTo>
                  <a:lnTo>
                    <a:pt x="960" y="135"/>
                  </a:lnTo>
                  <a:lnTo>
                    <a:pt x="957" y="137"/>
                  </a:lnTo>
                  <a:lnTo>
                    <a:pt x="950" y="137"/>
                  </a:lnTo>
                  <a:lnTo>
                    <a:pt x="950" y="137"/>
                  </a:lnTo>
                  <a:lnTo>
                    <a:pt x="950" y="135"/>
                  </a:lnTo>
                  <a:lnTo>
                    <a:pt x="948" y="135"/>
                  </a:lnTo>
                  <a:lnTo>
                    <a:pt x="948" y="135"/>
                  </a:lnTo>
                  <a:lnTo>
                    <a:pt x="943" y="135"/>
                  </a:lnTo>
                  <a:lnTo>
                    <a:pt x="941" y="132"/>
                  </a:lnTo>
                  <a:lnTo>
                    <a:pt x="938" y="132"/>
                  </a:lnTo>
                  <a:lnTo>
                    <a:pt x="934" y="135"/>
                  </a:lnTo>
                  <a:lnTo>
                    <a:pt x="931" y="135"/>
                  </a:lnTo>
                  <a:lnTo>
                    <a:pt x="924" y="135"/>
                  </a:lnTo>
                  <a:lnTo>
                    <a:pt x="922" y="135"/>
                  </a:lnTo>
                  <a:lnTo>
                    <a:pt x="917" y="135"/>
                  </a:lnTo>
                  <a:lnTo>
                    <a:pt x="917" y="135"/>
                  </a:lnTo>
                  <a:lnTo>
                    <a:pt x="915" y="137"/>
                  </a:lnTo>
                  <a:lnTo>
                    <a:pt x="915" y="137"/>
                  </a:lnTo>
                  <a:lnTo>
                    <a:pt x="913" y="137"/>
                  </a:lnTo>
                  <a:lnTo>
                    <a:pt x="913" y="137"/>
                  </a:lnTo>
                  <a:lnTo>
                    <a:pt x="913" y="137"/>
                  </a:lnTo>
                  <a:lnTo>
                    <a:pt x="913" y="139"/>
                  </a:lnTo>
                  <a:lnTo>
                    <a:pt x="913" y="142"/>
                  </a:lnTo>
                  <a:lnTo>
                    <a:pt x="913" y="142"/>
                  </a:lnTo>
                  <a:lnTo>
                    <a:pt x="915" y="142"/>
                  </a:lnTo>
                  <a:lnTo>
                    <a:pt x="915" y="142"/>
                  </a:lnTo>
                  <a:lnTo>
                    <a:pt x="913" y="142"/>
                  </a:lnTo>
                  <a:lnTo>
                    <a:pt x="910" y="142"/>
                  </a:lnTo>
                  <a:lnTo>
                    <a:pt x="908" y="139"/>
                  </a:lnTo>
                  <a:lnTo>
                    <a:pt x="905" y="139"/>
                  </a:lnTo>
                  <a:lnTo>
                    <a:pt x="903" y="142"/>
                  </a:lnTo>
                  <a:lnTo>
                    <a:pt x="903" y="142"/>
                  </a:lnTo>
                  <a:lnTo>
                    <a:pt x="903" y="142"/>
                  </a:lnTo>
                  <a:lnTo>
                    <a:pt x="901" y="142"/>
                  </a:lnTo>
                  <a:lnTo>
                    <a:pt x="901" y="144"/>
                  </a:lnTo>
                  <a:lnTo>
                    <a:pt x="896" y="146"/>
                  </a:lnTo>
                  <a:lnTo>
                    <a:pt x="894" y="151"/>
                  </a:lnTo>
                  <a:lnTo>
                    <a:pt x="894" y="151"/>
                  </a:lnTo>
                  <a:lnTo>
                    <a:pt x="891" y="153"/>
                  </a:lnTo>
                  <a:lnTo>
                    <a:pt x="889" y="153"/>
                  </a:lnTo>
                  <a:lnTo>
                    <a:pt x="889" y="156"/>
                  </a:lnTo>
                  <a:lnTo>
                    <a:pt x="887" y="156"/>
                  </a:lnTo>
                  <a:lnTo>
                    <a:pt x="887" y="156"/>
                  </a:lnTo>
                  <a:lnTo>
                    <a:pt x="887" y="161"/>
                  </a:lnTo>
                  <a:lnTo>
                    <a:pt x="884" y="163"/>
                  </a:lnTo>
                  <a:lnTo>
                    <a:pt x="882" y="168"/>
                  </a:lnTo>
                  <a:lnTo>
                    <a:pt x="877" y="170"/>
                  </a:lnTo>
                  <a:lnTo>
                    <a:pt x="880" y="170"/>
                  </a:lnTo>
                  <a:lnTo>
                    <a:pt x="887" y="170"/>
                  </a:lnTo>
                  <a:lnTo>
                    <a:pt x="887" y="170"/>
                  </a:lnTo>
                  <a:lnTo>
                    <a:pt x="891" y="170"/>
                  </a:lnTo>
                  <a:lnTo>
                    <a:pt x="894" y="170"/>
                  </a:lnTo>
                  <a:lnTo>
                    <a:pt x="896" y="168"/>
                  </a:lnTo>
                  <a:lnTo>
                    <a:pt x="898" y="165"/>
                  </a:lnTo>
                  <a:lnTo>
                    <a:pt x="905" y="163"/>
                  </a:lnTo>
                  <a:lnTo>
                    <a:pt x="908" y="163"/>
                  </a:lnTo>
                  <a:lnTo>
                    <a:pt x="908" y="161"/>
                  </a:lnTo>
                  <a:lnTo>
                    <a:pt x="908" y="161"/>
                  </a:lnTo>
                  <a:lnTo>
                    <a:pt x="908" y="161"/>
                  </a:lnTo>
                  <a:lnTo>
                    <a:pt x="908" y="158"/>
                  </a:lnTo>
                  <a:lnTo>
                    <a:pt x="908" y="158"/>
                  </a:lnTo>
                  <a:lnTo>
                    <a:pt x="905" y="158"/>
                  </a:lnTo>
                  <a:lnTo>
                    <a:pt x="903" y="158"/>
                  </a:lnTo>
                  <a:lnTo>
                    <a:pt x="913" y="156"/>
                  </a:lnTo>
                  <a:lnTo>
                    <a:pt x="915" y="156"/>
                  </a:lnTo>
                  <a:lnTo>
                    <a:pt x="927" y="158"/>
                  </a:lnTo>
                  <a:lnTo>
                    <a:pt x="929" y="158"/>
                  </a:lnTo>
                  <a:lnTo>
                    <a:pt x="931" y="158"/>
                  </a:lnTo>
                  <a:lnTo>
                    <a:pt x="936" y="156"/>
                  </a:lnTo>
                  <a:lnTo>
                    <a:pt x="938" y="153"/>
                  </a:lnTo>
                  <a:lnTo>
                    <a:pt x="943" y="153"/>
                  </a:lnTo>
                  <a:lnTo>
                    <a:pt x="946" y="151"/>
                  </a:lnTo>
                  <a:lnTo>
                    <a:pt x="948" y="149"/>
                  </a:lnTo>
                  <a:lnTo>
                    <a:pt x="948" y="149"/>
                  </a:lnTo>
                  <a:lnTo>
                    <a:pt x="946" y="149"/>
                  </a:lnTo>
                  <a:lnTo>
                    <a:pt x="950" y="149"/>
                  </a:lnTo>
                  <a:lnTo>
                    <a:pt x="953" y="149"/>
                  </a:lnTo>
                  <a:close/>
                  <a:moveTo>
                    <a:pt x="898" y="215"/>
                  </a:moveTo>
                  <a:lnTo>
                    <a:pt x="898" y="215"/>
                  </a:lnTo>
                  <a:lnTo>
                    <a:pt x="896" y="215"/>
                  </a:lnTo>
                  <a:lnTo>
                    <a:pt x="896" y="215"/>
                  </a:lnTo>
                  <a:lnTo>
                    <a:pt x="896" y="217"/>
                  </a:lnTo>
                  <a:lnTo>
                    <a:pt x="896" y="217"/>
                  </a:lnTo>
                  <a:lnTo>
                    <a:pt x="896" y="217"/>
                  </a:lnTo>
                  <a:lnTo>
                    <a:pt x="896" y="217"/>
                  </a:lnTo>
                  <a:lnTo>
                    <a:pt x="898" y="217"/>
                  </a:lnTo>
                  <a:lnTo>
                    <a:pt x="901" y="215"/>
                  </a:lnTo>
                  <a:lnTo>
                    <a:pt x="901" y="215"/>
                  </a:lnTo>
                  <a:lnTo>
                    <a:pt x="901" y="215"/>
                  </a:lnTo>
                  <a:lnTo>
                    <a:pt x="901" y="215"/>
                  </a:lnTo>
                  <a:lnTo>
                    <a:pt x="898" y="215"/>
                  </a:lnTo>
                  <a:close/>
                  <a:moveTo>
                    <a:pt x="922" y="243"/>
                  </a:moveTo>
                  <a:lnTo>
                    <a:pt x="922" y="243"/>
                  </a:lnTo>
                  <a:lnTo>
                    <a:pt x="922" y="243"/>
                  </a:lnTo>
                  <a:lnTo>
                    <a:pt x="922" y="243"/>
                  </a:lnTo>
                  <a:lnTo>
                    <a:pt x="922" y="246"/>
                  </a:lnTo>
                  <a:lnTo>
                    <a:pt x="924" y="246"/>
                  </a:lnTo>
                  <a:lnTo>
                    <a:pt x="924" y="246"/>
                  </a:lnTo>
                  <a:lnTo>
                    <a:pt x="924" y="246"/>
                  </a:lnTo>
                  <a:lnTo>
                    <a:pt x="927" y="243"/>
                  </a:lnTo>
                  <a:lnTo>
                    <a:pt x="927" y="243"/>
                  </a:lnTo>
                  <a:lnTo>
                    <a:pt x="929" y="243"/>
                  </a:lnTo>
                  <a:lnTo>
                    <a:pt x="929" y="241"/>
                  </a:lnTo>
                  <a:lnTo>
                    <a:pt x="931" y="241"/>
                  </a:lnTo>
                  <a:lnTo>
                    <a:pt x="931" y="239"/>
                  </a:lnTo>
                  <a:lnTo>
                    <a:pt x="931" y="239"/>
                  </a:lnTo>
                  <a:lnTo>
                    <a:pt x="934" y="236"/>
                  </a:lnTo>
                  <a:lnTo>
                    <a:pt x="934" y="236"/>
                  </a:lnTo>
                  <a:lnTo>
                    <a:pt x="934" y="236"/>
                  </a:lnTo>
                  <a:lnTo>
                    <a:pt x="931" y="234"/>
                  </a:lnTo>
                  <a:lnTo>
                    <a:pt x="929" y="236"/>
                  </a:lnTo>
                  <a:lnTo>
                    <a:pt x="927" y="236"/>
                  </a:lnTo>
                  <a:lnTo>
                    <a:pt x="927" y="239"/>
                  </a:lnTo>
                  <a:lnTo>
                    <a:pt x="924" y="239"/>
                  </a:lnTo>
                  <a:lnTo>
                    <a:pt x="924" y="239"/>
                  </a:lnTo>
                  <a:lnTo>
                    <a:pt x="924" y="239"/>
                  </a:lnTo>
                  <a:lnTo>
                    <a:pt x="924" y="241"/>
                  </a:lnTo>
                  <a:lnTo>
                    <a:pt x="922" y="241"/>
                  </a:lnTo>
                  <a:lnTo>
                    <a:pt x="922" y="243"/>
                  </a:lnTo>
                  <a:close/>
                  <a:moveTo>
                    <a:pt x="877" y="149"/>
                  </a:moveTo>
                  <a:lnTo>
                    <a:pt x="875" y="151"/>
                  </a:lnTo>
                  <a:lnTo>
                    <a:pt x="875" y="151"/>
                  </a:lnTo>
                  <a:lnTo>
                    <a:pt x="872" y="151"/>
                  </a:lnTo>
                  <a:lnTo>
                    <a:pt x="872" y="151"/>
                  </a:lnTo>
                  <a:lnTo>
                    <a:pt x="870" y="153"/>
                  </a:lnTo>
                  <a:lnTo>
                    <a:pt x="872" y="153"/>
                  </a:lnTo>
                  <a:lnTo>
                    <a:pt x="875" y="153"/>
                  </a:lnTo>
                  <a:lnTo>
                    <a:pt x="875" y="153"/>
                  </a:lnTo>
                  <a:lnTo>
                    <a:pt x="875" y="153"/>
                  </a:lnTo>
                  <a:lnTo>
                    <a:pt x="877" y="153"/>
                  </a:lnTo>
                  <a:lnTo>
                    <a:pt x="877" y="151"/>
                  </a:lnTo>
                  <a:lnTo>
                    <a:pt x="880" y="151"/>
                  </a:lnTo>
                  <a:lnTo>
                    <a:pt x="880" y="151"/>
                  </a:lnTo>
                  <a:lnTo>
                    <a:pt x="877" y="151"/>
                  </a:lnTo>
                  <a:lnTo>
                    <a:pt x="877" y="151"/>
                  </a:lnTo>
                  <a:lnTo>
                    <a:pt x="877" y="151"/>
                  </a:lnTo>
                  <a:lnTo>
                    <a:pt x="877" y="149"/>
                  </a:lnTo>
                  <a:close/>
                  <a:moveTo>
                    <a:pt x="957" y="106"/>
                  </a:moveTo>
                  <a:lnTo>
                    <a:pt x="960" y="106"/>
                  </a:lnTo>
                  <a:lnTo>
                    <a:pt x="960" y="106"/>
                  </a:lnTo>
                  <a:lnTo>
                    <a:pt x="960" y="106"/>
                  </a:lnTo>
                  <a:lnTo>
                    <a:pt x="960" y="106"/>
                  </a:lnTo>
                  <a:lnTo>
                    <a:pt x="960" y="104"/>
                  </a:lnTo>
                  <a:lnTo>
                    <a:pt x="960" y="104"/>
                  </a:lnTo>
                  <a:lnTo>
                    <a:pt x="962" y="104"/>
                  </a:lnTo>
                  <a:lnTo>
                    <a:pt x="962" y="104"/>
                  </a:lnTo>
                  <a:lnTo>
                    <a:pt x="962" y="104"/>
                  </a:lnTo>
                  <a:lnTo>
                    <a:pt x="957" y="104"/>
                  </a:lnTo>
                  <a:lnTo>
                    <a:pt x="957" y="104"/>
                  </a:lnTo>
                  <a:lnTo>
                    <a:pt x="955" y="104"/>
                  </a:lnTo>
                  <a:lnTo>
                    <a:pt x="955" y="104"/>
                  </a:lnTo>
                  <a:lnTo>
                    <a:pt x="955" y="104"/>
                  </a:lnTo>
                  <a:lnTo>
                    <a:pt x="955" y="104"/>
                  </a:lnTo>
                  <a:lnTo>
                    <a:pt x="955" y="106"/>
                  </a:lnTo>
                  <a:lnTo>
                    <a:pt x="955" y="106"/>
                  </a:lnTo>
                  <a:lnTo>
                    <a:pt x="955" y="106"/>
                  </a:lnTo>
                  <a:lnTo>
                    <a:pt x="955" y="106"/>
                  </a:lnTo>
                  <a:lnTo>
                    <a:pt x="955" y="106"/>
                  </a:lnTo>
                  <a:lnTo>
                    <a:pt x="957" y="106"/>
                  </a:lnTo>
                  <a:close/>
                  <a:moveTo>
                    <a:pt x="920" y="125"/>
                  </a:moveTo>
                  <a:lnTo>
                    <a:pt x="920" y="125"/>
                  </a:lnTo>
                  <a:lnTo>
                    <a:pt x="917" y="125"/>
                  </a:lnTo>
                  <a:lnTo>
                    <a:pt x="917" y="127"/>
                  </a:lnTo>
                  <a:lnTo>
                    <a:pt x="917" y="127"/>
                  </a:lnTo>
                  <a:lnTo>
                    <a:pt x="917" y="127"/>
                  </a:lnTo>
                  <a:lnTo>
                    <a:pt x="920" y="127"/>
                  </a:lnTo>
                  <a:lnTo>
                    <a:pt x="922" y="127"/>
                  </a:lnTo>
                  <a:lnTo>
                    <a:pt x="922" y="127"/>
                  </a:lnTo>
                  <a:lnTo>
                    <a:pt x="922" y="127"/>
                  </a:lnTo>
                  <a:lnTo>
                    <a:pt x="924" y="127"/>
                  </a:lnTo>
                  <a:lnTo>
                    <a:pt x="922" y="127"/>
                  </a:lnTo>
                  <a:lnTo>
                    <a:pt x="922" y="125"/>
                  </a:lnTo>
                  <a:lnTo>
                    <a:pt x="920" y="125"/>
                  </a:lnTo>
                  <a:close/>
                  <a:moveTo>
                    <a:pt x="917" y="118"/>
                  </a:moveTo>
                  <a:lnTo>
                    <a:pt x="917" y="118"/>
                  </a:lnTo>
                  <a:lnTo>
                    <a:pt x="915" y="120"/>
                  </a:lnTo>
                  <a:lnTo>
                    <a:pt x="915" y="120"/>
                  </a:lnTo>
                  <a:lnTo>
                    <a:pt x="917" y="120"/>
                  </a:lnTo>
                  <a:lnTo>
                    <a:pt x="917" y="120"/>
                  </a:lnTo>
                  <a:lnTo>
                    <a:pt x="917" y="120"/>
                  </a:lnTo>
                  <a:lnTo>
                    <a:pt x="917" y="120"/>
                  </a:lnTo>
                  <a:lnTo>
                    <a:pt x="917" y="120"/>
                  </a:lnTo>
                  <a:lnTo>
                    <a:pt x="920" y="120"/>
                  </a:lnTo>
                  <a:lnTo>
                    <a:pt x="920" y="120"/>
                  </a:lnTo>
                  <a:lnTo>
                    <a:pt x="922" y="123"/>
                  </a:lnTo>
                  <a:lnTo>
                    <a:pt x="927" y="123"/>
                  </a:lnTo>
                  <a:lnTo>
                    <a:pt x="929" y="123"/>
                  </a:lnTo>
                  <a:lnTo>
                    <a:pt x="931" y="125"/>
                  </a:lnTo>
                  <a:lnTo>
                    <a:pt x="931" y="125"/>
                  </a:lnTo>
                  <a:lnTo>
                    <a:pt x="931" y="125"/>
                  </a:lnTo>
                  <a:lnTo>
                    <a:pt x="934" y="125"/>
                  </a:lnTo>
                  <a:lnTo>
                    <a:pt x="938" y="125"/>
                  </a:lnTo>
                  <a:lnTo>
                    <a:pt x="941" y="125"/>
                  </a:lnTo>
                  <a:lnTo>
                    <a:pt x="946" y="125"/>
                  </a:lnTo>
                  <a:lnTo>
                    <a:pt x="948" y="125"/>
                  </a:lnTo>
                  <a:lnTo>
                    <a:pt x="948" y="125"/>
                  </a:lnTo>
                  <a:lnTo>
                    <a:pt x="948" y="125"/>
                  </a:lnTo>
                  <a:lnTo>
                    <a:pt x="950" y="123"/>
                  </a:lnTo>
                  <a:lnTo>
                    <a:pt x="950" y="123"/>
                  </a:lnTo>
                  <a:lnTo>
                    <a:pt x="950" y="123"/>
                  </a:lnTo>
                  <a:lnTo>
                    <a:pt x="953" y="123"/>
                  </a:lnTo>
                  <a:lnTo>
                    <a:pt x="953" y="120"/>
                  </a:lnTo>
                  <a:lnTo>
                    <a:pt x="953" y="120"/>
                  </a:lnTo>
                  <a:lnTo>
                    <a:pt x="955" y="118"/>
                  </a:lnTo>
                  <a:lnTo>
                    <a:pt x="955" y="118"/>
                  </a:lnTo>
                  <a:lnTo>
                    <a:pt x="955" y="118"/>
                  </a:lnTo>
                  <a:lnTo>
                    <a:pt x="957" y="118"/>
                  </a:lnTo>
                  <a:lnTo>
                    <a:pt x="957" y="116"/>
                  </a:lnTo>
                  <a:lnTo>
                    <a:pt x="957" y="116"/>
                  </a:lnTo>
                  <a:lnTo>
                    <a:pt x="957" y="113"/>
                  </a:lnTo>
                  <a:lnTo>
                    <a:pt x="957" y="113"/>
                  </a:lnTo>
                  <a:lnTo>
                    <a:pt x="955" y="111"/>
                  </a:lnTo>
                  <a:lnTo>
                    <a:pt x="955" y="108"/>
                  </a:lnTo>
                  <a:lnTo>
                    <a:pt x="953" y="108"/>
                  </a:lnTo>
                  <a:lnTo>
                    <a:pt x="950" y="108"/>
                  </a:lnTo>
                  <a:lnTo>
                    <a:pt x="948" y="108"/>
                  </a:lnTo>
                  <a:lnTo>
                    <a:pt x="938" y="111"/>
                  </a:lnTo>
                  <a:lnTo>
                    <a:pt x="934" y="111"/>
                  </a:lnTo>
                  <a:lnTo>
                    <a:pt x="931" y="113"/>
                  </a:lnTo>
                  <a:lnTo>
                    <a:pt x="929" y="113"/>
                  </a:lnTo>
                  <a:lnTo>
                    <a:pt x="927" y="116"/>
                  </a:lnTo>
                  <a:lnTo>
                    <a:pt x="927" y="116"/>
                  </a:lnTo>
                  <a:lnTo>
                    <a:pt x="924" y="116"/>
                  </a:lnTo>
                  <a:lnTo>
                    <a:pt x="922" y="116"/>
                  </a:lnTo>
                  <a:lnTo>
                    <a:pt x="917" y="118"/>
                  </a:lnTo>
                  <a:lnTo>
                    <a:pt x="917" y="118"/>
                  </a:lnTo>
                  <a:close/>
                  <a:moveTo>
                    <a:pt x="922" y="113"/>
                  </a:moveTo>
                  <a:lnTo>
                    <a:pt x="922" y="113"/>
                  </a:lnTo>
                  <a:lnTo>
                    <a:pt x="924" y="113"/>
                  </a:lnTo>
                  <a:lnTo>
                    <a:pt x="927" y="111"/>
                  </a:lnTo>
                  <a:lnTo>
                    <a:pt x="929" y="111"/>
                  </a:lnTo>
                  <a:lnTo>
                    <a:pt x="929" y="111"/>
                  </a:lnTo>
                  <a:lnTo>
                    <a:pt x="931" y="111"/>
                  </a:lnTo>
                  <a:lnTo>
                    <a:pt x="931" y="111"/>
                  </a:lnTo>
                  <a:lnTo>
                    <a:pt x="934" y="111"/>
                  </a:lnTo>
                  <a:lnTo>
                    <a:pt x="934" y="111"/>
                  </a:lnTo>
                  <a:lnTo>
                    <a:pt x="934" y="111"/>
                  </a:lnTo>
                  <a:lnTo>
                    <a:pt x="934" y="108"/>
                  </a:lnTo>
                  <a:lnTo>
                    <a:pt x="931" y="108"/>
                  </a:lnTo>
                  <a:lnTo>
                    <a:pt x="931" y="108"/>
                  </a:lnTo>
                  <a:lnTo>
                    <a:pt x="931" y="108"/>
                  </a:lnTo>
                  <a:lnTo>
                    <a:pt x="929" y="108"/>
                  </a:lnTo>
                  <a:lnTo>
                    <a:pt x="929" y="111"/>
                  </a:lnTo>
                  <a:lnTo>
                    <a:pt x="922" y="111"/>
                  </a:lnTo>
                  <a:lnTo>
                    <a:pt x="922" y="111"/>
                  </a:lnTo>
                  <a:lnTo>
                    <a:pt x="920" y="111"/>
                  </a:lnTo>
                  <a:lnTo>
                    <a:pt x="920" y="113"/>
                  </a:lnTo>
                  <a:lnTo>
                    <a:pt x="920" y="113"/>
                  </a:lnTo>
                  <a:lnTo>
                    <a:pt x="920" y="113"/>
                  </a:lnTo>
                  <a:lnTo>
                    <a:pt x="922" y="113"/>
                  </a:lnTo>
                  <a:close/>
                  <a:moveTo>
                    <a:pt x="995" y="75"/>
                  </a:moveTo>
                  <a:lnTo>
                    <a:pt x="993" y="75"/>
                  </a:lnTo>
                  <a:lnTo>
                    <a:pt x="988" y="75"/>
                  </a:lnTo>
                  <a:lnTo>
                    <a:pt x="986" y="75"/>
                  </a:lnTo>
                  <a:lnTo>
                    <a:pt x="983" y="75"/>
                  </a:lnTo>
                  <a:lnTo>
                    <a:pt x="976" y="75"/>
                  </a:lnTo>
                  <a:lnTo>
                    <a:pt x="976" y="75"/>
                  </a:lnTo>
                  <a:lnTo>
                    <a:pt x="974" y="75"/>
                  </a:lnTo>
                  <a:lnTo>
                    <a:pt x="974" y="78"/>
                  </a:lnTo>
                  <a:lnTo>
                    <a:pt x="974" y="78"/>
                  </a:lnTo>
                  <a:lnTo>
                    <a:pt x="974" y="80"/>
                  </a:lnTo>
                  <a:lnTo>
                    <a:pt x="974" y="80"/>
                  </a:lnTo>
                  <a:lnTo>
                    <a:pt x="993" y="80"/>
                  </a:lnTo>
                  <a:lnTo>
                    <a:pt x="1000" y="80"/>
                  </a:lnTo>
                  <a:lnTo>
                    <a:pt x="1000" y="80"/>
                  </a:lnTo>
                  <a:lnTo>
                    <a:pt x="1002" y="80"/>
                  </a:lnTo>
                  <a:lnTo>
                    <a:pt x="1004" y="80"/>
                  </a:lnTo>
                  <a:lnTo>
                    <a:pt x="1009" y="78"/>
                  </a:lnTo>
                  <a:lnTo>
                    <a:pt x="1012" y="75"/>
                  </a:lnTo>
                  <a:lnTo>
                    <a:pt x="1012" y="75"/>
                  </a:lnTo>
                  <a:lnTo>
                    <a:pt x="1012" y="75"/>
                  </a:lnTo>
                  <a:lnTo>
                    <a:pt x="1009" y="75"/>
                  </a:lnTo>
                  <a:lnTo>
                    <a:pt x="1009" y="75"/>
                  </a:lnTo>
                  <a:lnTo>
                    <a:pt x="1002" y="75"/>
                  </a:lnTo>
                  <a:lnTo>
                    <a:pt x="995" y="75"/>
                  </a:lnTo>
                  <a:close/>
                  <a:moveTo>
                    <a:pt x="1139" y="149"/>
                  </a:moveTo>
                  <a:lnTo>
                    <a:pt x="1136" y="149"/>
                  </a:lnTo>
                  <a:lnTo>
                    <a:pt x="1134" y="146"/>
                  </a:lnTo>
                  <a:lnTo>
                    <a:pt x="1134" y="146"/>
                  </a:lnTo>
                  <a:lnTo>
                    <a:pt x="1134" y="146"/>
                  </a:lnTo>
                  <a:lnTo>
                    <a:pt x="1134" y="144"/>
                  </a:lnTo>
                  <a:lnTo>
                    <a:pt x="1134" y="144"/>
                  </a:lnTo>
                  <a:lnTo>
                    <a:pt x="1127" y="142"/>
                  </a:lnTo>
                  <a:lnTo>
                    <a:pt x="1122" y="142"/>
                  </a:lnTo>
                  <a:lnTo>
                    <a:pt x="1108" y="142"/>
                  </a:lnTo>
                  <a:lnTo>
                    <a:pt x="1108" y="142"/>
                  </a:lnTo>
                  <a:lnTo>
                    <a:pt x="1103" y="142"/>
                  </a:lnTo>
                  <a:lnTo>
                    <a:pt x="1101" y="142"/>
                  </a:lnTo>
                  <a:lnTo>
                    <a:pt x="1099" y="139"/>
                  </a:lnTo>
                  <a:lnTo>
                    <a:pt x="1096" y="139"/>
                  </a:lnTo>
                  <a:lnTo>
                    <a:pt x="1094" y="139"/>
                  </a:lnTo>
                  <a:lnTo>
                    <a:pt x="1092" y="139"/>
                  </a:lnTo>
                  <a:lnTo>
                    <a:pt x="1092" y="142"/>
                  </a:lnTo>
                  <a:lnTo>
                    <a:pt x="1092" y="142"/>
                  </a:lnTo>
                  <a:lnTo>
                    <a:pt x="1089" y="144"/>
                  </a:lnTo>
                  <a:lnTo>
                    <a:pt x="1089" y="144"/>
                  </a:lnTo>
                  <a:lnTo>
                    <a:pt x="1089" y="144"/>
                  </a:lnTo>
                  <a:lnTo>
                    <a:pt x="1089" y="144"/>
                  </a:lnTo>
                  <a:lnTo>
                    <a:pt x="1089" y="144"/>
                  </a:lnTo>
                  <a:lnTo>
                    <a:pt x="1087" y="146"/>
                  </a:lnTo>
                  <a:lnTo>
                    <a:pt x="1087" y="146"/>
                  </a:lnTo>
                  <a:lnTo>
                    <a:pt x="1087" y="146"/>
                  </a:lnTo>
                  <a:lnTo>
                    <a:pt x="1087" y="149"/>
                  </a:lnTo>
                  <a:lnTo>
                    <a:pt x="1087" y="149"/>
                  </a:lnTo>
                  <a:lnTo>
                    <a:pt x="1092" y="149"/>
                  </a:lnTo>
                  <a:lnTo>
                    <a:pt x="1092" y="149"/>
                  </a:lnTo>
                  <a:lnTo>
                    <a:pt x="1092" y="151"/>
                  </a:lnTo>
                  <a:lnTo>
                    <a:pt x="1092" y="151"/>
                  </a:lnTo>
                  <a:lnTo>
                    <a:pt x="1089" y="153"/>
                  </a:lnTo>
                  <a:lnTo>
                    <a:pt x="1089" y="156"/>
                  </a:lnTo>
                  <a:lnTo>
                    <a:pt x="1089" y="156"/>
                  </a:lnTo>
                  <a:lnTo>
                    <a:pt x="1092" y="156"/>
                  </a:lnTo>
                  <a:lnTo>
                    <a:pt x="1094" y="158"/>
                  </a:lnTo>
                  <a:lnTo>
                    <a:pt x="1096" y="158"/>
                  </a:lnTo>
                  <a:lnTo>
                    <a:pt x="1099" y="156"/>
                  </a:lnTo>
                  <a:lnTo>
                    <a:pt x="1108" y="156"/>
                  </a:lnTo>
                  <a:lnTo>
                    <a:pt x="1110" y="156"/>
                  </a:lnTo>
                  <a:lnTo>
                    <a:pt x="1118" y="156"/>
                  </a:lnTo>
                  <a:lnTo>
                    <a:pt x="1127" y="156"/>
                  </a:lnTo>
                  <a:lnTo>
                    <a:pt x="1134" y="156"/>
                  </a:lnTo>
                  <a:lnTo>
                    <a:pt x="1139" y="156"/>
                  </a:lnTo>
                  <a:lnTo>
                    <a:pt x="1139" y="156"/>
                  </a:lnTo>
                  <a:lnTo>
                    <a:pt x="1139" y="153"/>
                  </a:lnTo>
                  <a:lnTo>
                    <a:pt x="1139" y="153"/>
                  </a:lnTo>
                  <a:lnTo>
                    <a:pt x="1139" y="153"/>
                  </a:lnTo>
                  <a:lnTo>
                    <a:pt x="1141" y="151"/>
                  </a:lnTo>
                  <a:lnTo>
                    <a:pt x="1139" y="151"/>
                  </a:lnTo>
                  <a:lnTo>
                    <a:pt x="1139" y="151"/>
                  </a:lnTo>
                  <a:lnTo>
                    <a:pt x="1139" y="151"/>
                  </a:lnTo>
                  <a:lnTo>
                    <a:pt x="1139" y="149"/>
                  </a:lnTo>
                  <a:lnTo>
                    <a:pt x="1139" y="149"/>
                  </a:lnTo>
                  <a:close/>
                  <a:moveTo>
                    <a:pt x="1040" y="82"/>
                  </a:moveTo>
                  <a:lnTo>
                    <a:pt x="1044" y="82"/>
                  </a:lnTo>
                  <a:lnTo>
                    <a:pt x="1044" y="82"/>
                  </a:lnTo>
                  <a:lnTo>
                    <a:pt x="1047" y="82"/>
                  </a:lnTo>
                  <a:lnTo>
                    <a:pt x="1047" y="82"/>
                  </a:lnTo>
                  <a:lnTo>
                    <a:pt x="1047" y="80"/>
                  </a:lnTo>
                  <a:lnTo>
                    <a:pt x="1049" y="80"/>
                  </a:lnTo>
                  <a:lnTo>
                    <a:pt x="1047" y="80"/>
                  </a:lnTo>
                  <a:lnTo>
                    <a:pt x="1047" y="78"/>
                  </a:lnTo>
                  <a:lnTo>
                    <a:pt x="1044" y="78"/>
                  </a:lnTo>
                  <a:lnTo>
                    <a:pt x="1042" y="78"/>
                  </a:lnTo>
                  <a:lnTo>
                    <a:pt x="1040" y="78"/>
                  </a:lnTo>
                  <a:lnTo>
                    <a:pt x="1037" y="78"/>
                  </a:lnTo>
                  <a:lnTo>
                    <a:pt x="1035" y="78"/>
                  </a:lnTo>
                  <a:lnTo>
                    <a:pt x="1035" y="78"/>
                  </a:lnTo>
                  <a:lnTo>
                    <a:pt x="1033" y="78"/>
                  </a:lnTo>
                  <a:lnTo>
                    <a:pt x="1033" y="80"/>
                  </a:lnTo>
                  <a:lnTo>
                    <a:pt x="1030" y="80"/>
                  </a:lnTo>
                  <a:lnTo>
                    <a:pt x="1030" y="80"/>
                  </a:lnTo>
                  <a:lnTo>
                    <a:pt x="1030" y="82"/>
                  </a:lnTo>
                  <a:lnTo>
                    <a:pt x="1037" y="82"/>
                  </a:lnTo>
                  <a:lnTo>
                    <a:pt x="1040" y="82"/>
                  </a:lnTo>
                  <a:close/>
                  <a:moveTo>
                    <a:pt x="1037" y="47"/>
                  </a:moveTo>
                  <a:lnTo>
                    <a:pt x="1026" y="47"/>
                  </a:lnTo>
                  <a:lnTo>
                    <a:pt x="1021" y="47"/>
                  </a:lnTo>
                  <a:lnTo>
                    <a:pt x="1021" y="49"/>
                  </a:lnTo>
                  <a:lnTo>
                    <a:pt x="1016" y="49"/>
                  </a:lnTo>
                  <a:lnTo>
                    <a:pt x="1019" y="49"/>
                  </a:lnTo>
                  <a:lnTo>
                    <a:pt x="1021" y="52"/>
                  </a:lnTo>
                  <a:lnTo>
                    <a:pt x="1021" y="52"/>
                  </a:lnTo>
                  <a:lnTo>
                    <a:pt x="1023" y="52"/>
                  </a:lnTo>
                  <a:lnTo>
                    <a:pt x="1026" y="52"/>
                  </a:lnTo>
                  <a:lnTo>
                    <a:pt x="1033" y="49"/>
                  </a:lnTo>
                  <a:lnTo>
                    <a:pt x="1033" y="49"/>
                  </a:lnTo>
                  <a:lnTo>
                    <a:pt x="1035" y="49"/>
                  </a:lnTo>
                  <a:lnTo>
                    <a:pt x="1037" y="49"/>
                  </a:lnTo>
                  <a:lnTo>
                    <a:pt x="1037" y="49"/>
                  </a:lnTo>
                  <a:lnTo>
                    <a:pt x="1035" y="52"/>
                  </a:lnTo>
                  <a:lnTo>
                    <a:pt x="1035" y="52"/>
                  </a:lnTo>
                  <a:lnTo>
                    <a:pt x="1035" y="52"/>
                  </a:lnTo>
                  <a:lnTo>
                    <a:pt x="1035" y="52"/>
                  </a:lnTo>
                  <a:lnTo>
                    <a:pt x="1035" y="52"/>
                  </a:lnTo>
                  <a:lnTo>
                    <a:pt x="1042" y="52"/>
                  </a:lnTo>
                  <a:lnTo>
                    <a:pt x="1044" y="52"/>
                  </a:lnTo>
                  <a:lnTo>
                    <a:pt x="1049" y="49"/>
                  </a:lnTo>
                  <a:lnTo>
                    <a:pt x="1052" y="49"/>
                  </a:lnTo>
                  <a:lnTo>
                    <a:pt x="1054" y="49"/>
                  </a:lnTo>
                  <a:lnTo>
                    <a:pt x="1056" y="49"/>
                  </a:lnTo>
                  <a:lnTo>
                    <a:pt x="1056" y="49"/>
                  </a:lnTo>
                  <a:lnTo>
                    <a:pt x="1063" y="52"/>
                  </a:lnTo>
                  <a:lnTo>
                    <a:pt x="1068" y="49"/>
                  </a:lnTo>
                  <a:lnTo>
                    <a:pt x="1068" y="52"/>
                  </a:lnTo>
                  <a:lnTo>
                    <a:pt x="1061" y="52"/>
                  </a:lnTo>
                  <a:lnTo>
                    <a:pt x="1052" y="52"/>
                  </a:lnTo>
                  <a:lnTo>
                    <a:pt x="1049" y="54"/>
                  </a:lnTo>
                  <a:lnTo>
                    <a:pt x="1047" y="54"/>
                  </a:lnTo>
                  <a:lnTo>
                    <a:pt x="1042" y="54"/>
                  </a:lnTo>
                  <a:lnTo>
                    <a:pt x="1040" y="54"/>
                  </a:lnTo>
                  <a:lnTo>
                    <a:pt x="1030" y="56"/>
                  </a:lnTo>
                  <a:lnTo>
                    <a:pt x="1028" y="56"/>
                  </a:lnTo>
                  <a:lnTo>
                    <a:pt x="1026" y="56"/>
                  </a:lnTo>
                  <a:lnTo>
                    <a:pt x="1026" y="56"/>
                  </a:lnTo>
                  <a:lnTo>
                    <a:pt x="1026" y="56"/>
                  </a:lnTo>
                  <a:lnTo>
                    <a:pt x="1028" y="59"/>
                  </a:lnTo>
                  <a:lnTo>
                    <a:pt x="1033" y="59"/>
                  </a:lnTo>
                  <a:lnTo>
                    <a:pt x="1035" y="59"/>
                  </a:lnTo>
                  <a:lnTo>
                    <a:pt x="1033" y="59"/>
                  </a:lnTo>
                  <a:lnTo>
                    <a:pt x="1030" y="59"/>
                  </a:lnTo>
                  <a:lnTo>
                    <a:pt x="1028" y="59"/>
                  </a:lnTo>
                  <a:lnTo>
                    <a:pt x="1028" y="59"/>
                  </a:lnTo>
                  <a:lnTo>
                    <a:pt x="1028" y="61"/>
                  </a:lnTo>
                  <a:lnTo>
                    <a:pt x="1028" y="61"/>
                  </a:lnTo>
                  <a:lnTo>
                    <a:pt x="1030" y="61"/>
                  </a:lnTo>
                  <a:lnTo>
                    <a:pt x="1030" y="61"/>
                  </a:lnTo>
                  <a:lnTo>
                    <a:pt x="1033" y="61"/>
                  </a:lnTo>
                  <a:lnTo>
                    <a:pt x="1035" y="61"/>
                  </a:lnTo>
                  <a:lnTo>
                    <a:pt x="1044" y="64"/>
                  </a:lnTo>
                  <a:lnTo>
                    <a:pt x="1044" y="64"/>
                  </a:lnTo>
                  <a:lnTo>
                    <a:pt x="1040" y="64"/>
                  </a:lnTo>
                  <a:lnTo>
                    <a:pt x="1033" y="64"/>
                  </a:lnTo>
                  <a:lnTo>
                    <a:pt x="1030" y="64"/>
                  </a:lnTo>
                  <a:lnTo>
                    <a:pt x="1030" y="64"/>
                  </a:lnTo>
                  <a:lnTo>
                    <a:pt x="1033" y="66"/>
                  </a:lnTo>
                  <a:lnTo>
                    <a:pt x="1035" y="66"/>
                  </a:lnTo>
                  <a:lnTo>
                    <a:pt x="1037" y="68"/>
                  </a:lnTo>
                  <a:lnTo>
                    <a:pt x="1042" y="68"/>
                  </a:lnTo>
                  <a:lnTo>
                    <a:pt x="1049" y="68"/>
                  </a:lnTo>
                  <a:lnTo>
                    <a:pt x="1052" y="68"/>
                  </a:lnTo>
                  <a:lnTo>
                    <a:pt x="1054" y="68"/>
                  </a:lnTo>
                  <a:lnTo>
                    <a:pt x="1056" y="68"/>
                  </a:lnTo>
                  <a:lnTo>
                    <a:pt x="1056" y="68"/>
                  </a:lnTo>
                  <a:lnTo>
                    <a:pt x="1056" y="68"/>
                  </a:lnTo>
                  <a:lnTo>
                    <a:pt x="1056" y="68"/>
                  </a:lnTo>
                  <a:lnTo>
                    <a:pt x="1054" y="66"/>
                  </a:lnTo>
                  <a:lnTo>
                    <a:pt x="1054" y="66"/>
                  </a:lnTo>
                  <a:lnTo>
                    <a:pt x="1056" y="66"/>
                  </a:lnTo>
                  <a:lnTo>
                    <a:pt x="1059" y="66"/>
                  </a:lnTo>
                  <a:lnTo>
                    <a:pt x="1061" y="66"/>
                  </a:lnTo>
                  <a:lnTo>
                    <a:pt x="1061" y="66"/>
                  </a:lnTo>
                  <a:lnTo>
                    <a:pt x="1061" y="68"/>
                  </a:lnTo>
                  <a:lnTo>
                    <a:pt x="1063" y="68"/>
                  </a:lnTo>
                  <a:lnTo>
                    <a:pt x="1063" y="68"/>
                  </a:lnTo>
                  <a:lnTo>
                    <a:pt x="1063" y="68"/>
                  </a:lnTo>
                  <a:lnTo>
                    <a:pt x="1066" y="68"/>
                  </a:lnTo>
                  <a:lnTo>
                    <a:pt x="1066" y="68"/>
                  </a:lnTo>
                  <a:lnTo>
                    <a:pt x="1066" y="68"/>
                  </a:lnTo>
                  <a:lnTo>
                    <a:pt x="1066" y="66"/>
                  </a:lnTo>
                  <a:lnTo>
                    <a:pt x="1066" y="66"/>
                  </a:lnTo>
                  <a:lnTo>
                    <a:pt x="1066" y="64"/>
                  </a:lnTo>
                  <a:lnTo>
                    <a:pt x="1066" y="64"/>
                  </a:lnTo>
                  <a:lnTo>
                    <a:pt x="1068" y="61"/>
                  </a:lnTo>
                  <a:lnTo>
                    <a:pt x="1068" y="61"/>
                  </a:lnTo>
                  <a:lnTo>
                    <a:pt x="1068" y="64"/>
                  </a:lnTo>
                  <a:lnTo>
                    <a:pt x="1068" y="64"/>
                  </a:lnTo>
                  <a:lnTo>
                    <a:pt x="1070" y="66"/>
                  </a:lnTo>
                  <a:lnTo>
                    <a:pt x="1070" y="68"/>
                  </a:lnTo>
                  <a:lnTo>
                    <a:pt x="1073" y="68"/>
                  </a:lnTo>
                  <a:lnTo>
                    <a:pt x="1073" y="68"/>
                  </a:lnTo>
                  <a:lnTo>
                    <a:pt x="1075" y="68"/>
                  </a:lnTo>
                  <a:lnTo>
                    <a:pt x="1075" y="68"/>
                  </a:lnTo>
                  <a:lnTo>
                    <a:pt x="1080" y="66"/>
                  </a:lnTo>
                  <a:lnTo>
                    <a:pt x="1080" y="66"/>
                  </a:lnTo>
                  <a:lnTo>
                    <a:pt x="1082" y="64"/>
                  </a:lnTo>
                  <a:lnTo>
                    <a:pt x="1082" y="64"/>
                  </a:lnTo>
                  <a:lnTo>
                    <a:pt x="1082" y="61"/>
                  </a:lnTo>
                  <a:lnTo>
                    <a:pt x="1082" y="61"/>
                  </a:lnTo>
                  <a:lnTo>
                    <a:pt x="1085" y="61"/>
                  </a:lnTo>
                  <a:lnTo>
                    <a:pt x="1087" y="64"/>
                  </a:lnTo>
                  <a:lnTo>
                    <a:pt x="1087" y="64"/>
                  </a:lnTo>
                  <a:lnTo>
                    <a:pt x="1089" y="64"/>
                  </a:lnTo>
                  <a:lnTo>
                    <a:pt x="1092" y="64"/>
                  </a:lnTo>
                  <a:lnTo>
                    <a:pt x="1092" y="64"/>
                  </a:lnTo>
                  <a:lnTo>
                    <a:pt x="1092" y="61"/>
                  </a:lnTo>
                  <a:lnTo>
                    <a:pt x="1092" y="61"/>
                  </a:lnTo>
                  <a:lnTo>
                    <a:pt x="1092" y="61"/>
                  </a:lnTo>
                  <a:lnTo>
                    <a:pt x="1089" y="61"/>
                  </a:lnTo>
                  <a:lnTo>
                    <a:pt x="1089" y="61"/>
                  </a:lnTo>
                  <a:lnTo>
                    <a:pt x="1092" y="61"/>
                  </a:lnTo>
                  <a:lnTo>
                    <a:pt x="1092" y="59"/>
                  </a:lnTo>
                  <a:lnTo>
                    <a:pt x="1094" y="59"/>
                  </a:lnTo>
                  <a:lnTo>
                    <a:pt x="1096" y="56"/>
                  </a:lnTo>
                  <a:lnTo>
                    <a:pt x="1099" y="56"/>
                  </a:lnTo>
                  <a:lnTo>
                    <a:pt x="1099" y="56"/>
                  </a:lnTo>
                  <a:lnTo>
                    <a:pt x="1101" y="56"/>
                  </a:lnTo>
                  <a:lnTo>
                    <a:pt x="1103" y="56"/>
                  </a:lnTo>
                  <a:lnTo>
                    <a:pt x="1101" y="56"/>
                  </a:lnTo>
                  <a:lnTo>
                    <a:pt x="1099" y="56"/>
                  </a:lnTo>
                  <a:lnTo>
                    <a:pt x="1099" y="56"/>
                  </a:lnTo>
                  <a:lnTo>
                    <a:pt x="1099" y="59"/>
                  </a:lnTo>
                  <a:lnTo>
                    <a:pt x="1096" y="59"/>
                  </a:lnTo>
                  <a:lnTo>
                    <a:pt x="1096" y="59"/>
                  </a:lnTo>
                  <a:lnTo>
                    <a:pt x="1096" y="61"/>
                  </a:lnTo>
                  <a:lnTo>
                    <a:pt x="1099" y="61"/>
                  </a:lnTo>
                  <a:lnTo>
                    <a:pt x="1101" y="61"/>
                  </a:lnTo>
                  <a:lnTo>
                    <a:pt x="1106" y="59"/>
                  </a:lnTo>
                  <a:lnTo>
                    <a:pt x="1108" y="59"/>
                  </a:lnTo>
                  <a:lnTo>
                    <a:pt x="1108" y="56"/>
                  </a:lnTo>
                  <a:lnTo>
                    <a:pt x="1110" y="56"/>
                  </a:lnTo>
                  <a:lnTo>
                    <a:pt x="1113" y="56"/>
                  </a:lnTo>
                  <a:lnTo>
                    <a:pt x="1113" y="56"/>
                  </a:lnTo>
                  <a:lnTo>
                    <a:pt x="1115" y="56"/>
                  </a:lnTo>
                  <a:lnTo>
                    <a:pt x="1118" y="56"/>
                  </a:lnTo>
                  <a:lnTo>
                    <a:pt x="1125" y="54"/>
                  </a:lnTo>
                  <a:lnTo>
                    <a:pt x="1134" y="54"/>
                  </a:lnTo>
                  <a:lnTo>
                    <a:pt x="1136" y="52"/>
                  </a:lnTo>
                  <a:lnTo>
                    <a:pt x="1139" y="52"/>
                  </a:lnTo>
                  <a:lnTo>
                    <a:pt x="1141" y="52"/>
                  </a:lnTo>
                  <a:lnTo>
                    <a:pt x="1139" y="49"/>
                  </a:lnTo>
                  <a:lnTo>
                    <a:pt x="1139" y="49"/>
                  </a:lnTo>
                  <a:lnTo>
                    <a:pt x="1139" y="47"/>
                  </a:lnTo>
                  <a:lnTo>
                    <a:pt x="1139" y="47"/>
                  </a:lnTo>
                  <a:lnTo>
                    <a:pt x="1136" y="47"/>
                  </a:lnTo>
                  <a:lnTo>
                    <a:pt x="1136" y="47"/>
                  </a:lnTo>
                  <a:lnTo>
                    <a:pt x="1132" y="49"/>
                  </a:lnTo>
                  <a:lnTo>
                    <a:pt x="1132" y="49"/>
                  </a:lnTo>
                  <a:lnTo>
                    <a:pt x="1132" y="47"/>
                  </a:lnTo>
                  <a:lnTo>
                    <a:pt x="1132" y="47"/>
                  </a:lnTo>
                  <a:lnTo>
                    <a:pt x="1132" y="47"/>
                  </a:lnTo>
                  <a:lnTo>
                    <a:pt x="1132" y="47"/>
                  </a:lnTo>
                  <a:lnTo>
                    <a:pt x="1127" y="47"/>
                  </a:lnTo>
                  <a:lnTo>
                    <a:pt x="1125" y="47"/>
                  </a:lnTo>
                  <a:lnTo>
                    <a:pt x="1122" y="47"/>
                  </a:lnTo>
                  <a:lnTo>
                    <a:pt x="1120" y="47"/>
                  </a:lnTo>
                  <a:lnTo>
                    <a:pt x="1120" y="47"/>
                  </a:lnTo>
                  <a:lnTo>
                    <a:pt x="1120" y="47"/>
                  </a:lnTo>
                  <a:lnTo>
                    <a:pt x="1122" y="47"/>
                  </a:lnTo>
                  <a:lnTo>
                    <a:pt x="1127" y="45"/>
                  </a:lnTo>
                  <a:lnTo>
                    <a:pt x="1129" y="42"/>
                  </a:lnTo>
                  <a:lnTo>
                    <a:pt x="1129" y="42"/>
                  </a:lnTo>
                  <a:lnTo>
                    <a:pt x="1129" y="40"/>
                  </a:lnTo>
                  <a:lnTo>
                    <a:pt x="1127" y="40"/>
                  </a:lnTo>
                  <a:lnTo>
                    <a:pt x="1125" y="40"/>
                  </a:lnTo>
                  <a:lnTo>
                    <a:pt x="1122" y="40"/>
                  </a:lnTo>
                  <a:lnTo>
                    <a:pt x="1122" y="40"/>
                  </a:lnTo>
                  <a:lnTo>
                    <a:pt x="1122" y="40"/>
                  </a:lnTo>
                  <a:lnTo>
                    <a:pt x="1127" y="40"/>
                  </a:lnTo>
                  <a:lnTo>
                    <a:pt x="1127" y="38"/>
                  </a:lnTo>
                  <a:lnTo>
                    <a:pt x="1129" y="38"/>
                  </a:lnTo>
                  <a:lnTo>
                    <a:pt x="1129" y="38"/>
                  </a:lnTo>
                  <a:lnTo>
                    <a:pt x="1129" y="35"/>
                  </a:lnTo>
                  <a:lnTo>
                    <a:pt x="1127" y="35"/>
                  </a:lnTo>
                  <a:lnTo>
                    <a:pt x="1125" y="35"/>
                  </a:lnTo>
                  <a:lnTo>
                    <a:pt x="1122" y="35"/>
                  </a:lnTo>
                  <a:lnTo>
                    <a:pt x="1120" y="35"/>
                  </a:lnTo>
                  <a:lnTo>
                    <a:pt x="1118" y="35"/>
                  </a:lnTo>
                  <a:lnTo>
                    <a:pt x="1118" y="38"/>
                  </a:lnTo>
                  <a:lnTo>
                    <a:pt x="1118" y="38"/>
                  </a:lnTo>
                  <a:lnTo>
                    <a:pt x="1118" y="38"/>
                  </a:lnTo>
                  <a:lnTo>
                    <a:pt x="1118" y="38"/>
                  </a:lnTo>
                  <a:lnTo>
                    <a:pt x="1120" y="40"/>
                  </a:lnTo>
                  <a:lnTo>
                    <a:pt x="1120" y="40"/>
                  </a:lnTo>
                  <a:lnTo>
                    <a:pt x="1118" y="40"/>
                  </a:lnTo>
                  <a:lnTo>
                    <a:pt x="1118" y="40"/>
                  </a:lnTo>
                  <a:lnTo>
                    <a:pt x="1115" y="40"/>
                  </a:lnTo>
                  <a:lnTo>
                    <a:pt x="1113" y="40"/>
                  </a:lnTo>
                  <a:lnTo>
                    <a:pt x="1110" y="38"/>
                  </a:lnTo>
                  <a:lnTo>
                    <a:pt x="1110" y="38"/>
                  </a:lnTo>
                  <a:lnTo>
                    <a:pt x="1110" y="38"/>
                  </a:lnTo>
                  <a:lnTo>
                    <a:pt x="1113" y="35"/>
                  </a:lnTo>
                  <a:lnTo>
                    <a:pt x="1113" y="35"/>
                  </a:lnTo>
                  <a:lnTo>
                    <a:pt x="1113" y="35"/>
                  </a:lnTo>
                  <a:lnTo>
                    <a:pt x="1113" y="35"/>
                  </a:lnTo>
                  <a:lnTo>
                    <a:pt x="1115" y="35"/>
                  </a:lnTo>
                  <a:lnTo>
                    <a:pt x="1115" y="35"/>
                  </a:lnTo>
                  <a:lnTo>
                    <a:pt x="1115" y="35"/>
                  </a:lnTo>
                  <a:lnTo>
                    <a:pt x="1115" y="35"/>
                  </a:lnTo>
                  <a:lnTo>
                    <a:pt x="1113" y="33"/>
                  </a:lnTo>
                  <a:lnTo>
                    <a:pt x="1110" y="33"/>
                  </a:lnTo>
                  <a:lnTo>
                    <a:pt x="1110" y="33"/>
                  </a:lnTo>
                  <a:lnTo>
                    <a:pt x="1108" y="35"/>
                  </a:lnTo>
                  <a:lnTo>
                    <a:pt x="1106" y="35"/>
                  </a:lnTo>
                  <a:lnTo>
                    <a:pt x="1103" y="33"/>
                  </a:lnTo>
                  <a:lnTo>
                    <a:pt x="1101" y="33"/>
                  </a:lnTo>
                  <a:lnTo>
                    <a:pt x="1099" y="33"/>
                  </a:lnTo>
                  <a:lnTo>
                    <a:pt x="1101" y="33"/>
                  </a:lnTo>
                  <a:lnTo>
                    <a:pt x="1101" y="33"/>
                  </a:lnTo>
                  <a:lnTo>
                    <a:pt x="1101" y="33"/>
                  </a:lnTo>
                  <a:lnTo>
                    <a:pt x="1099" y="30"/>
                  </a:lnTo>
                  <a:lnTo>
                    <a:pt x="1099" y="30"/>
                  </a:lnTo>
                  <a:lnTo>
                    <a:pt x="1096" y="26"/>
                  </a:lnTo>
                  <a:lnTo>
                    <a:pt x="1096" y="26"/>
                  </a:lnTo>
                  <a:lnTo>
                    <a:pt x="1096" y="26"/>
                  </a:lnTo>
                  <a:lnTo>
                    <a:pt x="1094" y="23"/>
                  </a:lnTo>
                  <a:lnTo>
                    <a:pt x="1094" y="23"/>
                  </a:lnTo>
                  <a:lnTo>
                    <a:pt x="1087" y="23"/>
                  </a:lnTo>
                  <a:lnTo>
                    <a:pt x="1085" y="23"/>
                  </a:lnTo>
                  <a:lnTo>
                    <a:pt x="1080" y="23"/>
                  </a:lnTo>
                  <a:lnTo>
                    <a:pt x="1075" y="23"/>
                  </a:lnTo>
                  <a:lnTo>
                    <a:pt x="1075" y="23"/>
                  </a:lnTo>
                  <a:lnTo>
                    <a:pt x="1073" y="23"/>
                  </a:lnTo>
                  <a:lnTo>
                    <a:pt x="1073" y="23"/>
                  </a:lnTo>
                  <a:lnTo>
                    <a:pt x="1073" y="23"/>
                  </a:lnTo>
                  <a:lnTo>
                    <a:pt x="1073" y="23"/>
                  </a:lnTo>
                  <a:lnTo>
                    <a:pt x="1073" y="23"/>
                  </a:lnTo>
                  <a:lnTo>
                    <a:pt x="1073" y="23"/>
                  </a:lnTo>
                  <a:lnTo>
                    <a:pt x="1075" y="26"/>
                  </a:lnTo>
                  <a:lnTo>
                    <a:pt x="1080" y="26"/>
                  </a:lnTo>
                  <a:lnTo>
                    <a:pt x="1082" y="26"/>
                  </a:lnTo>
                  <a:lnTo>
                    <a:pt x="1082" y="26"/>
                  </a:lnTo>
                  <a:lnTo>
                    <a:pt x="1080" y="26"/>
                  </a:lnTo>
                  <a:lnTo>
                    <a:pt x="1080" y="26"/>
                  </a:lnTo>
                  <a:lnTo>
                    <a:pt x="1077" y="26"/>
                  </a:lnTo>
                  <a:lnTo>
                    <a:pt x="1077" y="26"/>
                  </a:lnTo>
                  <a:lnTo>
                    <a:pt x="1073" y="26"/>
                  </a:lnTo>
                  <a:lnTo>
                    <a:pt x="1068" y="26"/>
                  </a:lnTo>
                  <a:lnTo>
                    <a:pt x="1063" y="28"/>
                  </a:lnTo>
                  <a:lnTo>
                    <a:pt x="1059" y="26"/>
                  </a:lnTo>
                  <a:lnTo>
                    <a:pt x="1056" y="28"/>
                  </a:lnTo>
                  <a:lnTo>
                    <a:pt x="1049" y="30"/>
                  </a:lnTo>
                  <a:lnTo>
                    <a:pt x="1049" y="30"/>
                  </a:lnTo>
                  <a:lnTo>
                    <a:pt x="1052" y="30"/>
                  </a:lnTo>
                  <a:lnTo>
                    <a:pt x="1056" y="30"/>
                  </a:lnTo>
                  <a:lnTo>
                    <a:pt x="1056" y="33"/>
                  </a:lnTo>
                  <a:lnTo>
                    <a:pt x="1059" y="33"/>
                  </a:lnTo>
                  <a:lnTo>
                    <a:pt x="1061" y="33"/>
                  </a:lnTo>
                  <a:lnTo>
                    <a:pt x="1061" y="33"/>
                  </a:lnTo>
                  <a:lnTo>
                    <a:pt x="1056" y="33"/>
                  </a:lnTo>
                  <a:lnTo>
                    <a:pt x="1052" y="33"/>
                  </a:lnTo>
                  <a:lnTo>
                    <a:pt x="1052" y="33"/>
                  </a:lnTo>
                  <a:lnTo>
                    <a:pt x="1052" y="33"/>
                  </a:lnTo>
                  <a:lnTo>
                    <a:pt x="1049" y="33"/>
                  </a:lnTo>
                  <a:lnTo>
                    <a:pt x="1047" y="33"/>
                  </a:lnTo>
                  <a:lnTo>
                    <a:pt x="1044" y="30"/>
                  </a:lnTo>
                  <a:lnTo>
                    <a:pt x="1042" y="30"/>
                  </a:lnTo>
                  <a:lnTo>
                    <a:pt x="1040" y="33"/>
                  </a:lnTo>
                  <a:lnTo>
                    <a:pt x="1035" y="33"/>
                  </a:lnTo>
                  <a:lnTo>
                    <a:pt x="1037" y="35"/>
                  </a:lnTo>
                  <a:lnTo>
                    <a:pt x="1040" y="35"/>
                  </a:lnTo>
                  <a:lnTo>
                    <a:pt x="1040" y="35"/>
                  </a:lnTo>
                  <a:lnTo>
                    <a:pt x="1037" y="35"/>
                  </a:lnTo>
                  <a:lnTo>
                    <a:pt x="1035" y="35"/>
                  </a:lnTo>
                  <a:lnTo>
                    <a:pt x="1033" y="35"/>
                  </a:lnTo>
                  <a:lnTo>
                    <a:pt x="1030" y="38"/>
                  </a:lnTo>
                  <a:lnTo>
                    <a:pt x="1028" y="38"/>
                  </a:lnTo>
                  <a:lnTo>
                    <a:pt x="1028" y="38"/>
                  </a:lnTo>
                  <a:lnTo>
                    <a:pt x="1028" y="38"/>
                  </a:lnTo>
                  <a:lnTo>
                    <a:pt x="1028" y="38"/>
                  </a:lnTo>
                  <a:lnTo>
                    <a:pt x="1028" y="38"/>
                  </a:lnTo>
                  <a:lnTo>
                    <a:pt x="1030" y="38"/>
                  </a:lnTo>
                  <a:lnTo>
                    <a:pt x="1033" y="38"/>
                  </a:lnTo>
                  <a:lnTo>
                    <a:pt x="1035" y="38"/>
                  </a:lnTo>
                  <a:lnTo>
                    <a:pt x="1035" y="40"/>
                  </a:lnTo>
                  <a:lnTo>
                    <a:pt x="1037" y="40"/>
                  </a:lnTo>
                  <a:lnTo>
                    <a:pt x="1047" y="38"/>
                  </a:lnTo>
                  <a:lnTo>
                    <a:pt x="1049" y="38"/>
                  </a:lnTo>
                  <a:lnTo>
                    <a:pt x="1049" y="40"/>
                  </a:lnTo>
                  <a:lnTo>
                    <a:pt x="1044" y="40"/>
                  </a:lnTo>
                  <a:lnTo>
                    <a:pt x="1044" y="40"/>
                  </a:lnTo>
                  <a:lnTo>
                    <a:pt x="1044" y="40"/>
                  </a:lnTo>
                  <a:lnTo>
                    <a:pt x="1044" y="40"/>
                  </a:lnTo>
                  <a:lnTo>
                    <a:pt x="1044" y="40"/>
                  </a:lnTo>
                  <a:lnTo>
                    <a:pt x="1042" y="40"/>
                  </a:lnTo>
                  <a:lnTo>
                    <a:pt x="1035" y="40"/>
                  </a:lnTo>
                  <a:lnTo>
                    <a:pt x="1030" y="40"/>
                  </a:lnTo>
                  <a:lnTo>
                    <a:pt x="1021" y="40"/>
                  </a:lnTo>
                  <a:lnTo>
                    <a:pt x="1019" y="40"/>
                  </a:lnTo>
                  <a:lnTo>
                    <a:pt x="1019" y="42"/>
                  </a:lnTo>
                  <a:lnTo>
                    <a:pt x="1019" y="42"/>
                  </a:lnTo>
                  <a:lnTo>
                    <a:pt x="1019" y="45"/>
                  </a:lnTo>
                  <a:lnTo>
                    <a:pt x="1021" y="45"/>
                  </a:lnTo>
                  <a:lnTo>
                    <a:pt x="1021" y="47"/>
                  </a:lnTo>
                  <a:lnTo>
                    <a:pt x="1023" y="47"/>
                  </a:lnTo>
                  <a:lnTo>
                    <a:pt x="1023" y="47"/>
                  </a:lnTo>
                  <a:lnTo>
                    <a:pt x="1028" y="47"/>
                  </a:lnTo>
                  <a:lnTo>
                    <a:pt x="1030" y="47"/>
                  </a:lnTo>
                  <a:lnTo>
                    <a:pt x="1037" y="45"/>
                  </a:lnTo>
                  <a:lnTo>
                    <a:pt x="1040" y="45"/>
                  </a:lnTo>
                  <a:lnTo>
                    <a:pt x="1037" y="47"/>
                  </a:lnTo>
                  <a:lnTo>
                    <a:pt x="1037" y="47"/>
                  </a:lnTo>
                  <a:close/>
                  <a:moveTo>
                    <a:pt x="1030" y="94"/>
                  </a:moveTo>
                  <a:lnTo>
                    <a:pt x="1030" y="92"/>
                  </a:lnTo>
                  <a:lnTo>
                    <a:pt x="1033" y="92"/>
                  </a:lnTo>
                  <a:lnTo>
                    <a:pt x="1035" y="92"/>
                  </a:lnTo>
                  <a:lnTo>
                    <a:pt x="1035" y="92"/>
                  </a:lnTo>
                  <a:lnTo>
                    <a:pt x="1035" y="92"/>
                  </a:lnTo>
                  <a:lnTo>
                    <a:pt x="1035" y="90"/>
                  </a:lnTo>
                  <a:lnTo>
                    <a:pt x="1035" y="90"/>
                  </a:lnTo>
                  <a:lnTo>
                    <a:pt x="1033" y="90"/>
                  </a:lnTo>
                  <a:lnTo>
                    <a:pt x="1030" y="90"/>
                  </a:lnTo>
                  <a:lnTo>
                    <a:pt x="1028" y="90"/>
                  </a:lnTo>
                  <a:lnTo>
                    <a:pt x="1026" y="90"/>
                  </a:lnTo>
                  <a:lnTo>
                    <a:pt x="1026" y="92"/>
                  </a:lnTo>
                  <a:lnTo>
                    <a:pt x="1023" y="92"/>
                  </a:lnTo>
                  <a:lnTo>
                    <a:pt x="1023" y="92"/>
                  </a:lnTo>
                  <a:lnTo>
                    <a:pt x="1026" y="94"/>
                  </a:lnTo>
                  <a:lnTo>
                    <a:pt x="1026" y="94"/>
                  </a:lnTo>
                  <a:lnTo>
                    <a:pt x="1026" y="94"/>
                  </a:lnTo>
                  <a:lnTo>
                    <a:pt x="1026" y="94"/>
                  </a:lnTo>
                  <a:lnTo>
                    <a:pt x="1028" y="94"/>
                  </a:lnTo>
                  <a:lnTo>
                    <a:pt x="1030" y="94"/>
                  </a:lnTo>
                  <a:lnTo>
                    <a:pt x="1030" y="94"/>
                  </a:lnTo>
                  <a:lnTo>
                    <a:pt x="1030" y="94"/>
                  </a:lnTo>
                  <a:lnTo>
                    <a:pt x="1030" y="94"/>
                  </a:lnTo>
                  <a:lnTo>
                    <a:pt x="1030" y="94"/>
                  </a:lnTo>
                  <a:lnTo>
                    <a:pt x="1030" y="94"/>
                  </a:lnTo>
                  <a:close/>
                  <a:moveTo>
                    <a:pt x="969" y="73"/>
                  </a:moveTo>
                  <a:lnTo>
                    <a:pt x="971" y="73"/>
                  </a:lnTo>
                  <a:lnTo>
                    <a:pt x="969" y="73"/>
                  </a:lnTo>
                  <a:lnTo>
                    <a:pt x="969" y="73"/>
                  </a:lnTo>
                  <a:lnTo>
                    <a:pt x="969" y="73"/>
                  </a:lnTo>
                  <a:lnTo>
                    <a:pt x="969" y="75"/>
                  </a:lnTo>
                  <a:lnTo>
                    <a:pt x="971" y="73"/>
                  </a:lnTo>
                  <a:lnTo>
                    <a:pt x="974" y="73"/>
                  </a:lnTo>
                  <a:lnTo>
                    <a:pt x="976" y="73"/>
                  </a:lnTo>
                  <a:lnTo>
                    <a:pt x="981" y="73"/>
                  </a:lnTo>
                  <a:lnTo>
                    <a:pt x="988" y="73"/>
                  </a:lnTo>
                  <a:lnTo>
                    <a:pt x="990" y="71"/>
                  </a:lnTo>
                  <a:lnTo>
                    <a:pt x="990" y="71"/>
                  </a:lnTo>
                  <a:lnTo>
                    <a:pt x="993" y="71"/>
                  </a:lnTo>
                  <a:lnTo>
                    <a:pt x="995" y="71"/>
                  </a:lnTo>
                  <a:lnTo>
                    <a:pt x="1000" y="71"/>
                  </a:lnTo>
                  <a:lnTo>
                    <a:pt x="1000" y="71"/>
                  </a:lnTo>
                  <a:lnTo>
                    <a:pt x="1000" y="68"/>
                  </a:lnTo>
                  <a:lnTo>
                    <a:pt x="1000" y="68"/>
                  </a:lnTo>
                  <a:lnTo>
                    <a:pt x="997" y="68"/>
                  </a:lnTo>
                  <a:lnTo>
                    <a:pt x="1000" y="68"/>
                  </a:lnTo>
                  <a:lnTo>
                    <a:pt x="1002" y="66"/>
                  </a:lnTo>
                  <a:lnTo>
                    <a:pt x="1004" y="66"/>
                  </a:lnTo>
                  <a:lnTo>
                    <a:pt x="1004" y="66"/>
                  </a:lnTo>
                  <a:lnTo>
                    <a:pt x="1004" y="66"/>
                  </a:lnTo>
                  <a:lnTo>
                    <a:pt x="1004" y="64"/>
                  </a:lnTo>
                  <a:lnTo>
                    <a:pt x="1002" y="64"/>
                  </a:lnTo>
                  <a:lnTo>
                    <a:pt x="1000" y="64"/>
                  </a:lnTo>
                  <a:lnTo>
                    <a:pt x="995" y="64"/>
                  </a:lnTo>
                  <a:lnTo>
                    <a:pt x="993" y="64"/>
                  </a:lnTo>
                  <a:lnTo>
                    <a:pt x="993" y="64"/>
                  </a:lnTo>
                  <a:lnTo>
                    <a:pt x="993" y="64"/>
                  </a:lnTo>
                  <a:lnTo>
                    <a:pt x="993" y="61"/>
                  </a:lnTo>
                  <a:lnTo>
                    <a:pt x="993" y="61"/>
                  </a:lnTo>
                  <a:lnTo>
                    <a:pt x="993" y="61"/>
                  </a:lnTo>
                  <a:lnTo>
                    <a:pt x="988" y="61"/>
                  </a:lnTo>
                  <a:lnTo>
                    <a:pt x="986" y="59"/>
                  </a:lnTo>
                  <a:lnTo>
                    <a:pt x="986" y="59"/>
                  </a:lnTo>
                  <a:lnTo>
                    <a:pt x="983" y="59"/>
                  </a:lnTo>
                  <a:lnTo>
                    <a:pt x="976" y="59"/>
                  </a:lnTo>
                  <a:lnTo>
                    <a:pt x="976" y="59"/>
                  </a:lnTo>
                  <a:lnTo>
                    <a:pt x="974" y="59"/>
                  </a:lnTo>
                  <a:lnTo>
                    <a:pt x="971" y="59"/>
                  </a:lnTo>
                  <a:lnTo>
                    <a:pt x="971" y="61"/>
                  </a:lnTo>
                  <a:lnTo>
                    <a:pt x="971" y="61"/>
                  </a:lnTo>
                  <a:lnTo>
                    <a:pt x="971" y="64"/>
                  </a:lnTo>
                  <a:lnTo>
                    <a:pt x="967" y="64"/>
                  </a:lnTo>
                  <a:lnTo>
                    <a:pt x="967" y="64"/>
                  </a:lnTo>
                  <a:lnTo>
                    <a:pt x="967" y="64"/>
                  </a:lnTo>
                  <a:lnTo>
                    <a:pt x="967" y="64"/>
                  </a:lnTo>
                  <a:lnTo>
                    <a:pt x="967" y="64"/>
                  </a:lnTo>
                  <a:lnTo>
                    <a:pt x="967" y="66"/>
                  </a:lnTo>
                  <a:lnTo>
                    <a:pt x="969" y="66"/>
                  </a:lnTo>
                  <a:lnTo>
                    <a:pt x="967" y="66"/>
                  </a:lnTo>
                  <a:lnTo>
                    <a:pt x="969" y="68"/>
                  </a:lnTo>
                  <a:lnTo>
                    <a:pt x="967" y="68"/>
                  </a:lnTo>
                  <a:lnTo>
                    <a:pt x="974" y="68"/>
                  </a:lnTo>
                  <a:lnTo>
                    <a:pt x="976" y="68"/>
                  </a:lnTo>
                  <a:lnTo>
                    <a:pt x="976" y="68"/>
                  </a:lnTo>
                  <a:lnTo>
                    <a:pt x="976" y="68"/>
                  </a:lnTo>
                  <a:lnTo>
                    <a:pt x="974" y="68"/>
                  </a:lnTo>
                  <a:lnTo>
                    <a:pt x="971" y="71"/>
                  </a:lnTo>
                  <a:lnTo>
                    <a:pt x="967" y="71"/>
                  </a:lnTo>
                  <a:lnTo>
                    <a:pt x="967" y="71"/>
                  </a:lnTo>
                  <a:lnTo>
                    <a:pt x="967" y="71"/>
                  </a:lnTo>
                  <a:lnTo>
                    <a:pt x="967" y="71"/>
                  </a:lnTo>
                  <a:lnTo>
                    <a:pt x="969" y="73"/>
                  </a:lnTo>
                  <a:close/>
                  <a:moveTo>
                    <a:pt x="979" y="42"/>
                  </a:moveTo>
                  <a:lnTo>
                    <a:pt x="983" y="42"/>
                  </a:lnTo>
                  <a:lnTo>
                    <a:pt x="983" y="45"/>
                  </a:lnTo>
                  <a:lnTo>
                    <a:pt x="983" y="45"/>
                  </a:lnTo>
                  <a:lnTo>
                    <a:pt x="983" y="45"/>
                  </a:lnTo>
                  <a:lnTo>
                    <a:pt x="983" y="45"/>
                  </a:lnTo>
                  <a:lnTo>
                    <a:pt x="986" y="45"/>
                  </a:lnTo>
                  <a:lnTo>
                    <a:pt x="988" y="45"/>
                  </a:lnTo>
                  <a:lnTo>
                    <a:pt x="988" y="45"/>
                  </a:lnTo>
                  <a:lnTo>
                    <a:pt x="990" y="45"/>
                  </a:lnTo>
                  <a:lnTo>
                    <a:pt x="990" y="45"/>
                  </a:lnTo>
                  <a:lnTo>
                    <a:pt x="993" y="42"/>
                  </a:lnTo>
                  <a:lnTo>
                    <a:pt x="995" y="40"/>
                  </a:lnTo>
                  <a:lnTo>
                    <a:pt x="995" y="40"/>
                  </a:lnTo>
                  <a:lnTo>
                    <a:pt x="993" y="40"/>
                  </a:lnTo>
                  <a:lnTo>
                    <a:pt x="993" y="40"/>
                  </a:lnTo>
                  <a:lnTo>
                    <a:pt x="990" y="40"/>
                  </a:lnTo>
                  <a:lnTo>
                    <a:pt x="986" y="40"/>
                  </a:lnTo>
                  <a:lnTo>
                    <a:pt x="986" y="40"/>
                  </a:lnTo>
                  <a:lnTo>
                    <a:pt x="981" y="40"/>
                  </a:lnTo>
                  <a:lnTo>
                    <a:pt x="981" y="40"/>
                  </a:lnTo>
                  <a:lnTo>
                    <a:pt x="979" y="40"/>
                  </a:lnTo>
                  <a:lnTo>
                    <a:pt x="979" y="42"/>
                  </a:lnTo>
                  <a:lnTo>
                    <a:pt x="976" y="42"/>
                  </a:lnTo>
                  <a:lnTo>
                    <a:pt x="976" y="42"/>
                  </a:lnTo>
                  <a:lnTo>
                    <a:pt x="979" y="42"/>
                  </a:lnTo>
                  <a:lnTo>
                    <a:pt x="979" y="42"/>
                  </a:lnTo>
                  <a:close/>
                  <a:moveTo>
                    <a:pt x="905" y="75"/>
                  </a:moveTo>
                  <a:lnTo>
                    <a:pt x="908" y="75"/>
                  </a:lnTo>
                  <a:lnTo>
                    <a:pt x="910" y="75"/>
                  </a:lnTo>
                  <a:lnTo>
                    <a:pt x="913" y="75"/>
                  </a:lnTo>
                  <a:lnTo>
                    <a:pt x="915" y="75"/>
                  </a:lnTo>
                  <a:lnTo>
                    <a:pt x="920" y="75"/>
                  </a:lnTo>
                  <a:lnTo>
                    <a:pt x="920" y="75"/>
                  </a:lnTo>
                  <a:lnTo>
                    <a:pt x="920" y="75"/>
                  </a:lnTo>
                  <a:lnTo>
                    <a:pt x="920" y="73"/>
                  </a:lnTo>
                  <a:lnTo>
                    <a:pt x="920" y="73"/>
                  </a:lnTo>
                  <a:lnTo>
                    <a:pt x="917" y="73"/>
                  </a:lnTo>
                  <a:lnTo>
                    <a:pt x="915" y="73"/>
                  </a:lnTo>
                  <a:lnTo>
                    <a:pt x="913" y="73"/>
                  </a:lnTo>
                  <a:lnTo>
                    <a:pt x="908" y="73"/>
                  </a:lnTo>
                  <a:lnTo>
                    <a:pt x="905" y="73"/>
                  </a:lnTo>
                  <a:lnTo>
                    <a:pt x="905" y="73"/>
                  </a:lnTo>
                  <a:lnTo>
                    <a:pt x="903" y="73"/>
                  </a:lnTo>
                  <a:lnTo>
                    <a:pt x="903" y="75"/>
                  </a:lnTo>
                  <a:lnTo>
                    <a:pt x="903" y="75"/>
                  </a:lnTo>
                  <a:lnTo>
                    <a:pt x="905" y="75"/>
                  </a:lnTo>
                  <a:close/>
                  <a:moveTo>
                    <a:pt x="781" y="227"/>
                  </a:moveTo>
                  <a:lnTo>
                    <a:pt x="781" y="227"/>
                  </a:lnTo>
                  <a:lnTo>
                    <a:pt x="781" y="227"/>
                  </a:lnTo>
                  <a:lnTo>
                    <a:pt x="785" y="229"/>
                  </a:lnTo>
                  <a:lnTo>
                    <a:pt x="788" y="229"/>
                  </a:lnTo>
                  <a:lnTo>
                    <a:pt x="788" y="231"/>
                  </a:lnTo>
                  <a:lnTo>
                    <a:pt x="790" y="231"/>
                  </a:lnTo>
                  <a:lnTo>
                    <a:pt x="795" y="231"/>
                  </a:lnTo>
                  <a:lnTo>
                    <a:pt x="799" y="231"/>
                  </a:lnTo>
                  <a:lnTo>
                    <a:pt x="802" y="231"/>
                  </a:lnTo>
                  <a:lnTo>
                    <a:pt x="804" y="231"/>
                  </a:lnTo>
                  <a:lnTo>
                    <a:pt x="809" y="229"/>
                  </a:lnTo>
                  <a:lnTo>
                    <a:pt x="811" y="229"/>
                  </a:lnTo>
                  <a:lnTo>
                    <a:pt x="814" y="229"/>
                  </a:lnTo>
                  <a:lnTo>
                    <a:pt x="816" y="227"/>
                  </a:lnTo>
                  <a:lnTo>
                    <a:pt x="816" y="227"/>
                  </a:lnTo>
                  <a:lnTo>
                    <a:pt x="818" y="227"/>
                  </a:lnTo>
                  <a:lnTo>
                    <a:pt x="821" y="227"/>
                  </a:lnTo>
                  <a:lnTo>
                    <a:pt x="823" y="227"/>
                  </a:lnTo>
                  <a:lnTo>
                    <a:pt x="823" y="224"/>
                  </a:lnTo>
                  <a:lnTo>
                    <a:pt x="823" y="224"/>
                  </a:lnTo>
                  <a:lnTo>
                    <a:pt x="823" y="224"/>
                  </a:lnTo>
                  <a:lnTo>
                    <a:pt x="821" y="224"/>
                  </a:lnTo>
                  <a:lnTo>
                    <a:pt x="818" y="224"/>
                  </a:lnTo>
                  <a:lnTo>
                    <a:pt x="818" y="224"/>
                  </a:lnTo>
                  <a:lnTo>
                    <a:pt x="818" y="224"/>
                  </a:lnTo>
                  <a:lnTo>
                    <a:pt x="816" y="222"/>
                  </a:lnTo>
                  <a:lnTo>
                    <a:pt x="818" y="220"/>
                  </a:lnTo>
                  <a:lnTo>
                    <a:pt x="818" y="217"/>
                  </a:lnTo>
                  <a:lnTo>
                    <a:pt x="818" y="217"/>
                  </a:lnTo>
                  <a:lnTo>
                    <a:pt x="814" y="215"/>
                  </a:lnTo>
                  <a:lnTo>
                    <a:pt x="814" y="213"/>
                  </a:lnTo>
                  <a:lnTo>
                    <a:pt x="811" y="213"/>
                  </a:lnTo>
                  <a:lnTo>
                    <a:pt x="811" y="213"/>
                  </a:lnTo>
                  <a:lnTo>
                    <a:pt x="811" y="210"/>
                  </a:lnTo>
                  <a:lnTo>
                    <a:pt x="811" y="210"/>
                  </a:lnTo>
                  <a:lnTo>
                    <a:pt x="809" y="210"/>
                  </a:lnTo>
                  <a:lnTo>
                    <a:pt x="809" y="210"/>
                  </a:lnTo>
                  <a:lnTo>
                    <a:pt x="806" y="210"/>
                  </a:lnTo>
                  <a:lnTo>
                    <a:pt x="806" y="210"/>
                  </a:lnTo>
                  <a:lnTo>
                    <a:pt x="806" y="210"/>
                  </a:lnTo>
                  <a:lnTo>
                    <a:pt x="809" y="210"/>
                  </a:lnTo>
                  <a:lnTo>
                    <a:pt x="809" y="210"/>
                  </a:lnTo>
                  <a:lnTo>
                    <a:pt x="809" y="210"/>
                  </a:lnTo>
                  <a:lnTo>
                    <a:pt x="809" y="210"/>
                  </a:lnTo>
                  <a:lnTo>
                    <a:pt x="809" y="208"/>
                  </a:lnTo>
                  <a:lnTo>
                    <a:pt x="806" y="208"/>
                  </a:lnTo>
                  <a:lnTo>
                    <a:pt x="806" y="208"/>
                  </a:lnTo>
                  <a:lnTo>
                    <a:pt x="804" y="208"/>
                  </a:lnTo>
                  <a:lnTo>
                    <a:pt x="802" y="208"/>
                  </a:lnTo>
                  <a:lnTo>
                    <a:pt x="799" y="208"/>
                  </a:lnTo>
                  <a:lnTo>
                    <a:pt x="799" y="208"/>
                  </a:lnTo>
                  <a:lnTo>
                    <a:pt x="797" y="210"/>
                  </a:lnTo>
                  <a:lnTo>
                    <a:pt x="797" y="210"/>
                  </a:lnTo>
                  <a:lnTo>
                    <a:pt x="797" y="210"/>
                  </a:lnTo>
                  <a:lnTo>
                    <a:pt x="795" y="210"/>
                  </a:lnTo>
                  <a:lnTo>
                    <a:pt x="795" y="213"/>
                  </a:lnTo>
                  <a:lnTo>
                    <a:pt x="797" y="215"/>
                  </a:lnTo>
                  <a:lnTo>
                    <a:pt x="795" y="215"/>
                  </a:lnTo>
                  <a:lnTo>
                    <a:pt x="795" y="215"/>
                  </a:lnTo>
                  <a:lnTo>
                    <a:pt x="792" y="213"/>
                  </a:lnTo>
                  <a:lnTo>
                    <a:pt x="792" y="213"/>
                  </a:lnTo>
                  <a:lnTo>
                    <a:pt x="792" y="213"/>
                  </a:lnTo>
                  <a:lnTo>
                    <a:pt x="790" y="213"/>
                  </a:lnTo>
                  <a:lnTo>
                    <a:pt x="790" y="213"/>
                  </a:lnTo>
                  <a:lnTo>
                    <a:pt x="790" y="213"/>
                  </a:lnTo>
                  <a:lnTo>
                    <a:pt x="790" y="215"/>
                  </a:lnTo>
                  <a:lnTo>
                    <a:pt x="790" y="215"/>
                  </a:lnTo>
                  <a:lnTo>
                    <a:pt x="790" y="215"/>
                  </a:lnTo>
                  <a:lnTo>
                    <a:pt x="790" y="215"/>
                  </a:lnTo>
                  <a:lnTo>
                    <a:pt x="790" y="215"/>
                  </a:lnTo>
                  <a:lnTo>
                    <a:pt x="790" y="217"/>
                  </a:lnTo>
                  <a:lnTo>
                    <a:pt x="788" y="217"/>
                  </a:lnTo>
                  <a:lnTo>
                    <a:pt x="788" y="217"/>
                  </a:lnTo>
                  <a:lnTo>
                    <a:pt x="783" y="220"/>
                  </a:lnTo>
                  <a:lnTo>
                    <a:pt x="781" y="220"/>
                  </a:lnTo>
                  <a:lnTo>
                    <a:pt x="776" y="220"/>
                  </a:lnTo>
                  <a:lnTo>
                    <a:pt x="771" y="220"/>
                  </a:lnTo>
                  <a:lnTo>
                    <a:pt x="771" y="220"/>
                  </a:lnTo>
                  <a:lnTo>
                    <a:pt x="769" y="222"/>
                  </a:lnTo>
                  <a:lnTo>
                    <a:pt x="769" y="222"/>
                  </a:lnTo>
                  <a:lnTo>
                    <a:pt x="769" y="222"/>
                  </a:lnTo>
                  <a:lnTo>
                    <a:pt x="769" y="224"/>
                  </a:lnTo>
                  <a:lnTo>
                    <a:pt x="769" y="224"/>
                  </a:lnTo>
                  <a:lnTo>
                    <a:pt x="769" y="224"/>
                  </a:lnTo>
                  <a:lnTo>
                    <a:pt x="771" y="224"/>
                  </a:lnTo>
                  <a:lnTo>
                    <a:pt x="771" y="224"/>
                  </a:lnTo>
                  <a:lnTo>
                    <a:pt x="773" y="224"/>
                  </a:lnTo>
                  <a:lnTo>
                    <a:pt x="773" y="224"/>
                  </a:lnTo>
                  <a:lnTo>
                    <a:pt x="776" y="224"/>
                  </a:lnTo>
                  <a:lnTo>
                    <a:pt x="776" y="224"/>
                  </a:lnTo>
                  <a:lnTo>
                    <a:pt x="776" y="224"/>
                  </a:lnTo>
                  <a:lnTo>
                    <a:pt x="776" y="224"/>
                  </a:lnTo>
                  <a:lnTo>
                    <a:pt x="776" y="224"/>
                  </a:lnTo>
                  <a:lnTo>
                    <a:pt x="776" y="224"/>
                  </a:lnTo>
                  <a:lnTo>
                    <a:pt x="776" y="227"/>
                  </a:lnTo>
                  <a:lnTo>
                    <a:pt x="776" y="227"/>
                  </a:lnTo>
                  <a:lnTo>
                    <a:pt x="778" y="227"/>
                  </a:lnTo>
                  <a:lnTo>
                    <a:pt x="781" y="227"/>
                  </a:lnTo>
                  <a:lnTo>
                    <a:pt x="781" y="224"/>
                  </a:lnTo>
                  <a:lnTo>
                    <a:pt x="783" y="224"/>
                  </a:lnTo>
                  <a:lnTo>
                    <a:pt x="783" y="224"/>
                  </a:lnTo>
                  <a:lnTo>
                    <a:pt x="783" y="227"/>
                  </a:lnTo>
                  <a:lnTo>
                    <a:pt x="781" y="227"/>
                  </a:lnTo>
                  <a:close/>
                  <a:moveTo>
                    <a:pt x="835" y="139"/>
                  </a:moveTo>
                  <a:lnTo>
                    <a:pt x="835" y="142"/>
                  </a:lnTo>
                  <a:lnTo>
                    <a:pt x="835" y="142"/>
                  </a:lnTo>
                  <a:lnTo>
                    <a:pt x="835" y="142"/>
                  </a:lnTo>
                  <a:lnTo>
                    <a:pt x="835" y="142"/>
                  </a:lnTo>
                  <a:lnTo>
                    <a:pt x="837" y="144"/>
                  </a:lnTo>
                  <a:lnTo>
                    <a:pt x="837" y="144"/>
                  </a:lnTo>
                  <a:lnTo>
                    <a:pt x="837" y="144"/>
                  </a:lnTo>
                  <a:lnTo>
                    <a:pt x="837" y="144"/>
                  </a:lnTo>
                  <a:lnTo>
                    <a:pt x="835" y="146"/>
                  </a:lnTo>
                  <a:lnTo>
                    <a:pt x="835" y="144"/>
                  </a:lnTo>
                  <a:lnTo>
                    <a:pt x="835" y="144"/>
                  </a:lnTo>
                  <a:lnTo>
                    <a:pt x="832" y="142"/>
                  </a:lnTo>
                  <a:lnTo>
                    <a:pt x="830" y="144"/>
                  </a:lnTo>
                  <a:lnTo>
                    <a:pt x="828" y="144"/>
                  </a:lnTo>
                  <a:lnTo>
                    <a:pt x="825" y="144"/>
                  </a:lnTo>
                  <a:lnTo>
                    <a:pt x="823" y="144"/>
                  </a:lnTo>
                  <a:lnTo>
                    <a:pt x="823" y="144"/>
                  </a:lnTo>
                  <a:lnTo>
                    <a:pt x="823" y="146"/>
                  </a:lnTo>
                  <a:lnTo>
                    <a:pt x="823" y="146"/>
                  </a:lnTo>
                  <a:lnTo>
                    <a:pt x="828" y="149"/>
                  </a:lnTo>
                  <a:lnTo>
                    <a:pt x="830" y="149"/>
                  </a:lnTo>
                  <a:lnTo>
                    <a:pt x="832" y="149"/>
                  </a:lnTo>
                  <a:lnTo>
                    <a:pt x="832" y="149"/>
                  </a:lnTo>
                  <a:lnTo>
                    <a:pt x="835" y="146"/>
                  </a:lnTo>
                  <a:lnTo>
                    <a:pt x="837" y="146"/>
                  </a:lnTo>
                  <a:lnTo>
                    <a:pt x="837" y="149"/>
                  </a:lnTo>
                  <a:lnTo>
                    <a:pt x="839" y="149"/>
                  </a:lnTo>
                  <a:lnTo>
                    <a:pt x="837" y="149"/>
                  </a:lnTo>
                  <a:lnTo>
                    <a:pt x="837" y="149"/>
                  </a:lnTo>
                  <a:lnTo>
                    <a:pt x="835" y="149"/>
                  </a:lnTo>
                  <a:lnTo>
                    <a:pt x="835" y="149"/>
                  </a:lnTo>
                  <a:lnTo>
                    <a:pt x="832" y="149"/>
                  </a:lnTo>
                  <a:lnTo>
                    <a:pt x="832" y="149"/>
                  </a:lnTo>
                  <a:lnTo>
                    <a:pt x="830" y="149"/>
                  </a:lnTo>
                  <a:lnTo>
                    <a:pt x="830" y="151"/>
                  </a:lnTo>
                  <a:lnTo>
                    <a:pt x="830" y="151"/>
                  </a:lnTo>
                  <a:lnTo>
                    <a:pt x="830" y="151"/>
                  </a:lnTo>
                  <a:lnTo>
                    <a:pt x="832" y="151"/>
                  </a:lnTo>
                  <a:lnTo>
                    <a:pt x="832" y="151"/>
                  </a:lnTo>
                  <a:lnTo>
                    <a:pt x="832" y="151"/>
                  </a:lnTo>
                  <a:lnTo>
                    <a:pt x="832" y="151"/>
                  </a:lnTo>
                  <a:lnTo>
                    <a:pt x="832" y="153"/>
                  </a:lnTo>
                  <a:lnTo>
                    <a:pt x="832" y="153"/>
                  </a:lnTo>
                  <a:lnTo>
                    <a:pt x="830" y="153"/>
                  </a:lnTo>
                  <a:lnTo>
                    <a:pt x="830" y="156"/>
                  </a:lnTo>
                  <a:lnTo>
                    <a:pt x="830" y="153"/>
                  </a:lnTo>
                  <a:lnTo>
                    <a:pt x="828" y="153"/>
                  </a:lnTo>
                  <a:lnTo>
                    <a:pt x="828" y="153"/>
                  </a:lnTo>
                  <a:lnTo>
                    <a:pt x="825" y="156"/>
                  </a:lnTo>
                  <a:lnTo>
                    <a:pt x="823" y="156"/>
                  </a:lnTo>
                  <a:lnTo>
                    <a:pt x="823" y="156"/>
                  </a:lnTo>
                  <a:lnTo>
                    <a:pt x="816" y="158"/>
                  </a:lnTo>
                  <a:lnTo>
                    <a:pt x="814" y="158"/>
                  </a:lnTo>
                  <a:lnTo>
                    <a:pt x="811" y="158"/>
                  </a:lnTo>
                  <a:lnTo>
                    <a:pt x="811" y="158"/>
                  </a:lnTo>
                  <a:lnTo>
                    <a:pt x="811" y="156"/>
                  </a:lnTo>
                  <a:lnTo>
                    <a:pt x="811" y="156"/>
                  </a:lnTo>
                  <a:lnTo>
                    <a:pt x="811" y="153"/>
                  </a:lnTo>
                  <a:lnTo>
                    <a:pt x="811" y="153"/>
                  </a:lnTo>
                  <a:lnTo>
                    <a:pt x="811" y="153"/>
                  </a:lnTo>
                  <a:lnTo>
                    <a:pt x="811" y="153"/>
                  </a:lnTo>
                  <a:lnTo>
                    <a:pt x="811" y="151"/>
                  </a:lnTo>
                  <a:lnTo>
                    <a:pt x="809" y="151"/>
                  </a:lnTo>
                  <a:lnTo>
                    <a:pt x="806" y="151"/>
                  </a:lnTo>
                  <a:lnTo>
                    <a:pt x="804" y="151"/>
                  </a:lnTo>
                  <a:lnTo>
                    <a:pt x="802" y="153"/>
                  </a:lnTo>
                  <a:lnTo>
                    <a:pt x="799" y="153"/>
                  </a:lnTo>
                  <a:lnTo>
                    <a:pt x="797" y="153"/>
                  </a:lnTo>
                  <a:lnTo>
                    <a:pt x="797" y="156"/>
                  </a:lnTo>
                  <a:lnTo>
                    <a:pt x="795" y="156"/>
                  </a:lnTo>
                  <a:lnTo>
                    <a:pt x="795" y="156"/>
                  </a:lnTo>
                  <a:lnTo>
                    <a:pt x="795" y="158"/>
                  </a:lnTo>
                  <a:lnTo>
                    <a:pt x="795" y="161"/>
                  </a:lnTo>
                  <a:lnTo>
                    <a:pt x="799" y="161"/>
                  </a:lnTo>
                  <a:lnTo>
                    <a:pt x="799" y="163"/>
                  </a:lnTo>
                  <a:lnTo>
                    <a:pt x="799" y="163"/>
                  </a:lnTo>
                  <a:lnTo>
                    <a:pt x="799" y="163"/>
                  </a:lnTo>
                  <a:lnTo>
                    <a:pt x="799" y="165"/>
                  </a:lnTo>
                  <a:lnTo>
                    <a:pt x="799" y="165"/>
                  </a:lnTo>
                  <a:lnTo>
                    <a:pt x="802" y="165"/>
                  </a:lnTo>
                  <a:lnTo>
                    <a:pt x="804" y="165"/>
                  </a:lnTo>
                  <a:lnTo>
                    <a:pt x="804" y="165"/>
                  </a:lnTo>
                  <a:lnTo>
                    <a:pt x="804" y="165"/>
                  </a:lnTo>
                  <a:lnTo>
                    <a:pt x="806" y="165"/>
                  </a:lnTo>
                  <a:lnTo>
                    <a:pt x="806" y="165"/>
                  </a:lnTo>
                  <a:lnTo>
                    <a:pt x="806" y="165"/>
                  </a:lnTo>
                  <a:lnTo>
                    <a:pt x="809" y="168"/>
                  </a:lnTo>
                  <a:lnTo>
                    <a:pt x="809" y="168"/>
                  </a:lnTo>
                  <a:lnTo>
                    <a:pt x="811" y="168"/>
                  </a:lnTo>
                  <a:lnTo>
                    <a:pt x="811" y="170"/>
                  </a:lnTo>
                  <a:lnTo>
                    <a:pt x="811" y="172"/>
                  </a:lnTo>
                  <a:lnTo>
                    <a:pt x="814" y="175"/>
                  </a:lnTo>
                  <a:lnTo>
                    <a:pt x="814" y="177"/>
                  </a:lnTo>
                  <a:lnTo>
                    <a:pt x="816" y="177"/>
                  </a:lnTo>
                  <a:lnTo>
                    <a:pt x="814" y="179"/>
                  </a:lnTo>
                  <a:lnTo>
                    <a:pt x="814" y="179"/>
                  </a:lnTo>
                  <a:lnTo>
                    <a:pt x="814" y="182"/>
                  </a:lnTo>
                  <a:lnTo>
                    <a:pt x="816" y="182"/>
                  </a:lnTo>
                  <a:lnTo>
                    <a:pt x="818" y="182"/>
                  </a:lnTo>
                  <a:lnTo>
                    <a:pt x="818" y="182"/>
                  </a:lnTo>
                  <a:lnTo>
                    <a:pt x="821" y="182"/>
                  </a:lnTo>
                  <a:lnTo>
                    <a:pt x="823" y="182"/>
                  </a:lnTo>
                  <a:lnTo>
                    <a:pt x="823" y="182"/>
                  </a:lnTo>
                  <a:lnTo>
                    <a:pt x="828" y="179"/>
                  </a:lnTo>
                  <a:lnTo>
                    <a:pt x="830" y="179"/>
                  </a:lnTo>
                  <a:lnTo>
                    <a:pt x="830" y="179"/>
                  </a:lnTo>
                  <a:lnTo>
                    <a:pt x="830" y="177"/>
                  </a:lnTo>
                  <a:lnTo>
                    <a:pt x="830" y="175"/>
                  </a:lnTo>
                  <a:lnTo>
                    <a:pt x="830" y="175"/>
                  </a:lnTo>
                  <a:lnTo>
                    <a:pt x="832" y="172"/>
                  </a:lnTo>
                  <a:lnTo>
                    <a:pt x="835" y="172"/>
                  </a:lnTo>
                  <a:lnTo>
                    <a:pt x="835" y="172"/>
                  </a:lnTo>
                  <a:lnTo>
                    <a:pt x="835" y="172"/>
                  </a:lnTo>
                  <a:lnTo>
                    <a:pt x="832" y="172"/>
                  </a:lnTo>
                  <a:lnTo>
                    <a:pt x="832" y="175"/>
                  </a:lnTo>
                  <a:lnTo>
                    <a:pt x="832" y="175"/>
                  </a:lnTo>
                  <a:lnTo>
                    <a:pt x="832" y="175"/>
                  </a:lnTo>
                  <a:lnTo>
                    <a:pt x="832" y="175"/>
                  </a:lnTo>
                  <a:lnTo>
                    <a:pt x="839" y="177"/>
                  </a:lnTo>
                  <a:lnTo>
                    <a:pt x="842" y="177"/>
                  </a:lnTo>
                  <a:lnTo>
                    <a:pt x="847" y="175"/>
                  </a:lnTo>
                  <a:lnTo>
                    <a:pt x="847" y="175"/>
                  </a:lnTo>
                  <a:lnTo>
                    <a:pt x="849" y="175"/>
                  </a:lnTo>
                  <a:lnTo>
                    <a:pt x="851" y="172"/>
                  </a:lnTo>
                  <a:lnTo>
                    <a:pt x="856" y="172"/>
                  </a:lnTo>
                  <a:lnTo>
                    <a:pt x="858" y="170"/>
                  </a:lnTo>
                  <a:lnTo>
                    <a:pt x="858" y="170"/>
                  </a:lnTo>
                  <a:lnTo>
                    <a:pt x="858" y="170"/>
                  </a:lnTo>
                  <a:lnTo>
                    <a:pt x="858" y="170"/>
                  </a:lnTo>
                  <a:lnTo>
                    <a:pt x="861" y="168"/>
                  </a:lnTo>
                  <a:lnTo>
                    <a:pt x="863" y="168"/>
                  </a:lnTo>
                  <a:lnTo>
                    <a:pt x="863" y="165"/>
                  </a:lnTo>
                  <a:lnTo>
                    <a:pt x="863" y="165"/>
                  </a:lnTo>
                  <a:lnTo>
                    <a:pt x="863" y="165"/>
                  </a:lnTo>
                  <a:lnTo>
                    <a:pt x="863" y="165"/>
                  </a:lnTo>
                  <a:lnTo>
                    <a:pt x="863" y="165"/>
                  </a:lnTo>
                  <a:lnTo>
                    <a:pt x="863" y="165"/>
                  </a:lnTo>
                  <a:lnTo>
                    <a:pt x="865" y="165"/>
                  </a:lnTo>
                  <a:lnTo>
                    <a:pt x="868" y="163"/>
                  </a:lnTo>
                  <a:lnTo>
                    <a:pt x="868" y="163"/>
                  </a:lnTo>
                  <a:lnTo>
                    <a:pt x="870" y="161"/>
                  </a:lnTo>
                  <a:lnTo>
                    <a:pt x="872" y="161"/>
                  </a:lnTo>
                  <a:lnTo>
                    <a:pt x="872" y="158"/>
                  </a:lnTo>
                  <a:lnTo>
                    <a:pt x="872" y="158"/>
                  </a:lnTo>
                  <a:lnTo>
                    <a:pt x="872" y="158"/>
                  </a:lnTo>
                  <a:lnTo>
                    <a:pt x="872" y="158"/>
                  </a:lnTo>
                  <a:lnTo>
                    <a:pt x="868" y="158"/>
                  </a:lnTo>
                  <a:lnTo>
                    <a:pt x="865" y="158"/>
                  </a:lnTo>
                  <a:lnTo>
                    <a:pt x="863" y="158"/>
                  </a:lnTo>
                  <a:lnTo>
                    <a:pt x="863" y="158"/>
                  </a:lnTo>
                  <a:lnTo>
                    <a:pt x="865" y="158"/>
                  </a:lnTo>
                  <a:lnTo>
                    <a:pt x="865" y="158"/>
                  </a:lnTo>
                  <a:lnTo>
                    <a:pt x="868" y="156"/>
                  </a:lnTo>
                  <a:lnTo>
                    <a:pt x="865" y="156"/>
                  </a:lnTo>
                  <a:lnTo>
                    <a:pt x="865" y="156"/>
                  </a:lnTo>
                  <a:lnTo>
                    <a:pt x="865" y="156"/>
                  </a:lnTo>
                  <a:lnTo>
                    <a:pt x="865" y="153"/>
                  </a:lnTo>
                  <a:lnTo>
                    <a:pt x="868" y="153"/>
                  </a:lnTo>
                  <a:lnTo>
                    <a:pt x="868" y="153"/>
                  </a:lnTo>
                  <a:lnTo>
                    <a:pt x="865" y="153"/>
                  </a:lnTo>
                  <a:lnTo>
                    <a:pt x="865" y="153"/>
                  </a:lnTo>
                  <a:lnTo>
                    <a:pt x="863" y="153"/>
                  </a:lnTo>
                  <a:lnTo>
                    <a:pt x="861" y="153"/>
                  </a:lnTo>
                  <a:lnTo>
                    <a:pt x="858" y="153"/>
                  </a:lnTo>
                  <a:lnTo>
                    <a:pt x="856" y="153"/>
                  </a:lnTo>
                  <a:lnTo>
                    <a:pt x="854" y="153"/>
                  </a:lnTo>
                  <a:lnTo>
                    <a:pt x="854" y="153"/>
                  </a:lnTo>
                  <a:lnTo>
                    <a:pt x="854" y="153"/>
                  </a:lnTo>
                  <a:lnTo>
                    <a:pt x="854" y="153"/>
                  </a:lnTo>
                  <a:lnTo>
                    <a:pt x="854" y="153"/>
                  </a:lnTo>
                  <a:lnTo>
                    <a:pt x="856" y="151"/>
                  </a:lnTo>
                  <a:lnTo>
                    <a:pt x="858" y="151"/>
                  </a:lnTo>
                  <a:lnTo>
                    <a:pt x="868" y="149"/>
                  </a:lnTo>
                  <a:lnTo>
                    <a:pt x="872" y="146"/>
                  </a:lnTo>
                  <a:lnTo>
                    <a:pt x="877" y="146"/>
                  </a:lnTo>
                  <a:lnTo>
                    <a:pt x="877" y="146"/>
                  </a:lnTo>
                  <a:lnTo>
                    <a:pt x="877" y="144"/>
                  </a:lnTo>
                  <a:lnTo>
                    <a:pt x="877" y="144"/>
                  </a:lnTo>
                  <a:lnTo>
                    <a:pt x="875" y="144"/>
                  </a:lnTo>
                  <a:lnTo>
                    <a:pt x="875" y="144"/>
                  </a:lnTo>
                  <a:lnTo>
                    <a:pt x="872" y="144"/>
                  </a:lnTo>
                  <a:lnTo>
                    <a:pt x="872" y="144"/>
                  </a:lnTo>
                  <a:lnTo>
                    <a:pt x="875" y="144"/>
                  </a:lnTo>
                  <a:lnTo>
                    <a:pt x="875" y="144"/>
                  </a:lnTo>
                  <a:lnTo>
                    <a:pt x="875" y="144"/>
                  </a:lnTo>
                  <a:lnTo>
                    <a:pt x="877" y="144"/>
                  </a:lnTo>
                  <a:lnTo>
                    <a:pt x="880" y="144"/>
                  </a:lnTo>
                  <a:lnTo>
                    <a:pt x="882" y="144"/>
                  </a:lnTo>
                  <a:lnTo>
                    <a:pt x="882" y="142"/>
                  </a:lnTo>
                  <a:lnTo>
                    <a:pt x="884" y="142"/>
                  </a:lnTo>
                  <a:lnTo>
                    <a:pt x="884" y="142"/>
                  </a:lnTo>
                  <a:lnTo>
                    <a:pt x="884" y="142"/>
                  </a:lnTo>
                  <a:lnTo>
                    <a:pt x="887" y="139"/>
                  </a:lnTo>
                  <a:lnTo>
                    <a:pt x="887" y="139"/>
                  </a:lnTo>
                  <a:lnTo>
                    <a:pt x="884" y="139"/>
                  </a:lnTo>
                  <a:lnTo>
                    <a:pt x="884" y="139"/>
                  </a:lnTo>
                  <a:lnTo>
                    <a:pt x="882" y="137"/>
                  </a:lnTo>
                  <a:lnTo>
                    <a:pt x="880" y="137"/>
                  </a:lnTo>
                  <a:lnTo>
                    <a:pt x="877" y="137"/>
                  </a:lnTo>
                  <a:lnTo>
                    <a:pt x="877" y="139"/>
                  </a:lnTo>
                  <a:lnTo>
                    <a:pt x="872" y="139"/>
                  </a:lnTo>
                  <a:lnTo>
                    <a:pt x="868" y="139"/>
                  </a:lnTo>
                  <a:lnTo>
                    <a:pt x="863" y="139"/>
                  </a:lnTo>
                  <a:lnTo>
                    <a:pt x="861" y="139"/>
                  </a:lnTo>
                  <a:lnTo>
                    <a:pt x="858" y="142"/>
                  </a:lnTo>
                  <a:lnTo>
                    <a:pt x="851" y="137"/>
                  </a:lnTo>
                  <a:lnTo>
                    <a:pt x="849" y="137"/>
                  </a:lnTo>
                  <a:lnTo>
                    <a:pt x="849" y="137"/>
                  </a:lnTo>
                  <a:lnTo>
                    <a:pt x="847" y="139"/>
                  </a:lnTo>
                  <a:lnTo>
                    <a:pt x="849" y="139"/>
                  </a:lnTo>
                  <a:lnTo>
                    <a:pt x="849" y="139"/>
                  </a:lnTo>
                  <a:lnTo>
                    <a:pt x="851" y="139"/>
                  </a:lnTo>
                  <a:lnTo>
                    <a:pt x="851" y="139"/>
                  </a:lnTo>
                  <a:lnTo>
                    <a:pt x="849" y="139"/>
                  </a:lnTo>
                  <a:lnTo>
                    <a:pt x="847" y="139"/>
                  </a:lnTo>
                  <a:lnTo>
                    <a:pt x="844" y="139"/>
                  </a:lnTo>
                  <a:lnTo>
                    <a:pt x="837" y="139"/>
                  </a:lnTo>
                  <a:lnTo>
                    <a:pt x="837" y="139"/>
                  </a:lnTo>
                  <a:lnTo>
                    <a:pt x="835" y="139"/>
                  </a:lnTo>
                  <a:close/>
                  <a:moveTo>
                    <a:pt x="764" y="208"/>
                  </a:moveTo>
                  <a:lnTo>
                    <a:pt x="766" y="203"/>
                  </a:lnTo>
                  <a:lnTo>
                    <a:pt x="766" y="203"/>
                  </a:lnTo>
                  <a:lnTo>
                    <a:pt x="766" y="203"/>
                  </a:lnTo>
                  <a:lnTo>
                    <a:pt x="766" y="203"/>
                  </a:lnTo>
                  <a:lnTo>
                    <a:pt x="766" y="203"/>
                  </a:lnTo>
                  <a:lnTo>
                    <a:pt x="762" y="203"/>
                  </a:lnTo>
                  <a:lnTo>
                    <a:pt x="762" y="201"/>
                  </a:lnTo>
                  <a:lnTo>
                    <a:pt x="762" y="201"/>
                  </a:lnTo>
                  <a:lnTo>
                    <a:pt x="762" y="201"/>
                  </a:lnTo>
                  <a:lnTo>
                    <a:pt x="762" y="201"/>
                  </a:lnTo>
                  <a:lnTo>
                    <a:pt x="762" y="201"/>
                  </a:lnTo>
                  <a:lnTo>
                    <a:pt x="759" y="201"/>
                  </a:lnTo>
                  <a:lnTo>
                    <a:pt x="757" y="201"/>
                  </a:lnTo>
                  <a:lnTo>
                    <a:pt x="755" y="198"/>
                  </a:lnTo>
                  <a:lnTo>
                    <a:pt x="752" y="196"/>
                  </a:lnTo>
                  <a:lnTo>
                    <a:pt x="752" y="196"/>
                  </a:lnTo>
                  <a:lnTo>
                    <a:pt x="750" y="194"/>
                  </a:lnTo>
                  <a:lnTo>
                    <a:pt x="750" y="194"/>
                  </a:lnTo>
                  <a:lnTo>
                    <a:pt x="750" y="194"/>
                  </a:lnTo>
                  <a:lnTo>
                    <a:pt x="750" y="196"/>
                  </a:lnTo>
                  <a:lnTo>
                    <a:pt x="748" y="196"/>
                  </a:lnTo>
                  <a:lnTo>
                    <a:pt x="748" y="196"/>
                  </a:lnTo>
                  <a:lnTo>
                    <a:pt x="748" y="196"/>
                  </a:lnTo>
                  <a:lnTo>
                    <a:pt x="748" y="196"/>
                  </a:lnTo>
                  <a:lnTo>
                    <a:pt x="748" y="196"/>
                  </a:lnTo>
                  <a:lnTo>
                    <a:pt x="745" y="194"/>
                  </a:lnTo>
                  <a:lnTo>
                    <a:pt x="743" y="194"/>
                  </a:lnTo>
                  <a:lnTo>
                    <a:pt x="740" y="191"/>
                  </a:lnTo>
                  <a:lnTo>
                    <a:pt x="740" y="191"/>
                  </a:lnTo>
                  <a:lnTo>
                    <a:pt x="740" y="189"/>
                  </a:lnTo>
                  <a:lnTo>
                    <a:pt x="738" y="187"/>
                  </a:lnTo>
                  <a:lnTo>
                    <a:pt x="738" y="187"/>
                  </a:lnTo>
                  <a:lnTo>
                    <a:pt x="738" y="184"/>
                  </a:lnTo>
                  <a:lnTo>
                    <a:pt x="743" y="182"/>
                  </a:lnTo>
                  <a:lnTo>
                    <a:pt x="745" y="182"/>
                  </a:lnTo>
                  <a:lnTo>
                    <a:pt x="745" y="182"/>
                  </a:lnTo>
                  <a:lnTo>
                    <a:pt x="748" y="179"/>
                  </a:lnTo>
                  <a:lnTo>
                    <a:pt x="748" y="179"/>
                  </a:lnTo>
                  <a:lnTo>
                    <a:pt x="748" y="179"/>
                  </a:lnTo>
                  <a:lnTo>
                    <a:pt x="748" y="179"/>
                  </a:lnTo>
                  <a:lnTo>
                    <a:pt x="750" y="177"/>
                  </a:lnTo>
                  <a:lnTo>
                    <a:pt x="750" y="175"/>
                  </a:lnTo>
                  <a:lnTo>
                    <a:pt x="750" y="172"/>
                  </a:lnTo>
                  <a:lnTo>
                    <a:pt x="750" y="172"/>
                  </a:lnTo>
                  <a:lnTo>
                    <a:pt x="752" y="170"/>
                  </a:lnTo>
                  <a:lnTo>
                    <a:pt x="755" y="163"/>
                  </a:lnTo>
                  <a:lnTo>
                    <a:pt x="755" y="163"/>
                  </a:lnTo>
                  <a:lnTo>
                    <a:pt x="757" y="161"/>
                  </a:lnTo>
                  <a:lnTo>
                    <a:pt x="757" y="158"/>
                  </a:lnTo>
                  <a:lnTo>
                    <a:pt x="759" y="158"/>
                  </a:lnTo>
                  <a:lnTo>
                    <a:pt x="759" y="158"/>
                  </a:lnTo>
                  <a:lnTo>
                    <a:pt x="759" y="158"/>
                  </a:lnTo>
                  <a:lnTo>
                    <a:pt x="759" y="156"/>
                  </a:lnTo>
                  <a:lnTo>
                    <a:pt x="759" y="156"/>
                  </a:lnTo>
                  <a:lnTo>
                    <a:pt x="759" y="156"/>
                  </a:lnTo>
                  <a:lnTo>
                    <a:pt x="759" y="153"/>
                  </a:lnTo>
                  <a:lnTo>
                    <a:pt x="759" y="153"/>
                  </a:lnTo>
                  <a:lnTo>
                    <a:pt x="757" y="151"/>
                  </a:lnTo>
                  <a:lnTo>
                    <a:pt x="755" y="149"/>
                  </a:lnTo>
                  <a:lnTo>
                    <a:pt x="752" y="149"/>
                  </a:lnTo>
                  <a:lnTo>
                    <a:pt x="750" y="149"/>
                  </a:lnTo>
                  <a:lnTo>
                    <a:pt x="748" y="149"/>
                  </a:lnTo>
                  <a:lnTo>
                    <a:pt x="748" y="149"/>
                  </a:lnTo>
                  <a:lnTo>
                    <a:pt x="745" y="149"/>
                  </a:lnTo>
                  <a:lnTo>
                    <a:pt x="743" y="149"/>
                  </a:lnTo>
                  <a:lnTo>
                    <a:pt x="740" y="146"/>
                  </a:lnTo>
                  <a:lnTo>
                    <a:pt x="738" y="146"/>
                  </a:lnTo>
                  <a:lnTo>
                    <a:pt x="736" y="149"/>
                  </a:lnTo>
                  <a:lnTo>
                    <a:pt x="736" y="149"/>
                  </a:lnTo>
                  <a:lnTo>
                    <a:pt x="736" y="149"/>
                  </a:lnTo>
                  <a:lnTo>
                    <a:pt x="736" y="149"/>
                  </a:lnTo>
                  <a:lnTo>
                    <a:pt x="736" y="149"/>
                  </a:lnTo>
                  <a:lnTo>
                    <a:pt x="733" y="149"/>
                  </a:lnTo>
                  <a:lnTo>
                    <a:pt x="731" y="149"/>
                  </a:lnTo>
                  <a:lnTo>
                    <a:pt x="731" y="151"/>
                  </a:lnTo>
                  <a:lnTo>
                    <a:pt x="731" y="151"/>
                  </a:lnTo>
                  <a:lnTo>
                    <a:pt x="724" y="158"/>
                  </a:lnTo>
                  <a:lnTo>
                    <a:pt x="724" y="161"/>
                  </a:lnTo>
                  <a:lnTo>
                    <a:pt x="724" y="161"/>
                  </a:lnTo>
                  <a:lnTo>
                    <a:pt x="722" y="161"/>
                  </a:lnTo>
                  <a:lnTo>
                    <a:pt x="722" y="161"/>
                  </a:lnTo>
                  <a:lnTo>
                    <a:pt x="722" y="163"/>
                  </a:lnTo>
                  <a:lnTo>
                    <a:pt x="722" y="163"/>
                  </a:lnTo>
                  <a:lnTo>
                    <a:pt x="719" y="163"/>
                  </a:lnTo>
                  <a:lnTo>
                    <a:pt x="719" y="165"/>
                  </a:lnTo>
                  <a:lnTo>
                    <a:pt x="717" y="168"/>
                  </a:lnTo>
                  <a:lnTo>
                    <a:pt x="717" y="170"/>
                  </a:lnTo>
                  <a:lnTo>
                    <a:pt x="717" y="172"/>
                  </a:lnTo>
                  <a:lnTo>
                    <a:pt x="717" y="172"/>
                  </a:lnTo>
                  <a:lnTo>
                    <a:pt x="717" y="172"/>
                  </a:lnTo>
                  <a:lnTo>
                    <a:pt x="717" y="172"/>
                  </a:lnTo>
                  <a:lnTo>
                    <a:pt x="717" y="172"/>
                  </a:lnTo>
                  <a:lnTo>
                    <a:pt x="717" y="172"/>
                  </a:lnTo>
                  <a:lnTo>
                    <a:pt x="710" y="175"/>
                  </a:lnTo>
                  <a:lnTo>
                    <a:pt x="707" y="175"/>
                  </a:lnTo>
                  <a:lnTo>
                    <a:pt x="707" y="177"/>
                  </a:lnTo>
                  <a:lnTo>
                    <a:pt x="705" y="177"/>
                  </a:lnTo>
                  <a:lnTo>
                    <a:pt x="705" y="177"/>
                  </a:lnTo>
                  <a:lnTo>
                    <a:pt x="705" y="175"/>
                  </a:lnTo>
                  <a:lnTo>
                    <a:pt x="703" y="175"/>
                  </a:lnTo>
                  <a:lnTo>
                    <a:pt x="703" y="175"/>
                  </a:lnTo>
                  <a:lnTo>
                    <a:pt x="703" y="175"/>
                  </a:lnTo>
                  <a:lnTo>
                    <a:pt x="705" y="172"/>
                  </a:lnTo>
                  <a:lnTo>
                    <a:pt x="707" y="168"/>
                  </a:lnTo>
                  <a:lnTo>
                    <a:pt x="710" y="165"/>
                  </a:lnTo>
                  <a:lnTo>
                    <a:pt x="710" y="163"/>
                  </a:lnTo>
                  <a:lnTo>
                    <a:pt x="712" y="161"/>
                  </a:lnTo>
                  <a:lnTo>
                    <a:pt x="712" y="161"/>
                  </a:lnTo>
                  <a:lnTo>
                    <a:pt x="712" y="161"/>
                  </a:lnTo>
                  <a:lnTo>
                    <a:pt x="710" y="161"/>
                  </a:lnTo>
                  <a:lnTo>
                    <a:pt x="710" y="161"/>
                  </a:lnTo>
                  <a:lnTo>
                    <a:pt x="710" y="158"/>
                  </a:lnTo>
                  <a:lnTo>
                    <a:pt x="712" y="158"/>
                  </a:lnTo>
                  <a:lnTo>
                    <a:pt x="712" y="158"/>
                  </a:lnTo>
                  <a:lnTo>
                    <a:pt x="710" y="158"/>
                  </a:lnTo>
                  <a:lnTo>
                    <a:pt x="710" y="158"/>
                  </a:lnTo>
                  <a:lnTo>
                    <a:pt x="710" y="156"/>
                  </a:lnTo>
                  <a:lnTo>
                    <a:pt x="707" y="156"/>
                  </a:lnTo>
                  <a:lnTo>
                    <a:pt x="707" y="156"/>
                  </a:lnTo>
                  <a:lnTo>
                    <a:pt x="705" y="153"/>
                  </a:lnTo>
                  <a:lnTo>
                    <a:pt x="703" y="153"/>
                  </a:lnTo>
                  <a:lnTo>
                    <a:pt x="698" y="153"/>
                  </a:lnTo>
                  <a:lnTo>
                    <a:pt x="696" y="153"/>
                  </a:lnTo>
                  <a:lnTo>
                    <a:pt x="696" y="153"/>
                  </a:lnTo>
                  <a:lnTo>
                    <a:pt x="696" y="156"/>
                  </a:lnTo>
                  <a:lnTo>
                    <a:pt x="698" y="156"/>
                  </a:lnTo>
                  <a:lnTo>
                    <a:pt x="698" y="156"/>
                  </a:lnTo>
                  <a:lnTo>
                    <a:pt x="696" y="158"/>
                  </a:lnTo>
                  <a:lnTo>
                    <a:pt x="696" y="158"/>
                  </a:lnTo>
                  <a:lnTo>
                    <a:pt x="691" y="158"/>
                  </a:lnTo>
                  <a:lnTo>
                    <a:pt x="691" y="161"/>
                  </a:lnTo>
                  <a:lnTo>
                    <a:pt x="686" y="161"/>
                  </a:lnTo>
                  <a:lnTo>
                    <a:pt x="682" y="163"/>
                  </a:lnTo>
                  <a:lnTo>
                    <a:pt x="677" y="163"/>
                  </a:lnTo>
                  <a:lnTo>
                    <a:pt x="677" y="163"/>
                  </a:lnTo>
                  <a:lnTo>
                    <a:pt x="674" y="163"/>
                  </a:lnTo>
                  <a:lnTo>
                    <a:pt x="677" y="163"/>
                  </a:lnTo>
                  <a:lnTo>
                    <a:pt x="677" y="163"/>
                  </a:lnTo>
                  <a:lnTo>
                    <a:pt x="677" y="163"/>
                  </a:lnTo>
                  <a:lnTo>
                    <a:pt x="677" y="163"/>
                  </a:lnTo>
                  <a:lnTo>
                    <a:pt x="677" y="163"/>
                  </a:lnTo>
                  <a:lnTo>
                    <a:pt x="677" y="163"/>
                  </a:lnTo>
                  <a:lnTo>
                    <a:pt x="674" y="163"/>
                  </a:lnTo>
                  <a:lnTo>
                    <a:pt x="672" y="163"/>
                  </a:lnTo>
                  <a:lnTo>
                    <a:pt x="670" y="165"/>
                  </a:lnTo>
                  <a:lnTo>
                    <a:pt x="670" y="165"/>
                  </a:lnTo>
                  <a:lnTo>
                    <a:pt x="667" y="163"/>
                  </a:lnTo>
                  <a:lnTo>
                    <a:pt x="670" y="163"/>
                  </a:lnTo>
                  <a:lnTo>
                    <a:pt x="672" y="163"/>
                  </a:lnTo>
                  <a:lnTo>
                    <a:pt x="679" y="161"/>
                  </a:lnTo>
                  <a:lnTo>
                    <a:pt x="682" y="158"/>
                  </a:lnTo>
                  <a:lnTo>
                    <a:pt x="684" y="158"/>
                  </a:lnTo>
                  <a:lnTo>
                    <a:pt x="682" y="156"/>
                  </a:lnTo>
                  <a:lnTo>
                    <a:pt x="677" y="156"/>
                  </a:lnTo>
                  <a:lnTo>
                    <a:pt x="672" y="153"/>
                  </a:lnTo>
                  <a:lnTo>
                    <a:pt x="670" y="153"/>
                  </a:lnTo>
                  <a:lnTo>
                    <a:pt x="665" y="153"/>
                  </a:lnTo>
                  <a:lnTo>
                    <a:pt x="663" y="153"/>
                  </a:lnTo>
                  <a:lnTo>
                    <a:pt x="663" y="153"/>
                  </a:lnTo>
                  <a:lnTo>
                    <a:pt x="658" y="156"/>
                  </a:lnTo>
                  <a:lnTo>
                    <a:pt x="656" y="156"/>
                  </a:lnTo>
                  <a:lnTo>
                    <a:pt x="656" y="158"/>
                  </a:lnTo>
                  <a:lnTo>
                    <a:pt x="653" y="158"/>
                  </a:lnTo>
                  <a:lnTo>
                    <a:pt x="653" y="158"/>
                  </a:lnTo>
                  <a:lnTo>
                    <a:pt x="651" y="158"/>
                  </a:lnTo>
                  <a:lnTo>
                    <a:pt x="651" y="158"/>
                  </a:lnTo>
                  <a:lnTo>
                    <a:pt x="651" y="158"/>
                  </a:lnTo>
                  <a:lnTo>
                    <a:pt x="646" y="158"/>
                  </a:lnTo>
                  <a:lnTo>
                    <a:pt x="644" y="158"/>
                  </a:lnTo>
                  <a:lnTo>
                    <a:pt x="641" y="161"/>
                  </a:lnTo>
                  <a:lnTo>
                    <a:pt x="639" y="161"/>
                  </a:lnTo>
                  <a:lnTo>
                    <a:pt x="639" y="161"/>
                  </a:lnTo>
                  <a:lnTo>
                    <a:pt x="639" y="158"/>
                  </a:lnTo>
                  <a:lnTo>
                    <a:pt x="644" y="158"/>
                  </a:lnTo>
                  <a:lnTo>
                    <a:pt x="646" y="156"/>
                  </a:lnTo>
                  <a:lnTo>
                    <a:pt x="649" y="156"/>
                  </a:lnTo>
                  <a:lnTo>
                    <a:pt x="651" y="153"/>
                  </a:lnTo>
                  <a:lnTo>
                    <a:pt x="651" y="153"/>
                  </a:lnTo>
                  <a:lnTo>
                    <a:pt x="653" y="153"/>
                  </a:lnTo>
                  <a:lnTo>
                    <a:pt x="653" y="151"/>
                  </a:lnTo>
                  <a:lnTo>
                    <a:pt x="656" y="149"/>
                  </a:lnTo>
                  <a:lnTo>
                    <a:pt x="658" y="149"/>
                  </a:lnTo>
                  <a:lnTo>
                    <a:pt x="658" y="149"/>
                  </a:lnTo>
                  <a:lnTo>
                    <a:pt x="658" y="149"/>
                  </a:lnTo>
                  <a:lnTo>
                    <a:pt x="656" y="146"/>
                  </a:lnTo>
                  <a:lnTo>
                    <a:pt x="653" y="146"/>
                  </a:lnTo>
                  <a:lnTo>
                    <a:pt x="639" y="149"/>
                  </a:lnTo>
                  <a:lnTo>
                    <a:pt x="623" y="151"/>
                  </a:lnTo>
                  <a:lnTo>
                    <a:pt x="616" y="153"/>
                  </a:lnTo>
                  <a:lnTo>
                    <a:pt x="611" y="153"/>
                  </a:lnTo>
                  <a:lnTo>
                    <a:pt x="604" y="156"/>
                  </a:lnTo>
                  <a:lnTo>
                    <a:pt x="592" y="158"/>
                  </a:lnTo>
                  <a:lnTo>
                    <a:pt x="587" y="161"/>
                  </a:lnTo>
                  <a:lnTo>
                    <a:pt x="585" y="163"/>
                  </a:lnTo>
                  <a:lnTo>
                    <a:pt x="583" y="163"/>
                  </a:lnTo>
                  <a:lnTo>
                    <a:pt x="583" y="163"/>
                  </a:lnTo>
                  <a:lnTo>
                    <a:pt x="583" y="163"/>
                  </a:lnTo>
                  <a:lnTo>
                    <a:pt x="585" y="165"/>
                  </a:lnTo>
                  <a:lnTo>
                    <a:pt x="585" y="165"/>
                  </a:lnTo>
                  <a:lnTo>
                    <a:pt x="583" y="165"/>
                  </a:lnTo>
                  <a:lnTo>
                    <a:pt x="580" y="165"/>
                  </a:lnTo>
                  <a:lnTo>
                    <a:pt x="575" y="168"/>
                  </a:lnTo>
                  <a:lnTo>
                    <a:pt x="568" y="170"/>
                  </a:lnTo>
                  <a:lnTo>
                    <a:pt x="568" y="170"/>
                  </a:lnTo>
                  <a:lnTo>
                    <a:pt x="566" y="172"/>
                  </a:lnTo>
                  <a:lnTo>
                    <a:pt x="564" y="172"/>
                  </a:lnTo>
                  <a:lnTo>
                    <a:pt x="561" y="175"/>
                  </a:lnTo>
                  <a:lnTo>
                    <a:pt x="561" y="175"/>
                  </a:lnTo>
                  <a:lnTo>
                    <a:pt x="561" y="175"/>
                  </a:lnTo>
                  <a:lnTo>
                    <a:pt x="566" y="177"/>
                  </a:lnTo>
                  <a:lnTo>
                    <a:pt x="568" y="177"/>
                  </a:lnTo>
                  <a:lnTo>
                    <a:pt x="575" y="175"/>
                  </a:lnTo>
                  <a:lnTo>
                    <a:pt x="575" y="175"/>
                  </a:lnTo>
                  <a:lnTo>
                    <a:pt x="573" y="177"/>
                  </a:lnTo>
                  <a:lnTo>
                    <a:pt x="568" y="177"/>
                  </a:lnTo>
                  <a:lnTo>
                    <a:pt x="566" y="179"/>
                  </a:lnTo>
                  <a:lnTo>
                    <a:pt x="566" y="179"/>
                  </a:lnTo>
                  <a:lnTo>
                    <a:pt x="566" y="179"/>
                  </a:lnTo>
                  <a:lnTo>
                    <a:pt x="568" y="179"/>
                  </a:lnTo>
                  <a:lnTo>
                    <a:pt x="571" y="179"/>
                  </a:lnTo>
                  <a:lnTo>
                    <a:pt x="578" y="179"/>
                  </a:lnTo>
                  <a:lnTo>
                    <a:pt x="585" y="179"/>
                  </a:lnTo>
                  <a:lnTo>
                    <a:pt x="601" y="177"/>
                  </a:lnTo>
                  <a:lnTo>
                    <a:pt x="606" y="179"/>
                  </a:lnTo>
                  <a:lnTo>
                    <a:pt x="606" y="179"/>
                  </a:lnTo>
                  <a:lnTo>
                    <a:pt x="604" y="179"/>
                  </a:lnTo>
                  <a:lnTo>
                    <a:pt x="601" y="179"/>
                  </a:lnTo>
                  <a:lnTo>
                    <a:pt x="599" y="179"/>
                  </a:lnTo>
                  <a:lnTo>
                    <a:pt x="597" y="179"/>
                  </a:lnTo>
                  <a:lnTo>
                    <a:pt x="594" y="179"/>
                  </a:lnTo>
                  <a:lnTo>
                    <a:pt x="594" y="179"/>
                  </a:lnTo>
                  <a:lnTo>
                    <a:pt x="594" y="179"/>
                  </a:lnTo>
                  <a:lnTo>
                    <a:pt x="594" y="179"/>
                  </a:lnTo>
                  <a:lnTo>
                    <a:pt x="592" y="182"/>
                  </a:lnTo>
                  <a:lnTo>
                    <a:pt x="590" y="182"/>
                  </a:lnTo>
                  <a:lnTo>
                    <a:pt x="587" y="182"/>
                  </a:lnTo>
                  <a:lnTo>
                    <a:pt x="580" y="182"/>
                  </a:lnTo>
                  <a:lnTo>
                    <a:pt x="573" y="184"/>
                  </a:lnTo>
                  <a:lnTo>
                    <a:pt x="566" y="184"/>
                  </a:lnTo>
                  <a:lnTo>
                    <a:pt x="564" y="184"/>
                  </a:lnTo>
                  <a:lnTo>
                    <a:pt x="557" y="187"/>
                  </a:lnTo>
                  <a:lnTo>
                    <a:pt x="554" y="187"/>
                  </a:lnTo>
                  <a:lnTo>
                    <a:pt x="554" y="189"/>
                  </a:lnTo>
                  <a:lnTo>
                    <a:pt x="554" y="189"/>
                  </a:lnTo>
                  <a:lnTo>
                    <a:pt x="557" y="194"/>
                  </a:lnTo>
                  <a:lnTo>
                    <a:pt x="564" y="194"/>
                  </a:lnTo>
                  <a:lnTo>
                    <a:pt x="573" y="194"/>
                  </a:lnTo>
                  <a:lnTo>
                    <a:pt x="575" y="194"/>
                  </a:lnTo>
                  <a:lnTo>
                    <a:pt x="575" y="194"/>
                  </a:lnTo>
                  <a:lnTo>
                    <a:pt x="578" y="194"/>
                  </a:lnTo>
                  <a:lnTo>
                    <a:pt x="587" y="194"/>
                  </a:lnTo>
                  <a:lnTo>
                    <a:pt x="594" y="194"/>
                  </a:lnTo>
                  <a:lnTo>
                    <a:pt x="597" y="194"/>
                  </a:lnTo>
                  <a:lnTo>
                    <a:pt x="601" y="194"/>
                  </a:lnTo>
                  <a:lnTo>
                    <a:pt x="601" y="194"/>
                  </a:lnTo>
                  <a:lnTo>
                    <a:pt x="606" y="194"/>
                  </a:lnTo>
                  <a:lnTo>
                    <a:pt x="608" y="194"/>
                  </a:lnTo>
                  <a:lnTo>
                    <a:pt x="613" y="194"/>
                  </a:lnTo>
                  <a:lnTo>
                    <a:pt x="616" y="194"/>
                  </a:lnTo>
                  <a:lnTo>
                    <a:pt x="625" y="196"/>
                  </a:lnTo>
                  <a:lnTo>
                    <a:pt x="630" y="198"/>
                  </a:lnTo>
                  <a:lnTo>
                    <a:pt x="630" y="198"/>
                  </a:lnTo>
                  <a:lnTo>
                    <a:pt x="627" y="201"/>
                  </a:lnTo>
                  <a:lnTo>
                    <a:pt x="627" y="201"/>
                  </a:lnTo>
                  <a:lnTo>
                    <a:pt x="623" y="201"/>
                  </a:lnTo>
                  <a:lnTo>
                    <a:pt x="620" y="201"/>
                  </a:lnTo>
                  <a:lnTo>
                    <a:pt x="616" y="201"/>
                  </a:lnTo>
                  <a:lnTo>
                    <a:pt x="616" y="201"/>
                  </a:lnTo>
                  <a:lnTo>
                    <a:pt x="608" y="201"/>
                  </a:lnTo>
                  <a:lnTo>
                    <a:pt x="601" y="201"/>
                  </a:lnTo>
                  <a:lnTo>
                    <a:pt x="599" y="201"/>
                  </a:lnTo>
                  <a:lnTo>
                    <a:pt x="597" y="198"/>
                  </a:lnTo>
                  <a:lnTo>
                    <a:pt x="590" y="198"/>
                  </a:lnTo>
                  <a:lnTo>
                    <a:pt x="578" y="201"/>
                  </a:lnTo>
                  <a:lnTo>
                    <a:pt x="561" y="201"/>
                  </a:lnTo>
                  <a:lnTo>
                    <a:pt x="552" y="203"/>
                  </a:lnTo>
                  <a:lnTo>
                    <a:pt x="552" y="203"/>
                  </a:lnTo>
                  <a:lnTo>
                    <a:pt x="550" y="203"/>
                  </a:lnTo>
                  <a:lnTo>
                    <a:pt x="550" y="205"/>
                  </a:lnTo>
                  <a:lnTo>
                    <a:pt x="547" y="208"/>
                  </a:lnTo>
                  <a:lnTo>
                    <a:pt x="547" y="208"/>
                  </a:lnTo>
                  <a:lnTo>
                    <a:pt x="547" y="208"/>
                  </a:lnTo>
                  <a:lnTo>
                    <a:pt x="547" y="210"/>
                  </a:lnTo>
                  <a:lnTo>
                    <a:pt x="547" y="213"/>
                  </a:lnTo>
                  <a:lnTo>
                    <a:pt x="547" y="213"/>
                  </a:lnTo>
                  <a:lnTo>
                    <a:pt x="547" y="215"/>
                  </a:lnTo>
                  <a:lnTo>
                    <a:pt x="547" y="215"/>
                  </a:lnTo>
                  <a:lnTo>
                    <a:pt x="547" y="215"/>
                  </a:lnTo>
                  <a:lnTo>
                    <a:pt x="552" y="217"/>
                  </a:lnTo>
                  <a:lnTo>
                    <a:pt x="554" y="217"/>
                  </a:lnTo>
                  <a:lnTo>
                    <a:pt x="557" y="217"/>
                  </a:lnTo>
                  <a:lnTo>
                    <a:pt x="561" y="217"/>
                  </a:lnTo>
                  <a:lnTo>
                    <a:pt x="568" y="217"/>
                  </a:lnTo>
                  <a:lnTo>
                    <a:pt x="573" y="217"/>
                  </a:lnTo>
                  <a:lnTo>
                    <a:pt x="575" y="217"/>
                  </a:lnTo>
                  <a:lnTo>
                    <a:pt x="580" y="220"/>
                  </a:lnTo>
                  <a:lnTo>
                    <a:pt x="580" y="220"/>
                  </a:lnTo>
                  <a:lnTo>
                    <a:pt x="578" y="222"/>
                  </a:lnTo>
                  <a:lnTo>
                    <a:pt x="578" y="222"/>
                  </a:lnTo>
                  <a:lnTo>
                    <a:pt x="575" y="224"/>
                  </a:lnTo>
                  <a:lnTo>
                    <a:pt x="573" y="227"/>
                  </a:lnTo>
                  <a:lnTo>
                    <a:pt x="573" y="229"/>
                  </a:lnTo>
                  <a:lnTo>
                    <a:pt x="573" y="231"/>
                  </a:lnTo>
                  <a:lnTo>
                    <a:pt x="575" y="231"/>
                  </a:lnTo>
                  <a:lnTo>
                    <a:pt x="575" y="231"/>
                  </a:lnTo>
                  <a:lnTo>
                    <a:pt x="578" y="231"/>
                  </a:lnTo>
                  <a:lnTo>
                    <a:pt x="580" y="231"/>
                  </a:lnTo>
                  <a:lnTo>
                    <a:pt x="587" y="231"/>
                  </a:lnTo>
                  <a:lnTo>
                    <a:pt x="597" y="231"/>
                  </a:lnTo>
                  <a:lnTo>
                    <a:pt x="599" y="231"/>
                  </a:lnTo>
                  <a:lnTo>
                    <a:pt x="604" y="229"/>
                  </a:lnTo>
                  <a:lnTo>
                    <a:pt x="606" y="229"/>
                  </a:lnTo>
                  <a:lnTo>
                    <a:pt x="606" y="229"/>
                  </a:lnTo>
                  <a:lnTo>
                    <a:pt x="613" y="229"/>
                  </a:lnTo>
                  <a:lnTo>
                    <a:pt x="620" y="229"/>
                  </a:lnTo>
                  <a:lnTo>
                    <a:pt x="627" y="229"/>
                  </a:lnTo>
                  <a:lnTo>
                    <a:pt x="637" y="227"/>
                  </a:lnTo>
                  <a:lnTo>
                    <a:pt x="641" y="224"/>
                  </a:lnTo>
                  <a:lnTo>
                    <a:pt x="644" y="224"/>
                  </a:lnTo>
                  <a:lnTo>
                    <a:pt x="649" y="224"/>
                  </a:lnTo>
                  <a:lnTo>
                    <a:pt x="656" y="224"/>
                  </a:lnTo>
                  <a:lnTo>
                    <a:pt x="660" y="222"/>
                  </a:lnTo>
                  <a:lnTo>
                    <a:pt x="663" y="222"/>
                  </a:lnTo>
                  <a:lnTo>
                    <a:pt x="667" y="220"/>
                  </a:lnTo>
                  <a:lnTo>
                    <a:pt x="670" y="220"/>
                  </a:lnTo>
                  <a:lnTo>
                    <a:pt x="674" y="217"/>
                  </a:lnTo>
                  <a:lnTo>
                    <a:pt x="677" y="215"/>
                  </a:lnTo>
                  <a:lnTo>
                    <a:pt x="679" y="215"/>
                  </a:lnTo>
                  <a:lnTo>
                    <a:pt x="682" y="215"/>
                  </a:lnTo>
                  <a:lnTo>
                    <a:pt x="682" y="215"/>
                  </a:lnTo>
                  <a:lnTo>
                    <a:pt x="684" y="215"/>
                  </a:lnTo>
                  <a:lnTo>
                    <a:pt x="682" y="217"/>
                  </a:lnTo>
                  <a:lnTo>
                    <a:pt x="682" y="217"/>
                  </a:lnTo>
                  <a:lnTo>
                    <a:pt x="682" y="217"/>
                  </a:lnTo>
                  <a:lnTo>
                    <a:pt x="679" y="217"/>
                  </a:lnTo>
                  <a:lnTo>
                    <a:pt x="682" y="220"/>
                  </a:lnTo>
                  <a:lnTo>
                    <a:pt x="682" y="220"/>
                  </a:lnTo>
                  <a:lnTo>
                    <a:pt x="684" y="220"/>
                  </a:lnTo>
                  <a:lnTo>
                    <a:pt x="686" y="220"/>
                  </a:lnTo>
                  <a:lnTo>
                    <a:pt x="689" y="220"/>
                  </a:lnTo>
                  <a:lnTo>
                    <a:pt x="693" y="220"/>
                  </a:lnTo>
                  <a:lnTo>
                    <a:pt x="696" y="222"/>
                  </a:lnTo>
                  <a:lnTo>
                    <a:pt x="696" y="222"/>
                  </a:lnTo>
                  <a:lnTo>
                    <a:pt x="696" y="222"/>
                  </a:lnTo>
                  <a:lnTo>
                    <a:pt x="691" y="222"/>
                  </a:lnTo>
                  <a:lnTo>
                    <a:pt x="691" y="224"/>
                  </a:lnTo>
                  <a:lnTo>
                    <a:pt x="691" y="224"/>
                  </a:lnTo>
                  <a:lnTo>
                    <a:pt x="698" y="224"/>
                  </a:lnTo>
                  <a:lnTo>
                    <a:pt x="700" y="224"/>
                  </a:lnTo>
                  <a:lnTo>
                    <a:pt x="703" y="224"/>
                  </a:lnTo>
                  <a:lnTo>
                    <a:pt x="705" y="224"/>
                  </a:lnTo>
                  <a:lnTo>
                    <a:pt x="707" y="224"/>
                  </a:lnTo>
                  <a:lnTo>
                    <a:pt x="712" y="227"/>
                  </a:lnTo>
                  <a:lnTo>
                    <a:pt x="717" y="224"/>
                  </a:lnTo>
                  <a:lnTo>
                    <a:pt x="719" y="227"/>
                  </a:lnTo>
                  <a:lnTo>
                    <a:pt x="722" y="224"/>
                  </a:lnTo>
                  <a:lnTo>
                    <a:pt x="722" y="224"/>
                  </a:lnTo>
                  <a:lnTo>
                    <a:pt x="726" y="224"/>
                  </a:lnTo>
                  <a:lnTo>
                    <a:pt x="729" y="224"/>
                  </a:lnTo>
                  <a:lnTo>
                    <a:pt x="736" y="222"/>
                  </a:lnTo>
                  <a:lnTo>
                    <a:pt x="738" y="222"/>
                  </a:lnTo>
                  <a:lnTo>
                    <a:pt x="740" y="220"/>
                  </a:lnTo>
                  <a:lnTo>
                    <a:pt x="740" y="220"/>
                  </a:lnTo>
                  <a:lnTo>
                    <a:pt x="740" y="220"/>
                  </a:lnTo>
                  <a:lnTo>
                    <a:pt x="740" y="217"/>
                  </a:lnTo>
                  <a:lnTo>
                    <a:pt x="740" y="217"/>
                  </a:lnTo>
                  <a:lnTo>
                    <a:pt x="738" y="217"/>
                  </a:lnTo>
                  <a:lnTo>
                    <a:pt x="738" y="217"/>
                  </a:lnTo>
                  <a:lnTo>
                    <a:pt x="738" y="217"/>
                  </a:lnTo>
                  <a:lnTo>
                    <a:pt x="738" y="217"/>
                  </a:lnTo>
                  <a:lnTo>
                    <a:pt x="740" y="217"/>
                  </a:lnTo>
                  <a:lnTo>
                    <a:pt x="740" y="215"/>
                  </a:lnTo>
                  <a:lnTo>
                    <a:pt x="743" y="215"/>
                  </a:lnTo>
                  <a:lnTo>
                    <a:pt x="743" y="215"/>
                  </a:lnTo>
                  <a:lnTo>
                    <a:pt x="743" y="215"/>
                  </a:lnTo>
                  <a:lnTo>
                    <a:pt x="740" y="215"/>
                  </a:lnTo>
                  <a:lnTo>
                    <a:pt x="738" y="215"/>
                  </a:lnTo>
                  <a:lnTo>
                    <a:pt x="736" y="215"/>
                  </a:lnTo>
                  <a:lnTo>
                    <a:pt x="731" y="215"/>
                  </a:lnTo>
                  <a:lnTo>
                    <a:pt x="729" y="217"/>
                  </a:lnTo>
                  <a:lnTo>
                    <a:pt x="724" y="220"/>
                  </a:lnTo>
                  <a:lnTo>
                    <a:pt x="724" y="220"/>
                  </a:lnTo>
                  <a:lnTo>
                    <a:pt x="724" y="217"/>
                  </a:lnTo>
                  <a:lnTo>
                    <a:pt x="726" y="215"/>
                  </a:lnTo>
                  <a:lnTo>
                    <a:pt x="729" y="215"/>
                  </a:lnTo>
                  <a:lnTo>
                    <a:pt x="729" y="215"/>
                  </a:lnTo>
                  <a:lnTo>
                    <a:pt x="729" y="215"/>
                  </a:lnTo>
                  <a:lnTo>
                    <a:pt x="729" y="215"/>
                  </a:lnTo>
                  <a:lnTo>
                    <a:pt x="729" y="213"/>
                  </a:lnTo>
                  <a:lnTo>
                    <a:pt x="726" y="213"/>
                  </a:lnTo>
                  <a:lnTo>
                    <a:pt x="726" y="213"/>
                  </a:lnTo>
                  <a:lnTo>
                    <a:pt x="726" y="210"/>
                  </a:lnTo>
                  <a:lnTo>
                    <a:pt x="726" y="210"/>
                  </a:lnTo>
                  <a:lnTo>
                    <a:pt x="729" y="210"/>
                  </a:lnTo>
                  <a:lnTo>
                    <a:pt x="729" y="210"/>
                  </a:lnTo>
                  <a:lnTo>
                    <a:pt x="731" y="213"/>
                  </a:lnTo>
                  <a:lnTo>
                    <a:pt x="733" y="213"/>
                  </a:lnTo>
                  <a:lnTo>
                    <a:pt x="733" y="213"/>
                  </a:lnTo>
                  <a:lnTo>
                    <a:pt x="736" y="213"/>
                  </a:lnTo>
                  <a:lnTo>
                    <a:pt x="738" y="213"/>
                  </a:lnTo>
                  <a:lnTo>
                    <a:pt x="738" y="213"/>
                  </a:lnTo>
                  <a:lnTo>
                    <a:pt x="738" y="213"/>
                  </a:lnTo>
                  <a:lnTo>
                    <a:pt x="738" y="210"/>
                  </a:lnTo>
                  <a:lnTo>
                    <a:pt x="740" y="210"/>
                  </a:lnTo>
                  <a:lnTo>
                    <a:pt x="740" y="210"/>
                  </a:lnTo>
                  <a:lnTo>
                    <a:pt x="740" y="208"/>
                  </a:lnTo>
                  <a:lnTo>
                    <a:pt x="745" y="208"/>
                  </a:lnTo>
                  <a:lnTo>
                    <a:pt x="748" y="208"/>
                  </a:lnTo>
                  <a:lnTo>
                    <a:pt x="748" y="208"/>
                  </a:lnTo>
                  <a:lnTo>
                    <a:pt x="748" y="208"/>
                  </a:lnTo>
                  <a:lnTo>
                    <a:pt x="750" y="210"/>
                  </a:lnTo>
                  <a:lnTo>
                    <a:pt x="750" y="210"/>
                  </a:lnTo>
                  <a:lnTo>
                    <a:pt x="752" y="210"/>
                  </a:lnTo>
                  <a:lnTo>
                    <a:pt x="752" y="210"/>
                  </a:lnTo>
                  <a:lnTo>
                    <a:pt x="755" y="210"/>
                  </a:lnTo>
                  <a:lnTo>
                    <a:pt x="757" y="208"/>
                  </a:lnTo>
                  <a:lnTo>
                    <a:pt x="757" y="208"/>
                  </a:lnTo>
                  <a:lnTo>
                    <a:pt x="757" y="208"/>
                  </a:lnTo>
                  <a:lnTo>
                    <a:pt x="757" y="210"/>
                  </a:lnTo>
                  <a:lnTo>
                    <a:pt x="757" y="210"/>
                  </a:lnTo>
                  <a:lnTo>
                    <a:pt x="757" y="210"/>
                  </a:lnTo>
                  <a:lnTo>
                    <a:pt x="759" y="210"/>
                  </a:lnTo>
                  <a:lnTo>
                    <a:pt x="759" y="210"/>
                  </a:lnTo>
                  <a:lnTo>
                    <a:pt x="762" y="210"/>
                  </a:lnTo>
                  <a:lnTo>
                    <a:pt x="764" y="208"/>
                  </a:lnTo>
                  <a:lnTo>
                    <a:pt x="764" y="208"/>
                  </a:lnTo>
                  <a:close/>
                  <a:moveTo>
                    <a:pt x="828" y="215"/>
                  </a:moveTo>
                  <a:lnTo>
                    <a:pt x="828" y="215"/>
                  </a:lnTo>
                  <a:lnTo>
                    <a:pt x="828" y="215"/>
                  </a:lnTo>
                  <a:lnTo>
                    <a:pt x="825" y="217"/>
                  </a:lnTo>
                  <a:lnTo>
                    <a:pt x="825" y="217"/>
                  </a:lnTo>
                  <a:lnTo>
                    <a:pt x="828" y="217"/>
                  </a:lnTo>
                  <a:lnTo>
                    <a:pt x="828" y="217"/>
                  </a:lnTo>
                  <a:lnTo>
                    <a:pt x="830" y="215"/>
                  </a:lnTo>
                  <a:lnTo>
                    <a:pt x="830" y="215"/>
                  </a:lnTo>
                  <a:lnTo>
                    <a:pt x="832" y="215"/>
                  </a:lnTo>
                  <a:lnTo>
                    <a:pt x="832" y="213"/>
                  </a:lnTo>
                  <a:lnTo>
                    <a:pt x="832" y="213"/>
                  </a:lnTo>
                  <a:lnTo>
                    <a:pt x="832" y="213"/>
                  </a:lnTo>
                  <a:lnTo>
                    <a:pt x="830" y="210"/>
                  </a:lnTo>
                  <a:lnTo>
                    <a:pt x="830" y="210"/>
                  </a:lnTo>
                  <a:lnTo>
                    <a:pt x="828" y="213"/>
                  </a:lnTo>
                  <a:lnTo>
                    <a:pt x="825" y="213"/>
                  </a:lnTo>
                  <a:lnTo>
                    <a:pt x="825" y="213"/>
                  </a:lnTo>
                  <a:lnTo>
                    <a:pt x="823" y="215"/>
                  </a:lnTo>
                  <a:lnTo>
                    <a:pt x="823" y="215"/>
                  </a:lnTo>
                  <a:lnTo>
                    <a:pt x="823" y="215"/>
                  </a:lnTo>
                  <a:lnTo>
                    <a:pt x="823" y="215"/>
                  </a:lnTo>
                  <a:lnTo>
                    <a:pt x="823" y="217"/>
                  </a:lnTo>
                  <a:lnTo>
                    <a:pt x="825" y="215"/>
                  </a:lnTo>
                  <a:lnTo>
                    <a:pt x="825" y="215"/>
                  </a:lnTo>
                  <a:lnTo>
                    <a:pt x="828" y="213"/>
                  </a:lnTo>
                  <a:lnTo>
                    <a:pt x="828" y="213"/>
                  </a:lnTo>
                  <a:lnTo>
                    <a:pt x="828" y="213"/>
                  </a:lnTo>
                  <a:lnTo>
                    <a:pt x="828" y="213"/>
                  </a:lnTo>
                  <a:lnTo>
                    <a:pt x="830" y="213"/>
                  </a:lnTo>
                  <a:lnTo>
                    <a:pt x="828" y="213"/>
                  </a:lnTo>
                  <a:lnTo>
                    <a:pt x="828" y="215"/>
                  </a:lnTo>
                  <a:close/>
                  <a:moveTo>
                    <a:pt x="762" y="220"/>
                  </a:moveTo>
                  <a:lnTo>
                    <a:pt x="759" y="222"/>
                  </a:lnTo>
                  <a:lnTo>
                    <a:pt x="759" y="222"/>
                  </a:lnTo>
                  <a:lnTo>
                    <a:pt x="759" y="222"/>
                  </a:lnTo>
                  <a:lnTo>
                    <a:pt x="759" y="222"/>
                  </a:lnTo>
                  <a:lnTo>
                    <a:pt x="759" y="222"/>
                  </a:lnTo>
                  <a:lnTo>
                    <a:pt x="762" y="224"/>
                  </a:lnTo>
                  <a:lnTo>
                    <a:pt x="762" y="222"/>
                  </a:lnTo>
                  <a:lnTo>
                    <a:pt x="762" y="222"/>
                  </a:lnTo>
                  <a:lnTo>
                    <a:pt x="762" y="222"/>
                  </a:lnTo>
                  <a:lnTo>
                    <a:pt x="762" y="220"/>
                  </a:lnTo>
                  <a:lnTo>
                    <a:pt x="762" y="220"/>
                  </a:lnTo>
                  <a:lnTo>
                    <a:pt x="762" y="220"/>
                  </a:lnTo>
                  <a:close/>
                  <a:moveTo>
                    <a:pt x="752" y="227"/>
                  </a:moveTo>
                  <a:lnTo>
                    <a:pt x="752" y="227"/>
                  </a:lnTo>
                  <a:lnTo>
                    <a:pt x="755" y="227"/>
                  </a:lnTo>
                  <a:lnTo>
                    <a:pt x="755" y="227"/>
                  </a:lnTo>
                  <a:lnTo>
                    <a:pt x="755" y="227"/>
                  </a:lnTo>
                  <a:lnTo>
                    <a:pt x="757" y="224"/>
                  </a:lnTo>
                  <a:lnTo>
                    <a:pt x="757" y="224"/>
                  </a:lnTo>
                  <a:lnTo>
                    <a:pt x="757" y="224"/>
                  </a:lnTo>
                  <a:lnTo>
                    <a:pt x="757" y="222"/>
                  </a:lnTo>
                  <a:lnTo>
                    <a:pt x="757" y="222"/>
                  </a:lnTo>
                  <a:lnTo>
                    <a:pt x="755" y="222"/>
                  </a:lnTo>
                  <a:lnTo>
                    <a:pt x="755" y="222"/>
                  </a:lnTo>
                  <a:lnTo>
                    <a:pt x="755" y="222"/>
                  </a:lnTo>
                  <a:lnTo>
                    <a:pt x="752" y="222"/>
                  </a:lnTo>
                  <a:lnTo>
                    <a:pt x="752" y="222"/>
                  </a:lnTo>
                  <a:lnTo>
                    <a:pt x="752" y="224"/>
                  </a:lnTo>
                  <a:lnTo>
                    <a:pt x="750" y="224"/>
                  </a:lnTo>
                  <a:lnTo>
                    <a:pt x="750" y="227"/>
                  </a:lnTo>
                  <a:lnTo>
                    <a:pt x="750" y="227"/>
                  </a:lnTo>
                  <a:lnTo>
                    <a:pt x="750" y="227"/>
                  </a:lnTo>
                  <a:lnTo>
                    <a:pt x="750" y="227"/>
                  </a:lnTo>
                  <a:lnTo>
                    <a:pt x="752" y="227"/>
                  </a:lnTo>
                  <a:lnTo>
                    <a:pt x="752" y="227"/>
                  </a:lnTo>
                  <a:lnTo>
                    <a:pt x="752" y="227"/>
                  </a:lnTo>
                  <a:lnTo>
                    <a:pt x="752" y="227"/>
                  </a:lnTo>
                  <a:lnTo>
                    <a:pt x="752" y="227"/>
                  </a:lnTo>
                  <a:close/>
                  <a:moveTo>
                    <a:pt x="729" y="227"/>
                  </a:moveTo>
                  <a:lnTo>
                    <a:pt x="729" y="227"/>
                  </a:lnTo>
                  <a:lnTo>
                    <a:pt x="726" y="227"/>
                  </a:lnTo>
                  <a:lnTo>
                    <a:pt x="724" y="229"/>
                  </a:lnTo>
                  <a:lnTo>
                    <a:pt x="726" y="229"/>
                  </a:lnTo>
                  <a:lnTo>
                    <a:pt x="729" y="229"/>
                  </a:lnTo>
                  <a:lnTo>
                    <a:pt x="729" y="229"/>
                  </a:lnTo>
                  <a:lnTo>
                    <a:pt x="729" y="229"/>
                  </a:lnTo>
                  <a:lnTo>
                    <a:pt x="731" y="229"/>
                  </a:lnTo>
                  <a:lnTo>
                    <a:pt x="733" y="229"/>
                  </a:lnTo>
                  <a:lnTo>
                    <a:pt x="733" y="227"/>
                  </a:lnTo>
                  <a:lnTo>
                    <a:pt x="733" y="227"/>
                  </a:lnTo>
                  <a:lnTo>
                    <a:pt x="733" y="227"/>
                  </a:lnTo>
                  <a:lnTo>
                    <a:pt x="733" y="227"/>
                  </a:lnTo>
                  <a:lnTo>
                    <a:pt x="731" y="224"/>
                  </a:lnTo>
                  <a:lnTo>
                    <a:pt x="729" y="227"/>
                  </a:lnTo>
                  <a:close/>
                  <a:moveTo>
                    <a:pt x="752" y="215"/>
                  </a:moveTo>
                  <a:lnTo>
                    <a:pt x="752" y="215"/>
                  </a:lnTo>
                  <a:lnTo>
                    <a:pt x="752" y="215"/>
                  </a:lnTo>
                  <a:lnTo>
                    <a:pt x="755" y="215"/>
                  </a:lnTo>
                  <a:lnTo>
                    <a:pt x="755" y="215"/>
                  </a:lnTo>
                  <a:lnTo>
                    <a:pt x="755" y="215"/>
                  </a:lnTo>
                  <a:lnTo>
                    <a:pt x="757" y="215"/>
                  </a:lnTo>
                  <a:lnTo>
                    <a:pt x="757" y="213"/>
                  </a:lnTo>
                  <a:lnTo>
                    <a:pt x="757" y="213"/>
                  </a:lnTo>
                  <a:lnTo>
                    <a:pt x="755" y="213"/>
                  </a:lnTo>
                  <a:lnTo>
                    <a:pt x="755" y="213"/>
                  </a:lnTo>
                  <a:lnTo>
                    <a:pt x="752" y="213"/>
                  </a:lnTo>
                  <a:lnTo>
                    <a:pt x="752" y="213"/>
                  </a:lnTo>
                  <a:lnTo>
                    <a:pt x="752" y="213"/>
                  </a:lnTo>
                  <a:lnTo>
                    <a:pt x="755" y="213"/>
                  </a:lnTo>
                  <a:lnTo>
                    <a:pt x="755" y="215"/>
                  </a:lnTo>
                  <a:lnTo>
                    <a:pt x="755" y="215"/>
                  </a:lnTo>
                  <a:lnTo>
                    <a:pt x="752" y="215"/>
                  </a:lnTo>
                  <a:lnTo>
                    <a:pt x="752" y="215"/>
                  </a:lnTo>
                  <a:lnTo>
                    <a:pt x="752" y="215"/>
                  </a:lnTo>
                  <a:lnTo>
                    <a:pt x="752" y="215"/>
                  </a:lnTo>
                  <a:close/>
                  <a:moveTo>
                    <a:pt x="689" y="229"/>
                  </a:moveTo>
                  <a:lnTo>
                    <a:pt x="686" y="229"/>
                  </a:lnTo>
                  <a:lnTo>
                    <a:pt x="686" y="231"/>
                  </a:lnTo>
                  <a:lnTo>
                    <a:pt x="686" y="231"/>
                  </a:lnTo>
                  <a:lnTo>
                    <a:pt x="686" y="231"/>
                  </a:lnTo>
                  <a:lnTo>
                    <a:pt x="686" y="231"/>
                  </a:lnTo>
                  <a:lnTo>
                    <a:pt x="689" y="234"/>
                  </a:lnTo>
                  <a:lnTo>
                    <a:pt x="689" y="234"/>
                  </a:lnTo>
                  <a:lnTo>
                    <a:pt x="691" y="234"/>
                  </a:lnTo>
                  <a:lnTo>
                    <a:pt x="691" y="231"/>
                  </a:lnTo>
                  <a:lnTo>
                    <a:pt x="691" y="231"/>
                  </a:lnTo>
                  <a:lnTo>
                    <a:pt x="693" y="231"/>
                  </a:lnTo>
                  <a:lnTo>
                    <a:pt x="693" y="231"/>
                  </a:lnTo>
                  <a:lnTo>
                    <a:pt x="691" y="229"/>
                  </a:lnTo>
                  <a:lnTo>
                    <a:pt x="691" y="229"/>
                  </a:lnTo>
                  <a:lnTo>
                    <a:pt x="689" y="229"/>
                  </a:lnTo>
                  <a:close/>
                  <a:moveTo>
                    <a:pt x="865" y="106"/>
                  </a:moveTo>
                  <a:lnTo>
                    <a:pt x="861" y="106"/>
                  </a:lnTo>
                  <a:lnTo>
                    <a:pt x="861" y="106"/>
                  </a:lnTo>
                  <a:lnTo>
                    <a:pt x="858" y="108"/>
                  </a:lnTo>
                  <a:lnTo>
                    <a:pt x="851" y="108"/>
                  </a:lnTo>
                  <a:lnTo>
                    <a:pt x="851" y="108"/>
                  </a:lnTo>
                  <a:lnTo>
                    <a:pt x="851" y="111"/>
                  </a:lnTo>
                  <a:lnTo>
                    <a:pt x="851" y="111"/>
                  </a:lnTo>
                  <a:lnTo>
                    <a:pt x="851" y="111"/>
                  </a:lnTo>
                  <a:lnTo>
                    <a:pt x="868" y="108"/>
                  </a:lnTo>
                  <a:lnTo>
                    <a:pt x="870" y="111"/>
                  </a:lnTo>
                  <a:lnTo>
                    <a:pt x="875" y="108"/>
                  </a:lnTo>
                  <a:lnTo>
                    <a:pt x="889" y="108"/>
                  </a:lnTo>
                  <a:lnTo>
                    <a:pt x="898" y="108"/>
                  </a:lnTo>
                  <a:lnTo>
                    <a:pt x="896" y="108"/>
                  </a:lnTo>
                  <a:lnTo>
                    <a:pt x="891" y="108"/>
                  </a:lnTo>
                  <a:lnTo>
                    <a:pt x="889" y="108"/>
                  </a:lnTo>
                  <a:lnTo>
                    <a:pt x="889" y="108"/>
                  </a:lnTo>
                  <a:lnTo>
                    <a:pt x="884" y="111"/>
                  </a:lnTo>
                  <a:lnTo>
                    <a:pt x="880" y="111"/>
                  </a:lnTo>
                  <a:lnTo>
                    <a:pt x="872" y="113"/>
                  </a:lnTo>
                  <a:lnTo>
                    <a:pt x="872" y="113"/>
                  </a:lnTo>
                  <a:lnTo>
                    <a:pt x="870" y="113"/>
                  </a:lnTo>
                  <a:lnTo>
                    <a:pt x="872" y="113"/>
                  </a:lnTo>
                  <a:lnTo>
                    <a:pt x="875" y="116"/>
                  </a:lnTo>
                  <a:lnTo>
                    <a:pt x="877" y="116"/>
                  </a:lnTo>
                  <a:lnTo>
                    <a:pt x="875" y="116"/>
                  </a:lnTo>
                  <a:lnTo>
                    <a:pt x="872" y="116"/>
                  </a:lnTo>
                  <a:lnTo>
                    <a:pt x="870" y="116"/>
                  </a:lnTo>
                  <a:lnTo>
                    <a:pt x="870" y="118"/>
                  </a:lnTo>
                  <a:lnTo>
                    <a:pt x="870" y="118"/>
                  </a:lnTo>
                  <a:lnTo>
                    <a:pt x="870" y="120"/>
                  </a:lnTo>
                  <a:lnTo>
                    <a:pt x="875" y="120"/>
                  </a:lnTo>
                  <a:lnTo>
                    <a:pt x="877" y="120"/>
                  </a:lnTo>
                  <a:lnTo>
                    <a:pt x="882" y="118"/>
                  </a:lnTo>
                  <a:lnTo>
                    <a:pt x="882" y="118"/>
                  </a:lnTo>
                  <a:lnTo>
                    <a:pt x="882" y="118"/>
                  </a:lnTo>
                  <a:lnTo>
                    <a:pt x="884" y="120"/>
                  </a:lnTo>
                  <a:lnTo>
                    <a:pt x="887" y="118"/>
                  </a:lnTo>
                  <a:lnTo>
                    <a:pt x="889" y="118"/>
                  </a:lnTo>
                  <a:lnTo>
                    <a:pt x="889" y="120"/>
                  </a:lnTo>
                  <a:lnTo>
                    <a:pt x="891" y="120"/>
                  </a:lnTo>
                  <a:lnTo>
                    <a:pt x="896" y="118"/>
                  </a:lnTo>
                  <a:lnTo>
                    <a:pt x="896" y="118"/>
                  </a:lnTo>
                  <a:lnTo>
                    <a:pt x="898" y="118"/>
                  </a:lnTo>
                  <a:lnTo>
                    <a:pt x="901" y="118"/>
                  </a:lnTo>
                  <a:lnTo>
                    <a:pt x="901" y="118"/>
                  </a:lnTo>
                  <a:lnTo>
                    <a:pt x="901" y="118"/>
                  </a:lnTo>
                  <a:lnTo>
                    <a:pt x="901" y="116"/>
                  </a:lnTo>
                  <a:lnTo>
                    <a:pt x="901" y="116"/>
                  </a:lnTo>
                  <a:lnTo>
                    <a:pt x="901" y="116"/>
                  </a:lnTo>
                  <a:lnTo>
                    <a:pt x="901" y="118"/>
                  </a:lnTo>
                  <a:lnTo>
                    <a:pt x="903" y="118"/>
                  </a:lnTo>
                  <a:lnTo>
                    <a:pt x="903" y="118"/>
                  </a:lnTo>
                  <a:lnTo>
                    <a:pt x="905" y="118"/>
                  </a:lnTo>
                  <a:lnTo>
                    <a:pt x="905" y="118"/>
                  </a:lnTo>
                  <a:lnTo>
                    <a:pt x="905" y="116"/>
                  </a:lnTo>
                  <a:lnTo>
                    <a:pt x="905" y="116"/>
                  </a:lnTo>
                  <a:lnTo>
                    <a:pt x="908" y="113"/>
                  </a:lnTo>
                  <a:lnTo>
                    <a:pt x="913" y="111"/>
                  </a:lnTo>
                  <a:lnTo>
                    <a:pt x="915" y="111"/>
                  </a:lnTo>
                  <a:lnTo>
                    <a:pt x="915" y="113"/>
                  </a:lnTo>
                  <a:lnTo>
                    <a:pt x="915" y="113"/>
                  </a:lnTo>
                  <a:lnTo>
                    <a:pt x="917" y="111"/>
                  </a:lnTo>
                  <a:lnTo>
                    <a:pt x="920" y="108"/>
                  </a:lnTo>
                  <a:lnTo>
                    <a:pt x="920" y="108"/>
                  </a:lnTo>
                  <a:lnTo>
                    <a:pt x="915" y="106"/>
                  </a:lnTo>
                  <a:lnTo>
                    <a:pt x="915" y="106"/>
                  </a:lnTo>
                  <a:lnTo>
                    <a:pt x="917" y="106"/>
                  </a:lnTo>
                  <a:lnTo>
                    <a:pt x="920" y="106"/>
                  </a:lnTo>
                  <a:lnTo>
                    <a:pt x="920" y="106"/>
                  </a:lnTo>
                  <a:lnTo>
                    <a:pt x="922" y="104"/>
                  </a:lnTo>
                  <a:lnTo>
                    <a:pt x="922" y="104"/>
                  </a:lnTo>
                  <a:lnTo>
                    <a:pt x="924" y="101"/>
                  </a:lnTo>
                  <a:lnTo>
                    <a:pt x="927" y="101"/>
                  </a:lnTo>
                  <a:lnTo>
                    <a:pt x="927" y="101"/>
                  </a:lnTo>
                  <a:lnTo>
                    <a:pt x="929" y="99"/>
                  </a:lnTo>
                  <a:lnTo>
                    <a:pt x="929" y="99"/>
                  </a:lnTo>
                  <a:lnTo>
                    <a:pt x="929" y="99"/>
                  </a:lnTo>
                  <a:lnTo>
                    <a:pt x="929" y="97"/>
                  </a:lnTo>
                  <a:lnTo>
                    <a:pt x="929" y="97"/>
                  </a:lnTo>
                  <a:lnTo>
                    <a:pt x="929" y="97"/>
                  </a:lnTo>
                  <a:lnTo>
                    <a:pt x="931" y="97"/>
                  </a:lnTo>
                  <a:lnTo>
                    <a:pt x="931" y="94"/>
                  </a:lnTo>
                  <a:lnTo>
                    <a:pt x="931" y="94"/>
                  </a:lnTo>
                  <a:lnTo>
                    <a:pt x="931" y="94"/>
                  </a:lnTo>
                  <a:lnTo>
                    <a:pt x="929" y="94"/>
                  </a:lnTo>
                  <a:lnTo>
                    <a:pt x="927" y="94"/>
                  </a:lnTo>
                  <a:lnTo>
                    <a:pt x="927" y="94"/>
                  </a:lnTo>
                  <a:lnTo>
                    <a:pt x="927" y="92"/>
                  </a:lnTo>
                  <a:lnTo>
                    <a:pt x="924" y="92"/>
                  </a:lnTo>
                  <a:lnTo>
                    <a:pt x="920" y="92"/>
                  </a:lnTo>
                  <a:lnTo>
                    <a:pt x="920" y="92"/>
                  </a:lnTo>
                  <a:lnTo>
                    <a:pt x="917" y="94"/>
                  </a:lnTo>
                  <a:lnTo>
                    <a:pt x="917" y="97"/>
                  </a:lnTo>
                  <a:lnTo>
                    <a:pt x="913" y="97"/>
                  </a:lnTo>
                  <a:lnTo>
                    <a:pt x="913" y="94"/>
                  </a:lnTo>
                  <a:lnTo>
                    <a:pt x="910" y="92"/>
                  </a:lnTo>
                  <a:lnTo>
                    <a:pt x="910" y="92"/>
                  </a:lnTo>
                  <a:lnTo>
                    <a:pt x="905" y="92"/>
                  </a:lnTo>
                  <a:lnTo>
                    <a:pt x="903" y="92"/>
                  </a:lnTo>
                  <a:lnTo>
                    <a:pt x="898" y="94"/>
                  </a:lnTo>
                  <a:lnTo>
                    <a:pt x="894" y="94"/>
                  </a:lnTo>
                  <a:lnTo>
                    <a:pt x="894" y="94"/>
                  </a:lnTo>
                  <a:lnTo>
                    <a:pt x="894" y="97"/>
                  </a:lnTo>
                  <a:lnTo>
                    <a:pt x="894" y="97"/>
                  </a:lnTo>
                  <a:lnTo>
                    <a:pt x="894" y="97"/>
                  </a:lnTo>
                  <a:lnTo>
                    <a:pt x="898" y="97"/>
                  </a:lnTo>
                  <a:lnTo>
                    <a:pt x="901" y="97"/>
                  </a:lnTo>
                  <a:lnTo>
                    <a:pt x="901" y="99"/>
                  </a:lnTo>
                  <a:lnTo>
                    <a:pt x="901" y="99"/>
                  </a:lnTo>
                  <a:lnTo>
                    <a:pt x="898" y="99"/>
                  </a:lnTo>
                  <a:lnTo>
                    <a:pt x="896" y="99"/>
                  </a:lnTo>
                  <a:lnTo>
                    <a:pt x="894" y="99"/>
                  </a:lnTo>
                  <a:lnTo>
                    <a:pt x="894" y="99"/>
                  </a:lnTo>
                  <a:lnTo>
                    <a:pt x="896" y="99"/>
                  </a:lnTo>
                  <a:lnTo>
                    <a:pt x="898" y="99"/>
                  </a:lnTo>
                  <a:lnTo>
                    <a:pt x="898" y="101"/>
                  </a:lnTo>
                  <a:lnTo>
                    <a:pt x="903" y="101"/>
                  </a:lnTo>
                  <a:lnTo>
                    <a:pt x="898" y="101"/>
                  </a:lnTo>
                  <a:lnTo>
                    <a:pt x="896" y="101"/>
                  </a:lnTo>
                  <a:lnTo>
                    <a:pt x="896" y="101"/>
                  </a:lnTo>
                  <a:lnTo>
                    <a:pt x="894" y="101"/>
                  </a:lnTo>
                  <a:lnTo>
                    <a:pt x="894" y="101"/>
                  </a:lnTo>
                  <a:lnTo>
                    <a:pt x="894" y="101"/>
                  </a:lnTo>
                  <a:lnTo>
                    <a:pt x="896" y="104"/>
                  </a:lnTo>
                  <a:lnTo>
                    <a:pt x="896" y="104"/>
                  </a:lnTo>
                  <a:lnTo>
                    <a:pt x="896" y="104"/>
                  </a:lnTo>
                  <a:lnTo>
                    <a:pt x="894" y="104"/>
                  </a:lnTo>
                  <a:lnTo>
                    <a:pt x="891" y="104"/>
                  </a:lnTo>
                  <a:lnTo>
                    <a:pt x="891" y="104"/>
                  </a:lnTo>
                  <a:lnTo>
                    <a:pt x="891" y="104"/>
                  </a:lnTo>
                  <a:lnTo>
                    <a:pt x="887" y="99"/>
                  </a:lnTo>
                  <a:lnTo>
                    <a:pt x="887" y="99"/>
                  </a:lnTo>
                  <a:lnTo>
                    <a:pt x="887" y="99"/>
                  </a:lnTo>
                  <a:lnTo>
                    <a:pt x="887" y="99"/>
                  </a:lnTo>
                  <a:lnTo>
                    <a:pt x="887" y="97"/>
                  </a:lnTo>
                  <a:lnTo>
                    <a:pt x="887" y="97"/>
                  </a:lnTo>
                  <a:lnTo>
                    <a:pt x="884" y="97"/>
                  </a:lnTo>
                  <a:lnTo>
                    <a:pt x="882" y="97"/>
                  </a:lnTo>
                  <a:lnTo>
                    <a:pt x="882" y="97"/>
                  </a:lnTo>
                  <a:lnTo>
                    <a:pt x="880" y="97"/>
                  </a:lnTo>
                  <a:lnTo>
                    <a:pt x="877" y="97"/>
                  </a:lnTo>
                  <a:lnTo>
                    <a:pt x="875" y="97"/>
                  </a:lnTo>
                  <a:lnTo>
                    <a:pt x="872" y="99"/>
                  </a:lnTo>
                  <a:lnTo>
                    <a:pt x="875" y="99"/>
                  </a:lnTo>
                  <a:lnTo>
                    <a:pt x="875" y="99"/>
                  </a:lnTo>
                  <a:lnTo>
                    <a:pt x="880" y="99"/>
                  </a:lnTo>
                  <a:lnTo>
                    <a:pt x="880" y="99"/>
                  </a:lnTo>
                  <a:lnTo>
                    <a:pt x="875" y="101"/>
                  </a:lnTo>
                  <a:lnTo>
                    <a:pt x="872" y="101"/>
                  </a:lnTo>
                  <a:lnTo>
                    <a:pt x="872" y="101"/>
                  </a:lnTo>
                  <a:lnTo>
                    <a:pt x="872" y="101"/>
                  </a:lnTo>
                  <a:lnTo>
                    <a:pt x="872" y="104"/>
                  </a:lnTo>
                  <a:lnTo>
                    <a:pt x="875" y="104"/>
                  </a:lnTo>
                  <a:lnTo>
                    <a:pt x="875" y="104"/>
                  </a:lnTo>
                  <a:lnTo>
                    <a:pt x="872" y="104"/>
                  </a:lnTo>
                  <a:lnTo>
                    <a:pt x="872" y="104"/>
                  </a:lnTo>
                  <a:lnTo>
                    <a:pt x="872" y="106"/>
                  </a:lnTo>
                  <a:lnTo>
                    <a:pt x="872" y="106"/>
                  </a:lnTo>
                  <a:lnTo>
                    <a:pt x="872" y="106"/>
                  </a:lnTo>
                  <a:lnTo>
                    <a:pt x="877" y="106"/>
                  </a:lnTo>
                  <a:lnTo>
                    <a:pt x="877" y="106"/>
                  </a:lnTo>
                  <a:lnTo>
                    <a:pt x="875" y="106"/>
                  </a:lnTo>
                  <a:lnTo>
                    <a:pt x="872" y="106"/>
                  </a:lnTo>
                  <a:lnTo>
                    <a:pt x="872" y="106"/>
                  </a:lnTo>
                  <a:lnTo>
                    <a:pt x="870" y="106"/>
                  </a:lnTo>
                  <a:lnTo>
                    <a:pt x="868" y="104"/>
                  </a:lnTo>
                  <a:lnTo>
                    <a:pt x="865" y="106"/>
                  </a:lnTo>
                  <a:close/>
                  <a:moveTo>
                    <a:pt x="891" y="94"/>
                  </a:moveTo>
                  <a:lnTo>
                    <a:pt x="898" y="92"/>
                  </a:lnTo>
                  <a:lnTo>
                    <a:pt x="905" y="92"/>
                  </a:lnTo>
                  <a:lnTo>
                    <a:pt x="903" y="92"/>
                  </a:lnTo>
                  <a:lnTo>
                    <a:pt x="903" y="92"/>
                  </a:lnTo>
                  <a:lnTo>
                    <a:pt x="898" y="92"/>
                  </a:lnTo>
                  <a:lnTo>
                    <a:pt x="898" y="92"/>
                  </a:lnTo>
                  <a:lnTo>
                    <a:pt x="894" y="92"/>
                  </a:lnTo>
                  <a:lnTo>
                    <a:pt x="889" y="92"/>
                  </a:lnTo>
                  <a:lnTo>
                    <a:pt x="887" y="94"/>
                  </a:lnTo>
                  <a:lnTo>
                    <a:pt x="887" y="94"/>
                  </a:lnTo>
                  <a:lnTo>
                    <a:pt x="887" y="94"/>
                  </a:lnTo>
                  <a:lnTo>
                    <a:pt x="891" y="94"/>
                  </a:lnTo>
                  <a:close/>
                  <a:moveTo>
                    <a:pt x="847" y="101"/>
                  </a:moveTo>
                  <a:lnTo>
                    <a:pt x="847" y="101"/>
                  </a:lnTo>
                  <a:lnTo>
                    <a:pt x="844" y="104"/>
                  </a:lnTo>
                  <a:lnTo>
                    <a:pt x="844" y="104"/>
                  </a:lnTo>
                  <a:lnTo>
                    <a:pt x="854" y="104"/>
                  </a:lnTo>
                  <a:lnTo>
                    <a:pt x="854" y="104"/>
                  </a:lnTo>
                  <a:lnTo>
                    <a:pt x="849" y="106"/>
                  </a:lnTo>
                  <a:lnTo>
                    <a:pt x="849" y="106"/>
                  </a:lnTo>
                  <a:lnTo>
                    <a:pt x="851" y="106"/>
                  </a:lnTo>
                  <a:lnTo>
                    <a:pt x="858" y="106"/>
                  </a:lnTo>
                  <a:lnTo>
                    <a:pt x="858" y="106"/>
                  </a:lnTo>
                  <a:lnTo>
                    <a:pt x="861" y="106"/>
                  </a:lnTo>
                  <a:lnTo>
                    <a:pt x="863" y="104"/>
                  </a:lnTo>
                  <a:lnTo>
                    <a:pt x="868" y="104"/>
                  </a:lnTo>
                  <a:lnTo>
                    <a:pt x="868" y="104"/>
                  </a:lnTo>
                  <a:lnTo>
                    <a:pt x="868" y="104"/>
                  </a:lnTo>
                  <a:lnTo>
                    <a:pt x="865" y="104"/>
                  </a:lnTo>
                  <a:lnTo>
                    <a:pt x="865" y="101"/>
                  </a:lnTo>
                  <a:lnTo>
                    <a:pt x="865" y="101"/>
                  </a:lnTo>
                  <a:lnTo>
                    <a:pt x="868" y="99"/>
                  </a:lnTo>
                  <a:lnTo>
                    <a:pt x="868" y="99"/>
                  </a:lnTo>
                  <a:lnTo>
                    <a:pt x="868" y="99"/>
                  </a:lnTo>
                  <a:lnTo>
                    <a:pt x="863" y="99"/>
                  </a:lnTo>
                  <a:lnTo>
                    <a:pt x="856" y="99"/>
                  </a:lnTo>
                  <a:lnTo>
                    <a:pt x="849" y="99"/>
                  </a:lnTo>
                  <a:lnTo>
                    <a:pt x="844" y="99"/>
                  </a:lnTo>
                  <a:lnTo>
                    <a:pt x="842" y="101"/>
                  </a:lnTo>
                  <a:lnTo>
                    <a:pt x="842" y="101"/>
                  </a:lnTo>
                  <a:lnTo>
                    <a:pt x="847" y="101"/>
                  </a:lnTo>
                  <a:close/>
                  <a:moveTo>
                    <a:pt x="889" y="66"/>
                  </a:moveTo>
                  <a:lnTo>
                    <a:pt x="891" y="68"/>
                  </a:lnTo>
                  <a:lnTo>
                    <a:pt x="896" y="68"/>
                  </a:lnTo>
                  <a:lnTo>
                    <a:pt x="901" y="66"/>
                  </a:lnTo>
                  <a:lnTo>
                    <a:pt x="913" y="66"/>
                  </a:lnTo>
                  <a:lnTo>
                    <a:pt x="910" y="66"/>
                  </a:lnTo>
                  <a:lnTo>
                    <a:pt x="910" y="66"/>
                  </a:lnTo>
                  <a:lnTo>
                    <a:pt x="910" y="66"/>
                  </a:lnTo>
                  <a:lnTo>
                    <a:pt x="910" y="68"/>
                  </a:lnTo>
                  <a:lnTo>
                    <a:pt x="910" y="68"/>
                  </a:lnTo>
                  <a:lnTo>
                    <a:pt x="915" y="66"/>
                  </a:lnTo>
                  <a:lnTo>
                    <a:pt x="917" y="66"/>
                  </a:lnTo>
                  <a:lnTo>
                    <a:pt x="920" y="68"/>
                  </a:lnTo>
                  <a:lnTo>
                    <a:pt x="927" y="68"/>
                  </a:lnTo>
                  <a:lnTo>
                    <a:pt x="929" y="68"/>
                  </a:lnTo>
                  <a:lnTo>
                    <a:pt x="929" y="68"/>
                  </a:lnTo>
                  <a:lnTo>
                    <a:pt x="929" y="71"/>
                  </a:lnTo>
                  <a:lnTo>
                    <a:pt x="929" y="71"/>
                  </a:lnTo>
                  <a:lnTo>
                    <a:pt x="927" y="71"/>
                  </a:lnTo>
                  <a:lnTo>
                    <a:pt x="927" y="71"/>
                  </a:lnTo>
                  <a:lnTo>
                    <a:pt x="927" y="73"/>
                  </a:lnTo>
                  <a:lnTo>
                    <a:pt x="927" y="73"/>
                  </a:lnTo>
                  <a:lnTo>
                    <a:pt x="929" y="73"/>
                  </a:lnTo>
                  <a:lnTo>
                    <a:pt x="934" y="75"/>
                  </a:lnTo>
                  <a:lnTo>
                    <a:pt x="936" y="73"/>
                  </a:lnTo>
                  <a:lnTo>
                    <a:pt x="941" y="73"/>
                  </a:lnTo>
                  <a:lnTo>
                    <a:pt x="943" y="73"/>
                  </a:lnTo>
                  <a:lnTo>
                    <a:pt x="946" y="73"/>
                  </a:lnTo>
                  <a:lnTo>
                    <a:pt x="948" y="71"/>
                  </a:lnTo>
                  <a:lnTo>
                    <a:pt x="948" y="71"/>
                  </a:lnTo>
                  <a:lnTo>
                    <a:pt x="948" y="71"/>
                  </a:lnTo>
                  <a:lnTo>
                    <a:pt x="950" y="71"/>
                  </a:lnTo>
                  <a:lnTo>
                    <a:pt x="950" y="68"/>
                  </a:lnTo>
                  <a:lnTo>
                    <a:pt x="948" y="66"/>
                  </a:lnTo>
                  <a:lnTo>
                    <a:pt x="946" y="66"/>
                  </a:lnTo>
                  <a:lnTo>
                    <a:pt x="946" y="66"/>
                  </a:lnTo>
                  <a:lnTo>
                    <a:pt x="948" y="66"/>
                  </a:lnTo>
                  <a:lnTo>
                    <a:pt x="948" y="66"/>
                  </a:lnTo>
                  <a:lnTo>
                    <a:pt x="948" y="64"/>
                  </a:lnTo>
                  <a:lnTo>
                    <a:pt x="948" y="64"/>
                  </a:lnTo>
                  <a:lnTo>
                    <a:pt x="950" y="64"/>
                  </a:lnTo>
                  <a:lnTo>
                    <a:pt x="953" y="64"/>
                  </a:lnTo>
                  <a:lnTo>
                    <a:pt x="955" y="64"/>
                  </a:lnTo>
                  <a:lnTo>
                    <a:pt x="955" y="61"/>
                  </a:lnTo>
                  <a:lnTo>
                    <a:pt x="953" y="61"/>
                  </a:lnTo>
                  <a:lnTo>
                    <a:pt x="953" y="61"/>
                  </a:lnTo>
                  <a:lnTo>
                    <a:pt x="950" y="59"/>
                  </a:lnTo>
                  <a:lnTo>
                    <a:pt x="943" y="59"/>
                  </a:lnTo>
                  <a:lnTo>
                    <a:pt x="941" y="59"/>
                  </a:lnTo>
                  <a:lnTo>
                    <a:pt x="941" y="59"/>
                  </a:lnTo>
                  <a:lnTo>
                    <a:pt x="943" y="59"/>
                  </a:lnTo>
                  <a:lnTo>
                    <a:pt x="946" y="56"/>
                  </a:lnTo>
                  <a:lnTo>
                    <a:pt x="946" y="56"/>
                  </a:lnTo>
                  <a:lnTo>
                    <a:pt x="946" y="56"/>
                  </a:lnTo>
                  <a:lnTo>
                    <a:pt x="946" y="56"/>
                  </a:lnTo>
                  <a:lnTo>
                    <a:pt x="943" y="56"/>
                  </a:lnTo>
                  <a:lnTo>
                    <a:pt x="941" y="54"/>
                  </a:lnTo>
                  <a:lnTo>
                    <a:pt x="938" y="54"/>
                  </a:lnTo>
                  <a:lnTo>
                    <a:pt x="936" y="54"/>
                  </a:lnTo>
                  <a:lnTo>
                    <a:pt x="934" y="56"/>
                  </a:lnTo>
                  <a:lnTo>
                    <a:pt x="931" y="56"/>
                  </a:lnTo>
                  <a:lnTo>
                    <a:pt x="929" y="56"/>
                  </a:lnTo>
                  <a:lnTo>
                    <a:pt x="929" y="56"/>
                  </a:lnTo>
                  <a:lnTo>
                    <a:pt x="927" y="56"/>
                  </a:lnTo>
                  <a:lnTo>
                    <a:pt x="924" y="59"/>
                  </a:lnTo>
                  <a:lnTo>
                    <a:pt x="927" y="56"/>
                  </a:lnTo>
                  <a:lnTo>
                    <a:pt x="927" y="56"/>
                  </a:lnTo>
                  <a:lnTo>
                    <a:pt x="927" y="56"/>
                  </a:lnTo>
                  <a:lnTo>
                    <a:pt x="927" y="56"/>
                  </a:lnTo>
                  <a:lnTo>
                    <a:pt x="927" y="56"/>
                  </a:lnTo>
                  <a:lnTo>
                    <a:pt x="929" y="56"/>
                  </a:lnTo>
                  <a:lnTo>
                    <a:pt x="929" y="54"/>
                  </a:lnTo>
                  <a:lnTo>
                    <a:pt x="929" y="54"/>
                  </a:lnTo>
                  <a:lnTo>
                    <a:pt x="929" y="54"/>
                  </a:lnTo>
                  <a:lnTo>
                    <a:pt x="929" y="52"/>
                  </a:lnTo>
                  <a:lnTo>
                    <a:pt x="927" y="52"/>
                  </a:lnTo>
                  <a:lnTo>
                    <a:pt x="924" y="52"/>
                  </a:lnTo>
                  <a:lnTo>
                    <a:pt x="922" y="52"/>
                  </a:lnTo>
                  <a:lnTo>
                    <a:pt x="920" y="52"/>
                  </a:lnTo>
                  <a:lnTo>
                    <a:pt x="908" y="52"/>
                  </a:lnTo>
                  <a:lnTo>
                    <a:pt x="903" y="52"/>
                  </a:lnTo>
                  <a:lnTo>
                    <a:pt x="901" y="52"/>
                  </a:lnTo>
                  <a:lnTo>
                    <a:pt x="898" y="52"/>
                  </a:lnTo>
                  <a:lnTo>
                    <a:pt x="896" y="54"/>
                  </a:lnTo>
                  <a:lnTo>
                    <a:pt x="896" y="54"/>
                  </a:lnTo>
                  <a:lnTo>
                    <a:pt x="894" y="54"/>
                  </a:lnTo>
                  <a:lnTo>
                    <a:pt x="894" y="56"/>
                  </a:lnTo>
                  <a:lnTo>
                    <a:pt x="896" y="56"/>
                  </a:lnTo>
                  <a:lnTo>
                    <a:pt x="903" y="56"/>
                  </a:lnTo>
                  <a:lnTo>
                    <a:pt x="903" y="56"/>
                  </a:lnTo>
                  <a:lnTo>
                    <a:pt x="903" y="56"/>
                  </a:lnTo>
                  <a:lnTo>
                    <a:pt x="898" y="59"/>
                  </a:lnTo>
                  <a:lnTo>
                    <a:pt x="896" y="59"/>
                  </a:lnTo>
                  <a:lnTo>
                    <a:pt x="896" y="59"/>
                  </a:lnTo>
                  <a:lnTo>
                    <a:pt x="896" y="59"/>
                  </a:lnTo>
                  <a:lnTo>
                    <a:pt x="898" y="59"/>
                  </a:lnTo>
                  <a:lnTo>
                    <a:pt x="898" y="59"/>
                  </a:lnTo>
                  <a:lnTo>
                    <a:pt x="905" y="56"/>
                  </a:lnTo>
                  <a:lnTo>
                    <a:pt x="910" y="56"/>
                  </a:lnTo>
                  <a:lnTo>
                    <a:pt x="910" y="56"/>
                  </a:lnTo>
                  <a:lnTo>
                    <a:pt x="910" y="56"/>
                  </a:lnTo>
                  <a:lnTo>
                    <a:pt x="910" y="56"/>
                  </a:lnTo>
                  <a:lnTo>
                    <a:pt x="910" y="56"/>
                  </a:lnTo>
                  <a:lnTo>
                    <a:pt x="905" y="59"/>
                  </a:lnTo>
                  <a:lnTo>
                    <a:pt x="905" y="59"/>
                  </a:lnTo>
                  <a:lnTo>
                    <a:pt x="905" y="59"/>
                  </a:lnTo>
                  <a:lnTo>
                    <a:pt x="905" y="59"/>
                  </a:lnTo>
                  <a:lnTo>
                    <a:pt x="913" y="59"/>
                  </a:lnTo>
                  <a:lnTo>
                    <a:pt x="913" y="59"/>
                  </a:lnTo>
                  <a:lnTo>
                    <a:pt x="913" y="59"/>
                  </a:lnTo>
                  <a:lnTo>
                    <a:pt x="910" y="61"/>
                  </a:lnTo>
                  <a:lnTo>
                    <a:pt x="905" y="61"/>
                  </a:lnTo>
                  <a:lnTo>
                    <a:pt x="903" y="61"/>
                  </a:lnTo>
                  <a:lnTo>
                    <a:pt x="908" y="61"/>
                  </a:lnTo>
                  <a:lnTo>
                    <a:pt x="908" y="61"/>
                  </a:lnTo>
                  <a:lnTo>
                    <a:pt x="905" y="64"/>
                  </a:lnTo>
                  <a:lnTo>
                    <a:pt x="903" y="64"/>
                  </a:lnTo>
                  <a:lnTo>
                    <a:pt x="898" y="64"/>
                  </a:lnTo>
                  <a:lnTo>
                    <a:pt x="894" y="64"/>
                  </a:lnTo>
                  <a:lnTo>
                    <a:pt x="891" y="64"/>
                  </a:lnTo>
                  <a:lnTo>
                    <a:pt x="891" y="64"/>
                  </a:lnTo>
                  <a:lnTo>
                    <a:pt x="889" y="64"/>
                  </a:lnTo>
                  <a:lnTo>
                    <a:pt x="887" y="64"/>
                  </a:lnTo>
                  <a:lnTo>
                    <a:pt x="887" y="66"/>
                  </a:lnTo>
                  <a:lnTo>
                    <a:pt x="887" y="66"/>
                  </a:lnTo>
                  <a:lnTo>
                    <a:pt x="889" y="66"/>
                  </a:lnTo>
                  <a:close/>
                  <a:moveTo>
                    <a:pt x="908" y="68"/>
                  </a:moveTo>
                  <a:lnTo>
                    <a:pt x="908" y="68"/>
                  </a:lnTo>
                  <a:lnTo>
                    <a:pt x="908" y="66"/>
                  </a:lnTo>
                  <a:lnTo>
                    <a:pt x="908" y="68"/>
                  </a:lnTo>
                  <a:lnTo>
                    <a:pt x="905" y="68"/>
                  </a:lnTo>
                  <a:lnTo>
                    <a:pt x="901" y="68"/>
                  </a:lnTo>
                  <a:lnTo>
                    <a:pt x="901" y="68"/>
                  </a:lnTo>
                  <a:lnTo>
                    <a:pt x="901" y="68"/>
                  </a:lnTo>
                  <a:lnTo>
                    <a:pt x="901" y="68"/>
                  </a:lnTo>
                  <a:lnTo>
                    <a:pt x="903" y="68"/>
                  </a:lnTo>
                  <a:lnTo>
                    <a:pt x="903" y="68"/>
                  </a:lnTo>
                  <a:lnTo>
                    <a:pt x="908" y="68"/>
                  </a:lnTo>
                  <a:close/>
                  <a:moveTo>
                    <a:pt x="880" y="135"/>
                  </a:moveTo>
                  <a:lnTo>
                    <a:pt x="872" y="135"/>
                  </a:lnTo>
                  <a:lnTo>
                    <a:pt x="868" y="135"/>
                  </a:lnTo>
                  <a:lnTo>
                    <a:pt x="868" y="137"/>
                  </a:lnTo>
                  <a:lnTo>
                    <a:pt x="865" y="137"/>
                  </a:lnTo>
                  <a:lnTo>
                    <a:pt x="865" y="137"/>
                  </a:lnTo>
                  <a:lnTo>
                    <a:pt x="863" y="137"/>
                  </a:lnTo>
                  <a:lnTo>
                    <a:pt x="861" y="137"/>
                  </a:lnTo>
                  <a:lnTo>
                    <a:pt x="858" y="137"/>
                  </a:lnTo>
                  <a:lnTo>
                    <a:pt x="858" y="137"/>
                  </a:lnTo>
                  <a:lnTo>
                    <a:pt x="858" y="137"/>
                  </a:lnTo>
                  <a:lnTo>
                    <a:pt x="858" y="139"/>
                  </a:lnTo>
                  <a:lnTo>
                    <a:pt x="863" y="139"/>
                  </a:lnTo>
                  <a:lnTo>
                    <a:pt x="865" y="139"/>
                  </a:lnTo>
                  <a:lnTo>
                    <a:pt x="865" y="139"/>
                  </a:lnTo>
                  <a:lnTo>
                    <a:pt x="868" y="139"/>
                  </a:lnTo>
                  <a:lnTo>
                    <a:pt x="868" y="139"/>
                  </a:lnTo>
                  <a:lnTo>
                    <a:pt x="872" y="139"/>
                  </a:lnTo>
                  <a:lnTo>
                    <a:pt x="875" y="137"/>
                  </a:lnTo>
                  <a:lnTo>
                    <a:pt x="880" y="137"/>
                  </a:lnTo>
                  <a:lnTo>
                    <a:pt x="882" y="137"/>
                  </a:lnTo>
                  <a:lnTo>
                    <a:pt x="884" y="135"/>
                  </a:lnTo>
                  <a:lnTo>
                    <a:pt x="884" y="135"/>
                  </a:lnTo>
                  <a:lnTo>
                    <a:pt x="884" y="135"/>
                  </a:lnTo>
                  <a:lnTo>
                    <a:pt x="884" y="135"/>
                  </a:lnTo>
                  <a:lnTo>
                    <a:pt x="884" y="135"/>
                  </a:lnTo>
                  <a:lnTo>
                    <a:pt x="880" y="135"/>
                  </a:lnTo>
                  <a:close/>
                  <a:moveTo>
                    <a:pt x="858" y="97"/>
                  </a:moveTo>
                  <a:lnTo>
                    <a:pt x="861" y="97"/>
                  </a:lnTo>
                  <a:lnTo>
                    <a:pt x="863" y="97"/>
                  </a:lnTo>
                  <a:lnTo>
                    <a:pt x="865" y="97"/>
                  </a:lnTo>
                  <a:lnTo>
                    <a:pt x="865" y="97"/>
                  </a:lnTo>
                  <a:lnTo>
                    <a:pt x="865" y="97"/>
                  </a:lnTo>
                  <a:lnTo>
                    <a:pt x="865" y="94"/>
                  </a:lnTo>
                  <a:lnTo>
                    <a:pt x="861" y="94"/>
                  </a:lnTo>
                  <a:lnTo>
                    <a:pt x="861" y="94"/>
                  </a:lnTo>
                  <a:lnTo>
                    <a:pt x="861" y="94"/>
                  </a:lnTo>
                  <a:lnTo>
                    <a:pt x="861" y="94"/>
                  </a:lnTo>
                  <a:lnTo>
                    <a:pt x="858" y="94"/>
                  </a:lnTo>
                  <a:lnTo>
                    <a:pt x="856" y="94"/>
                  </a:lnTo>
                  <a:lnTo>
                    <a:pt x="858" y="92"/>
                  </a:lnTo>
                  <a:lnTo>
                    <a:pt x="858" y="92"/>
                  </a:lnTo>
                  <a:lnTo>
                    <a:pt x="858" y="92"/>
                  </a:lnTo>
                  <a:lnTo>
                    <a:pt x="858" y="92"/>
                  </a:lnTo>
                  <a:lnTo>
                    <a:pt x="856" y="92"/>
                  </a:lnTo>
                  <a:lnTo>
                    <a:pt x="851" y="92"/>
                  </a:lnTo>
                  <a:lnTo>
                    <a:pt x="851" y="94"/>
                  </a:lnTo>
                  <a:lnTo>
                    <a:pt x="849" y="94"/>
                  </a:lnTo>
                  <a:lnTo>
                    <a:pt x="849" y="94"/>
                  </a:lnTo>
                  <a:lnTo>
                    <a:pt x="849" y="94"/>
                  </a:lnTo>
                  <a:lnTo>
                    <a:pt x="847" y="97"/>
                  </a:lnTo>
                  <a:lnTo>
                    <a:pt x="847" y="97"/>
                  </a:lnTo>
                  <a:lnTo>
                    <a:pt x="849" y="97"/>
                  </a:lnTo>
                  <a:lnTo>
                    <a:pt x="858" y="97"/>
                  </a:lnTo>
                  <a:close/>
                  <a:moveTo>
                    <a:pt x="858" y="85"/>
                  </a:moveTo>
                  <a:lnTo>
                    <a:pt x="861" y="85"/>
                  </a:lnTo>
                  <a:lnTo>
                    <a:pt x="863" y="85"/>
                  </a:lnTo>
                  <a:lnTo>
                    <a:pt x="863" y="85"/>
                  </a:lnTo>
                  <a:lnTo>
                    <a:pt x="865" y="82"/>
                  </a:lnTo>
                  <a:lnTo>
                    <a:pt x="865" y="82"/>
                  </a:lnTo>
                  <a:lnTo>
                    <a:pt x="868" y="82"/>
                  </a:lnTo>
                  <a:lnTo>
                    <a:pt x="868" y="82"/>
                  </a:lnTo>
                  <a:lnTo>
                    <a:pt x="865" y="80"/>
                  </a:lnTo>
                  <a:lnTo>
                    <a:pt x="865" y="80"/>
                  </a:lnTo>
                  <a:lnTo>
                    <a:pt x="865" y="80"/>
                  </a:lnTo>
                  <a:lnTo>
                    <a:pt x="865" y="80"/>
                  </a:lnTo>
                  <a:lnTo>
                    <a:pt x="865" y="78"/>
                  </a:lnTo>
                  <a:lnTo>
                    <a:pt x="865" y="78"/>
                  </a:lnTo>
                  <a:lnTo>
                    <a:pt x="865" y="75"/>
                  </a:lnTo>
                  <a:lnTo>
                    <a:pt x="863" y="75"/>
                  </a:lnTo>
                  <a:lnTo>
                    <a:pt x="861" y="75"/>
                  </a:lnTo>
                  <a:lnTo>
                    <a:pt x="858" y="75"/>
                  </a:lnTo>
                  <a:lnTo>
                    <a:pt x="858" y="75"/>
                  </a:lnTo>
                  <a:lnTo>
                    <a:pt x="858" y="78"/>
                  </a:lnTo>
                  <a:lnTo>
                    <a:pt x="856" y="78"/>
                  </a:lnTo>
                  <a:lnTo>
                    <a:pt x="858" y="78"/>
                  </a:lnTo>
                  <a:lnTo>
                    <a:pt x="856" y="80"/>
                  </a:lnTo>
                  <a:lnTo>
                    <a:pt x="856" y="82"/>
                  </a:lnTo>
                  <a:lnTo>
                    <a:pt x="856" y="82"/>
                  </a:lnTo>
                  <a:lnTo>
                    <a:pt x="856" y="85"/>
                  </a:lnTo>
                  <a:lnTo>
                    <a:pt x="858" y="85"/>
                  </a:lnTo>
                  <a:close/>
                  <a:moveTo>
                    <a:pt x="917" y="338"/>
                  </a:moveTo>
                  <a:lnTo>
                    <a:pt x="920" y="338"/>
                  </a:lnTo>
                  <a:lnTo>
                    <a:pt x="920" y="335"/>
                  </a:lnTo>
                  <a:lnTo>
                    <a:pt x="920" y="335"/>
                  </a:lnTo>
                  <a:lnTo>
                    <a:pt x="922" y="333"/>
                  </a:lnTo>
                  <a:lnTo>
                    <a:pt x="920" y="333"/>
                  </a:lnTo>
                  <a:lnTo>
                    <a:pt x="920" y="333"/>
                  </a:lnTo>
                  <a:lnTo>
                    <a:pt x="920" y="333"/>
                  </a:lnTo>
                  <a:lnTo>
                    <a:pt x="917" y="333"/>
                  </a:lnTo>
                  <a:lnTo>
                    <a:pt x="915" y="333"/>
                  </a:lnTo>
                  <a:lnTo>
                    <a:pt x="910" y="333"/>
                  </a:lnTo>
                  <a:lnTo>
                    <a:pt x="905" y="335"/>
                  </a:lnTo>
                  <a:lnTo>
                    <a:pt x="905" y="335"/>
                  </a:lnTo>
                  <a:lnTo>
                    <a:pt x="903" y="335"/>
                  </a:lnTo>
                  <a:lnTo>
                    <a:pt x="901" y="333"/>
                  </a:lnTo>
                  <a:lnTo>
                    <a:pt x="901" y="335"/>
                  </a:lnTo>
                  <a:lnTo>
                    <a:pt x="891" y="340"/>
                  </a:lnTo>
                  <a:lnTo>
                    <a:pt x="887" y="343"/>
                  </a:lnTo>
                  <a:lnTo>
                    <a:pt x="887" y="343"/>
                  </a:lnTo>
                  <a:lnTo>
                    <a:pt x="887" y="343"/>
                  </a:lnTo>
                  <a:lnTo>
                    <a:pt x="887" y="345"/>
                  </a:lnTo>
                  <a:lnTo>
                    <a:pt x="887" y="345"/>
                  </a:lnTo>
                  <a:lnTo>
                    <a:pt x="887" y="347"/>
                  </a:lnTo>
                  <a:lnTo>
                    <a:pt x="884" y="347"/>
                  </a:lnTo>
                  <a:lnTo>
                    <a:pt x="884" y="350"/>
                  </a:lnTo>
                  <a:lnTo>
                    <a:pt x="891" y="347"/>
                  </a:lnTo>
                  <a:lnTo>
                    <a:pt x="894" y="347"/>
                  </a:lnTo>
                  <a:lnTo>
                    <a:pt x="894" y="347"/>
                  </a:lnTo>
                  <a:lnTo>
                    <a:pt x="896" y="347"/>
                  </a:lnTo>
                  <a:lnTo>
                    <a:pt x="896" y="347"/>
                  </a:lnTo>
                  <a:lnTo>
                    <a:pt x="905" y="345"/>
                  </a:lnTo>
                  <a:lnTo>
                    <a:pt x="908" y="343"/>
                  </a:lnTo>
                  <a:lnTo>
                    <a:pt x="910" y="343"/>
                  </a:lnTo>
                  <a:lnTo>
                    <a:pt x="915" y="340"/>
                  </a:lnTo>
                  <a:lnTo>
                    <a:pt x="917" y="338"/>
                  </a:lnTo>
                  <a:close/>
                  <a:moveTo>
                    <a:pt x="1143" y="380"/>
                  </a:moveTo>
                  <a:lnTo>
                    <a:pt x="1141" y="380"/>
                  </a:lnTo>
                  <a:lnTo>
                    <a:pt x="1141" y="380"/>
                  </a:lnTo>
                  <a:lnTo>
                    <a:pt x="1141" y="383"/>
                  </a:lnTo>
                  <a:lnTo>
                    <a:pt x="1141" y="383"/>
                  </a:lnTo>
                  <a:lnTo>
                    <a:pt x="1143" y="383"/>
                  </a:lnTo>
                  <a:lnTo>
                    <a:pt x="1146" y="385"/>
                  </a:lnTo>
                  <a:lnTo>
                    <a:pt x="1146" y="383"/>
                  </a:lnTo>
                  <a:lnTo>
                    <a:pt x="1146" y="383"/>
                  </a:lnTo>
                  <a:lnTo>
                    <a:pt x="1146" y="380"/>
                  </a:lnTo>
                  <a:lnTo>
                    <a:pt x="1143" y="380"/>
                  </a:lnTo>
                  <a:lnTo>
                    <a:pt x="1143" y="380"/>
                  </a:lnTo>
                  <a:close/>
                  <a:moveTo>
                    <a:pt x="1155" y="437"/>
                  </a:moveTo>
                  <a:lnTo>
                    <a:pt x="1155" y="437"/>
                  </a:lnTo>
                  <a:lnTo>
                    <a:pt x="1155" y="437"/>
                  </a:lnTo>
                  <a:lnTo>
                    <a:pt x="1155" y="437"/>
                  </a:lnTo>
                  <a:lnTo>
                    <a:pt x="1153" y="437"/>
                  </a:lnTo>
                  <a:lnTo>
                    <a:pt x="1153" y="437"/>
                  </a:lnTo>
                  <a:lnTo>
                    <a:pt x="1153" y="440"/>
                  </a:lnTo>
                  <a:lnTo>
                    <a:pt x="1155" y="440"/>
                  </a:lnTo>
                  <a:lnTo>
                    <a:pt x="1158" y="440"/>
                  </a:lnTo>
                  <a:lnTo>
                    <a:pt x="1158" y="440"/>
                  </a:lnTo>
                  <a:lnTo>
                    <a:pt x="1158" y="437"/>
                  </a:lnTo>
                  <a:lnTo>
                    <a:pt x="1155" y="437"/>
                  </a:lnTo>
                  <a:close/>
                  <a:moveTo>
                    <a:pt x="1146" y="359"/>
                  </a:moveTo>
                  <a:lnTo>
                    <a:pt x="1146" y="359"/>
                  </a:lnTo>
                  <a:lnTo>
                    <a:pt x="1146" y="359"/>
                  </a:lnTo>
                  <a:lnTo>
                    <a:pt x="1146" y="359"/>
                  </a:lnTo>
                  <a:lnTo>
                    <a:pt x="1148" y="361"/>
                  </a:lnTo>
                  <a:lnTo>
                    <a:pt x="1148" y="361"/>
                  </a:lnTo>
                  <a:lnTo>
                    <a:pt x="1151" y="364"/>
                  </a:lnTo>
                  <a:lnTo>
                    <a:pt x="1151" y="364"/>
                  </a:lnTo>
                  <a:lnTo>
                    <a:pt x="1151" y="364"/>
                  </a:lnTo>
                  <a:lnTo>
                    <a:pt x="1151" y="364"/>
                  </a:lnTo>
                  <a:lnTo>
                    <a:pt x="1153" y="364"/>
                  </a:lnTo>
                  <a:lnTo>
                    <a:pt x="1153" y="361"/>
                  </a:lnTo>
                  <a:lnTo>
                    <a:pt x="1155" y="361"/>
                  </a:lnTo>
                  <a:lnTo>
                    <a:pt x="1155" y="361"/>
                  </a:lnTo>
                  <a:lnTo>
                    <a:pt x="1155" y="359"/>
                  </a:lnTo>
                  <a:lnTo>
                    <a:pt x="1155" y="359"/>
                  </a:lnTo>
                  <a:lnTo>
                    <a:pt x="1155" y="359"/>
                  </a:lnTo>
                  <a:lnTo>
                    <a:pt x="1153" y="357"/>
                  </a:lnTo>
                  <a:lnTo>
                    <a:pt x="1151" y="357"/>
                  </a:lnTo>
                  <a:lnTo>
                    <a:pt x="1146" y="359"/>
                  </a:lnTo>
                  <a:close/>
                  <a:moveTo>
                    <a:pt x="938" y="279"/>
                  </a:moveTo>
                  <a:lnTo>
                    <a:pt x="938" y="279"/>
                  </a:lnTo>
                  <a:lnTo>
                    <a:pt x="936" y="276"/>
                  </a:lnTo>
                  <a:lnTo>
                    <a:pt x="936" y="276"/>
                  </a:lnTo>
                  <a:lnTo>
                    <a:pt x="934" y="276"/>
                  </a:lnTo>
                  <a:lnTo>
                    <a:pt x="931" y="274"/>
                  </a:lnTo>
                  <a:lnTo>
                    <a:pt x="929" y="274"/>
                  </a:lnTo>
                  <a:lnTo>
                    <a:pt x="929" y="274"/>
                  </a:lnTo>
                  <a:lnTo>
                    <a:pt x="929" y="276"/>
                  </a:lnTo>
                  <a:lnTo>
                    <a:pt x="929" y="276"/>
                  </a:lnTo>
                  <a:lnTo>
                    <a:pt x="931" y="276"/>
                  </a:lnTo>
                  <a:lnTo>
                    <a:pt x="931" y="276"/>
                  </a:lnTo>
                  <a:lnTo>
                    <a:pt x="931" y="279"/>
                  </a:lnTo>
                  <a:lnTo>
                    <a:pt x="931" y="279"/>
                  </a:lnTo>
                  <a:lnTo>
                    <a:pt x="931" y="279"/>
                  </a:lnTo>
                  <a:lnTo>
                    <a:pt x="929" y="281"/>
                  </a:lnTo>
                  <a:lnTo>
                    <a:pt x="931" y="281"/>
                  </a:lnTo>
                  <a:lnTo>
                    <a:pt x="931" y="281"/>
                  </a:lnTo>
                  <a:lnTo>
                    <a:pt x="934" y="281"/>
                  </a:lnTo>
                  <a:lnTo>
                    <a:pt x="934" y="281"/>
                  </a:lnTo>
                  <a:lnTo>
                    <a:pt x="936" y="281"/>
                  </a:lnTo>
                  <a:lnTo>
                    <a:pt x="934" y="281"/>
                  </a:lnTo>
                  <a:lnTo>
                    <a:pt x="934" y="283"/>
                  </a:lnTo>
                  <a:lnTo>
                    <a:pt x="934" y="283"/>
                  </a:lnTo>
                  <a:lnTo>
                    <a:pt x="934" y="283"/>
                  </a:lnTo>
                  <a:lnTo>
                    <a:pt x="936" y="283"/>
                  </a:lnTo>
                  <a:lnTo>
                    <a:pt x="936" y="283"/>
                  </a:lnTo>
                  <a:lnTo>
                    <a:pt x="936" y="283"/>
                  </a:lnTo>
                  <a:lnTo>
                    <a:pt x="936" y="283"/>
                  </a:lnTo>
                  <a:lnTo>
                    <a:pt x="936" y="283"/>
                  </a:lnTo>
                  <a:lnTo>
                    <a:pt x="936" y="283"/>
                  </a:lnTo>
                  <a:lnTo>
                    <a:pt x="936" y="283"/>
                  </a:lnTo>
                  <a:lnTo>
                    <a:pt x="938" y="283"/>
                  </a:lnTo>
                  <a:lnTo>
                    <a:pt x="938" y="283"/>
                  </a:lnTo>
                  <a:lnTo>
                    <a:pt x="941" y="283"/>
                  </a:lnTo>
                  <a:lnTo>
                    <a:pt x="941" y="283"/>
                  </a:lnTo>
                  <a:lnTo>
                    <a:pt x="941" y="281"/>
                  </a:lnTo>
                  <a:lnTo>
                    <a:pt x="941" y="281"/>
                  </a:lnTo>
                  <a:lnTo>
                    <a:pt x="938" y="281"/>
                  </a:lnTo>
                  <a:lnTo>
                    <a:pt x="936" y="281"/>
                  </a:lnTo>
                  <a:lnTo>
                    <a:pt x="936" y="281"/>
                  </a:lnTo>
                  <a:lnTo>
                    <a:pt x="936" y="279"/>
                  </a:lnTo>
                  <a:lnTo>
                    <a:pt x="936" y="279"/>
                  </a:lnTo>
                  <a:lnTo>
                    <a:pt x="938" y="279"/>
                  </a:lnTo>
                  <a:close/>
                  <a:moveTo>
                    <a:pt x="1162" y="343"/>
                  </a:moveTo>
                  <a:lnTo>
                    <a:pt x="1160" y="343"/>
                  </a:lnTo>
                  <a:lnTo>
                    <a:pt x="1162" y="343"/>
                  </a:lnTo>
                  <a:lnTo>
                    <a:pt x="1162" y="345"/>
                  </a:lnTo>
                  <a:lnTo>
                    <a:pt x="1165" y="345"/>
                  </a:lnTo>
                  <a:lnTo>
                    <a:pt x="1167" y="345"/>
                  </a:lnTo>
                  <a:lnTo>
                    <a:pt x="1167" y="345"/>
                  </a:lnTo>
                  <a:lnTo>
                    <a:pt x="1169" y="343"/>
                  </a:lnTo>
                  <a:lnTo>
                    <a:pt x="1169" y="343"/>
                  </a:lnTo>
                  <a:lnTo>
                    <a:pt x="1169" y="340"/>
                  </a:lnTo>
                  <a:lnTo>
                    <a:pt x="1167" y="340"/>
                  </a:lnTo>
                  <a:lnTo>
                    <a:pt x="1165" y="340"/>
                  </a:lnTo>
                  <a:lnTo>
                    <a:pt x="1165" y="340"/>
                  </a:lnTo>
                  <a:lnTo>
                    <a:pt x="1162" y="343"/>
                  </a:lnTo>
                  <a:lnTo>
                    <a:pt x="1162" y="343"/>
                  </a:lnTo>
                  <a:lnTo>
                    <a:pt x="1162" y="343"/>
                  </a:lnTo>
                  <a:lnTo>
                    <a:pt x="1162" y="343"/>
                  </a:lnTo>
                  <a:close/>
                  <a:moveTo>
                    <a:pt x="1153" y="466"/>
                  </a:moveTo>
                  <a:lnTo>
                    <a:pt x="1153" y="466"/>
                  </a:lnTo>
                  <a:lnTo>
                    <a:pt x="1153" y="466"/>
                  </a:lnTo>
                  <a:lnTo>
                    <a:pt x="1151" y="468"/>
                  </a:lnTo>
                  <a:lnTo>
                    <a:pt x="1151" y="468"/>
                  </a:lnTo>
                  <a:lnTo>
                    <a:pt x="1153" y="468"/>
                  </a:lnTo>
                  <a:lnTo>
                    <a:pt x="1155" y="468"/>
                  </a:lnTo>
                  <a:lnTo>
                    <a:pt x="1155" y="468"/>
                  </a:lnTo>
                  <a:lnTo>
                    <a:pt x="1155" y="468"/>
                  </a:lnTo>
                  <a:lnTo>
                    <a:pt x="1155" y="466"/>
                  </a:lnTo>
                  <a:lnTo>
                    <a:pt x="1155" y="466"/>
                  </a:lnTo>
                  <a:lnTo>
                    <a:pt x="1153" y="466"/>
                  </a:lnTo>
                  <a:close/>
                  <a:moveTo>
                    <a:pt x="1089" y="385"/>
                  </a:moveTo>
                  <a:lnTo>
                    <a:pt x="1092" y="385"/>
                  </a:lnTo>
                  <a:lnTo>
                    <a:pt x="1094" y="383"/>
                  </a:lnTo>
                  <a:lnTo>
                    <a:pt x="1096" y="383"/>
                  </a:lnTo>
                  <a:lnTo>
                    <a:pt x="1096" y="380"/>
                  </a:lnTo>
                  <a:lnTo>
                    <a:pt x="1096" y="380"/>
                  </a:lnTo>
                  <a:lnTo>
                    <a:pt x="1096" y="380"/>
                  </a:lnTo>
                  <a:lnTo>
                    <a:pt x="1096" y="378"/>
                  </a:lnTo>
                  <a:lnTo>
                    <a:pt x="1094" y="378"/>
                  </a:lnTo>
                  <a:lnTo>
                    <a:pt x="1094" y="380"/>
                  </a:lnTo>
                  <a:lnTo>
                    <a:pt x="1092" y="380"/>
                  </a:lnTo>
                  <a:lnTo>
                    <a:pt x="1089" y="383"/>
                  </a:lnTo>
                  <a:lnTo>
                    <a:pt x="1087" y="385"/>
                  </a:lnTo>
                  <a:lnTo>
                    <a:pt x="1087" y="385"/>
                  </a:lnTo>
                  <a:lnTo>
                    <a:pt x="1087" y="385"/>
                  </a:lnTo>
                  <a:lnTo>
                    <a:pt x="1089" y="385"/>
                  </a:lnTo>
                  <a:close/>
                  <a:moveTo>
                    <a:pt x="821" y="548"/>
                  </a:moveTo>
                  <a:lnTo>
                    <a:pt x="821" y="548"/>
                  </a:lnTo>
                  <a:lnTo>
                    <a:pt x="823" y="551"/>
                  </a:lnTo>
                  <a:lnTo>
                    <a:pt x="823" y="551"/>
                  </a:lnTo>
                  <a:lnTo>
                    <a:pt x="825" y="551"/>
                  </a:lnTo>
                  <a:lnTo>
                    <a:pt x="825" y="548"/>
                  </a:lnTo>
                  <a:lnTo>
                    <a:pt x="825" y="548"/>
                  </a:lnTo>
                  <a:lnTo>
                    <a:pt x="825" y="548"/>
                  </a:lnTo>
                  <a:lnTo>
                    <a:pt x="828" y="548"/>
                  </a:lnTo>
                  <a:lnTo>
                    <a:pt x="828" y="546"/>
                  </a:lnTo>
                  <a:lnTo>
                    <a:pt x="828" y="546"/>
                  </a:lnTo>
                  <a:lnTo>
                    <a:pt x="821" y="548"/>
                  </a:lnTo>
                  <a:close/>
                  <a:moveTo>
                    <a:pt x="830" y="522"/>
                  </a:moveTo>
                  <a:lnTo>
                    <a:pt x="830" y="522"/>
                  </a:lnTo>
                  <a:lnTo>
                    <a:pt x="830" y="522"/>
                  </a:lnTo>
                  <a:lnTo>
                    <a:pt x="830" y="522"/>
                  </a:lnTo>
                  <a:lnTo>
                    <a:pt x="830" y="522"/>
                  </a:lnTo>
                  <a:lnTo>
                    <a:pt x="830" y="522"/>
                  </a:lnTo>
                  <a:lnTo>
                    <a:pt x="830" y="522"/>
                  </a:lnTo>
                  <a:lnTo>
                    <a:pt x="830" y="520"/>
                  </a:lnTo>
                  <a:lnTo>
                    <a:pt x="830" y="522"/>
                  </a:lnTo>
                  <a:close/>
                  <a:moveTo>
                    <a:pt x="743" y="354"/>
                  </a:moveTo>
                  <a:lnTo>
                    <a:pt x="743" y="354"/>
                  </a:lnTo>
                  <a:lnTo>
                    <a:pt x="745" y="354"/>
                  </a:lnTo>
                  <a:lnTo>
                    <a:pt x="745" y="354"/>
                  </a:lnTo>
                  <a:lnTo>
                    <a:pt x="745" y="354"/>
                  </a:lnTo>
                  <a:lnTo>
                    <a:pt x="745" y="354"/>
                  </a:lnTo>
                  <a:lnTo>
                    <a:pt x="745" y="352"/>
                  </a:lnTo>
                  <a:lnTo>
                    <a:pt x="743" y="354"/>
                  </a:lnTo>
                  <a:close/>
                  <a:moveTo>
                    <a:pt x="1061" y="406"/>
                  </a:moveTo>
                  <a:lnTo>
                    <a:pt x="1061" y="406"/>
                  </a:lnTo>
                  <a:lnTo>
                    <a:pt x="1059" y="406"/>
                  </a:lnTo>
                  <a:lnTo>
                    <a:pt x="1059" y="409"/>
                  </a:lnTo>
                  <a:lnTo>
                    <a:pt x="1059" y="409"/>
                  </a:lnTo>
                  <a:lnTo>
                    <a:pt x="1059" y="411"/>
                  </a:lnTo>
                  <a:lnTo>
                    <a:pt x="1059" y="411"/>
                  </a:lnTo>
                  <a:lnTo>
                    <a:pt x="1059" y="409"/>
                  </a:lnTo>
                  <a:lnTo>
                    <a:pt x="1059" y="411"/>
                  </a:lnTo>
                  <a:lnTo>
                    <a:pt x="1061" y="409"/>
                  </a:lnTo>
                  <a:lnTo>
                    <a:pt x="1061" y="409"/>
                  </a:lnTo>
                  <a:lnTo>
                    <a:pt x="1061" y="409"/>
                  </a:lnTo>
                  <a:lnTo>
                    <a:pt x="1061" y="409"/>
                  </a:lnTo>
                  <a:lnTo>
                    <a:pt x="1061" y="406"/>
                  </a:lnTo>
                  <a:close/>
                  <a:moveTo>
                    <a:pt x="811" y="525"/>
                  </a:moveTo>
                  <a:lnTo>
                    <a:pt x="809" y="525"/>
                  </a:lnTo>
                  <a:lnTo>
                    <a:pt x="799" y="525"/>
                  </a:lnTo>
                  <a:lnTo>
                    <a:pt x="799" y="525"/>
                  </a:lnTo>
                  <a:lnTo>
                    <a:pt x="797" y="525"/>
                  </a:lnTo>
                  <a:lnTo>
                    <a:pt x="795" y="527"/>
                  </a:lnTo>
                  <a:lnTo>
                    <a:pt x="795" y="527"/>
                  </a:lnTo>
                  <a:lnTo>
                    <a:pt x="797" y="529"/>
                  </a:lnTo>
                  <a:lnTo>
                    <a:pt x="804" y="532"/>
                  </a:lnTo>
                  <a:lnTo>
                    <a:pt x="806" y="532"/>
                  </a:lnTo>
                  <a:lnTo>
                    <a:pt x="809" y="534"/>
                  </a:lnTo>
                  <a:lnTo>
                    <a:pt x="811" y="534"/>
                  </a:lnTo>
                  <a:lnTo>
                    <a:pt x="811" y="534"/>
                  </a:lnTo>
                  <a:lnTo>
                    <a:pt x="814" y="532"/>
                  </a:lnTo>
                  <a:lnTo>
                    <a:pt x="814" y="532"/>
                  </a:lnTo>
                  <a:lnTo>
                    <a:pt x="814" y="529"/>
                  </a:lnTo>
                  <a:lnTo>
                    <a:pt x="814" y="527"/>
                  </a:lnTo>
                  <a:lnTo>
                    <a:pt x="811" y="525"/>
                  </a:lnTo>
                  <a:close/>
                  <a:moveTo>
                    <a:pt x="1077" y="340"/>
                  </a:moveTo>
                  <a:lnTo>
                    <a:pt x="1080" y="340"/>
                  </a:lnTo>
                  <a:lnTo>
                    <a:pt x="1082" y="340"/>
                  </a:lnTo>
                  <a:lnTo>
                    <a:pt x="1082" y="340"/>
                  </a:lnTo>
                  <a:lnTo>
                    <a:pt x="1085" y="340"/>
                  </a:lnTo>
                  <a:lnTo>
                    <a:pt x="1085" y="340"/>
                  </a:lnTo>
                  <a:lnTo>
                    <a:pt x="1085" y="340"/>
                  </a:lnTo>
                  <a:lnTo>
                    <a:pt x="1085" y="340"/>
                  </a:lnTo>
                  <a:lnTo>
                    <a:pt x="1085" y="340"/>
                  </a:lnTo>
                  <a:lnTo>
                    <a:pt x="1085" y="338"/>
                  </a:lnTo>
                  <a:lnTo>
                    <a:pt x="1082" y="335"/>
                  </a:lnTo>
                  <a:lnTo>
                    <a:pt x="1080" y="335"/>
                  </a:lnTo>
                  <a:lnTo>
                    <a:pt x="1077" y="335"/>
                  </a:lnTo>
                  <a:lnTo>
                    <a:pt x="1077" y="335"/>
                  </a:lnTo>
                  <a:lnTo>
                    <a:pt x="1075" y="335"/>
                  </a:lnTo>
                  <a:lnTo>
                    <a:pt x="1075" y="335"/>
                  </a:lnTo>
                  <a:lnTo>
                    <a:pt x="1077" y="338"/>
                  </a:lnTo>
                  <a:lnTo>
                    <a:pt x="1077" y="338"/>
                  </a:lnTo>
                  <a:lnTo>
                    <a:pt x="1077" y="340"/>
                  </a:lnTo>
                  <a:lnTo>
                    <a:pt x="1077" y="340"/>
                  </a:lnTo>
                  <a:close/>
                  <a:moveTo>
                    <a:pt x="1155" y="354"/>
                  </a:moveTo>
                  <a:lnTo>
                    <a:pt x="1153" y="354"/>
                  </a:lnTo>
                  <a:lnTo>
                    <a:pt x="1153" y="354"/>
                  </a:lnTo>
                  <a:lnTo>
                    <a:pt x="1153" y="352"/>
                  </a:lnTo>
                  <a:lnTo>
                    <a:pt x="1153" y="352"/>
                  </a:lnTo>
                  <a:lnTo>
                    <a:pt x="1153" y="352"/>
                  </a:lnTo>
                  <a:lnTo>
                    <a:pt x="1151" y="352"/>
                  </a:lnTo>
                  <a:lnTo>
                    <a:pt x="1151" y="354"/>
                  </a:lnTo>
                  <a:lnTo>
                    <a:pt x="1151" y="354"/>
                  </a:lnTo>
                  <a:lnTo>
                    <a:pt x="1151" y="354"/>
                  </a:lnTo>
                  <a:lnTo>
                    <a:pt x="1153" y="357"/>
                  </a:lnTo>
                  <a:lnTo>
                    <a:pt x="1153" y="357"/>
                  </a:lnTo>
                  <a:lnTo>
                    <a:pt x="1155" y="357"/>
                  </a:lnTo>
                  <a:lnTo>
                    <a:pt x="1155" y="357"/>
                  </a:lnTo>
                  <a:lnTo>
                    <a:pt x="1155" y="354"/>
                  </a:lnTo>
                  <a:lnTo>
                    <a:pt x="1155" y="354"/>
                  </a:lnTo>
                  <a:lnTo>
                    <a:pt x="1155" y="354"/>
                  </a:lnTo>
                  <a:lnTo>
                    <a:pt x="1155" y="354"/>
                  </a:lnTo>
                  <a:lnTo>
                    <a:pt x="1155" y="354"/>
                  </a:lnTo>
                  <a:close/>
                  <a:moveTo>
                    <a:pt x="1219" y="617"/>
                  </a:moveTo>
                  <a:lnTo>
                    <a:pt x="1219" y="617"/>
                  </a:lnTo>
                  <a:lnTo>
                    <a:pt x="1217" y="619"/>
                  </a:lnTo>
                  <a:lnTo>
                    <a:pt x="1214" y="619"/>
                  </a:lnTo>
                  <a:lnTo>
                    <a:pt x="1214" y="619"/>
                  </a:lnTo>
                  <a:lnTo>
                    <a:pt x="1212" y="619"/>
                  </a:lnTo>
                  <a:lnTo>
                    <a:pt x="1209" y="622"/>
                  </a:lnTo>
                  <a:lnTo>
                    <a:pt x="1209" y="619"/>
                  </a:lnTo>
                  <a:lnTo>
                    <a:pt x="1207" y="619"/>
                  </a:lnTo>
                  <a:lnTo>
                    <a:pt x="1205" y="622"/>
                  </a:lnTo>
                  <a:lnTo>
                    <a:pt x="1205" y="622"/>
                  </a:lnTo>
                  <a:lnTo>
                    <a:pt x="1202" y="622"/>
                  </a:lnTo>
                  <a:lnTo>
                    <a:pt x="1200" y="622"/>
                  </a:lnTo>
                  <a:lnTo>
                    <a:pt x="1200" y="622"/>
                  </a:lnTo>
                  <a:lnTo>
                    <a:pt x="1200" y="622"/>
                  </a:lnTo>
                  <a:lnTo>
                    <a:pt x="1205" y="622"/>
                  </a:lnTo>
                  <a:lnTo>
                    <a:pt x="1207" y="619"/>
                  </a:lnTo>
                  <a:lnTo>
                    <a:pt x="1207" y="619"/>
                  </a:lnTo>
                  <a:lnTo>
                    <a:pt x="1209" y="617"/>
                  </a:lnTo>
                  <a:lnTo>
                    <a:pt x="1209" y="617"/>
                  </a:lnTo>
                  <a:lnTo>
                    <a:pt x="1207" y="617"/>
                  </a:lnTo>
                  <a:lnTo>
                    <a:pt x="1205" y="617"/>
                  </a:lnTo>
                  <a:lnTo>
                    <a:pt x="1205" y="617"/>
                  </a:lnTo>
                  <a:lnTo>
                    <a:pt x="1205" y="614"/>
                  </a:lnTo>
                  <a:lnTo>
                    <a:pt x="1205" y="614"/>
                  </a:lnTo>
                  <a:lnTo>
                    <a:pt x="1207" y="614"/>
                  </a:lnTo>
                  <a:lnTo>
                    <a:pt x="1207" y="614"/>
                  </a:lnTo>
                  <a:lnTo>
                    <a:pt x="1207" y="614"/>
                  </a:lnTo>
                  <a:lnTo>
                    <a:pt x="1205" y="614"/>
                  </a:lnTo>
                  <a:lnTo>
                    <a:pt x="1202" y="614"/>
                  </a:lnTo>
                  <a:lnTo>
                    <a:pt x="1202" y="614"/>
                  </a:lnTo>
                  <a:lnTo>
                    <a:pt x="1207" y="612"/>
                  </a:lnTo>
                  <a:lnTo>
                    <a:pt x="1207" y="612"/>
                  </a:lnTo>
                  <a:lnTo>
                    <a:pt x="1209" y="610"/>
                  </a:lnTo>
                  <a:lnTo>
                    <a:pt x="1209" y="610"/>
                  </a:lnTo>
                  <a:lnTo>
                    <a:pt x="1209" y="610"/>
                  </a:lnTo>
                  <a:lnTo>
                    <a:pt x="1212" y="607"/>
                  </a:lnTo>
                  <a:lnTo>
                    <a:pt x="1214" y="607"/>
                  </a:lnTo>
                  <a:lnTo>
                    <a:pt x="1214" y="605"/>
                  </a:lnTo>
                  <a:lnTo>
                    <a:pt x="1214" y="605"/>
                  </a:lnTo>
                  <a:lnTo>
                    <a:pt x="1214" y="603"/>
                  </a:lnTo>
                  <a:lnTo>
                    <a:pt x="1212" y="603"/>
                  </a:lnTo>
                  <a:lnTo>
                    <a:pt x="1212" y="600"/>
                  </a:lnTo>
                  <a:lnTo>
                    <a:pt x="1209" y="600"/>
                  </a:lnTo>
                  <a:lnTo>
                    <a:pt x="1205" y="600"/>
                  </a:lnTo>
                  <a:lnTo>
                    <a:pt x="1205" y="600"/>
                  </a:lnTo>
                  <a:lnTo>
                    <a:pt x="1202" y="600"/>
                  </a:lnTo>
                  <a:lnTo>
                    <a:pt x="1202" y="603"/>
                  </a:lnTo>
                  <a:lnTo>
                    <a:pt x="1202" y="603"/>
                  </a:lnTo>
                  <a:lnTo>
                    <a:pt x="1200" y="603"/>
                  </a:lnTo>
                  <a:lnTo>
                    <a:pt x="1202" y="603"/>
                  </a:lnTo>
                  <a:lnTo>
                    <a:pt x="1202" y="600"/>
                  </a:lnTo>
                  <a:lnTo>
                    <a:pt x="1202" y="598"/>
                  </a:lnTo>
                  <a:lnTo>
                    <a:pt x="1202" y="598"/>
                  </a:lnTo>
                  <a:lnTo>
                    <a:pt x="1200" y="600"/>
                  </a:lnTo>
                  <a:lnTo>
                    <a:pt x="1198" y="600"/>
                  </a:lnTo>
                  <a:lnTo>
                    <a:pt x="1198" y="603"/>
                  </a:lnTo>
                  <a:lnTo>
                    <a:pt x="1195" y="603"/>
                  </a:lnTo>
                  <a:lnTo>
                    <a:pt x="1195" y="603"/>
                  </a:lnTo>
                  <a:lnTo>
                    <a:pt x="1193" y="603"/>
                  </a:lnTo>
                  <a:lnTo>
                    <a:pt x="1193" y="605"/>
                  </a:lnTo>
                  <a:lnTo>
                    <a:pt x="1191" y="605"/>
                  </a:lnTo>
                  <a:lnTo>
                    <a:pt x="1193" y="603"/>
                  </a:lnTo>
                  <a:lnTo>
                    <a:pt x="1191" y="603"/>
                  </a:lnTo>
                  <a:lnTo>
                    <a:pt x="1191" y="603"/>
                  </a:lnTo>
                  <a:lnTo>
                    <a:pt x="1188" y="605"/>
                  </a:lnTo>
                  <a:lnTo>
                    <a:pt x="1188" y="605"/>
                  </a:lnTo>
                  <a:lnTo>
                    <a:pt x="1188" y="605"/>
                  </a:lnTo>
                  <a:lnTo>
                    <a:pt x="1186" y="607"/>
                  </a:lnTo>
                  <a:lnTo>
                    <a:pt x="1186" y="607"/>
                  </a:lnTo>
                  <a:lnTo>
                    <a:pt x="1186" y="607"/>
                  </a:lnTo>
                  <a:lnTo>
                    <a:pt x="1186" y="607"/>
                  </a:lnTo>
                  <a:lnTo>
                    <a:pt x="1186" y="607"/>
                  </a:lnTo>
                  <a:lnTo>
                    <a:pt x="1186" y="607"/>
                  </a:lnTo>
                  <a:lnTo>
                    <a:pt x="1188" y="605"/>
                  </a:lnTo>
                  <a:lnTo>
                    <a:pt x="1188" y="603"/>
                  </a:lnTo>
                  <a:lnTo>
                    <a:pt x="1191" y="600"/>
                  </a:lnTo>
                  <a:lnTo>
                    <a:pt x="1191" y="600"/>
                  </a:lnTo>
                  <a:lnTo>
                    <a:pt x="1191" y="600"/>
                  </a:lnTo>
                  <a:lnTo>
                    <a:pt x="1191" y="598"/>
                  </a:lnTo>
                  <a:lnTo>
                    <a:pt x="1188" y="600"/>
                  </a:lnTo>
                  <a:lnTo>
                    <a:pt x="1188" y="600"/>
                  </a:lnTo>
                  <a:lnTo>
                    <a:pt x="1188" y="603"/>
                  </a:lnTo>
                  <a:lnTo>
                    <a:pt x="1186" y="603"/>
                  </a:lnTo>
                  <a:lnTo>
                    <a:pt x="1186" y="603"/>
                  </a:lnTo>
                  <a:lnTo>
                    <a:pt x="1188" y="600"/>
                  </a:lnTo>
                  <a:lnTo>
                    <a:pt x="1188" y="600"/>
                  </a:lnTo>
                  <a:lnTo>
                    <a:pt x="1188" y="600"/>
                  </a:lnTo>
                  <a:lnTo>
                    <a:pt x="1186" y="600"/>
                  </a:lnTo>
                  <a:lnTo>
                    <a:pt x="1181" y="600"/>
                  </a:lnTo>
                  <a:lnTo>
                    <a:pt x="1181" y="600"/>
                  </a:lnTo>
                  <a:lnTo>
                    <a:pt x="1176" y="600"/>
                  </a:lnTo>
                  <a:lnTo>
                    <a:pt x="1176" y="600"/>
                  </a:lnTo>
                  <a:lnTo>
                    <a:pt x="1179" y="598"/>
                  </a:lnTo>
                  <a:lnTo>
                    <a:pt x="1181" y="596"/>
                  </a:lnTo>
                  <a:lnTo>
                    <a:pt x="1181" y="596"/>
                  </a:lnTo>
                  <a:lnTo>
                    <a:pt x="1181" y="596"/>
                  </a:lnTo>
                  <a:lnTo>
                    <a:pt x="1179" y="596"/>
                  </a:lnTo>
                  <a:lnTo>
                    <a:pt x="1179" y="596"/>
                  </a:lnTo>
                  <a:lnTo>
                    <a:pt x="1176" y="598"/>
                  </a:lnTo>
                  <a:lnTo>
                    <a:pt x="1176" y="598"/>
                  </a:lnTo>
                  <a:lnTo>
                    <a:pt x="1179" y="596"/>
                  </a:lnTo>
                  <a:lnTo>
                    <a:pt x="1184" y="593"/>
                  </a:lnTo>
                  <a:lnTo>
                    <a:pt x="1186" y="591"/>
                  </a:lnTo>
                  <a:lnTo>
                    <a:pt x="1188" y="591"/>
                  </a:lnTo>
                  <a:lnTo>
                    <a:pt x="1188" y="588"/>
                  </a:lnTo>
                  <a:lnTo>
                    <a:pt x="1188" y="588"/>
                  </a:lnTo>
                  <a:lnTo>
                    <a:pt x="1186" y="591"/>
                  </a:lnTo>
                  <a:lnTo>
                    <a:pt x="1184" y="591"/>
                  </a:lnTo>
                  <a:lnTo>
                    <a:pt x="1184" y="588"/>
                  </a:lnTo>
                  <a:lnTo>
                    <a:pt x="1184" y="588"/>
                  </a:lnTo>
                  <a:lnTo>
                    <a:pt x="1179" y="588"/>
                  </a:lnTo>
                  <a:lnTo>
                    <a:pt x="1179" y="591"/>
                  </a:lnTo>
                  <a:lnTo>
                    <a:pt x="1179" y="591"/>
                  </a:lnTo>
                  <a:lnTo>
                    <a:pt x="1179" y="588"/>
                  </a:lnTo>
                  <a:lnTo>
                    <a:pt x="1179" y="588"/>
                  </a:lnTo>
                  <a:lnTo>
                    <a:pt x="1179" y="586"/>
                  </a:lnTo>
                  <a:lnTo>
                    <a:pt x="1179" y="586"/>
                  </a:lnTo>
                  <a:lnTo>
                    <a:pt x="1179" y="588"/>
                  </a:lnTo>
                  <a:lnTo>
                    <a:pt x="1176" y="588"/>
                  </a:lnTo>
                  <a:lnTo>
                    <a:pt x="1174" y="591"/>
                  </a:lnTo>
                  <a:lnTo>
                    <a:pt x="1174" y="591"/>
                  </a:lnTo>
                  <a:lnTo>
                    <a:pt x="1172" y="591"/>
                  </a:lnTo>
                  <a:lnTo>
                    <a:pt x="1169" y="593"/>
                  </a:lnTo>
                  <a:lnTo>
                    <a:pt x="1167" y="596"/>
                  </a:lnTo>
                  <a:lnTo>
                    <a:pt x="1165" y="598"/>
                  </a:lnTo>
                  <a:lnTo>
                    <a:pt x="1165" y="596"/>
                  </a:lnTo>
                  <a:lnTo>
                    <a:pt x="1167" y="596"/>
                  </a:lnTo>
                  <a:lnTo>
                    <a:pt x="1165" y="596"/>
                  </a:lnTo>
                  <a:lnTo>
                    <a:pt x="1165" y="593"/>
                  </a:lnTo>
                  <a:lnTo>
                    <a:pt x="1167" y="593"/>
                  </a:lnTo>
                  <a:lnTo>
                    <a:pt x="1167" y="593"/>
                  </a:lnTo>
                  <a:lnTo>
                    <a:pt x="1167" y="591"/>
                  </a:lnTo>
                  <a:lnTo>
                    <a:pt x="1169" y="591"/>
                  </a:lnTo>
                  <a:lnTo>
                    <a:pt x="1169" y="591"/>
                  </a:lnTo>
                  <a:lnTo>
                    <a:pt x="1169" y="588"/>
                  </a:lnTo>
                  <a:lnTo>
                    <a:pt x="1169" y="588"/>
                  </a:lnTo>
                  <a:lnTo>
                    <a:pt x="1174" y="586"/>
                  </a:lnTo>
                  <a:lnTo>
                    <a:pt x="1176" y="584"/>
                  </a:lnTo>
                  <a:lnTo>
                    <a:pt x="1176" y="581"/>
                  </a:lnTo>
                  <a:lnTo>
                    <a:pt x="1176" y="581"/>
                  </a:lnTo>
                  <a:lnTo>
                    <a:pt x="1179" y="581"/>
                  </a:lnTo>
                  <a:lnTo>
                    <a:pt x="1184" y="577"/>
                  </a:lnTo>
                  <a:lnTo>
                    <a:pt x="1184" y="577"/>
                  </a:lnTo>
                  <a:lnTo>
                    <a:pt x="1186" y="574"/>
                  </a:lnTo>
                  <a:lnTo>
                    <a:pt x="1186" y="574"/>
                  </a:lnTo>
                  <a:lnTo>
                    <a:pt x="1186" y="574"/>
                  </a:lnTo>
                  <a:lnTo>
                    <a:pt x="1188" y="572"/>
                  </a:lnTo>
                  <a:lnTo>
                    <a:pt x="1191" y="572"/>
                  </a:lnTo>
                  <a:lnTo>
                    <a:pt x="1193" y="567"/>
                  </a:lnTo>
                  <a:lnTo>
                    <a:pt x="1193" y="567"/>
                  </a:lnTo>
                  <a:lnTo>
                    <a:pt x="1193" y="567"/>
                  </a:lnTo>
                  <a:lnTo>
                    <a:pt x="1193" y="565"/>
                  </a:lnTo>
                  <a:lnTo>
                    <a:pt x="1193" y="565"/>
                  </a:lnTo>
                  <a:lnTo>
                    <a:pt x="1193" y="565"/>
                  </a:lnTo>
                  <a:lnTo>
                    <a:pt x="1193" y="565"/>
                  </a:lnTo>
                  <a:lnTo>
                    <a:pt x="1191" y="565"/>
                  </a:lnTo>
                  <a:lnTo>
                    <a:pt x="1191" y="565"/>
                  </a:lnTo>
                  <a:lnTo>
                    <a:pt x="1191" y="565"/>
                  </a:lnTo>
                  <a:lnTo>
                    <a:pt x="1191" y="562"/>
                  </a:lnTo>
                  <a:lnTo>
                    <a:pt x="1191" y="562"/>
                  </a:lnTo>
                  <a:lnTo>
                    <a:pt x="1193" y="562"/>
                  </a:lnTo>
                  <a:lnTo>
                    <a:pt x="1195" y="562"/>
                  </a:lnTo>
                  <a:lnTo>
                    <a:pt x="1198" y="560"/>
                  </a:lnTo>
                  <a:lnTo>
                    <a:pt x="1198" y="560"/>
                  </a:lnTo>
                  <a:lnTo>
                    <a:pt x="1200" y="560"/>
                  </a:lnTo>
                  <a:lnTo>
                    <a:pt x="1202" y="558"/>
                  </a:lnTo>
                  <a:lnTo>
                    <a:pt x="1202" y="558"/>
                  </a:lnTo>
                  <a:lnTo>
                    <a:pt x="1202" y="558"/>
                  </a:lnTo>
                  <a:lnTo>
                    <a:pt x="1202" y="558"/>
                  </a:lnTo>
                  <a:lnTo>
                    <a:pt x="1198" y="558"/>
                  </a:lnTo>
                  <a:lnTo>
                    <a:pt x="1198" y="558"/>
                  </a:lnTo>
                  <a:lnTo>
                    <a:pt x="1198" y="558"/>
                  </a:lnTo>
                  <a:lnTo>
                    <a:pt x="1198" y="560"/>
                  </a:lnTo>
                  <a:lnTo>
                    <a:pt x="1195" y="558"/>
                  </a:lnTo>
                  <a:lnTo>
                    <a:pt x="1195" y="558"/>
                  </a:lnTo>
                  <a:lnTo>
                    <a:pt x="1193" y="558"/>
                  </a:lnTo>
                  <a:lnTo>
                    <a:pt x="1188" y="560"/>
                  </a:lnTo>
                  <a:lnTo>
                    <a:pt x="1184" y="560"/>
                  </a:lnTo>
                  <a:lnTo>
                    <a:pt x="1181" y="562"/>
                  </a:lnTo>
                  <a:lnTo>
                    <a:pt x="1181" y="562"/>
                  </a:lnTo>
                  <a:lnTo>
                    <a:pt x="1179" y="562"/>
                  </a:lnTo>
                  <a:lnTo>
                    <a:pt x="1176" y="565"/>
                  </a:lnTo>
                  <a:lnTo>
                    <a:pt x="1176" y="567"/>
                  </a:lnTo>
                  <a:lnTo>
                    <a:pt x="1174" y="567"/>
                  </a:lnTo>
                  <a:lnTo>
                    <a:pt x="1172" y="570"/>
                  </a:lnTo>
                  <a:lnTo>
                    <a:pt x="1172" y="570"/>
                  </a:lnTo>
                  <a:lnTo>
                    <a:pt x="1172" y="570"/>
                  </a:lnTo>
                  <a:lnTo>
                    <a:pt x="1172" y="570"/>
                  </a:lnTo>
                  <a:lnTo>
                    <a:pt x="1172" y="572"/>
                  </a:lnTo>
                  <a:lnTo>
                    <a:pt x="1169" y="574"/>
                  </a:lnTo>
                  <a:lnTo>
                    <a:pt x="1167" y="574"/>
                  </a:lnTo>
                  <a:lnTo>
                    <a:pt x="1167" y="574"/>
                  </a:lnTo>
                  <a:lnTo>
                    <a:pt x="1165" y="574"/>
                  </a:lnTo>
                  <a:lnTo>
                    <a:pt x="1165" y="577"/>
                  </a:lnTo>
                  <a:lnTo>
                    <a:pt x="1165" y="577"/>
                  </a:lnTo>
                  <a:lnTo>
                    <a:pt x="1167" y="577"/>
                  </a:lnTo>
                  <a:lnTo>
                    <a:pt x="1167" y="577"/>
                  </a:lnTo>
                  <a:lnTo>
                    <a:pt x="1165" y="577"/>
                  </a:lnTo>
                  <a:lnTo>
                    <a:pt x="1165" y="577"/>
                  </a:lnTo>
                  <a:lnTo>
                    <a:pt x="1162" y="579"/>
                  </a:lnTo>
                  <a:lnTo>
                    <a:pt x="1160" y="579"/>
                  </a:lnTo>
                  <a:lnTo>
                    <a:pt x="1158" y="586"/>
                  </a:lnTo>
                  <a:lnTo>
                    <a:pt x="1153" y="588"/>
                  </a:lnTo>
                  <a:lnTo>
                    <a:pt x="1148" y="596"/>
                  </a:lnTo>
                  <a:lnTo>
                    <a:pt x="1148" y="596"/>
                  </a:lnTo>
                  <a:lnTo>
                    <a:pt x="1148" y="598"/>
                  </a:lnTo>
                  <a:lnTo>
                    <a:pt x="1148" y="600"/>
                  </a:lnTo>
                  <a:lnTo>
                    <a:pt x="1148" y="600"/>
                  </a:lnTo>
                  <a:lnTo>
                    <a:pt x="1148" y="600"/>
                  </a:lnTo>
                  <a:lnTo>
                    <a:pt x="1146" y="598"/>
                  </a:lnTo>
                  <a:lnTo>
                    <a:pt x="1146" y="598"/>
                  </a:lnTo>
                  <a:lnTo>
                    <a:pt x="1143" y="600"/>
                  </a:lnTo>
                  <a:lnTo>
                    <a:pt x="1141" y="600"/>
                  </a:lnTo>
                  <a:lnTo>
                    <a:pt x="1141" y="603"/>
                  </a:lnTo>
                  <a:lnTo>
                    <a:pt x="1141" y="603"/>
                  </a:lnTo>
                  <a:lnTo>
                    <a:pt x="1141" y="605"/>
                  </a:lnTo>
                  <a:lnTo>
                    <a:pt x="1141" y="605"/>
                  </a:lnTo>
                  <a:lnTo>
                    <a:pt x="1143" y="605"/>
                  </a:lnTo>
                  <a:lnTo>
                    <a:pt x="1143" y="605"/>
                  </a:lnTo>
                  <a:lnTo>
                    <a:pt x="1141" y="605"/>
                  </a:lnTo>
                  <a:lnTo>
                    <a:pt x="1141" y="607"/>
                  </a:lnTo>
                  <a:lnTo>
                    <a:pt x="1141" y="610"/>
                  </a:lnTo>
                  <a:lnTo>
                    <a:pt x="1141" y="610"/>
                  </a:lnTo>
                  <a:lnTo>
                    <a:pt x="1141" y="610"/>
                  </a:lnTo>
                  <a:lnTo>
                    <a:pt x="1141" y="610"/>
                  </a:lnTo>
                  <a:lnTo>
                    <a:pt x="1141" y="610"/>
                  </a:lnTo>
                  <a:lnTo>
                    <a:pt x="1139" y="607"/>
                  </a:lnTo>
                  <a:lnTo>
                    <a:pt x="1136" y="607"/>
                  </a:lnTo>
                  <a:lnTo>
                    <a:pt x="1136" y="607"/>
                  </a:lnTo>
                  <a:lnTo>
                    <a:pt x="1136" y="607"/>
                  </a:lnTo>
                  <a:lnTo>
                    <a:pt x="1134" y="610"/>
                  </a:lnTo>
                  <a:lnTo>
                    <a:pt x="1132" y="612"/>
                  </a:lnTo>
                  <a:lnTo>
                    <a:pt x="1129" y="614"/>
                  </a:lnTo>
                  <a:lnTo>
                    <a:pt x="1127" y="617"/>
                  </a:lnTo>
                  <a:lnTo>
                    <a:pt x="1127" y="619"/>
                  </a:lnTo>
                  <a:lnTo>
                    <a:pt x="1125" y="617"/>
                  </a:lnTo>
                  <a:lnTo>
                    <a:pt x="1125" y="617"/>
                  </a:lnTo>
                  <a:lnTo>
                    <a:pt x="1125" y="617"/>
                  </a:lnTo>
                  <a:lnTo>
                    <a:pt x="1125" y="617"/>
                  </a:lnTo>
                  <a:lnTo>
                    <a:pt x="1127" y="614"/>
                  </a:lnTo>
                  <a:lnTo>
                    <a:pt x="1125" y="614"/>
                  </a:lnTo>
                  <a:lnTo>
                    <a:pt x="1120" y="617"/>
                  </a:lnTo>
                  <a:lnTo>
                    <a:pt x="1120" y="619"/>
                  </a:lnTo>
                  <a:lnTo>
                    <a:pt x="1118" y="619"/>
                  </a:lnTo>
                  <a:lnTo>
                    <a:pt x="1122" y="619"/>
                  </a:lnTo>
                  <a:lnTo>
                    <a:pt x="1127" y="619"/>
                  </a:lnTo>
                  <a:lnTo>
                    <a:pt x="1127" y="619"/>
                  </a:lnTo>
                  <a:lnTo>
                    <a:pt x="1129" y="619"/>
                  </a:lnTo>
                  <a:lnTo>
                    <a:pt x="1132" y="619"/>
                  </a:lnTo>
                  <a:lnTo>
                    <a:pt x="1132" y="619"/>
                  </a:lnTo>
                  <a:lnTo>
                    <a:pt x="1129" y="622"/>
                  </a:lnTo>
                  <a:lnTo>
                    <a:pt x="1127" y="622"/>
                  </a:lnTo>
                  <a:lnTo>
                    <a:pt x="1125" y="624"/>
                  </a:lnTo>
                  <a:lnTo>
                    <a:pt x="1120" y="626"/>
                  </a:lnTo>
                  <a:lnTo>
                    <a:pt x="1113" y="631"/>
                  </a:lnTo>
                  <a:lnTo>
                    <a:pt x="1110" y="631"/>
                  </a:lnTo>
                  <a:lnTo>
                    <a:pt x="1110" y="633"/>
                  </a:lnTo>
                  <a:lnTo>
                    <a:pt x="1110" y="633"/>
                  </a:lnTo>
                  <a:lnTo>
                    <a:pt x="1110" y="636"/>
                  </a:lnTo>
                  <a:lnTo>
                    <a:pt x="1110" y="638"/>
                  </a:lnTo>
                  <a:lnTo>
                    <a:pt x="1110" y="638"/>
                  </a:lnTo>
                  <a:lnTo>
                    <a:pt x="1113" y="641"/>
                  </a:lnTo>
                  <a:lnTo>
                    <a:pt x="1115" y="638"/>
                  </a:lnTo>
                  <a:lnTo>
                    <a:pt x="1120" y="638"/>
                  </a:lnTo>
                  <a:lnTo>
                    <a:pt x="1122" y="638"/>
                  </a:lnTo>
                  <a:lnTo>
                    <a:pt x="1125" y="638"/>
                  </a:lnTo>
                  <a:lnTo>
                    <a:pt x="1127" y="636"/>
                  </a:lnTo>
                  <a:lnTo>
                    <a:pt x="1127" y="636"/>
                  </a:lnTo>
                  <a:lnTo>
                    <a:pt x="1127" y="638"/>
                  </a:lnTo>
                  <a:lnTo>
                    <a:pt x="1127" y="638"/>
                  </a:lnTo>
                  <a:lnTo>
                    <a:pt x="1132" y="638"/>
                  </a:lnTo>
                  <a:lnTo>
                    <a:pt x="1134" y="638"/>
                  </a:lnTo>
                  <a:lnTo>
                    <a:pt x="1136" y="638"/>
                  </a:lnTo>
                  <a:lnTo>
                    <a:pt x="1139" y="638"/>
                  </a:lnTo>
                  <a:lnTo>
                    <a:pt x="1148" y="638"/>
                  </a:lnTo>
                  <a:lnTo>
                    <a:pt x="1151" y="641"/>
                  </a:lnTo>
                  <a:lnTo>
                    <a:pt x="1153" y="638"/>
                  </a:lnTo>
                  <a:lnTo>
                    <a:pt x="1155" y="638"/>
                  </a:lnTo>
                  <a:lnTo>
                    <a:pt x="1158" y="638"/>
                  </a:lnTo>
                  <a:lnTo>
                    <a:pt x="1160" y="638"/>
                  </a:lnTo>
                  <a:lnTo>
                    <a:pt x="1160" y="638"/>
                  </a:lnTo>
                  <a:lnTo>
                    <a:pt x="1162" y="636"/>
                  </a:lnTo>
                  <a:lnTo>
                    <a:pt x="1162" y="636"/>
                  </a:lnTo>
                  <a:lnTo>
                    <a:pt x="1162" y="636"/>
                  </a:lnTo>
                  <a:lnTo>
                    <a:pt x="1165" y="636"/>
                  </a:lnTo>
                  <a:lnTo>
                    <a:pt x="1167" y="636"/>
                  </a:lnTo>
                  <a:lnTo>
                    <a:pt x="1167" y="633"/>
                  </a:lnTo>
                  <a:lnTo>
                    <a:pt x="1167" y="636"/>
                  </a:lnTo>
                  <a:lnTo>
                    <a:pt x="1165" y="638"/>
                  </a:lnTo>
                  <a:lnTo>
                    <a:pt x="1162" y="641"/>
                  </a:lnTo>
                  <a:lnTo>
                    <a:pt x="1160" y="641"/>
                  </a:lnTo>
                  <a:lnTo>
                    <a:pt x="1162" y="641"/>
                  </a:lnTo>
                  <a:lnTo>
                    <a:pt x="1165" y="641"/>
                  </a:lnTo>
                  <a:lnTo>
                    <a:pt x="1167" y="641"/>
                  </a:lnTo>
                  <a:lnTo>
                    <a:pt x="1167" y="641"/>
                  </a:lnTo>
                  <a:lnTo>
                    <a:pt x="1169" y="641"/>
                  </a:lnTo>
                  <a:lnTo>
                    <a:pt x="1172" y="641"/>
                  </a:lnTo>
                  <a:lnTo>
                    <a:pt x="1172" y="641"/>
                  </a:lnTo>
                  <a:lnTo>
                    <a:pt x="1172" y="641"/>
                  </a:lnTo>
                  <a:lnTo>
                    <a:pt x="1172" y="641"/>
                  </a:lnTo>
                  <a:lnTo>
                    <a:pt x="1174" y="638"/>
                  </a:lnTo>
                  <a:lnTo>
                    <a:pt x="1174" y="638"/>
                  </a:lnTo>
                  <a:lnTo>
                    <a:pt x="1176" y="638"/>
                  </a:lnTo>
                  <a:lnTo>
                    <a:pt x="1179" y="638"/>
                  </a:lnTo>
                  <a:lnTo>
                    <a:pt x="1179" y="638"/>
                  </a:lnTo>
                  <a:lnTo>
                    <a:pt x="1181" y="638"/>
                  </a:lnTo>
                  <a:lnTo>
                    <a:pt x="1181" y="638"/>
                  </a:lnTo>
                  <a:lnTo>
                    <a:pt x="1184" y="638"/>
                  </a:lnTo>
                  <a:lnTo>
                    <a:pt x="1184" y="638"/>
                  </a:lnTo>
                  <a:lnTo>
                    <a:pt x="1181" y="641"/>
                  </a:lnTo>
                  <a:lnTo>
                    <a:pt x="1179" y="641"/>
                  </a:lnTo>
                  <a:lnTo>
                    <a:pt x="1176" y="643"/>
                  </a:lnTo>
                  <a:lnTo>
                    <a:pt x="1172" y="645"/>
                  </a:lnTo>
                  <a:lnTo>
                    <a:pt x="1172" y="648"/>
                  </a:lnTo>
                  <a:lnTo>
                    <a:pt x="1169" y="648"/>
                  </a:lnTo>
                  <a:lnTo>
                    <a:pt x="1167" y="648"/>
                  </a:lnTo>
                  <a:lnTo>
                    <a:pt x="1165" y="650"/>
                  </a:lnTo>
                  <a:lnTo>
                    <a:pt x="1162" y="650"/>
                  </a:lnTo>
                  <a:lnTo>
                    <a:pt x="1160" y="650"/>
                  </a:lnTo>
                  <a:lnTo>
                    <a:pt x="1160" y="652"/>
                  </a:lnTo>
                  <a:lnTo>
                    <a:pt x="1160" y="652"/>
                  </a:lnTo>
                  <a:lnTo>
                    <a:pt x="1160" y="652"/>
                  </a:lnTo>
                  <a:lnTo>
                    <a:pt x="1160" y="652"/>
                  </a:lnTo>
                  <a:lnTo>
                    <a:pt x="1160" y="655"/>
                  </a:lnTo>
                  <a:lnTo>
                    <a:pt x="1162" y="655"/>
                  </a:lnTo>
                  <a:lnTo>
                    <a:pt x="1165" y="655"/>
                  </a:lnTo>
                  <a:lnTo>
                    <a:pt x="1167" y="652"/>
                  </a:lnTo>
                  <a:lnTo>
                    <a:pt x="1167" y="652"/>
                  </a:lnTo>
                  <a:lnTo>
                    <a:pt x="1169" y="652"/>
                  </a:lnTo>
                  <a:lnTo>
                    <a:pt x="1169" y="652"/>
                  </a:lnTo>
                  <a:lnTo>
                    <a:pt x="1172" y="652"/>
                  </a:lnTo>
                  <a:lnTo>
                    <a:pt x="1174" y="650"/>
                  </a:lnTo>
                  <a:lnTo>
                    <a:pt x="1174" y="650"/>
                  </a:lnTo>
                  <a:lnTo>
                    <a:pt x="1176" y="648"/>
                  </a:lnTo>
                  <a:lnTo>
                    <a:pt x="1181" y="643"/>
                  </a:lnTo>
                  <a:lnTo>
                    <a:pt x="1181" y="643"/>
                  </a:lnTo>
                  <a:lnTo>
                    <a:pt x="1184" y="643"/>
                  </a:lnTo>
                  <a:lnTo>
                    <a:pt x="1184" y="643"/>
                  </a:lnTo>
                  <a:lnTo>
                    <a:pt x="1186" y="641"/>
                  </a:lnTo>
                  <a:lnTo>
                    <a:pt x="1188" y="641"/>
                  </a:lnTo>
                  <a:lnTo>
                    <a:pt x="1188" y="641"/>
                  </a:lnTo>
                  <a:lnTo>
                    <a:pt x="1186" y="643"/>
                  </a:lnTo>
                  <a:lnTo>
                    <a:pt x="1186" y="643"/>
                  </a:lnTo>
                  <a:lnTo>
                    <a:pt x="1188" y="643"/>
                  </a:lnTo>
                  <a:lnTo>
                    <a:pt x="1188" y="643"/>
                  </a:lnTo>
                  <a:lnTo>
                    <a:pt x="1188" y="641"/>
                  </a:lnTo>
                  <a:lnTo>
                    <a:pt x="1191" y="641"/>
                  </a:lnTo>
                  <a:lnTo>
                    <a:pt x="1193" y="636"/>
                  </a:lnTo>
                  <a:lnTo>
                    <a:pt x="1195" y="633"/>
                  </a:lnTo>
                  <a:lnTo>
                    <a:pt x="1195" y="633"/>
                  </a:lnTo>
                  <a:lnTo>
                    <a:pt x="1198" y="633"/>
                  </a:lnTo>
                  <a:lnTo>
                    <a:pt x="1198" y="636"/>
                  </a:lnTo>
                  <a:lnTo>
                    <a:pt x="1198" y="638"/>
                  </a:lnTo>
                  <a:lnTo>
                    <a:pt x="1198" y="641"/>
                  </a:lnTo>
                  <a:lnTo>
                    <a:pt x="1198" y="641"/>
                  </a:lnTo>
                  <a:lnTo>
                    <a:pt x="1198" y="643"/>
                  </a:lnTo>
                  <a:lnTo>
                    <a:pt x="1198" y="643"/>
                  </a:lnTo>
                  <a:lnTo>
                    <a:pt x="1195" y="645"/>
                  </a:lnTo>
                  <a:lnTo>
                    <a:pt x="1191" y="650"/>
                  </a:lnTo>
                  <a:lnTo>
                    <a:pt x="1191" y="652"/>
                  </a:lnTo>
                  <a:lnTo>
                    <a:pt x="1188" y="652"/>
                  </a:lnTo>
                  <a:lnTo>
                    <a:pt x="1188" y="655"/>
                  </a:lnTo>
                  <a:lnTo>
                    <a:pt x="1188" y="655"/>
                  </a:lnTo>
                  <a:lnTo>
                    <a:pt x="1191" y="655"/>
                  </a:lnTo>
                  <a:lnTo>
                    <a:pt x="1191" y="655"/>
                  </a:lnTo>
                  <a:lnTo>
                    <a:pt x="1191" y="655"/>
                  </a:lnTo>
                  <a:lnTo>
                    <a:pt x="1195" y="652"/>
                  </a:lnTo>
                  <a:lnTo>
                    <a:pt x="1195" y="650"/>
                  </a:lnTo>
                  <a:lnTo>
                    <a:pt x="1198" y="650"/>
                  </a:lnTo>
                  <a:lnTo>
                    <a:pt x="1200" y="648"/>
                  </a:lnTo>
                  <a:lnTo>
                    <a:pt x="1200" y="648"/>
                  </a:lnTo>
                  <a:lnTo>
                    <a:pt x="1200" y="648"/>
                  </a:lnTo>
                  <a:lnTo>
                    <a:pt x="1200" y="650"/>
                  </a:lnTo>
                  <a:lnTo>
                    <a:pt x="1198" y="650"/>
                  </a:lnTo>
                  <a:lnTo>
                    <a:pt x="1200" y="652"/>
                  </a:lnTo>
                  <a:lnTo>
                    <a:pt x="1198" y="652"/>
                  </a:lnTo>
                  <a:lnTo>
                    <a:pt x="1198" y="657"/>
                  </a:lnTo>
                  <a:lnTo>
                    <a:pt x="1198" y="659"/>
                  </a:lnTo>
                  <a:lnTo>
                    <a:pt x="1198" y="659"/>
                  </a:lnTo>
                  <a:lnTo>
                    <a:pt x="1198" y="659"/>
                  </a:lnTo>
                  <a:lnTo>
                    <a:pt x="1200" y="657"/>
                  </a:lnTo>
                  <a:lnTo>
                    <a:pt x="1202" y="657"/>
                  </a:lnTo>
                  <a:lnTo>
                    <a:pt x="1202" y="657"/>
                  </a:lnTo>
                  <a:lnTo>
                    <a:pt x="1202" y="657"/>
                  </a:lnTo>
                  <a:lnTo>
                    <a:pt x="1202" y="657"/>
                  </a:lnTo>
                  <a:lnTo>
                    <a:pt x="1205" y="659"/>
                  </a:lnTo>
                  <a:lnTo>
                    <a:pt x="1205" y="657"/>
                  </a:lnTo>
                  <a:lnTo>
                    <a:pt x="1205" y="657"/>
                  </a:lnTo>
                  <a:lnTo>
                    <a:pt x="1207" y="657"/>
                  </a:lnTo>
                  <a:lnTo>
                    <a:pt x="1207" y="655"/>
                  </a:lnTo>
                  <a:lnTo>
                    <a:pt x="1209" y="652"/>
                  </a:lnTo>
                  <a:lnTo>
                    <a:pt x="1212" y="650"/>
                  </a:lnTo>
                  <a:lnTo>
                    <a:pt x="1212" y="650"/>
                  </a:lnTo>
                  <a:lnTo>
                    <a:pt x="1212" y="650"/>
                  </a:lnTo>
                  <a:lnTo>
                    <a:pt x="1217" y="643"/>
                  </a:lnTo>
                  <a:lnTo>
                    <a:pt x="1217" y="641"/>
                  </a:lnTo>
                  <a:lnTo>
                    <a:pt x="1219" y="641"/>
                  </a:lnTo>
                  <a:lnTo>
                    <a:pt x="1219" y="638"/>
                  </a:lnTo>
                  <a:lnTo>
                    <a:pt x="1219" y="636"/>
                  </a:lnTo>
                  <a:lnTo>
                    <a:pt x="1219" y="636"/>
                  </a:lnTo>
                  <a:lnTo>
                    <a:pt x="1219" y="636"/>
                  </a:lnTo>
                  <a:lnTo>
                    <a:pt x="1217" y="636"/>
                  </a:lnTo>
                  <a:lnTo>
                    <a:pt x="1217" y="636"/>
                  </a:lnTo>
                  <a:lnTo>
                    <a:pt x="1214" y="638"/>
                  </a:lnTo>
                  <a:lnTo>
                    <a:pt x="1214" y="641"/>
                  </a:lnTo>
                  <a:lnTo>
                    <a:pt x="1212" y="641"/>
                  </a:lnTo>
                  <a:lnTo>
                    <a:pt x="1209" y="643"/>
                  </a:lnTo>
                  <a:lnTo>
                    <a:pt x="1209" y="641"/>
                  </a:lnTo>
                  <a:lnTo>
                    <a:pt x="1209" y="641"/>
                  </a:lnTo>
                  <a:lnTo>
                    <a:pt x="1209" y="638"/>
                  </a:lnTo>
                  <a:lnTo>
                    <a:pt x="1212" y="636"/>
                  </a:lnTo>
                  <a:lnTo>
                    <a:pt x="1212" y="633"/>
                  </a:lnTo>
                  <a:lnTo>
                    <a:pt x="1217" y="631"/>
                  </a:lnTo>
                  <a:lnTo>
                    <a:pt x="1217" y="631"/>
                  </a:lnTo>
                  <a:lnTo>
                    <a:pt x="1219" y="629"/>
                  </a:lnTo>
                  <a:lnTo>
                    <a:pt x="1219" y="629"/>
                  </a:lnTo>
                  <a:lnTo>
                    <a:pt x="1219" y="629"/>
                  </a:lnTo>
                  <a:lnTo>
                    <a:pt x="1219" y="626"/>
                  </a:lnTo>
                  <a:lnTo>
                    <a:pt x="1214" y="629"/>
                  </a:lnTo>
                  <a:lnTo>
                    <a:pt x="1212" y="631"/>
                  </a:lnTo>
                  <a:lnTo>
                    <a:pt x="1205" y="636"/>
                  </a:lnTo>
                  <a:lnTo>
                    <a:pt x="1202" y="638"/>
                  </a:lnTo>
                  <a:lnTo>
                    <a:pt x="1202" y="638"/>
                  </a:lnTo>
                  <a:lnTo>
                    <a:pt x="1200" y="638"/>
                  </a:lnTo>
                  <a:lnTo>
                    <a:pt x="1200" y="638"/>
                  </a:lnTo>
                  <a:lnTo>
                    <a:pt x="1200" y="636"/>
                  </a:lnTo>
                  <a:lnTo>
                    <a:pt x="1200" y="636"/>
                  </a:lnTo>
                  <a:lnTo>
                    <a:pt x="1200" y="636"/>
                  </a:lnTo>
                  <a:lnTo>
                    <a:pt x="1205" y="631"/>
                  </a:lnTo>
                  <a:lnTo>
                    <a:pt x="1205" y="631"/>
                  </a:lnTo>
                  <a:lnTo>
                    <a:pt x="1205" y="631"/>
                  </a:lnTo>
                  <a:lnTo>
                    <a:pt x="1205" y="631"/>
                  </a:lnTo>
                  <a:lnTo>
                    <a:pt x="1202" y="631"/>
                  </a:lnTo>
                  <a:lnTo>
                    <a:pt x="1202" y="631"/>
                  </a:lnTo>
                  <a:lnTo>
                    <a:pt x="1202" y="629"/>
                  </a:lnTo>
                  <a:lnTo>
                    <a:pt x="1205" y="629"/>
                  </a:lnTo>
                  <a:lnTo>
                    <a:pt x="1205" y="629"/>
                  </a:lnTo>
                  <a:lnTo>
                    <a:pt x="1207" y="629"/>
                  </a:lnTo>
                  <a:lnTo>
                    <a:pt x="1207" y="629"/>
                  </a:lnTo>
                  <a:lnTo>
                    <a:pt x="1207" y="626"/>
                  </a:lnTo>
                  <a:lnTo>
                    <a:pt x="1207" y="626"/>
                  </a:lnTo>
                  <a:lnTo>
                    <a:pt x="1209" y="626"/>
                  </a:lnTo>
                  <a:lnTo>
                    <a:pt x="1212" y="624"/>
                  </a:lnTo>
                  <a:lnTo>
                    <a:pt x="1212" y="624"/>
                  </a:lnTo>
                  <a:lnTo>
                    <a:pt x="1214" y="624"/>
                  </a:lnTo>
                  <a:lnTo>
                    <a:pt x="1214" y="624"/>
                  </a:lnTo>
                  <a:lnTo>
                    <a:pt x="1214" y="622"/>
                  </a:lnTo>
                  <a:lnTo>
                    <a:pt x="1217" y="622"/>
                  </a:lnTo>
                  <a:lnTo>
                    <a:pt x="1219" y="622"/>
                  </a:lnTo>
                  <a:lnTo>
                    <a:pt x="1219" y="619"/>
                  </a:lnTo>
                  <a:lnTo>
                    <a:pt x="1219" y="619"/>
                  </a:lnTo>
                  <a:lnTo>
                    <a:pt x="1219" y="617"/>
                  </a:lnTo>
                  <a:lnTo>
                    <a:pt x="1219" y="617"/>
                  </a:lnTo>
                  <a:lnTo>
                    <a:pt x="1219" y="617"/>
                  </a:lnTo>
                  <a:close/>
                  <a:moveTo>
                    <a:pt x="1094" y="229"/>
                  </a:moveTo>
                  <a:lnTo>
                    <a:pt x="1094" y="227"/>
                  </a:lnTo>
                  <a:lnTo>
                    <a:pt x="1092" y="229"/>
                  </a:lnTo>
                  <a:lnTo>
                    <a:pt x="1089" y="229"/>
                  </a:lnTo>
                  <a:lnTo>
                    <a:pt x="1089" y="229"/>
                  </a:lnTo>
                  <a:lnTo>
                    <a:pt x="1089" y="231"/>
                  </a:lnTo>
                  <a:lnTo>
                    <a:pt x="1087" y="231"/>
                  </a:lnTo>
                  <a:lnTo>
                    <a:pt x="1089" y="231"/>
                  </a:lnTo>
                  <a:lnTo>
                    <a:pt x="1092" y="234"/>
                  </a:lnTo>
                  <a:lnTo>
                    <a:pt x="1092" y="234"/>
                  </a:lnTo>
                  <a:lnTo>
                    <a:pt x="1092" y="234"/>
                  </a:lnTo>
                  <a:lnTo>
                    <a:pt x="1094" y="234"/>
                  </a:lnTo>
                  <a:lnTo>
                    <a:pt x="1094" y="234"/>
                  </a:lnTo>
                  <a:lnTo>
                    <a:pt x="1094" y="234"/>
                  </a:lnTo>
                  <a:lnTo>
                    <a:pt x="1094" y="234"/>
                  </a:lnTo>
                  <a:lnTo>
                    <a:pt x="1094" y="231"/>
                  </a:lnTo>
                  <a:lnTo>
                    <a:pt x="1096" y="231"/>
                  </a:lnTo>
                  <a:lnTo>
                    <a:pt x="1096" y="231"/>
                  </a:lnTo>
                  <a:lnTo>
                    <a:pt x="1096" y="231"/>
                  </a:lnTo>
                  <a:lnTo>
                    <a:pt x="1096" y="229"/>
                  </a:lnTo>
                  <a:lnTo>
                    <a:pt x="1094" y="229"/>
                  </a:lnTo>
                  <a:close/>
                  <a:moveTo>
                    <a:pt x="1092" y="239"/>
                  </a:moveTo>
                  <a:lnTo>
                    <a:pt x="1089" y="241"/>
                  </a:lnTo>
                  <a:lnTo>
                    <a:pt x="1089" y="241"/>
                  </a:lnTo>
                  <a:lnTo>
                    <a:pt x="1089" y="241"/>
                  </a:lnTo>
                  <a:lnTo>
                    <a:pt x="1089" y="243"/>
                  </a:lnTo>
                  <a:lnTo>
                    <a:pt x="1092" y="243"/>
                  </a:lnTo>
                  <a:lnTo>
                    <a:pt x="1092" y="243"/>
                  </a:lnTo>
                  <a:lnTo>
                    <a:pt x="1096" y="243"/>
                  </a:lnTo>
                  <a:lnTo>
                    <a:pt x="1103" y="243"/>
                  </a:lnTo>
                  <a:lnTo>
                    <a:pt x="1106" y="243"/>
                  </a:lnTo>
                  <a:lnTo>
                    <a:pt x="1106" y="243"/>
                  </a:lnTo>
                  <a:lnTo>
                    <a:pt x="1106" y="243"/>
                  </a:lnTo>
                  <a:lnTo>
                    <a:pt x="1108" y="241"/>
                  </a:lnTo>
                  <a:lnTo>
                    <a:pt x="1108" y="241"/>
                  </a:lnTo>
                  <a:lnTo>
                    <a:pt x="1108" y="241"/>
                  </a:lnTo>
                  <a:lnTo>
                    <a:pt x="1106" y="241"/>
                  </a:lnTo>
                  <a:lnTo>
                    <a:pt x="1101" y="241"/>
                  </a:lnTo>
                  <a:lnTo>
                    <a:pt x="1099" y="239"/>
                  </a:lnTo>
                  <a:lnTo>
                    <a:pt x="1096" y="239"/>
                  </a:lnTo>
                  <a:lnTo>
                    <a:pt x="1092" y="239"/>
                  </a:lnTo>
                  <a:lnTo>
                    <a:pt x="1092" y="239"/>
                  </a:lnTo>
                  <a:close/>
                  <a:moveTo>
                    <a:pt x="1066" y="210"/>
                  </a:moveTo>
                  <a:lnTo>
                    <a:pt x="1066" y="210"/>
                  </a:lnTo>
                  <a:lnTo>
                    <a:pt x="1066" y="210"/>
                  </a:lnTo>
                  <a:lnTo>
                    <a:pt x="1066" y="210"/>
                  </a:lnTo>
                  <a:lnTo>
                    <a:pt x="1063" y="210"/>
                  </a:lnTo>
                  <a:lnTo>
                    <a:pt x="1063" y="210"/>
                  </a:lnTo>
                  <a:lnTo>
                    <a:pt x="1061" y="210"/>
                  </a:lnTo>
                  <a:lnTo>
                    <a:pt x="1056" y="213"/>
                  </a:lnTo>
                  <a:lnTo>
                    <a:pt x="1054" y="215"/>
                  </a:lnTo>
                  <a:lnTo>
                    <a:pt x="1056" y="215"/>
                  </a:lnTo>
                  <a:lnTo>
                    <a:pt x="1056" y="213"/>
                  </a:lnTo>
                  <a:lnTo>
                    <a:pt x="1059" y="213"/>
                  </a:lnTo>
                  <a:lnTo>
                    <a:pt x="1061" y="213"/>
                  </a:lnTo>
                  <a:lnTo>
                    <a:pt x="1063" y="213"/>
                  </a:lnTo>
                  <a:lnTo>
                    <a:pt x="1068" y="213"/>
                  </a:lnTo>
                  <a:lnTo>
                    <a:pt x="1068" y="210"/>
                  </a:lnTo>
                  <a:lnTo>
                    <a:pt x="1068" y="210"/>
                  </a:lnTo>
                  <a:lnTo>
                    <a:pt x="1068" y="210"/>
                  </a:lnTo>
                  <a:lnTo>
                    <a:pt x="1068" y="210"/>
                  </a:lnTo>
                  <a:lnTo>
                    <a:pt x="1066" y="210"/>
                  </a:lnTo>
                  <a:close/>
                  <a:moveTo>
                    <a:pt x="1459" y="9"/>
                  </a:moveTo>
                  <a:lnTo>
                    <a:pt x="1459" y="9"/>
                  </a:lnTo>
                  <a:lnTo>
                    <a:pt x="1459" y="9"/>
                  </a:lnTo>
                  <a:lnTo>
                    <a:pt x="1457" y="7"/>
                  </a:lnTo>
                  <a:lnTo>
                    <a:pt x="1448" y="7"/>
                  </a:lnTo>
                  <a:lnTo>
                    <a:pt x="1438" y="9"/>
                  </a:lnTo>
                  <a:lnTo>
                    <a:pt x="1438" y="9"/>
                  </a:lnTo>
                  <a:lnTo>
                    <a:pt x="1443" y="7"/>
                  </a:lnTo>
                  <a:lnTo>
                    <a:pt x="1443" y="7"/>
                  </a:lnTo>
                  <a:lnTo>
                    <a:pt x="1440" y="7"/>
                  </a:lnTo>
                  <a:lnTo>
                    <a:pt x="1438" y="4"/>
                  </a:lnTo>
                  <a:lnTo>
                    <a:pt x="1438" y="4"/>
                  </a:lnTo>
                  <a:lnTo>
                    <a:pt x="1438" y="4"/>
                  </a:lnTo>
                  <a:lnTo>
                    <a:pt x="1440" y="4"/>
                  </a:lnTo>
                  <a:lnTo>
                    <a:pt x="1440" y="4"/>
                  </a:lnTo>
                  <a:lnTo>
                    <a:pt x="1440" y="4"/>
                  </a:lnTo>
                  <a:lnTo>
                    <a:pt x="1440" y="4"/>
                  </a:lnTo>
                  <a:lnTo>
                    <a:pt x="1436" y="4"/>
                  </a:lnTo>
                  <a:lnTo>
                    <a:pt x="1433" y="4"/>
                  </a:lnTo>
                  <a:lnTo>
                    <a:pt x="1431" y="4"/>
                  </a:lnTo>
                  <a:lnTo>
                    <a:pt x="1429" y="4"/>
                  </a:lnTo>
                  <a:lnTo>
                    <a:pt x="1429" y="4"/>
                  </a:lnTo>
                  <a:lnTo>
                    <a:pt x="1429" y="2"/>
                  </a:lnTo>
                  <a:lnTo>
                    <a:pt x="1426" y="2"/>
                  </a:lnTo>
                  <a:lnTo>
                    <a:pt x="1426" y="2"/>
                  </a:lnTo>
                  <a:lnTo>
                    <a:pt x="1424" y="2"/>
                  </a:lnTo>
                  <a:lnTo>
                    <a:pt x="1424" y="2"/>
                  </a:lnTo>
                  <a:lnTo>
                    <a:pt x="1422" y="4"/>
                  </a:lnTo>
                  <a:lnTo>
                    <a:pt x="1422" y="4"/>
                  </a:lnTo>
                  <a:lnTo>
                    <a:pt x="1419" y="4"/>
                  </a:lnTo>
                  <a:lnTo>
                    <a:pt x="1419" y="4"/>
                  </a:lnTo>
                  <a:lnTo>
                    <a:pt x="1417" y="4"/>
                  </a:lnTo>
                  <a:lnTo>
                    <a:pt x="1412" y="4"/>
                  </a:lnTo>
                  <a:lnTo>
                    <a:pt x="1405" y="4"/>
                  </a:lnTo>
                  <a:lnTo>
                    <a:pt x="1403" y="4"/>
                  </a:lnTo>
                  <a:lnTo>
                    <a:pt x="1400" y="4"/>
                  </a:lnTo>
                  <a:lnTo>
                    <a:pt x="1396" y="7"/>
                  </a:lnTo>
                  <a:lnTo>
                    <a:pt x="1393" y="7"/>
                  </a:lnTo>
                  <a:lnTo>
                    <a:pt x="1386" y="7"/>
                  </a:lnTo>
                  <a:lnTo>
                    <a:pt x="1384" y="7"/>
                  </a:lnTo>
                  <a:lnTo>
                    <a:pt x="1386" y="4"/>
                  </a:lnTo>
                  <a:lnTo>
                    <a:pt x="1405" y="4"/>
                  </a:lnTo>
                  <a:lnTo>
                    <a:pt x="1407" y="4"/>
                  </a:lnTo>
                  <a:lnTo>
                    <a:pt x="1410" y="2"/>
                  </a:lnTo>
                  <a:lnTo>
                    <a:pt x="1410" y="2"/>
                  </a:lnTo>
                  <a:lnTo>
                    <a:pt x="1410" y="2"/>
                  </a:lnTo>
                  <a:lnTo>
                    <a:pt x="1400" y="2"/>
                  </a:lnTo>
                  <a:lnTo>
                    <a:pt x="1398" y="2"/>
                  </a:lnTo>
                  <a:lnTo>
                    <a:pt x="1393" y="2"/>
                  </a:lnTo>
                  <a:lnTo>
                    <a:pt x="1393" y="2"/>
                  </a:lnTo>
                  <a:lnTo>
                    <a:pt x="1391" y="2"/>
                  </a:lnTo>
                  <a:lnTo>
                    <a:pt x="1386" y="2"/>
                  </a:lnTo>
                  <a:lnTo>
                    <a:pt x="1379" y="2"/>
                  </a:lnTo>
                  <a:lnTo>
                    <a:pt x="1377" y="2"/>
                  </a:lnTo>
                  <a:lnTo>
                    <a:pt x="1377" y="0"/>
                  </a:lnTo>
                  <a:lnTo>
                    <a:pt x="1374" y="0"/>
                  </a:lnTo>
                  <a:lnTo>
                    <a:pt x="1374" y="0"/>
                  </a:lnTo>
                  <a:lnTo>
                    <a:pt x="1365" y="0"/>
                  </a:lnTo>
                  <a:lnTo>
                    <a:pt x="1363" y="0"/>
                  </a:lnTo>
                  <a:lnTo>
                    <a:pt x="1358" y="2"/>
                  </a:lnTo>
                  <a:lnTo>
                    <a:pt x="1358" y="2"/>
                  </a:lnTo>
                  <a:lnTo>
                    <a:pt x="1358" y="2"/>
                  </a:lnTo>
                  <a:lnTo>
                    <a:pt x="1360" y="2"/>
                  </a:lnTo>
                  <a:lnTo>
                    <a:pt x="1360" y="2"/>
                  </a:lnTo>
                  <a:lnTo>
                    <a:pt x="1358" y="2"/>
                  </a:lnTo>
                  <a:lnTo>
                    <a:pt x="1356" y="2"/>
                  </a:lnTo>
                  <a:lnTo>
                    <a:pt x="1351" y="0"/>
                  </a:lnTo>
                  <a:lnTo>
                    <a:pt x="1351" y="0"/>
                  </a:lnTo>
                  <a:lnTo>
                    <a:pt x="1341" y="0"/>
                  </a:lnTo>
                  <a:lnTo>
                    <a:pt x="1337" y="2"/>
                  </a:lnTo>
                  <a:lnTo>
                    <a:pt x="1334" y="2"/>
                  </a:lnTo>
                  <a:lnTo>
                    <a:pt x="1334" y="2"/>
                  </a:lnTo>
                  <a:lnTo>
                    <a:pt x="1332" y="2"/>
                  </a:lnTo>
                  <a:lnTo>
                    <a:pt x="1334" y="4"/>
                  </a:lnTo>
                  <a:lnTo>
                    <a:pt x="1339" y="4"/>
                  </a:lnTo>
                  <a:lnTo>
                    <a:pt x="1339" y="4"/>
                  </a:lnTo>
                  <a:lnTo>
                    <a:pt x="1332" y="4"/>
                  </a:lnTo>
                  <a:lnTo>
                    <a:pt x="1330" y="4"/>
                  </a:lnTo>
                  <a:lnTo>
                    <a:pt x="1327" y="2"/>
                  </a:lnTo>
                  <a:lnTo>
                    <a:pt x="1327" y="2"/>
                  </a:lnTo>
                  <a:lnTo>
                    <a:pt x="1325" y="2"/>
                  </a:lnTo>
                  <a:lnTo>
                    <a:pt x="1325" y="2"/>
                  </a:lnTo>
                  <a:lnTo>
                    <a:pt x="1311" y="2"/>
                  </a:lnTo>
                  <a:lnTo>
                    <a:pt x="1294" y="2"/>
                  </a:lnTo>
                  <a:lnTo>
                    <a:pt x="1294" y="2"/>
                  </a:lnTo>
                  <a:lnTo>
                    <a:pt x="1294" y="2"/>
                  </a:lnTo>
                  <a:lnTo>
                    <a:pt x="1299" y="4"/>
                  </a:lnTo>
                  <a:lnTo>
                    <a:pt x="1301" y="4"/>
                  </a:lnTo>
                  <a:lnTo>
                    <a:pt x="1301" y="4"/>
                  </a:lnTo>
                  <a:lnTo>
                    <a:pt x="1304" y="7"/>
                  </a:lnTo>
                  <a:lnTo>
                    <a:pt x="1304" y="7"/>
                  </a:lnTo>
                  <a:lnTo>
                    <a:pt x="1301" y="7"/>
                  </a:lnTo>
                  <a:lnTo>
                    <a:pt x="1299" y="7"/>
                  </a:lnTo>
                  <a:lnTo>
                    <a:pt x="1297" y="7"/>
                  </a:lnTo>
                  <a:lnTo>
                    <a:pt x="1297" y="7"/>
                  </a:lnTo>
                  <a:lnTo>
                    <a:pt x="1297" y="7"/>
                  </a:lnTo>
                  <a:lnTo>
                    <a:pt x="1297" y="7"/>
                  </a:lnTo>
                  <a:lnTo>
                    <a:pt x="1290" y="4"/>
                  </a:lnTo>
                  <a:lnTo>
                    <a:pt x="1287" y="2"/>
                  </a:lnTo>
                  <a:lnTo>
                    <a:pt x="1287" y="2"/>
                  </a:lnTo>
                  <a:lnTo>
                    <a:pt x="1283" y="2"/>
                  </a:lnTo>
                  <a:lnTo>
                    <a:pt x="1278" y="2"/>
                  </a:lnTo>
                  <a:lnTo>
                    <a:pt x="1271" y="2"/>
                  </a:lnTo>
                  <a:lnTo>
                    <a:pt x="1264" y="2"/>
                  </a:lnTo>
                  <a:lnTo>
                    <a:pt x="1259" y="2"/>
                  </a:lnTo>
                  <a:lnTo>
                    <a:pt x="1259" y="2"/>
                  </a:lnTo>
                  <a:lnTo>
                    <a:pt x="1261" y="4"/>
                  </a:lnTo>
                  <a:lnTo>
                    <a:pt x="1261" y="4"/>
                  </a:lnTo>
                  <a:lnTo>
                    <a:pt x="1264" y="4"/>
                  </a:lnTo>
                  <a:lnTo>
                    <a:pt x="1266" y="4"/>
                  </a:lnTo>
                  <a:lnTo>
                    <a:pt x="1271" y="4"/>
                  </a:lnTo>
                  <a:lnTo>
                    <a:pt x="1271" y="4"/>
                  </a:lnTo>
                  <a:lnTo>
                    <a:pt x="1268" y="4"/>
                  </a:lnTo>
                  <a:lnTo>
                    <a:pt x="1257" y="4"/>
                  </a:lnTo>
                  <a:lnTo>
                    <a:pt x="1252" y="4"/>
                  </a:lnTo>
                  <a:lnTo>
                    <a:pt x="1247" y="4"/>
                  </a:lnTo>
                  <a:lnTo>
                    <a:pt x="1245" y="4"/>
                  </a:lnTo>
                  <a:lnTo>
                    <a:pt x="1245" y="4"/>
                  </a:lnTo>
                  <a:lnTo>
                    <a:pt x="1245" y="4"/>
                  </a:lnTo>
                  <a:lnTo>
                    <a:pt x="1247" y="7"/>
                  </a:lnTo>
                  <a:lnTo>
                    <a:pt x="1245" y="7"/>
                  </a:lnTo>
                  <a:lnTo>
                    <a:pt x="1242" y="7"/>
                  </a:lnTo>
                  <a:lnTo>
                    <a:pt x="1240" y="7"/>
                  </a:lnTo>
                  <a:lnTo>
                    <a:pt x="1238" y="7"/>
                  </a:lnTo>
                  <a:lnTo>
                    <a:pt x="1233" y="7"/>
                  </a:lnTo>
                  <a:lnTo>
                    <a:pt x="1233" y="7"/>
                  </a:lnTo>
                  <a:lnTo>
                    <a:pt x="1233" y="7"/>
                  </a:lnTo>
                  <a:lnTo>
                    <a:pt x="1235" y="7"/>
                  </a:lnTo>
                  <a:lnTo>
                    <a:pt x="1235" y="7"/>
                  </a:lnTo>
                  <a:lnTo>
                    <a:pt x="1231" y="7"/>
                  </a:lnTo>
                  <a:lnTo>
                    <a:pt x="1228" y="9"/>
                  </a:lnTo>
                  <a:lnTo>
                    <a:pt x="1226" y="9"/>
                  </a:lnTo>
                  <a:lnTo>
                    <a:pt x="1226" y="9"/>
                  </a:lnTo>
                  <a:lnTo>
                    <a:pt x="1226" y="9"/>
                  </a:lnTo>
                  <a:lnTo>
                    <a:pt x="1228" y="12"/>
                  </a:lnTo>
                  <a:lnTo>
                    <a:pt x="1233" y="12"/>
                  </a:lnTo>
                  <a:lnTo>
                    <a:pt x="1245" y="14"/>
                  </a:lnTo>
                  <a:lnTo>
                    <a:pt x="1250" y="14"/>
                  </a:lnTo>
                  <a:lnTo>
                    <a:pt x="1250" y="16"/>
                  </a:lnTo>
                  <a:lnTo>
                    <a:pt x="1250" y="16"/>
                  </a:lnTo>
                  <a:lnTo>
                    <a:pt x="1247" y="16"/>
                  </a:lnTo>
                  <a:lnTo>
                    <a:pt x="1245" y="14"/>
                  </a:lnTo>
                  <a:lnTo>
                    <a:pt x="1242" y="14"/>
                  </a:lnTo>
                  <a:lnTo>
                    <a:pt x="1240" y="14"/>
                  </a:lnTo>
                  <a:lnTo>
                    <a:pt x="1231" y="12"/>
                  </a:lnTo>
                  <a:lnTo>
                    <a:pt x="1224" y="12"/>
                  </a:lnTo>
                  <a:lnTo>
                    <a:pt x="1221" y="12"/>
                  </a:lnTo>
                  <a:lnTo>
                    <a:pt x="1221" y="12"/>
                  </a:lnTo>
                  <a:lnTo>
                    <a:pt x="1219" y="12"/>
                  </a:lnTo>
                  <a:lnTo>
                    <a:pt x="1219" y="12"/>
                  </a:lnTo>
                  <a:lnTo>
                    <a:pt x="1219" y="12"/>
                  </a:lnTo>
                  <a:lnTo>
                    <a:pt x="1221" y="14"/>
                  </a:lnTo>
                  <a:lnTo>
                    <a:pt x="1221" y="14"/>
                  </a:lnTo>
                  <a:lnTo>
                    <a:pt x="1217" y="14"/>
                  </a:lnTo>
                  <a:lnTo>
                    <a:pt x="1217" y="14"/>
                  </a:lnTo>
                  <a:lnTo>
                    <a:pt x="1214" y="12"/>
                  </a:lnTo>
                  <a:lnTo>
                    <a:pt x="1214" y="12"/>
                  </a:lnTo>
                  <a:lnTo>
                    <a:pt x="1212" y="9"/>
                  </a:lnTo>
                  <a:lnTo>
                    <a:pt x="1209" y="9"/>
                  </a:lnTo>
                  <a:lnTo>
                    <a:pt x="1202" y="9"/>
                  </a:lnTo>
                  <a:lnTo>
                    <a:pt x="1202" y="9"/>
                  </a:lnTo>
                  <a:lnTo>
                    <a:pt x="1200" y="9"/>
                  </a:lnTo>
                  <a:lnTo>
                    <a:pt x="1200" y="9"/>
                  </a:lnTo>
                  <a:lnTo>
                    <a:pt x="1193" y="9"/>
                  </a:lnTo>
                  <a:lnTo>
                    <a:pt x="1191" y="9"/>
                  </a:lnTo>
                  <a:lnTo>
                    <a:pt x="1186" y="12"/>
                  </a:lnTo>
                  <a:lnTo>
                    <a:pt x="1184" y="12"/>
                  </a:lnTo>
                  <a:lnTo>
                    <a:pt x="1181" y="12"/>
                  </a:lnTo>
                  <a:lnTo>
                    <a:pt x="1176" y="12"/>
                  </a:lnTo>
                  <a:lnTo>
                    <a:pt x="1176" y="12"/>
                  </a:lnTo>
                  <a:lnTo>
                    <a:pt x="1188" y="14"/>
                  </a:lnTo>
                  <a:lnTo>
                    <a:pt x="1188" y="14"/>
                  </a:lnTo>
                  <a:lnTo>
                    <a:pt x="1188" y="14"/>
                  </a:lnTo>
                  <a:lnTo>
                    <a:pt x="1188" y="14"/>
                  </a:lnTo>
                  <a:lnTo>
                    <a:pt x="1186" y="14"/>
                  </a:lnTo>
                  <a:lnTo>
                    <a:pt x="1184" y="14"/>
                  </a:lnTo>
                  <a:lnTo>
                    <a:pt x="1181" y="14"/>
                  </a:lnTo>
                  <a:lnTo>
                    <a:pt x="1179" y="14"/>
                  </a:lnTo>
                  <a:lnTo>
                    <a:pt x="1176" y="14"/>
                  </a:lnTo>
                  <a:lnTo>
                    <a:pt x="1174" y="14"/>
                  </a:lnTo>
                  <a:lnTo>
                    <a:pt x="1172" y="14"/>
                  </a:lnTo>
                  <a:lnTo>
                    <a:pt x="1169" y="14"/>
                  </a:lnTo>
                  <a:lnTo>
                    <a:pt x="1167" y="14"/>
                  </a:lnTo>
                  <a:lnTo>
                    <a:pt x="1167" y="14"/>
                  </a:lnTo>
                  <a:lnTo>
                    <a:pt x="1165" y="14"/>
                  </a:lnTo>
                  <a:lnTo>
                    <a:pt x="1165" y="14"/>
                  </a:lnTo>
                  <a:lnTo>
                    <a:pt x="1162" y="14"/>
                  </a:lnTo>
                  <a:lnTo>
                    <a:pt x="1158" y="14"/>
                  </a:lnTo>
                  <a:lnTo>
                    <a:pt x="1151" y="14"/>
                  </a:lnTo>
                  <a:lnTo>
                    <a:pt x="1146" y="14"/>
                  </a:lnTo>
                  <a:lnTo>
                    <a:pt x="1143" y="14"/>
                  </a:lnTo>
                  <a:lnTo>
                    <a:pt x="1139" y="16"/>
                  </a:lnTo>
                  <a:lnTo>
                    <a:pt x="1136" y="16"/>
                  </a:lnTo>
                  <a:lnTo>
                    <a:pt x="1129" y="16"/>
                  </a:lnTo>
                  <a:lnTo>
                    <a:pt x="1127" y="16"/>
                  </a:lnTo>
                  <a:lnTo>
                    <a:pt x="1120" y="16"/>
                  </a:lnTo>
                  <a:lnTo>
                    <a:pt x="1115" y="16"/>
                  </a:lnTo>
                  <a:lnTo>
                    <a:pt x="1113" y="19"/>
                  </a:lnTo>
                  <a:lnTo>
                    <a:pt x="1110" y="19"/>
                  </a:lnTo>
                  <a:lnTo>
                    <a:pt x="1108" y="19"/>
                  </a:lnTo>
                  <a:lnTo>
                    <a:pt x="1110" y="19"/>
                  </a:lnTo>
                  <a:lnTo>
                    <a:pt x="1110" y="19"/>
                  </a:lnTo>
                  <a:lnTo>
                    <a:pt x="1113" y="19"/>
                  </a:lnTo>
                  <a:lnTo>
                    <a:pt x="1118" y="19"/>
                  </a:lnTo>
                  <a:lnTo>
                    <a:pt x="1120" y="19"/>
                  </a:lnTo>
                  <a:lnTo>
                    <a:pt x="1122" y="19"/>
                  </a:lnTo>
                  <a:lnTo>
                    <a:pt x="1122" y="19"/>
                  </a:lnTo>
                  <a:lnTo>
                    <a:pt x="1129" y="19"/>
                  </a:lnTo>
                  <a:lnTo>
                    <a:pt x="1129" y="19"/>
                  </a:lnTo>
                  <a:lnTo>
                    <a:pt x="1118" y="21"/>
                  </a:lnTo>
                  <a:lnTo>
                    <a:pt x="1115" y="21"/>
                  </a:lnTo>
                  <a:lnTo>
                    <a:pt x="1118" y="21"/>
                  </a:lnTo>
                  <a:lnTo>
                    <a:pt x="1120" y="21"/>
                  </a:lnTo>
                  <a:lnTo>
                    <a:pt x="1136" y="21"/>
                  </a:lnTo>
                  <a:lnTo>
                    <a:pt x="1143" y="21"/>
                  </a:lnTo>
                  <a:lnTo>
                    <a:pt x="1146" y="21"/>
                  </a:lnTo>
                  <a:lnTo>
                    <a:pt x="1153" y="21"/>
                  </a:lnTo>
                  <a:lnTo>
                    <a:pt x="1151" y="21"/>
                  </a:lnTo>
                  <a:lnTo>
                    <a:pt x="1146" y="21"/>
                  </a:lnTo>
                  <a:lnTo>
                    <a:pt x="1141" y="21"/>
                  </a:lnTo>
                  <a:lnTo>
                    <a:pt x="1136" y="21"/>
                  </a:lnTo>
                  <a:lnTo>
                    <a:pt x="1129" y="23"/>
                  </a:lnTo>
                  <a:lnTo>
                    <a:pt x="1125" y="23"/>
                  </a:lnTo>
                  <a:lnTo>
                    <a:pt x="1125" y="23"/>
                  </a:lnTo>
                  <a:lnTo>
                    <a:pt x="1129" y="23"/>
                  </a:lnTo>
                  <a:lnTo>
                    <a:pt x="1127" y="23"/>
                  </a:lnTo>
                  <a:lnTo>
                    <a:pt x="1125" y="23"/>
                  </a:lnTo>
                  <a:lnTo>
                    <a:pt x="1120" y="26"/>
                  </a:lnTo>
                  <a:lnTo>
                    <a:pt x="1118" y="26"/>
                  </a:lnTo>
                  <a:lnTo>
                    <a:pt x="1118" y="26"/>
                  </a:lnTo>
                  <a:lnTo>
                    <a:pt x="1120" y="28"/>
                  </a:lnTo>
                  <a:lnTo>
                    <a:pt x="1122" y="28"/>
                  </a:lnTo>
                  <a:lnTo>
                    <a:pt x="1129" y="26"/>
                  </a:lnTo>
                  <a:lnTo>
                    <a:pt x="1148" y="26"/>
                  </a:lnTo>
                  <a:lnTo>
                    <a:pt x="1155" y="26"/>
                  </a:lnTo>
                  <a:lnTo>
                    <a:pt x="1167" y="23"/>
                  </a:lnTo>
                  <a:lnTo>
                    <a:pt x="1172" y="23"/>
                  </a:lnTo>
                  <a:lnTo>
                    <a:pt x="1174" y="23"/>
                  </a:lnTo>
                  <a:lnTo>
                    <a:pt x="1176" y="23"/>
                  </a:lnTo>
                  <a:lnTo>
                    <a:pt x="1176" y="23"/>
                  </a:lnTo>
                  <a:lnTo>
                    <a:pt x="1165" y="26"/>
                  </a:lnTo>
                  <a:lnTo>
                    <a:pt x="1155" y="28"/>
                  </a:lnTo>
                  <a:lnTo>
                    <a:pt x="1151" y="28"/>
                  </a:lnTo>
                  <a:lnTo>
                    <a:pt x="1143" y="28"/>
                  </a:lnTo>
                  <a:lnTo>
                    <a:pt x="1134" y="28"/>
                  </a:lnTo>
                  <a:lnTo>
                    <a:pt x="1122" y="28"/>
                  </a:lnTo>
                  <a:lnTo>
                    <a:pt x="1122" y="28"/>
                  </a:lnTo>
                  <a:lnTo>
                    <a:pt x="1122" y="28"/>
                  </a:lnTo>
                  <a:lnTo>
                    <a:pt x="1122" y="30"/>
                  </a:lnTo>
                  <a:lnTo>
                    <a:pt x="1122" y="30"/>
                  </a:lnTo>
                  <a:lnTo>
                    <a:pt x="1125" y="30"/>
                  </a:lnTo>
                  <a:lnTo>
                    <a:pt x="1127" y="30"/>
                  </a:lnTo>
                  <a:lnTo>
                    <a:pt x="1129" y="30"/>
                  </a:lnTo>
                  <a:lnTo>
                    <a:pt x="1132" y="33"/>
                  </a:lnTo>
                  <a:lnTo>
                    <a:pt x="1134" y="33"/>
                  </a:lnTo>
                  <a:lnTo>
                    <a:pt x="1139" y="33"/>
                  </a:lnTo>
                  <a:lnTo>
                    <a:pt x="1143" y="30"/>
                  </a:lnTo>
                  <a:lnTo>
                    <a:pt x="1158" y="28"/>
                  </a:lnTo>
                  <a:lnTo>
                    <a:pt x="1160" y="28"/>
                  </a:lnTo>
                  <a:lnTo>
                    <a:pt x="1165" y="28"/>
                  </a:lnTo>
                  <a:lnTo>
                    <a:pt x="1179" y="26"/>
                  </a:lnTo>
                  <a:lnTo>
                    <a:pt x="1193" y="26"/>
                  </a:lnTo>
                  <a:lnTo>
                    <a:pt x="1193" y="26"/>
                  </a:lnTo>
                  <a:lnTo>
                    <a:pt x="1176" y="26"/>
                  </a:lnTo>
                  <a:lnTo>
                    <a:pt x="1169" y="28"/>
                  </a:lnTo>
                  <a:lnTo>
                    <a:pt x="1162" y="28"/>
                  </a:lnTo>
                  <a:lnTo>
                    <a:pt x="1153" y="30"/>
                  </a:lnTo>
                  <a:lnTo>
                    <a:pt x="1151" y="30"/>
                  </a:lnTo>
                  <a:lnTo>
                    <a:pt x="1148" y="33"/>
                  </a:lnTo>
                  <a:lnTo>
                    <a:pt x="1146" y="33"/>
                  </a:lnTo>
                  <a:lnTo>
                    <a:pt x="1146" y="33"/>
                  </a:lnTo>
                  <a:lnTo>
                    <a:pt x="1151" y="33"/>
                  </a:lnTo>
                  <a:lnTo>
                    <a:pt x="1151" y="33"/>
                  </a:lnTo>
                  <a:lnTo>
                    <a:pt x="1155" y="33"/>
                  </a:lnTo>
                  <a:lnTo>
                    <a:pt x="1160" y="33"/>
                  </a:lnTo>
                  <a:lnTo>
                    <a:pt x="1162" y="35"/>
                  </a:lnTo>
                  <a:lnTo>
                    <a:pt x="1169" y="33"/>
                  </a:lnTo>
                  <a:lnTo>
                    <a:pt x="1172" y="33"/>
                  </a:lnTo>
                  <a:lnTo>
                    <a:pt x="1174" y="33"/>
                  </a:lnTo>
                  <a:lnTo>
                    <a:pt x="1176" y="33"/>
                  </a:lnTo>
                  <a:lnTo>
                    <a:pt x="1181" y="33"/>
                  </a:lnTo>
                  <a:lnTo>
                    <a:pt x="1186" y="30"/>
                  </a:lnTo>
                  <a:lnTo>
                    <a:pt x="1193" y="30"/>
                  </a:lnTo>
                  <a:lnTo>
                    <a:pt x="1195" y="30"/>
                  </a:lnTo>
                  <a:lnTo>
                    <a:pt x="1200" y="30"/>
                  </a:lnTo>
                  <a:lnTo>
                    <a:pt x="1198" y="30"/>
                  </a:lnTo>
                  <a:lnTo>
                    <a:pt x="1191" y="33"/>
                  </a:lnTo>
                  <a:lnTo>
                    <a:pt x="1188" y="33"/>
                  </a:lnTo>
                  <a:lnTo>
                    <a:pt x="1191" y="33"/>
                  </a:lnTo>
                  <a:lnTo>
                    <a:pt x="1193" y="33"/>
                  </a:lnTo>
                  <a:lnTo>
                    <a:pt x="1205" y="33"/>
                  </a:lnTo>
                  <a:lnTo>
                    <a:pt x="1207" y="33"/>
                  </a:lnTo>
                  <a:lnTo>
                    <a:pt x="1212" y="33"/>
                  </a:lnTo>
                  <a:lnTo>
                    <a:pt x="1224" y="30"/>
                  </a:lnTo>
                  <a:lnTo>
                    <a:pt x="1228" y="30"/>
                  </a:lnTo>
                  <a:lnTo>
                    <a:pt x="1231" y="28"/>
                  </a:lnTo>
                  <a:lnTo>
                    <a:pt x="1233" y="28"/>
                  </a:lnTo>
                  <a:lnTo>
                    <a:pt x="1233" y="28"/>
                  </a:lnTo>
                  <a:lnTo>
                    <a:pt x="1235" y="28"/>
                  </a:lnTo>
                  <a:lnTo>
                    <a:pt x="1238" y="26"/>
                  </a:lnTo>
                  <a:lnTo>
                    <a:pt x="1240" y="26"/>
                  </a:lnTo>
                  <a:lnTo>
                    <a:pt x="1240" y="26"/>
                  </a:lnTo>
                  <a:lnTo>
                    <a:pt x="1242" y="26"/>
                  </a:lnTo>
                  <a:lnTo>
                    <a:pt x="1245" y="26"/>
                  </a:lnTo>
                  <a:lnTo>
                    <a:pt x="1252" y="23"/>
                  </a:lnTo>
                  <a:lnTo>
                    <a:pt x="1257" y="23"/>
                  </a:lnTo>
                  <a:lnTo>
                    <a:pt x="1271" y="21"/>
                  </a:lnTo>
                  <a:lnTo>
                    <a:pt x="1268" y="23"/>
                  </a:lnTo>
                  <a:lnTo>
                    <a:pt x="1261" y="23"/>
                  </a:lnTo>
                  <a:lnTo>
                    <a:pt x="1252" y="26"/>
                  </a:lnTo>
                  <a:lnTo>
                    <a:pt x="1247" y="26"/>
                  </a:lnTo>
                  <a:lnTo>
                    <a:pt x="1245" y="26"/>
                  </a:lnTo>
                  <a:lnTo>
                    <a:pt x="1242" y="28"/>
                  </a:lnTo>
                  <a:lnTo>
                    <a:pt x="1242" y="28"/>
                  </a:lnTo>
                  <a:lnTo>
                    <a:pt x="1245" y="28"/>
                  </a:lnTo>
                  <a:lnTo>
                    <a:pt x="1250" y="28"/>
                  </a:lnTo>
                  <a:lnTo>
                    <a:pt x="1257" y="28"/>
                  </a:lnTo>
                  <a:lnTo>
                    <a:pt x="1259" y="28"/>
                  </a:lnTo>
                  <a:lnTo>
                    <a:pt x="1261" y="28"/>
                  </a:lnTo>
                  <a:lnTo>
                    <a:pt x="1261" y="30"/>
                  </a:lnTo>
                  <a:lnTo>
                    <a:pt x="1259" y="30"/>
                  </a:lnTo>
                  <a:lnTo>
                    <a:pt x="1254" y="30"/>
                  </a:lnTo>
                  <a:lnTo>
                    <a:pt x="1242" y="30"/>
                  </a:lnTo>
                  <a:lnTo>
                    <a:pt x="1226" y="33"/>
                  </a:lnTo>
                  <a:lnTo>
                    <a:pt x="1226" y="33"/>
                  </a:lnTo>
                  <a:lnTo>
                    <a:pt x="1219" y="33"/>
                  </a:lnTo>
                  <a:lnTo>
                    <a:pt x="1207" y="35"/>
                  </a:lnTo>
                  <a:lnTo>
                    <a:pt x="1188" y="35"/>
                  </a:lnTo>
                  <a:lnTo>
                    <a:pt x="1186" y="38"/>
                  </a:lnTo>
                  <a:lnTo>
                    <a:pt x="1184" y="38"/>
                  </a:lnTo>
                  <a:lnTo>
                    <a:pt x="1181" y="38"/>
                  </a:lnTo>
                  <a:lnTo>
                    <a:pt x="1184" y="40"/>
                  </a:lnTo>
                  <a:lnTo>
                    <a:pt x="1186" y="40"/>
                  </a:lnTo>
                  <a:lnTo>
                    <a:pt x="1188" y="42"/>
                  </a:lnTo>
                  <a:lnTo>
                    <a:pt x="1191" y="42"/>
                  </a:lnTo>
                  <a:lnTo>
                    <a:pt x="1191" y="45"/>
                  </a:lnTo>
                  <a:lnTo>
                    <a:pt x="1193" y="45"/>
                  </a:lnTo>
                  <a:lnTo>
                    <a:pt x="1193" y="47"/>
                  </a:lnTo>
                  <a:lnTo>
                    <a:pt x="1198" y="47"/>
                  </a:lnTo>
                  <a:lnTo>
                    <a:pt x="1202" y="47"/>
                  </a:lnTo>
                  <a:lnTo>
                    <a:pt x="1205" y="47"/>
                  </a:lnTo>
                  <a:lnTo>
                    <a:pt x="1202" y="47"/>
                  </a:lnTo>
                  <a:lnTo>
                    <a:pt x="1198" y="47"/>
                  </a:lnTo>
                  <a:lnTo>
                    <a:pt x="1195" y="47"/>
                  </a:lnTo>
                  <a:lnTo>
                    <a:pt x="1193" y="47"/>
                  </a:lnTo>
                  <a:lnTo>
                    <a:pt x="1188" y="47"/>
                  </a:lnTo>
                  <a:lnTo>
                    <a:pt x="1186" y="47"/>
                  </a:lnTo>
                  <a:lnTo>
                    <a:pt x="1184" y="45"/>
                  </a:lnTo>
                  <a:lnTo>
                    <a:pt x="1184" y="45"/>
                  </a:lnTo>
                  <a:lnTo>
                    <a:pt x="1181" y="42"/>
                  </a:lnTo>
                  <a:lnTo>
                    <a:pt x="1181" y="42"/>
                  </a:lnTo>
                  <a:lnTo>
                    <a:pt x="1176" y="40"/>
                  </a:lnTo>
                  <a:lnTo>
                    <a:pt x="1174" y="40"/>
                  </a:lnTo>
                  <a:lnTo>
                    <a:pt x="1172" y="38"/>
                  </a:lnTo>
                  <a:lnTo>
                    <a:pt x="1169" y="38"/>
                  </a:lnTo>
                  <a:lnTo>
                    <a:pt x="1162" y="38"/>
                  </a:lnTo>
                  <a:lnTo>
                    <a:pt x="1158" y="38"/>
                  </a:lnTo>
                  <a:lnTo>
                    <a:pt x="1143" y="38"/>
                  </a:lnTo>
                  <a:lnTo>
                    <a:pt x="1141" y="38"/>
                  </a:lnTo>
                  <a:lnTo>
                    <a:pt x="1136" y="40"/>
                  </a:lnTo>
                  <a:lnTo>
                    <a:pt x="1136" y="42"/>
                  </a:lnTo>
                  <a:lnTo>
                    <a:pt x="1134" y="45"/>
                  </a:lnTo>
                  <a:lnTo>
                    <a:pt x="1136" y="45"/>
                  </a:lnTo>
                  <a:lnTo>
                    <a:pt x="1136" y="45"/>
                  </a:lnTo>
                  <a:lnTo>
                    <a:pt x="1141" y="47"/>
                  </a:lnTo>
                  <a:lnTo>
                    <a:pt x="1143" y="47"/>
                  </a:lnTo>
                  <a:lnTo>
                    <a:pt x="1146" y="47"/>
                  </a:lnTo>
                  <a:lnTo>
                    <a:pt x="1146" y="49"/>
                  </a:lnTo>
                  <a:lnTo>
                    <a:pt x="1148" y="49"/>
                  </a:lnTo>
                  <a:lnTo>
                    <a:pt x="1148" y="52"/>
                  </a:lnTo>
                  <a:lnTo>
                    <a:pt x="1148" y="52"/>
                  </a:lnTo>
                  <a:lnTo>
                    <a:pt x="1151" y="54"/>
                  </a:lnTo>
                  <a:lnTo>
                    <a:pt x="1153" y="54"/>
                  </a:lnTo>
                  <a:lnTo>
                    <a:pt x="1153" y="54"/>
                  </a:lnTo>
                  <a:lnTo>
                    <a:pt x="1151" y="54"/>
                  </a:lnTo>
                  <a:lnTo>
                    <a:pt x="1148" y="54"/>
                  </a:lnTo>
                  <a:lnTo>
                    <a:pt x="1146" y="54"/>
                  </a:lnTo>
                  <a:lnTo>
                    <a:pt x="1143" y="54"/>
                  </a:lnTo>
                  <a:lnTo>
                    <a:pt x="1141" y="54"/>
                  </a:lnTo>
                  <a:lnTo>
                    <a:pt x="1141" y="54"/>
                  </a:lnTo>
                  <a:lnTo>
                    <a:pt x="1141" y="56"/>
                  </a:lnTo>
                  <a:lnTo>
                    <a:pt x="1141" y="56"/>
                  </a:lnTo>
                  <a:lnTo>
                    <a:pt x="1141" y="56"/>
                  </a:lnTo>
                  <a:lnTo>
                    <a:pt x="1143" y="56"/>
                  </a:lnTo>
                  <a:lnTo>
                    <a:pt x="1148" y="56"/>
                  </a:lnTo>
                  <a:lnTo>
                    <a:pt x="1155" y="56"/>
                  </a:lnTo>
                  <a:lnTo>
                    <a:pt x="1160" y="56"/>
                  </a:lnTo>
                  <a:lnTo>
                    <a:pt x="1162" y="56"/>
                  </a:lnTo>
                  <a:lnTo>
                    <a:pt x="1165" y="56"/>
                  </a:lnTo>
                  <a:lnTo>
                    <a:pt x="1169" y="56"/>
                  </a:lnTo>
                  <a:lnTo>
                    <a:pt x="1172" y="56"/>
                  </a:lnTo>
                  <a:lnTo>
                    <a:pt x="1172" y="56"/>
                  </a:lnTo>
                  <a:lnTo>
                    <a:pt x="1172" y="56"/>
                  </a:lnTo>
                  <a:lnTo>
                    <a:pt x="1169" y="56"/>
                  </a:lnTo>
                  <a:lnTo>
                    <a:pt x="1165" y="59"/>
                  </a:lnTo>
                  <a:lnTo>
                    <a:pt x="1165" y="59"/>
                  </a:lnTo>
                  <a:lnTo>
                    <a:pt x="1162" y="59"/>
                  </a:lnTo>
                  <a:lnTo>
                    <a:pt x="1155" y="59"/>
                  </a:lnTo>
                  <a:lnTo>
                    <a:pt x="1153" y="59"/>
                  </a:lnTo>
                  <a:lnTo>
                    <a:pt x="1151" y="59"/>
                  </a:lnTo>
                  <a:lnTo>
                    <a:pt x="1151" y="59"/>
                  </a:lnTo>
                  <a:lnTo>
                    <a:pt x="1148" y="59"/>
                  </a:lnTo>
                  <a:lnTo>
                    <a:pt x="1143" y="59"/>
                  </a:lnTo>
                  <a:lnTo>
                    <a:pt x="1134" y="59"/>
                  </a:lnTo>
                  <a:lnTo>
                    <a:pt x="1134" y="56"/>
                  </a:lnTo>
                  <a:lnTo>
                    <a:pt x="1129" y="56"/>
                  </a:lnTo>
                  <a:lnTo>
                    <a:pt x="1125" y="59"/>
                  </a:lnTo>
                  <a:lnTo>
                    <a:pt x="1118" y="59"/>
                  </a:lnTo>
                  <a:lnTo>
                    <a:pt x="1108" y="59"/>
                  </a:lnTo>
                  <a:lnTo>
                    <a:pt x="1106" y="61"/>
                  </a:lnTo>
                  <a:lnTo>
                    <a:pt x="1101" y="64"/>
                  </a:lnTo>
                  <a:lnTo>
                    <a:pt x="1096" y="64"/>
                  </a:lnTo>
                  <a:lnTo>
                    <a:pt x="1094" y="66"/>
                  </a:lnTo>
                  <a:lnTo>
                    <a:pt x="1092" y="66"/>
                  </a:lnTo>
                  <a:lnTo>
                    <a:pt x="1089" y="68"/>
                  </a:lnTo>
                  <a:lnTo>
                    <a:pt x="1089" y="68"/>
                  </a:lnTo>
                  <a:lnTo>
                    <a:pt x="1096" y="68"/>
                  </a:lnTo>
                  <a:lnTo>
                    <a:pt x="1099" y="68"/>
                  </a:lnTo>
                  <a:lnTo>
                    <a:pt x="1103" y="68"/>
                  </a:lnTo>
                  <a:lnTo>
                    <a:pt x="1108" y="66"/>
                  </a:lnTo>
                  <a:lnTo>
                    <a:pt x="1110" y="66"/>
                  </a:lnTo>
                  <a:lnTo>
                    <a:pt x="1106" y="68"/>
                  </a:lnTo>
                  <a:lnTo>
                    <a:pt x="1103" y="71"/>
                  </a:lnTo>
                  <a:lnTo>
                    <a:pt x="1110" y="71"/>
                  </a:lnTo>
                  <a:lnTo>
                    <a:pt x="1113" y="68"/>
                  </a:lnTo>
                  <a:lnTo>
                    <a:pt x="1115" y="68"/>
                  </a:lnTo>
                  <a:lnTo>
                    <a:pt x="1122" y="66"/>
                  </a:lnTo>
                  <a:lnTo>
                    <a:pt x="1129" y="64"/>
                  </a:lnTo>
                  <a:lnTo>
                    <a:pt x="1122" y="68"/>
                  </a:lnTo>
                  <a:lnTo>
                    <a:pt x="1127" y="68"/>
                  </a:lnTo>
                  <a:lnTo>
                    <a:pt x="1127" y="68"/>
                  </a:lnTo>
                  <a:lnTo>
                    <a:pt x="1129" y="68"/>
                  </a:lnTo>
                  <a:lnTo>
                    <a:pt x="1125" y="68"/>
                  </a:lnTo>
                  <a:lnTo>
                    <a:pt x="1125" y="68"/>
                  </a:lnTo>
                  <a:lnTo>
                    <a:pt x="1118" y="71"/>
                  </a:lnTo>
                  <a:lnTo>
                    <a:pt x="1113" y="71"/>
                  </a:lnTo>
                  <a:lnTo>
                    <a:pt x="1108" y="73"/>
                  </a:lnTo>
                  <a:lnTo>
                    <a:pt x="1108" y="75"/>
                  </a:lnTo>
                  <a:lnTo>
                    <a:pt x="1103" y="78"/>
                  </a:lnTo>
                  <a:lnTo>
                    <a:pt x="1106" y="78"/>
                  </a:lnTo>
                  <a:lnTo>
                    <a:pt x="1108" y="80"/>
                  </a:lnTo>
                  <a:lnTo>
                    <a:pt x="1113" y="78"/>
                  </a:lnTo>
                  <a:lnTo>
                    <a:pt x="1118" y="78"/>
                  </a:lnTo>
                  <a:lnTo>
                    <a:pt x="1120" y="78"/>
                  </a:lnTo>
                  <a:lnTo>
                    <a:pt x="1122" y="78"/>
                  </a:lnTo>
                  <a:lnTo>
                    <a:pt x="1127" y="78"/>
                  </a:lnTo>
                  <a:lnTo>
                    <a:pt x="1129" y="75"/>
                  </a:lnTo>
                  <a:lnTo>
                    <a:pt x="1143" y="73"/>
                  </a:lnTo>
                  <a:lnTo>
                    <a:pt x="1143" y="71"/>
                  </a:lnTo>
                  <a:lnTo>
                    <a:pt x="1143" y="73"/>
                  </a:lnTo>
                  <a:lnTo>
                    <a:pt x="1141" y="73"/>
                  </a:lnTo>
                  <a:lnTo>
                    <a:pt x="1141" y="73"/>
                  </a:lnTo>
                  <a:lnTo>
                    <a:pt x="1136" y="75"/>
                  </a:lnTo>
                  <a:lnTo>
                    <a:pt x="1129" y="78"/>
                  </a:lnTo>
                  <a:lnTo>
                    <a:pt x="1125" y="78"/>
                  </a:lnTo>
                  <a:lnTo>
                    <a:pt x="1125" y="80"/>
                  </a:lnTo>
                  <a:lnTo>
                    <a:pt x="1122" y="80"/>
                  </a:lnTo>
                  <a:lnTo>
                    <a:pt x="1120" y="80"/>
                  </a:lnTo>
                  <a:lnTo>
                    <a:pt x="1118" y="80"/>
                  </a:lnTo>
                  <a:lnTo>
                    <a:pt x="1110" y="80"/>
                  </a:lnTo>
                  <a:lnTo>
                    <a:pt x="1108" y="80"/>
                  </a:lnTo>
                  <a:lnTo>
                    <a:pt x="1106" y="80"/>
                  </a:lnTo>
                  <a:lnTo>
                    <a:pt x="1099" y="80"/>
                  </a:lnTo>
                  <a:lnTo>
                    <a:pt x="1099" y="78"/>
                  </a:lnTo>
                  <a:lnTo>
                    <a:pt x="1099" y="78"/>
                  </a:lnTo>
                  <a:lnTo>
                    <a:pt x="1096" y="75"/>
                  </a:lnTo>
                  <a:lnTo>
                    <a:pt x="1096" y="75"/>
                  </a:lnTo>
                  <a:lnTo>
                    <a:pt x="1092" y="73"/>
                  </a:lnTo>
                  <a:lnTo>
                    <a:pt x="1089" y="73"/>
                  </a:lnTo>
                  <a:lnTo>
                    <a:pt x="1087" y="73"/>
                  </a:lnTo>
                  <a:lnTo>
                    <a:pt x="1085" y="73"/>
                  </a:lnTo>
                  <a:lnTo>
                    <a:pt x="1080" y="73"/>
                  </a:lnTo>
                  <a:lnTo>
                    <a:pt x="1075" y="75"/>
                  </a:lnTo>
                  <a:lnTo>
                    <a:pt x="1073" y="75"/>
                  </a:lnTo>
                  <a:lnTo>
                    <a:pt x="1073" y="78"/>
                  </a:lnTo>
                  <a:lnTo>
                    <a:pt x="1073" y="80"/>
                  </a:lnTo>
                  <a:lnTo>
                    <a:pt x="1073" y="80"/>
                  </a:lnTo>
                  <a:lnTo>
                    <a:pt x="1073" y="80"/>
                  </a:lnTo>
                  <a:lnTo>
                    <a:pt x="1075" y="82"/>
                  </a:lnTo>
                  <a:lnTo>
                    <a:pt x="1075" y="82"/>
                  </a:lnTo>
                  <a:lnTo>
                    <a:pt x="1077" y="82"/>
                  </a:lnTo>
                  <a:lnTo>
                    <a:pt x="1077" y="82"/>
                  </a:lnTo>
                  <a:lnTo>
                    <a:pt x="1077" y="85"/>
                  </a:lnTo>
                  <a:lnTo>
                    <a:pt x="1077" y="85"/>
                  </a:lnTo>
                  <a:lnTo>
                    <a:pt x="1077" y="85"/>
                  </a:lnTo>
                  <a:lnTo>
                    <a:pt x="1075" y="85"/>
                  </a:lnTo>
                  <a:lnTo>
                    <a:pt x="1070" y="85"/>
                  </a:lnTo>
                  <a:lnTo>
                    <a:pt x="1068" y="85"/>
                  </a:lnTo>
                  <a:lnTo>
                    <a:pt x="1066" y="85"/>
                  </a:lnTo>
                  <a:lnTo>
                    <a:pt x="1061" y="85"/>
                  </a:lnTo>
                  <a:lnTo>
                    <a:pt x="1059" y="85"/>
                  </a:lnTo>
                  <a:lnTo>
                    <a:pt x="1056" y="85"/>
                  </a:lnTo>
                  <a:lnTo>
                    <a:pt x="1052" y="87"/>
                  </a:lnTo>
                  <a:lnTo>
                    <a:pt x="1040" y="90"/>
                  </a:lnTo>
                  <a:lnTo>
                    <a:pt x="1035" y="92"/>
                  </a:lnTo>
                  <a:lnTo>
                    <a:pt x="1033" y="94"/>
                  </a:lnTo>
                  <a:lnTo>
                    <a:pt x="1033" y="94"/>
                  </a:lnTo>
                  <a:lnTo>
                    <a:pt x="1040" y="97"/>
                  </a:lnTo>
                  <a:lnTo>
                    <a:pt x="1042" y="97"/>
                  </a:lnTo>
                  <a:lnTo>
                    <a:pt x="1044" y="94"/>
                  </a:lnTo>
                  <a:lnTo>
                    <a:pt x="1047" y="92"/>
                  </a:lnTo>
                  <a:lnTo>
                    <a:pt x="1049" y="90"/>
                  </a:lnTo>
                  <a:lnTo>
                    <a:pt x="1047" y="94"/>
                  </a:lnTo>
                  <a:lnTo>
                    <a:pt x="1044" y="97"/>
                  </a:lnTo>
                  <a:lnTo>
                    <a:pt x="1049" y="97"/>
                  </a:lnTo>
                  <a:lnTo>
                    <a:pt x="1054" y="97"/>
                  </a:lnTo>
                  <a:lnTo>
                    <a:pt x="1059" y="94"/>
                  </a:lnTo>
                  <a:lnTo>
                    <a:pt x="1059" y="97"/>
                  </a:lnTo>
                  <a:lnTo>
                    <a:pt x="1061" y="97"/>
                  </a:lnTo>
                  <a:lnTo>
                    <a:pt x="1066" y="97"/>
                  </a:lnTo>
                  <a:lnTo>
                    <a:pt x="1068" y="94"/>
                  </a:lnTo>
                  <a:lnTo>
                    <a:pt x="1070" y="94"/>
                  </a:lnTo>
                  <a:lnTo>
                    <a:pt x="1073" y="94"/>
                  </a:lnTo>
                  <a:lnTo>
                    <a:pt x="1073" y="94"/>
                  </a:lnTo>
                  <a:lnTo>
                    <a:pt x="1073" y="94"/>
                  </a:lnTo>
                  <a:lnTo>
                    <a:pt x="1073" y="97"/>
                  </a:lnTo>
                  <a:lnTo>
                    <a:pt x="1077" y="97"/>
                  </a:lnTo>
                  <a:lnTo>
                    <a:pt x="1080" y="99"/>
                  </a:lnTo>
                  <a:lnTo>
                    <a:pt x="1082" y="99"/>
                  </a:lnTo>
                  <a:lnTo>
                    <a:pt x="1094" y="97"/>
                  </a:lnTo>
                  <a:lnTo>
                    <a:pt x="1101" y="92"/>
                  </a:lnTo>
                  <a:lnTo>
                    <a:pt x="1101" y="94"/>
                  </a:lnTo>
                  <a:lnTo>
                    <a:pt x="1101" y="97"/>
                  </a:lnTo>
                  <a:lnTo>
                    <a:pt x="1106" y="97"/>
                  </a:lnTo>
                  <a:lnTo>
                    <a:pt x="1120" y="97"/>
                  </a:lnTo>
                  <a:lnTo>
                    <a:pt x="1122" y="94"/>
                  </a:lnTo>
                  <a:lnTo>
                    <a:pt x="1122" y="94"/>
                  </a:lnTo>
                  <a:lnTo>
                    <a:pt x="1122" y="92"/>
                  </a:lnTo>
                  <a:lnTo>
                    <a:pt x="1122" y="92"/>
                  </a:lnTo>
                  <a:lnTo>
                    <a:pt x="1122" y="92"/>
                  </a:lnTo>
                  <a:lnTo>
                    <a:pt x="1122" y="92"/>
                  </a:lnTo>
                  <a:lnTo>
                    <a:pt x="1125" y="92"/>
                  </a:lnTo>
                  <a:lnTo>
                    <a:pt x="1125" y="92"/>
                  </a:lnTo>
                  <a:lnTo>
                    <a:pt x="1125" y="92"/>
                  </a:lnTo>
                  <a:lnTo>
                    <a:pt x="1127" y="92"/>
                  </a:lnTo>
                  <a:lnTo>
                    <a:pt x="1127" y="94"/>
                  </a:lnTo>
                  <a:lnTo>
                    <a:pt x="1127" y="94"/>
                  </a:lnTo>
                  <a:lnTo>
                    <a:pt x="1129" y="94"/>
                  </a:lnTo>
                  <a:lnTo>
                    <a:pt x="1132" y="94"/>
                  </a:lnTo>
                  <a:lnTo>
                    <a:pt x="1132" y="94"/>
                  </a:lnTo>
                  <a:lnTo>
                    <a:pt x="1134" y="94"/>
                  </a:lnTo>
                  <a:lnTo>
                    <a:pt x="1136" y="94"/>
                  </a:lnTo>
                  <a:lnTo>
                    <a:pt x="1136" y="94"/>
                  </a:lnTo>
                  <a:lnTo>
                    <a:pt x="1136" y="97"/>
                  </a:lnTo>
                  <a:lnTo>
                    <a:pt x="1136" y="97"/>
                  </a:lnTo>
                  <a:lnTo>
                    <a:pt x="1134" y="97"/>
                  </a:lnTo>
                  <a:lnTo>
                    <a:pt x="1134" y="99"/>
                  </a:lnTo>
                  <a:lnTo>
                    <a:pt x="1132" y="99"/>
                  </a:lnTo>
                  <a:lnTo>
                    <a:pt x="1132" y="99"/>
                  </a:lnTo>
                  <a:lnTo>
                    <a:pt x="1134" y="99"/>
                  </a:lnTo>
                  <a:lnTo>
                    <a:pt x="1134" y="99"/>
                  </a:lnTo>
                  <a:lnTo>
                    <a:pt x="1141" y="99"/>
                  </a:lnTo>
                  <a:lnTo>
                    <a:pt x="1146" y="99"/>
                  </a:lnTo>
                  <a:lnTo>
                    <a:pt x="1151" y="99"/>
                  </a:lnTo>
                  <a:lnTo>
                    <a:pt x="1155" y="97"/>
                  </a:lnTo>
                  <a:lnTo>
                    <a:pt x="1158" y="97"/>
                  </a:lnTo>
                  <a:lnTo>
                    <a:pt x="1162" y="97"/>
                  </a:lnTo>
                  <a:lnTo>
                    <a:pt x="1172" y="94"/>
                  </a:lnTo>
                  <a:lnTo>
                    <a:pt x="1174" y="92"/>
                  </a:lnTo>
                  <a:lnTo>
                    <a:pt x="1179" y="92"/>
                  </a:lnTo>
                  <a:lnTo>
                    <a:pt x="1179" y="90"/>
                  </a:lnTo>
                  <a:lnTo>
                    <a:pt x="1179" y="87"/>
                  </a:lnTo>
                  <a:lnTo>
                    <a:pt x="1179" y="87"/>
                  </a:lnTo>
                  <a:lnTo>
                    <a:pt x="1176" y="87"/>
                  </a:lnTo>
                  <a:lnTo>
                    <a:pt x="1176" y="87"/>
                  </a:lnTo>
                  <a:lnTo>
                    <a:pt x="1172" y="90"/>
                  </a:lnTo>
                  <a:lnTo>
                    <a:pt x="1169" y="90"/>
                  </a:lnTo>
                  <a:lnTo>
                    <a:pt x="1169" y="90"/>
                  </a:lnTo>
                  <a:lnTo>
                    <a:pt x="1167" y="87"/>
                  </a:lnTo>
                  <a:lnTo>
                    <a:pt x="1165" y="87"/>
                  </a:lnTo>
                  <a:lnTo>
                    <a:pt x="1167" y="87"/>
                  </a:lnTo>
                  <a:lnTo>
                    <a:pt x="1167" y="85"/>
                  </a:lnTo>
                  <a:lnTo>
                    <a:pt x="1169" y="85"/>
                  </a:lnTo>
                  <a:lnTo>
                    <a:pt x="1167" y="85"/>
                  </a:lnTo>
                  <a:lnTo>
                    <a:pt x="1162" y="85"/>
                  </a:lnTo>
                  <a:lnTo>
                    <a:pt x="1158" y="85"/>
                  </a:lnTo>
                  <a:lnTo>
                    <a:pt x="1158" y="85"/>
                  </a:lnTo>
                  <a:lnTo>
                    <a:pt x="1153" y="82"/>
                  </a:lnTo>
                  <a:lnTo>
                    <a:pt x="1153" y="82"/>
                  </a:lnTo>
                  <a:lnTo>
                    <a:pt x="1148" y="82"/>
                  </a:lnTo>
                  <a:lnTo>
                    <a:pt x="1146" y="82"/>
                  </a:lnTo>
                  <a:lnTo>
                    <a:pt x="1143" y="82"/>
                  </a:lnTo>
                  <a:lnTo>
                    <a:pt x="1141" y="85"/>
                  </a:lnTo>
                  <a:lnTo>
                    <a:pt x="1139" y="82"/>
                  </a:lnTo>
                  <a:lnTo>
                    <a:pt x="1139" y="82"/>
                  </a:lnTo>
                  <a:lnTo>
                    <a:pt x="1139" y="82"/>
                  </a:lnTo>
                  <a:lnTo>
                    <a:pt x="1139" y="82"/>
                  </a:lnTo>
                  <a:lnTo>
                    <a:pt x="1141" y="82"/>
                  </a:lnTo>
                  <a:lnTo>
                    <a:pt x="1146" y="82"/>
                  </a:lnTo>
                  <a:lnTo>
                    <a:pt x="1148" y="82"/>
                  </a:lnTo>
                  <a:lnTo>
                    <a:pt x="1148" y="80"/>
                  </a:lnTo>
                  <a:lnTo>
                    <a:pt x="1148" y="80"/>
                  </a:lnTo>
                  <a:lnTo>
                    <a:pt x="1148" y="80"/>
                  </a:lnTo>
                  <a:lnTo>
                    <a:pt x="1146" y="80"/>
                  </a:lnTo>
                  <a:lnTo>
                    <a:pt x="1148" y="78"/>
                  </a:lnTo>
                  <a:lnTo>
                    <a:pt x="1148" y="78"/>
                  </a:lnTo>
                  <a:lnTo>
                    <a:pt x="1151" y="80"/>
                  </a:lnTo>
                  <a:lnTo>
                    <a:pt x="1153" y="80"/>
                  </a:lnTo>
                  <a:lnTo>
                    <a:pt x="1155" y="82"/>
                  </a:lnTo>
                  <a:lnTo>
                    <a:pt x="1160" y="82"/>
                  </a:lnTo>
                  <a:lnTo>
                    <a:pt x="1165" y="82"/>
                  </a:lnTo>
                  <a:lnTo>
                    <a:pt x="1174" y="82"/>
                  </a:lnTo>
                  <a:lnTo>
                    <a:pt x="1176" y="82"/>
                  </a:lnTo>
                  <a:lnTo>
                    <a:pt x="1179" y="82"/>
                  </a:lnTo>
                  <a:lnTo>
                    <a:pt x="1184" y="80"/>
                  </a:lnTo>
                  <a:lnTo>
                    <a:pt x="1186" y="80"/>
                  </a:lnTo>
                  <a:lnTo>
                    <a:pt x="1188" y="80"/>
                  </a:lnTo>
                  <a:lnTo>
                    <a:pt x="1191" y="78"/>
                  </a:lnTo>
                  <a:lnTo>
                    <a:pt x="1193" y="78"/>
                  </a:lnTo>
                  <a:lnTo>
                    <a:pt x="1193" y="75"/>
                  </a:lnTo>
                  <a:lnTo>
                    <a:pt x="1195" y="73"/>
                  </a:lnTo>
                  <a:lnTo>
                    <a:pt x="1198" y="73"/>
                  </a:lnTo>
                  <a:lnTo>
                    <a:pt x="1198" y="73"/>
                  </a:lnTo>
                  <a:lnTo>
                    <a:pt x="1205" y="73"/>
                  </a:lnTo>
                  <a:lnTo>
                    <a:pt x="1209" y="73"/>
                  </a:lnTo>
                  <a:lnTo>
                    <a:pt x="1214" y="73"/>
                  </a:lnTo>
                  <a:lnTo>
                    <a:pt x="1219" y="71"/>
                  </a:lnTo>
                  <a:lnTo>
                    <a:pt x="1221" y="71"/>
                  </a:lnTo>
                  <a:lnTo>
                    <a:pt x="1224" y="71"/>
                  </a:lnTo>
                  <a:lnTo>
                    <a:pt x="1226" y="71"/>
                  </a:lnTo>
                  <a:lnTo>
                    <a:pt x="1233" y="68"/>
                  </a:lnTo>
                  <a:lnTo>
                    <a:pt x="1238" y="66"/>
                  </a:lnTo>
                  <a:lnTo>
                    <a:pt x="1238" y="66"/>
                  </a:lnTo>
                  <a:lnTo>
                    <a:pt x="1235" y="66"/>
                  </a:lnTo>
                  <a:lnTo>
                    <a:pt x="1231" y="64"/>
                  </a:lnTo>
                  <a:lnTo>
                    <a:pt x="1226" y="64"/>
                  </a:lnTo>
                  <a:lnTo>
                    <a:pt x="1228" y="64"/>
                  </a:lnTo>
                  <a:lnTo>
                    <a:pt x="1233" y="64"/>
                  </a:lnTo>
                  <a:lnTo>
                    <a:pt x="1240" y="64"/>
                  </a:lnTo>
                  <a:lnTo>
                    <a:pt x="1245" y="64"/>
                  </a:lnTo>
                  <a:lnTo>
                    <a:pt x="1252" y="61"/>
                  </a:lnTo>
                  <a:lnTo>
                    <a:pt x="1252" y="61"/>
                  </a:lnTo>
                  <a:lnTo>
                    <a:pt x="1254" y="61"/>
                  </a:lnTo>
                  <a:lnTo>
                    <a:pt x="1254" y="59"/>
                  </a:lnTo>
                  <a:lnTo>
                    <a:pt x="1252" y="59"/>
                  </a:lnTo>
                  <a:lnTo>
                    <a:pt x="1250" y="59"/>
                  </a:lnTo>
                  <a:lnTo>
                    <a:pt x="1245" y="59"/>
                  </a:lnTo>
                  <a:lnTo>
                    <a:pt x="1240" y="59"/>
                  </a:lnTo>
                  <a:lnTo>
                    <a:pt x="1240" y="56"/>
                  </a:lnTo>
                  <a:lnTo>
                    <a:pt x="1240" y="56"/>
                  </a:lnTo>
                  <a:lnTo>
                    <a:pt x="1238" y="56"/>
                  </a:lnTo>
                  <a:lnTo>
                    <a:pt x="1235" y="56"/>
                  </a:lnTo>
                  <a:lnTo>
                    <a:pt x="1231" y="56"/>
                  </a:lnTo>
                  <a:lnTo>
                    <a:pt x="1221" y="56"/>
                  </a:lnTo>
                  <a:lnTo>
                    <a:pt x="1219" y="56"/>
                  </a:lnTo>
                  <a:lnTo>
                    <a:pt x="1217" y="56"/>
                  </a:lnTo>
                  <a:lnTo>
                    <a:pt x="1217" y="56"/>
                  </a:lnTo>
                  <a:lnTo>
                    <a:pt x="1214" y="56"/>
                  </a:lnTo>
                  <a:lnTo>
                    <a:pt x="1212" y="56"/>
                  </a:lnTo>
                  <a:lnTo>
                    <a:pt x="1212" y="54"/>
                  </a:lnTo>
                  <a:lnTo>
                    <a:pt x="1212" y="54"/>
                  </a:lnTo>
                  <a:lnTo>
                    <a:pt x="1214" y="54"/>
                  </a:lnTo>
                  <a:lnTo>
                    <a:pt x="1219" y="54"/>
                  </a:lnTo>
                  <a:lnTo>
                    <a:pt x="1221" y="54"/>
                  </a:lnTo>
                  <a:lnTo>
                    <a:pt x="1226" y="54"/>
                  </a:lnTo>
                  <a:lnTo>
                    <a:pt x="1233" y="54"/>
                  </a:lnTo>
                  <a:lnTo>
                    <a:pt x="1235" y="54"/>
                  </a:lnTo>
                  <a:lnTo>
                    <a:pt x="1238" y="54"/>
                  </a:lnTo>
                  <a:lnTo>
                    <a:pt x="1240" y="54"/>
                  </a:lnTo>
                  <a:lnTo>
                    <a:pt x="1242" y="54"/>
                  </a:lnTo>
                  <a:lnTo>
                    <a:pt x="1247" y="54"/>
                  </a:lnTo>
                  <a:lnTo>
                    <a:pt x="1247" y="54"/>
                  </a:lnTo>
                  <a:lnTo>
                    <a:pt x="1250" y="56"/>
                  </a:lnTo>
                  <a:lnTo>
                    <a:pt x="1257" y="56"/>
                  </a:lnTo>
                  <a:lnTo>
                    <a:pt x="1259" y="54"/>
                  </a:lnTo>
                  <a:lnTo>
                    <a:pt x="1261" y="52"/>
                  </a:lnTo>
                  <a:lnTo>
                    <a:pt x="1259" y="52"/>
                  </a:lnTo>
                  <a:lnTo>
                    <a:pt x="1254" y="54"/>
                  </a:lnTo>
                  <a:lnTo>
                    <a:pt x="1252" y="52"/>
                  </a:lnTo>
                  <a:lnTo>
                    <a:pt x="1250" y="52"/>
                  </a:lnTo>
                  <a:lnTo>
                    <a:pt x="1247" y="52"/>
                  </a:lnTo>
                  <a:lnTo>
                    <a:pt x="1245" y="52"/>
                  </a:lnTo>
                  <a:lnTo>
                    <a:pt x="1245" y="49"/>
                  </a:lnTo>
                  <a:lnTo>
                    <a:pt x="1240" y="49"/>
                  </a:lnTo>
                  <a:lnTo>
                    <a:pt x="1238" y="49"/>
                  </a:lnTo>
                  <a:lnTo>
                    <a:pt x="1238" y="49"/>
                  </a:lnTo>
                  <a:lnTo>
                    <a:pt x="1245" y="49"/>
                  </a:lnTo>
                  <a:lnTo>
                    <a:pt x="1247" y="49"/>
                  </a:lnTo>
                  <a:lnTo>
                    <a:pt x="1250" y="49"/>
                  </a:lnTo>
                  <a:lnTo>
                    <a:pt x="1254" y="49"/>
                  </a:lnTo>
                  <a:lnTo>
                    <a:pt x="1257" y="49"/>
                  </a:lnTo>
                  <a:lnTo>
                    <a:pt x="1261" y="49"/>
                  </a:lnTo>
                  <a:lnTo>
                    <a:pt x="1266" y="49"/>
                  </a:lnTo>
                  <a:lnTo>
                    <a:pt x="1268" y="49"/>
                  </a:lnTo>
                  <a:lnTo>
                    <a:pt x="1271" y="49"/>
                  </a:lnTo>
                  <a:lnTo>
                    <a:pt x="1273" y="49"/>
                  </a:lnTo>
                  <a:lnTo>
                    <a:pt x="1278" y="49"/>
                  </a:lnTo>
                  <a:lnTo>
                    <a:pt x="1280" y="49"/>
                  </a:lnTo>
                  <a:lnTo>
                    <a:pt x="1280" y="49"/>
                  </a:lnTo>
                  <a:lnTo>
                    <a:pt x="1283" y="47"/>
                  </a:lnTo>
                  <a:lnTo>
                    <a:pt x="1283" y="47"/>
                  </a:lnTo>
                  <a:lnTo>
                    <a:pt x="1283" y="47"/>
                  </a:lnTo>
                  <a:lnTo>
                    <a:pt x="1283" y="45"/>
                  </a:lnTo>
                  <a:lnTo>
                    <a:pt x="1283" y="45"/>
                  </a:lnTo>
                  <a:lnTo>
                    <a:pt x="1280" y="45"/>
                  </a:lnTo>
                  <a:lnTo>
                    <a:pt x="1275" y="45"/>
                  </a:lnTo>
                  <a:lnTo>
                    <a:pt x="1271" y="45"/>
                  </a:lnTo>
                  <a:lnTo>
                    <a:pt x="1271" y="45"/>
                  </a:lnTo>
                  <a:lnTo>
                    <a:pt x="1273" y="42"/>
                  </a:lnTo>
                  <a:lnTo>
                    <a:pt x="1278" y="42"/>
                  </a:lnTo>
                  <a:lnTo>
                    <a:pt x="1280" y="45"/>
                  </a:lnTo>
                  <a:lnTo>
                    <a:pt x="1285" y="45"/>
                  </a:lnTo>
                  <a:lnTo>
                    <a:pt x="1294" y="47"/>
                  </a:lnTo>
                  <a:lnTo>
                    <a:pt x="1297" y="47"/>
                  </a:lnTo>
                  <a:lnTo>
                    <a:pt x="1299" y="45"/>
                  </a:lnTo>
                  <a:lnTo>
                    <a:pt x="1306" y="45"/>
                  </a:lnTo>
                  <a:lnTo>
                    <a:pt x="1308" y="45"/>
                  </a:lnTo>
                  <a:lnTo>
                    <a:pt x="1311" y="45"/>
                  </a:lnTo>
                  <a:lnTo>
                    <a:pt x="1311" y="42"/>
                  </a:lnTo>
                  <a:lnTo>
                    <a:pt x="1311" y="42"/>
                  </a:lnTo>
                  <a:lnTo>
                    <a:pt x="1308" y="42"/>
                  </a:lnTo>
                  <a:lnTo>
                    <a:pt x="1318" y="42"/>
                  </a:lnTo>
                  <a:lnTo>
                    <a:pt x="1320" y="40"/>
                  </a:lnTo>
                  <a:lnTo>
                    <a:pt x="1323" y="40"/>
                  </a:lnTo>
                  <a:lnTo>
                    <a:pt x="1320" y="40"/>
                  </a:lnTo>
                  <a:lnTo>
                    <a:pt x="1318" y="40"/>
                  </a:lnTo>
                  <a:lnTo>
                    <a:pt x="1308" y="40"/>
                  </a:lnTo>
                  <a:lnTo>
                    <a:pt x="1306" y="40"/>
                  </a:lnTo>
                  <a:lnTo>
                    <a:pt x="1304" y="40"/>
                  </a:lnTo>
                  <a:lnTo>
                    <a:pt x="1304" y="40"/>
                  </a:lnTo>
                  <a:lnTo>
                    <a:pt x="1306" y="40"/>
                  </a:lnTo>
                  <a:lnTo>
                    <a:pt x="1308" y="40"/>
                  </a:lnTo>
                  <a:lnTo>
                    <a:pt x="1308" y="40"/>
                  </a:lnTo>
                  <a:lnTo>
                    <a:pt x="1311" y="40"/>
                  </a:lnTo>
                  <a:lnTo>
                    <a:pt x="1318" y="40"/>
                  </a:lnTo>
                  <a:lnTo>
                    <a:pt x="1327" y="38"/>
                  </a:lnTo>
                  <a:lnTo>
                    <a:pt x="1330" y="38"/>
                  </a:lnTo>
                  <a:lnTo>
                    <a:pt x="1327" y="35"/>
                  </a:lnTo>
                  <a:lnTo>
                    <a:pt x="1327" y="33"/>
                  </a:lnTo>
                  <a:lnTo>
                    <a:pt x="1327" y="33"/>
                  </a:lnTo>
                  <a:lnTo>
                    <a:pt x="1330" y="35"/>
                  </a:lnTo>
                  <a:lnTo>
                    <a:pt x="1332" y="35"/>
                  </a:lnTo>
                  <a:lnTo>
                    <a:pt x="1332" y="35"/>
                  </a:lnTo>
                  <a:lnTo>
                    <a:pt x="1334" y="35"/>
                  </a:lnTo>
                  <a:lnTo>
                    <a:pt x="1337" y="35"/>
                  </a:lnTo>
                  <a:lnTo>
                    <a:pt x="1339" y="35"/>
                  </a:lnTo>
                  <a:lnTo>
                    <a:pt x="1349" y="33"/>
                  </a:lnTo>
                  <a:lnTo>
                    <a:pt x="1353" y="33"/>
                  </a:lnTo>
                  <a:lnTo>
                    <a:pt x="1365" y="30"/>
                  </a:lnTo>
                  <a:lnTo>
                    <a:pt x="1379" y="26"/>
                  </a:lnTo>
                  <a:lnTo>
                    <a:pt x="1386" y="26"/>
                  </a:lnTo>
                  <a:lnTo>
                    <a:pt x="1398" y="23"/>
                  </a:lnTo>
                  <a:lnTo>
                    <a:pt x="1407" y="21"/>
                  </a:lnTo>
                  <a:lnTo>
                    <a:pt x="1407" y="21"/>
                  </a:lnTo>
                  <a:lnTo>
                    <a:pt x="1403" y="21"/>
                  </a:lnTo>
                  <a:lnTo>
                    <a:pt x="1398" y="21"/>
                  </a:lnTo>
                  <a:lnTo>
                    <a:pt x="1365" y="23"/>
                  </a:lnTo>
                  <a:lnTo>
                    <a:pt x="1363" y="23"/>
                  </a:lnTo>
                  <a:lnTo>
                    <a:pt x="1360" y="23"/>
                  </a:lnTo>
                  <a:lnTo>
                    <a:pt x="1363" y="23"/>
                  </a:lnTo>
                  <a:lnTo>
                    <a:pt x="1384" y="21"/>
                  </a:lnTo>
                  <a:lnTo>
                    <a:pt x="1386" y="21"/>
                  </a:lnTo>
                  <a:lnTo>
                    <a:pt x="1386" y="21"/>
                  </a:lnTo>
                  <a:lnTo>
                    <a:pt x="1386" y="21"/>
                  </a:lnTo>
                  <a:lnTo>
                    <a:pt x="1389" y="19"/>
                  </a:lnTo>
                  <a:lnTo>
                    <a:pt x="1396" y="19"/>
                  </a:lnTo>
                  <a:lnTo>
                    <a:pt x="1400" y="19"/>
                  </a:lnTo>
                  <a:lnTo>
                    <a:pt x="1403" y="19"/>
                  </a:lnTo>
                  <a:lnTo>
                    <a:pt x="1405" y="19"/>
                  </a:lnTo>
                  <a:lnTo>
                    <a:pt x="1407" y="19"/>
                  </a:lnTo>
                  <a:lnTo>
                    <a:pt x="1415" y="19"/>
                  </a:lnTo>
                  <a:lnTo>
                    <a:pt x="1417" y="19"/>
                  </a:lnTo>
                  <a:lnTo>
                    <a:pt x="1419" y="16"/>
                  </a:lnTo>
                  <a:lnTo>
                    <a:pt x="1426" y="16"/>
                  </a:lnTo>
                  <a:lnTo>
                    <a:pt x="1440" y="14"/>
                  </a:lnTo>
                  <a:lnTo>
                    <a:pt x="1445" y="14"/>
                  </a:lnTo>
                  <a:lnTo>
                    <a:pt x="1448" y="14"/>
                  </a:lnTo>
                  <a:lnTo>
                    <a:pt x="1455" y="12"/>
                  </a:lnTo>
                  <a:lnTo>
                    <a:pt x="1459" y="12"/>
                  </a:lnTo>
                  <a:lnTo>
                    <a:pt x="1459" y="9"/>
                  </a:lnTo>
                  <a:lnTo>
                    <a:pt x="1459" y="9"/>
                  </a:lnTo>
                  <a:close/>
                  <a:moveTo>
                    <a:pt x="1202" y="210"/>
                  </a:moveTo>
                  <a:lnTo>
                    <a:pt x="1202" y="210"/>
                  </a:lnTo>
                  <a:lnTo>
                    <a:pt x="1200" y="213"/>
                  </a:lnTo>
                  <a:lnTo>
                    <a:pt x="1198" y="213"/>
                  </a:lnTo>
                  <a:lnTo>
                    <a:pt x="1202" y="213"/>
                  </a:lnTo>
                  <a:lnTo>
                    <a:pt x="1202" y="213"/>
                  </a:lnTo>
                  <a:lnTo>
                    <a:pt x="1205" y="213"/>
                  </a:lnTo>
                  <a:lnTo>
                    <a:pt x="1205" y="210"/>
                  </a:lnTo>
                  <a:lnTo>
                    <a:pt x="1205" y="210"/>
                  </a:lnTo>
                  <a:lnTo>
                    <a:pt x="1205" y="210"/>
                  </a:lnTo>
                  <a:lnTo>
                    <a:pt x="1202" y="210"/>
                  </a:lnTo>
                  <a:close/>
                  <a:moveTo>
                    <a:pt x="1247" y="255"/>
                  </a:moveTo>
                  <a:lnTo>
                    <a:pt x="1250" y="255"/>
                  </a:lnTo>
                  <a:lnTo>
                    <a:pt x="1250" y="255"/>
                  </a:lnTo>
                  <a:lnTo>
                    <a:pt x="1250" y="255"/>
                  </a:lnTo>
                  <a:lnTo>
                    <a:pt x="1247" y="255"/>
                  </a:lnTo>
                  <a:lnTo>
                    <a:pt x="1245" y="255"/>
                  </a:lnTo>
                  <a:lnTo>
                    <a:pt x="1245" y="257"/>
                  </a:lnTo>
                  <a:lnTo>
                    <a:pt x="1242" y="257"/>
                  </a:lnTo>
                  <a:lnTo>
                    <a:pt x="1242" y="257"/>
                  </a:lnTo>
                  <a:lnTo>
                    <a:pt x="1242" y="257"/>
                  </a:lnTo>
                  <a:lnTo>
                    <a:pt x="1245" y="257"/>
                  </a:lnTo>
                  <a:lnTo>
                    <a:pt x="1247" y="255"/>
                  </a:lnTo>
                  <a:close/>
                  <a:moveTo>
                    <a:pt x="1146" y="106"/>
                  </a:moveTo>
                  <a:lnTo>
                    <a:pt x="1148" y="106"/>
                  </a:lnTo>
                  <a:lnTo>
                    <a:pt x="1151" y="106"/>
                  </a:lnTo>
                  <a:lnTo>
                    <a:pt x="1151" y="104"/>
                  </a:lnTo>
                  <a:lnTo>
                    <a:pt x="1151" y="104"/>
                  </a:lnTo>
                  <a:lnTo>
                    <a:pt x="1153" y="104"/>
                  </a:lnTo>
                  <a:lnTo>
                    <a:pt x="1155" y="101"/>
                  </a:lnTo>
                  <a:lnTo>
                    <a:pt x="1155" y="101"/>
                  </a:lnTo>
                  <a:lnTo>
                    <a:pt x="1155" y="101"/>
                  </a:lnTo>
                  <a:lnTo>
                    <a:pt x="1153" y="101"/>
                  </a:lnTo>
                  <a:lnTo>
                    <a:pt x="1148" y="104"/>
                  </a:lnTo>
                  <a:lnTo>
                    <a:pt x="1146" y="104"/>
                  </a:lnTo>
                  <a:lnTo>
                    <a:pt x="1141" y="104"/>
                  </a:lnTo>
                  <a:lnTo>
                    <a:pt x="1141" y="106"/>
                  </a:lnTo>
                  <a:lnTo>
                    <a:pt x="1143" y="106"/>
                  </a:lnTo>
                  <a:lnTo>
                    <a:pt x="1146" y="106"/>
                  </a:lnTo>
                  <a:close/>
                  <a:moveTo>
                    <a:pt x="1198" y="598"/>
                  </a:moveTo>
                  <a:lnTo>
                    <a:pt x="1198" y="598"/>
                  </a:lnTo>
                  <a:lnTo>
                    <a:pt x="1195" y="598"/>
                  </a:lnTo>
                  <a:lnTo>
                    <a:pt x="1198" y="600"/>
                  </a:lnTo>
                  <a:lnTo>
                    <a:pt x="1198" y="600"/>
                  </a:lnTo>
                  <a:lnTo>
                    <a:pt x="1198" y="600"/>
                  </a:lnTo>
                  <a:lnTo>
                    <a:pt x="1198" y="598"/>
                  </a:lnTo>
                  <a:lnTo>
                    <a:pt x="1202" y="598"/>
                  </a:lnTo>
                  <a:lnTo>
                    <a:pt x="1202" y="598"/>
                  </a:lnTo>
                  <a:lnTo>
                    <a:pt x="1202" y="598"/>
                  </a:lnTo>
                  <a:lnTo>
                    <a:pt x="1200" y="598"/>
                  </a:lnTo>
                  <a:lnTo>
                    <a:pt x="1198" y="598"/>
                  </a:lnTo>
                  <a:lnTo>
                    <a:pt x="1198" y="598"/>
                  </a:lnTo>
                  <a:lnTo>
                    <a:pt x="1198" y="598"/>
                  </a:lnTo>
                  <a:lnTo>
                    <a:pt x="1198" y="598"/>
                  </a:lnTo>
                  <a:lnTo>
                    <a:pt x="1198" y="598"/>
                  </a:lnTo>
                  <a:close/>
                  <a:moveTo>
                    <a:pt x="1257" y="262"/>
                  </a:moveTo>
                  <a:lnTo>
                    <a:pt x="1254" y="260"/>
                  </a:lnTo>
                  <a:lnTo>
                    <a:pt x="1254" y="257"/>
                  </a:lnTo>
                  <a:lnTo>
                    <a:pt x="1252" y="257"/>
                  </a:lnTo>
                  <a:lnTo>
                    <a:pt x="1247" y="260"/>
                  </a:lnTo>
                  <a:lnTo>
                    <a:pt x="1245" y="260"/>
                  </a:lnTo>
                  <a:lnTo>
                    <a:pt x="1242" y="260"/>
                  </a:lnTo>
                  <a:lnTo>
                    <a:pt x="1242" y="260"/>
                  </a:lnTo>
                  <a:lnTo>
                    <a:pt x="1240" y="260"/>
                  </a:lnTo>
                  <a:lnTo>
                    <a:pt x="1240" y="260"/>
                  </a:lnTo>
                  <a:lnTo>
                    <a:pt x="1235" y="260"/>
                  </a:lnTo>
                  <a:lnTo>
                    <a:pt x="1231" y="260"/>
                  </a:lnTo>
                  <a:lnTo>
                    <a:pt x="1228" y="262"/>
                  </a:lnTo>
                  <a:lnTo>
                    <a:pt x="1228" y="262"/>
                  </a:lnTo>
                  <a:lnTo>
                    <a:pt x="1235" y="257"/>
                  </a:lnTo>
                  <a:lnTo>
                    <a:pt x="1235" y="257"/>
                  </a:lnTo>
                  <a:lnTo>
                    <a:pt x="1238" y="257"/>
                  </a:lnTo>
                  <a:lnTo>
                    <a:pt x="1238" y="257"/>
                  </a:lnTo>
                  <a:lnTo>
                    <a:pt x="1240" y="255"/>
                  </a:lnTo>
                  <a:lnTo>
                    <a:pt x="1242" y="255"/>
                  </a:lnTo>
                  <a:lnTo>
                    <a:pt x="1238" y="253"/>
                  </a:lnTo>
                  <a:lnTo>
                    <a:pt x="1235" y="253"/>
                  </a:lnTo>
                  <a:lnTo>
                    <a:pt x="1235" y="253"/>
                  </a:lnTo>
                  <a:lnTo>
                    <a:pt x="1233" y="253"/>
                  </a:lnTo>
                  <a:lnTo>
                    <a:pt x="1231" y="253"/>
                  </a:lnTo>
                  <a:lnTo>
                    <a:pt x="1231" y="253"/>
                  </a:lnTo>
                  <a:lnTo>
                    <a:pt x="1228" y="253"/>
                  </a:lnTo>
                  <a:lnTo>
                    <a:pt x="1226" y="253"/>
                  </a:lnTo>
                  <a:lnTo>
                    <a:pt x="1224" y="253"/>
                  </a:lnTo>
                  <a:lnTo>
                    <a:pt x="1224" y="253"/>
                  </a:lnTo>
                  <a:lnTo>
                    <a:pt x="1221" y="253"/>
                  </a:lnTo>
                  <a:lnTo>
                    <a:pt x="1219" y="253"/>
                  </a:lnTo>
                  <a:lnTo>
                    <a:pt x="1221" y="253"/>
                  </a:lnTo>
                  <a:lnTo>
                    <a:pt x="1224" y="253"/>
                  </a:lnTo>
                  <a:lnTo>
                    <a:pt x="1226" y="253"/>
                  </a:lnTo>
                  <a:lnTo>
                    <a:pt x="1228" y="253"/>
                  </a:lnTo>
                  <a:lnTo>
                    <a:pt x="1231" y="250"/>
                  </a:lnTo>
                  <a:lnTo>
                    <a:pt x="1233" y="248"/>
                  </a:lnTo>
                  <a:lnTo>
                    <a:pt x="1233" y="246"/>
                  </a:lnTo>
                  <a:lnTo>
                    <a:pt x="1231" y="248"/>
                  </a:lnTo>
                  <a:lnTo>
                    <a:pt x="1228" y="246"/>
                  </a:lnTo>
                  <a:lnTo>
                    <a:pt x="1228" y="243"/>
                  </a:lnTo>
                  <a:lnTo>
                    <a:pt x="1226" y="243"/>
                  </a:lnTo>
                  <a:lnTo>
                    <a:pt x="1224" y="243"/>
                  </a:lnTo>
                  <a:lnTo>
                    <a:pt x="1221" y="243"/>
                  </a:lnTo>
                  <a:lnTo>
                    <a:pt x="1221" y="243"/>
                  </a:lnTo>
                  <a:lnTo>
                    <a:pt x="1221" y="243"/>
                  </a:lnTo>
                  <a:lnTo>
                    <a:pt x="1224" y="241"/>
                  </a:lnTo>
                  <a:lnTo>
                    <a:pt x="1224" y="241"/>
                  </a:lnTo>
                  <a:lnTo>
                    <a:pt x="1226" y="241"/>
                  </a:lnTo>
                  <a:lnTo>
                    <a:pt x="1224" y="241"/>
                  </a:lnTo>
                  <a:lnTo>
                    <a:pt x="1224" y="239"/>
                  </a:lnTo>
                  <a:lnTo>
                    <a:pt x="1224" y="241"/>
                  </a:lnTo>
                  <a:lnTo>
                    <a:pt x="1219" y="241"/>
                  </a:lnTo>
                  <a:lnTo>
                    <a:pt x="1217" y="243"/>
                  </a:lnTo>
                  <a:lnTo>
                    <a:pt x="1214" y="243"/>
                  </a:lnTo>
                  <a:lnTo>
                    <a:pt x="1214" y="246"/>
                  </a:lnTo>
                  <a:lnTo>
                    <a:pt x="1214" y="246"/>
                  </a:lnTo>
                  <a:lnTo>
                    <a:pt x="1214" y="246"/>
                  </a:lnTo>
                  <a:lnTo>
                    <a:pt x="1214" y="246"/>
                  </a:lnTo>
                  <a:lnTo>
                    <a:pt x="1214" y="243"/>
                  </a:lnTo>
                  <a:lnTo>
                    <a:pt x="1217" y="241"/>
                  </a:lnTo>
                  <a:lnTo>
                    <a:pt x="1217" y="241"/>
                  </a:lnTo>
                  <a:lnTo>
                    <a:pt x="1214" y="241"/>
                  </a:lnTo>
                  <a:lnTo>
                    <a:pt x="1214" y="241"/>
                  </a:lnTo>
                  <a:lnTo>
                    <a:pt x="1212" y="241"/>
                  </a:lnTo>
                  <a:lnTo>
                    <a:pt x="1209" y="241"/>
                  </a:lnTo>
                  <a:lnTo>
                    <a:pt x="1209" y="241"/>
                  </a:lnTo>
                  <a:lnTo>
                    <a:pt x="1212" y="241"/>
                  </a:lnTo>
                  <a:lnTo>
                    <a:pt x="1212" y="239"/>
                  </a:lnTo>
                  <a:lnTo>
                    <a:pt x="1209" y="239"/>
                  </a:lnTo>
                  <a:lnTo>
                    <a:pt x="1207" y="241"/>
                  </a:lnTo>
                  <a:lnTo>
                    <a:pt x="1202" y="243"/>
                  </a:lnTo>
                  <a:lnTo>
                    <a:pt x="1202" y="243"/>
                  </a:lnTo>
                  <a:lnTo>
                    <a:pt x="1202" y="243"/>
                  </a:lnTo>
                  <a:lnTo>
                    <a:pt x="1200" y="243"/>
                  </a:lnTo>
                  <a:lnTo>
                    <a:pt x="1200" y="243"/>
                  </a:lnTo>
                  <a:lnTo>
                    <a:pt x="1202" y="241"/>
                  </a:lnTo>
                  <a:lnTo>
                    <a:pt x="1207" y="239"/>
                  </a:lnTo>
                  <a:lnTo>
                    <a:pt x="1207" y="239"/>
                  </a:lnTo>
                  <a:lnTo>
                    <a:pt x="1209" y="236"/>
                  </a:lnTo>
                  <a:lnTo>
                    <a:pt x="1205" y="236"/>
                  </a:lnTo>
                  <a:lnTo>
                    <a:pt x="1202" y="236"/>
                  </a:lnTo>
                  <a:lnTo>
                    <a:pt x="1202" y="239"/>
                  </a:lnTo>
                  <a:lnTo>
                    <a:pt x="1200" y="241"/>
                  </a:lnTo>
                  <a:lnTo>
                    <a:pt x="1200" y="241"/>
                  </a:lnTo>
                  <a:lnTo>
                    <a:pt x="1202" y="239"/>
                  </a:lnTo>
                  <a:lnTo>
                    <a:pt x="1200" y="239"/>
                  </a:lnTo>
                  <a:lnTo>
                    <a:pt x="1198" y="239"/>
                  </a:lnTo>
                  <a:lnTo>
                    <a:pt x="1198" y="239"/>
                  </a:lnTo>
                  <a:lnTo>
                    <a:pt x="1198" y="239"/>
                  </a:lnTo>
                  <a:lnTo>
                    <a:pt x="1200" y="236"/>
                  </a:lnTo>
                  <a:lnTo>
                    <a:pt x="1200" y="236"/>
                  </a:lnTo>
                  <a:lnTo>
                    <a:pt x="1200" y="236"/>
                  </a:lnTo>
                  <a:lnTo>
                    <a:pt x="1200" y="234"/>
                  </a:lnTo>
                  <a:lnTo>
                    <a:pt x="1200" y="234"/>
                  </a:lnTo>
                  <a:lnTo>
                    <a:pt x="1205" y="234"/>
                  </a:lnTo>
                  <a:lnTo>
                    <a:pt x="1205" y="231"/>
                  </a:lnTo>
                  <a:lnTo>
                    <a:pt x="1205" y="231"/>
                  </a:lnTo>
                  <a:lnTo>
                    <a:pt x="1202" y="231"/>
                  </a:lnTo>
                  <a:lnTo>
                    <a:pt x="1200" y="231"/>
                  </a:lnTo>
                  <a:lnTo>
                    <a:pt x="1198" y="231"/>
                  </a:lnTo>
                  <a:lnTo>
                    <a:pt x="1198" y="231"/>
                  </a:lnTo>
                  <a:lnTo>
                    <a:pt x="1195" y="231"/>
                  </a:lnTo>
                  <a:lnTo>
                    <a:pt x="1195" y="231"/>
                  </a:lnTo>
                  <a:lnTo>
                    <a:pt x="1193" y="231"/>
                  </a:lnTo>
                  <a:lnTo>
                    <a:pt x="1193" y="231"/>
                  </a:lnTo>
                  <a:lnTo>
                    <a:pt x="1191" y="231"/>
                  </a:lnTo>
                  <a:lnTo>
                    <a:pt x="1188" y="231"/>
                  </a:lnTo>
                  <a:lnTo>
                    <a:pt x="1188" y="231"/>
                  </a:lnTo>
                  <a:lnTo>
                    <a:pt x="1188" y="229"/>
                  </a:lnTo>
                  <a:lnTo>
                    <a:pt x="1188" y="229"/>
                  </a:lnTo>
                  <a:lnTo>
                    <a:pt x="1188" y="227"/>
                  </a:lnTo>
                  <a:lnTo>
                    <a:pt x="1186" y="227"/>
                  </a:lnTo>
                  <a:lnTo>
                    <a:pt x="1184" y="227"/>
                  </a:lnTo>
                  <a:lnTo>
                    <a:pt x="1179" y="227"/>
                  </a:lnTo>
                  <a:lnTo>
                    <a:pt x="1174" y="224"/>
                  </a:lnTo>
                  <a:lnTo>
                    <a:pt x="1174" y="224"/>
                  </a:lnTo>
                  <a:lnTo>
                    <a:pt x="1174" y="224"/>
                  </a:lnTo>
                  <a:lnTo>
                    <a:pt x="1176" y="224"/>
                  </a:lnTo>
                  <a:lnTo>
                    <a:pt x="1181" y="227"/>
                  </a:lnTo>
                  <a:lnTo>
                    <a:pt x="1184" y="227"/>
                  </a:lnTo>
                  <a:lnTo>
                    <a:pt x="1186" y="224"/>
                  </a:lnTo>
                  <a:lnTo>
                    <a:pt x="1186" y="224"/>
                  </a:lnTo>
                  <a:lnTo>
                    <a:pt x="1188" y="224"/>
                  </a:lnTo>
                  <a:lnTo>
                    <a:pt x="1191" y="227"/>
                  </a:lnTo>
                  <a:lnTo>
                    <a:pt x="1193" y="227"/>
                  </a:lnTo>
                  <a:lnTo>
                    <a:pt x="1195" y="224"/>
                  </a:lnTo>
                  <a:lnTo>
                    <a:pt x="1198" y="224"/>
                  </a:lnTo>
                  <a:lnTo>
                    <a:pt x="1198" y="222"/>
                  </a:lnTo>
                  <a:lnTo>
                    <a:pt x="1198" y="222"/>
                  </a:lnTo>
                  <a:lnTo>
                    <a:pt x="1195" y="220"/>
                  </a:lnTo>
                  <a:lnTo>
                    <a:pt x="1193" y="220"/>
                  </a:lnTo>
                  <a:lnTo>
                    <a:pt x="1191" y="220"/>
                  </a:lnTo>
                  <a:lnTo>
                    <a:pt x="1181" y="222"/>
                  </a:lnTo>
                  <a:lnTo>
                    <a:pt x="1181" y="220"/>
                  </a:lnTo>
                  <a:lnTo>
                    <a:pt x="1188" y="220"/>
                  </a:lnTo>
                  <a:lnTo>
                    <a:pt x="1191" y="217"/>
                  </a:lnTo>
                  <a:lnTo>
                    <a:pt x="1195" y="220"/>
                  </a:lnTo>
                  <a:lnTo>
                    <a:pt x="1198" y="217"/>
                  </a:lnTo>
                  <a:lnTo>
                    <a:pt x="1200" y="220"/>
                  </a:lnTo>
                  <a:lnTo>
                    <a:pt x="1202" y="220"/>
                  </a:lnTo>
                  <a:lnTo>
                    <a:pt x="1202" y="220"/>
                  </a:lnTo>
                  <a:lnTo>
                    <a:pt x="1205" y="220"/>
                  </a:lnTo>
                  <a:lnTo>
                    <a:pt x="1207" y="220"/>
                  </a:lnTo>
                  <a:lnTo>
                    <a:pt x="1212" y="220"/>
                  </a:lnTo>
                  <a:lnTo>
                    <a:pt x="1214" y="220"/>
                  </a:lnTo>
                  <a:lnTo>
                    <a:pt x="1214" y="220"/>
                  </a:lnTo>
                  <a:lnTo>
                    <a:pt x="1217" y="217"/>
                  </a:lnTo>
                  <a:lnTo>
                    <a:pt x="1217" y="217"/>
                  </a:lnTo>
                  <a:lnTo>
                    <a:pt x="1217" y="217"/>
                  </a:lnTo>
                  <a:lnTo>
                    <a:pt x="1214" y="217"/>
                  </a:lnTo>
                  <a:lnTo>
                    <a:pt x="1212" y="215"/>
                  </a:lnTo>
                  <a:lnTo>
                    <a:pt x="1209" y="215"/>
                  </a:lnTo>
                  <a:lnTo>
                    <a:pt x="1209" y="215"/>
                  </a:lnTo>
                  <a:lnTo>
                    <a:pt x="1205" y="215"/>
                  </a:lnTo>
                  <a:lnTo>
                    <a:pt x="1202" y="215"/>
                  </a:lnTo>
                  <a:lnTo>
                    <a:pt x="1202" y="215"/>
                  </a:lnTo>
                  <a:lnTo>
                    <a:pt x="1200" y="215"/>
                  </a:lnTo>
                  <a:lnTo>
                    <a:pt x="1195" y="213"/>
                  </a:lnTo>
                  <a:lnTo>
                    <a:pt x="1191" y="213"/>
                  </a:lnTo>
                  <a:lnTo>
                    <a:pt x="1186" y="213"/>
                  </a:lnTo>
                  <a:lnTo>
                    <a:pt x="1184" y="213"/>
                  </a:lnTo>
                  <a:lnTo>
                    <a:pt x="1184" y="213"/>
                  </a:lnTo>
                  <a:lnTo>
                    <a:pt x="1186" y="213"/>
                  </a:lnTo>
                  <a:lnTo>
                    <a:pt x="1191" y="210"/>
                  </a:lnTo>
                  <a:lnTo>
                    <a:pt x="1193" y="210"/>
                  </a:lnTo>
                  <a:lnTo>
                    <a:pt x="1198" y="210"/>
                  </a:lnTo>
                  <a:lnTo>
                    <a:pt x="1198" y="210"/>
                  </a:lnTo>
                  <a:lnTo>
                    <a:pt x="1200" y="210"/>
                  </a:lnTo>
                  <a:lnTo>
                    <a:pt x="1200" y="210"/>
                  </a:lnTo>
                  <a:lnTo>
                    <a:pt x="1202" y="210"/>
                  </a:lnTo>
                  <a:lnTo>
                    <a:pt x="1205" y="208"/>
                  </a:lnTo>
                  <a:lnTo>
                    <a:pt x="1207" y="208"/>
                  </a:lnTo>
                  <a:lnTo>
                    <a:pt x="1212" y="210"/>
                  </a:lnTo>
                  <a:lnTo>
                    <a:pt x="1214" y="210"/>
                  </a:lnTo>
                  <a:lnTo>
                    <a:pt x="1214" y="210"/>
                  </a:lnTo>
                  <a:lnTo>
                    <a:pt x="1214" y="210"/>
                  </a:lnTo>
                  <a:lnTo>
                    <a:pt x="1217" y="208"/>
                  </a:lnTo>
                  <a:lnTo>
                    <a:pt x="1217" y="208"/>
                  </a:lnTo>
                  <a:lnTo>
                    <a:pt x="1217" y="205"/>
                  </a:lnTo>
                  <a:lnTo>
                    <a:pt x="1217" y="203"/>
                  </a:lnTo>
                  <a:lnTo>
                    <a:pt x="1214" y="201"/>
                  </a:lnTo>
                  <a:lnTo>
                    <a:pt x="1212" y="201"/>
                  </a:lnTo>
                  <a:lnTo>
                    <a:pt x="1209" y="198"/>
                  </a:lnTo>
                  <a:lnTo>
                    <a:pt x="1209" y="198"/>
                  </a:lnTo>
                  <a:lnTo>
                    <a:pt x="1207" y="201"/>
                  </a:lnTo>
                  <a:lnTo>
                    <a:pt x="1205" y="201"/>
                  </a:lnTo>
                  <a:lnTo>
                    <a:pt x="1205" y="201"/>
                  </a:lnTo>
                  <a:lnTo>
                    <a:pt x="1205" y="201"/>
                  </a:lnTo>
                  <a:lnTo>
                    <a:pt x="1205" y="203"/>
                  </a:lnTo>
                  <a:lnTo>
                    <a:pt x="1205" y="203"/>
                  </a:lnTo>
                  <a:lnTo>
                    <a:pt x="1205" y="203"/>
                  </a:lnTo>
                  <a:lnTo>
                    <a:pt x="1202" y="203"/>
                  </a:lnTo>
                  <a:lnTo>
                    <a:pt x="1200" y="203"/>
                  </a:lnTo>
                  <a:lnTo>
                    <a:pt x="1200" y="203"/>
                  </a:lnTo>
                  <a:lnTo>
                    <a:pt x="1198" y="205"/>
                  </a:lnTo>
                  <a:lnTo>
                    <a:pt x="1195" y="205"/>
                  </a:lnTo>
                  <a:lnTo>
                    <a:pt x="1195" y="205"/>
                  </a:lnTo>
                  <a:lnTo>
                    <a:pt x="1193" y="205"/>
                  </a:lnTo>
                  <a:lnTo>
                    <a:pt x="1198" y="203"/>
                  </a:lnTo>
                  <a:lnTo>
                    <a:pt x="1198" y="203"/>
                  </a:lnTo>
                  <a:lnTo>
                    <a:pt x="1200" y="203"/>
                  </a:lnTo>
                  <a:lnTo>
                    <a:pt x="1200" y="201"/>
                  </a:lnTo>
                  <a:lnTo>
                    <a:pt x="1200" y="201"/>
                  </a:lnTo>
                  <a:lnTo>
                    <a:pt x="1200" y="201"/>
                  </a:lnTo>
                  <a:lnTo>
                    <a:pt x="1198" y="201"/>
                  </a:lnTo>
                  <a:lnTo>
                    <a:pt x="1193" y="201"/>
                  </a:lnTo>
                  <a:lnTo>
                    <a:pt x="1188" y="201"/>
                  </a:lnTo>
                  <a:lnTo>
                    <a:pt x="1186" y="203"/>
                  </a:lnTo>
                  <a:lnTo>
                    <a:pt x="1184" y="203"/>
                  </a:lnTo>
                  <a:lnTo>
                    <a:pt x="1181" y="203"/>
                  </a:lnTo>
                  <a:lnTo>
                    <a:pt x="1179" y="203"/>
                  </a:lnTo>
                  <a:lnTo>
                    <a:pt x="1181" y="203"/>
                  </a:lnTo>
                  <a:lnTo>
                    <a:pt x="1186" y="201"/>
                  </a:lnTo>
                  <a:lnTo>
                    <a:pt x="1191" y="201"/>
                  </a:lnTo>
                  <a:lnTo>
                    <a:pt x="1193" y="201"/>
                  </a:lnTo>
                  <a:lnTo>
                    <a:pt x="1195" y="201"/>
                  </a:lnTo>
                  <a:lnTo>
                    <a:pt x="1200" y="198"/>
                  </a:lnTo>
                  <a:lnTo>
                    <a:pt x="1200" y="198"/>
                  </a:lnTo>
                  <a:lnTo>
                    <a:pt x="1202" y="198"/>
                  </a:lnTo>
                  <a:lnTo>
                    <a:pt x="1205" y="198"/>
                  </a:lnTo>
                  <a:lnTo>
                    <a:pt x="1205" y="198"/>
                  </a:lnTo>
                  <a:lnTo>
                    <a:pt x="1207" y="196"/>
                  </a:lnTo>
                  <a:lnTo>
                    <a:pt x="1207" y="196"/>
                  </a:lnTo>
                  <a:lnTo>
                    <a:pt x="1209" y="196"/>
                  </a:lnTo>
                  <a:lnTo>
                    <a:pt x="1209" y="194"/>
                  </a:lnTo>
                  <a:lnTo>
                    <a:pt x="1209" y="194"/>
                  </a:lnTo>
                  <a:lnTo>
                    <a:pt x="1207" y="194"/>
                  </a:lnTo>
                  <a:lnTo>
                    <a:pt x="1205" y="194"/>
                  </a:lnTo>
                  <a:lnTo>
                    <a:pt x="1202" y="191"/>
                  </a:lnTo>
                  <a:lnTo>
                    <a:pt x="1200" y="191"/>
                  </a:lnTo>
                  <a:lnTo>
                    <a:pt x="1200" y="191"/>
                  </a:lnTo>
                  <a:lnTo>
                    <a:pt x="1198" y="191"/>
                  </a:lnTo>
                  <a:lnTo>
                    <a:pt x="1195" y="191"/>
                  </a:lnTo>
                  <a:lnTo>
                    <a:pt x="1195" y="191"/>
                  </a:lnTo>
                  <a:lnTo>
                    <a:pt x="1193" y="191"/>
                  </a:lnTo>
                  <a:lnTo>
                    <a:pt x="1191" y="189"/>
                  </a:lnTo>
                  <a:lnTo>
                    <a:pt x="1191" y="191"/>
                  </a:lnTo>
                  <a:lnTo>
                    <a:pt x="1186" y="191"/>
                  </a:lnTo>
                  <a:lnTo>
                    <a:pt x="1181" y="191"/>
                  </a:lnTo>
                  <a:lnTo>
                    <a:pt x="1176" y="194"/>
                  </a:lnTo>
                  <a:lnTo>
                    <a:pt x="1174" y="194"/>
                  </a:lnTo>
                  <a:lnTo>
                    <a:pt x="1172" y="196"/>
                  </a:lnTo>
                  <a:lnTo>
                    <a:pt x="1165" y="201"/>
                  </a:lnTo>
                  <a:lnTo>
                    <a:pt x="1162" y="203"/>
                  </a:lnTo>
                  <a:lnTo>
                    <a:pt x="1162" y="203"/>
                  </a:lnTo>
                  <a:lnTo>
                    <a:pt x="1169" y="198"/>
                  </a:lnTo>
                  <a:lnTo>
                    <a:pt x="1169" y="196"/>
                  </a:lnTo>
                  <a:lnTo>
                    <a:pt x="1169" y="196"/>
                  </a:lnTo>
                  <a:lnTo>
                    <a:pt x="1169" y="196"/>
                  </a:lnTo>
                  <a:lnTo>
                    <a:pt x="1169" y="196"/>
                  </a:lnTo>
                  <a:lnTo>
                    <a:pt x="1167" y="196"/>
                  </a:lnTo>
                  <a:lnTo>
                    <a:pt x="1165" y="196"/>
                  </a:lnTo>
                  <a:lnTo>
                    <a:pt x="1162" y="198"/>
                  </a:lnTo>
                  <a:lnTo>
                    <a:pt x="1162" y="198"/>
                  </a:lnTo>
                  <a:lnTo>
                    <a:pt x="1162" y="198"/>
                  </a:lnTo>
                  <a:lnTo>
                    <a:pt x="1160" y="196"/>
                  </a:lnTo>
                  <a:lnTo>
                    <a:pt x="1162" y="196"/>
                  </a:lnTo>
                  <a:lnTo>
                    <a:pt x="1162" y="196"/>
                  </a:lnTo>
                  <a:lnTo>
                    <a:pt x="1165" y="196"/>
                  </a:lnTo>
                  <a:lnTo>
                    <a:pt x="1167" y="194"/>
                  </a:lnTo>
                  <a:lnTo>
                    <a:pt x="1169" y="194"/>
                  </a:lnTo>
                  <a:lnTo>
                    <a:pt x="1172" y="194"/>
                  </a:lnTo>
                  <a:lnTo>
                    <a:pt x="1174" y="194"/>
                  </a:lnTo>
                  <a:lnTo>
                    <a:pt x="1181" y="191"/>
                  </a:lnTo>
                  <a:lnTo>
                    <a:pt x="1184" y="189"/>
                  </a:lnTo>
                  <a:lnTo>
                    <a:pt x="1184" y="189"/>
                  </a:lnTo>
                  <a:lnTo>
                    <a:pt x="1184" y="187"/>
                  </a:lnTo>
                  <a:lnTo>
                    <a:pt x="1186" y="187"/>
                  </a:lnTo>
                  <a:lnTo>
                    <a:pt x="1184" y="187"/>
                  </a:lnTo>
                  <a:lnTo>
                    <a:pt x="1184" y="184"/>
                  </a:lnTo>
                  <a:lnTo>
                    <a:pt x="1184" y="187"/>
                  </a:lnTo>
                  <a:lnTo>
                    <a:pt x="1179" y="187"/>
                  </a:lnTo>
                  <a:lnTo>
                    <a:pt x="1176" y="187"/>
                  </a:lnTo>
                  <a:lnTo>
                    <a:pt x="1174" y="187"/>
                  </a:lnTo>
                  <a:lnTo>
                    <a:pt x="1172" y="187"/>
                  </a:lnTo>
                  <a:lnTo>
                    <a:pt x="1167" y="187"/>
                  </a:lnTo>
                  <a:lnTo>
                    <a:pt x="1165" y="189"/>
                  </a:lnTo>
                  <a:lnTo>
                    <a:pt x="1162" y="189"/>
                  </a:lnTo>
                  <a:lnTo>
                    <a:pt x="1160" y="191"/>
                  </a:lnTo>
                  <a:lnTo>
                    <a:pt x="1155" y="191"/>
                  </a:lnTo>
                  <a:lnTo>
                    <a:pt x="1158" y="189"/>
                  </a:lnTo>
                  <a:lnTo>
                    <a:pt x="1160" y="189"/>
                  </a:lnTo>
                  <a:lnTo>
                    <a:pt x="1162" y="189"/>
                  </a:lnTo>
                  <a:lnTo>
                    <a:pt x="1167" y="187"/>
                  </a:lnTo>
                  <a:lnTo>
                    <a:pt x="1169" y="187"/>
                  </a:lnTo>
                  <a:lnTo>
                    <a:pt x="1169" y="187"/>
                  </a:lnTo>
                  <a:lnTo>
                    <a:pt x="1174" y="187"/>
                  </a:lnTo>
                  <a:lnTo>
                    <a:pt x="1174" y="187"/>
                  </a:lnTo>
                  <a:lnTo>
                    <a:pt x="1176" y="184"/>
                  </a:lnTo>
                  <a:lnTo>
                    <a:pt x="1181" y="184"/>
                  </a:lnTo>
                  <a:lnTo>
                    <a:pt x="1181" y="182"/>
                  </a:lnTo>
                  <a:lnTo>
                    <a:pt x="1181" y="182"/>
                  </a:lnTo>
                  <a:lnTo>
                    <a:pt x="1181" y="182"/>
                  </a:lnTo>
                  <a:lnTo>
                    <a:pt x="1181" y="179"/>
                  </a:lnTo>
                  <a:lnTo>
                    <a:pt x="1179" y="179"/>
                  </a:lnTo>
                  <a:lnTo>
                    <a:pt x="1179" y="179"/>
                  </a:lnTo>
                  <a:lnTo>
                    <a:pt x="1176" y="177"/>
                  </a:lnTo>
                  <a:lnTo>
                    <a:pt x="1174" y="177"/>
                  </a:lnTo>
                  <a:lnTo>
                    <a:pt x="1169" y="177"/>
                  </a:lnTo>
                  <a:lnTo>
                    <a:pt x="1167" y="177"/>
                  </a:lnTo>
                  <a:lnTo>
                    <a:pt x="1167" y="177"/>
                  </a:lnTo>
                  <a:lnTo>
                    <a:pt x="1167" y="177"/>
                  </a:lnTo>
                  <a:lnTo>
                    <a:pt x="1165" y="175"/>
                  </a:lnTo>
                  <a:lnTo>
                    <a:pt x="1158" y="177"/>
                  </a:lnTo>
                  <a:lnTo>
                    <a:pt x="1158" y="177"/>
                  </a:lnTo>
                  <a:lnTo>
                    <a:pt x="1155" y="179"/>
                  </a:lnTo>
                  <a:lnTo>
                    <a:pt x="1155" y="182"/>
                  </a:lnTo>
                  <a:lnTo>
                    <a:pt x="1155" y="182"/>
                  </a:lnTo>
                  <a:lnTo>
                    <a:pt x="1155" y="182"/>
                  </a:lnTo>
                  <a:lnTo>
                    <a:pt x="1153" y="182"/>
                  </a:lnTo>
                  <a:lnTo>
                    <a:pt x="1153" y="179"/>
                  </a:lnTo>
                  <a:lnTo>
                    <a:pt x="1153" y="177"/>
                  </a:lnTo>
                  <a:lnTo>
                    <a:pt x="1153" y="177"/>
                  </a:lnTo>
                  <a:lnTo>
                    <a:pt x="1148" y="177"/>
                  </a:lnTo>
                  <a:lnTo>
                    <a:pt x="1148" y="179"/>
                  </a:lnTo>
                  <a:lnTo>
                    <a:pt x="1146" y="179"/>
                  </a:lnTo>
                  <a:lnTo>
                    <a:pt x="1143" y="179"/>
                  </a:lnTo>
                  <a:lnTo>
                    <a:pt x="1151" y="177"/>
                  </a:lnTo>
                  <a:lnTo>
                    <a:pt x="1153" y="175"/>
                  </a:lnTo>
                  <a:lnTo>
                    <a:pt x="1155" y="175"/>
                  </a:lnTo>
                  <a:lnTo>
                    <a:pt x="1153" y="175"/>
                  </a:lnTo>
                  <a:lnTo>
                    <a:pt x="1153" y="175"/>
                  </a:lnTo>
                  <a:lnTo>
                    <a:pt x="1151" y="175"/>
                  </a:lnTo>
                  <a:lnTo>
                    <a:pt x="1148" y="175"/>
                  </a:lnTo>
                  <a:lnTo>
                    <a:pt x="1143" y="175"/>
                  </a:lnTo>
                  <a:lnTo>
                    <a:pt x="1143" y="177"/>
                  </a:lnTo>
                  <a:lnTo>
                    <a:pt x="1141" y="177"/>
                  </a:lnTo>
                  <a:lnTo>
                    <a:pt x="1136" y="179"/>
                  </a:lnTo>
                  <a:lnTo>
                    <a:pt x="1134" y="182"/>
                  </a:lnTo>
                  <a:lnTo>
                    <a:pt x="1129" y="184"/>
                  </a:lnTo>
                  <a:lnTo>
                    <a:pt x="1129" y="184"/>
                  </a:lnTo>
                  <a:lnTo>
                    <a:pt x="1132" y="182"/>
                  </a:lnTo>
                  <a:lnTo>
                    <a:pt x="1134" y="179"/>
                  </a:lnTo>
                  <a:lnTo>
                    <a:pt x="1136" y="179"/>
                  </a:lnTo>
                  <a:lnTo>
                    <a:pt x="1136" y="179"/>
                  </a:lnTo>
                  <a:lnTo>
                    <a:pt x="1136" y="177"/>
                  </a:lnTo>
                  <a:lnTo>
                    <a:pt x="1139" y="177"/>
                  </a:lnTo>
                  <a:lnTo>
                    <a:pt x="1141" y="175"/>
                  </a:lnTo>
                  <a:lnTo>
                    <a:pt x="1136" y="175"/>
                  </a:lnTo>
                  <a:lnTo>
                    <a:pt x="1134" y="175"/>
                  </a:lnTo>
                  <a:lnTo>
                    <a:pt x="1134" y="175"/>
                  </a:lnTo>
                  <a:lnTo>
                    <a:pt x="1139" y="175"/>
                  </a:lnTo>
                  <a:lnTo>
                    <a:pt x="1141" y="175"/>
                  </a:lnTo>
                  <a:lnTo>
                    <a:pt x="1143" y="175"/>
                  </a:lnTo>
                  <a:lnTo>
                    <a:pt x="1148" y="172"/>
                  </a:lnTo>
                  <a:lnTo>
                    <a:pt x="1148" y="172"/>
                  </a:lnTo>
                  <a:lnTo>
                    <a:pt x="1151" y="170"/>
                  </a:lnTo>
                  <a:lnTo>
                    <a:pt x="1151" y="170"/>
                  </a:lnTo>
                  <a:lnTo>
                    <a:pt x="1151" y="170"/>
                  </a:lnTo>
                  <a:lnTo>
                    <a:pt x="1151" y="170"/>
                  </a:lnTo>
                  <a:lnTo>
                    <a:pt x="1151" y="168"/>
                  </a:lnTo>
                  <a:lnTo>
                    <a:pt x="1148" y="168"/>
                  </a:lnTo>
                  <a:lnTo>
                    <a:pt x="1146" y="168"/>
                  </a:lnTo>
                  <a:lnTo>
                    <a:pt x="1143" y="168"/>
                  </a:lnTo>
                  <a:lnTo>
                    <a:pt x="1141" y="170"/>
                  </a:lnTo>
                  <a:lnTo>
                    <a:pt x="1136" y="170"/>
                  </a:lnTo>
                  <a:lnTo>
                    <a:pt x="1132" y="172"/>
                  </a:lnTo>
                  <a:lnTo>
                    <a:pt x="1129" y="172"/>
                  </a:lnTo>
                  <a:lnTo>
                    <a:pt x="1127" y="175"/>
                  </a:lnTo>
                  <a:lnTo>
                    <a:pt x="1125" y="175"/>
                  </a:lnTo>
                  <a:lnTo>
                    <a:pt x="1125" y="175"/>
                  </a:lnTo>
                  <a:lnTo>
                    <a:pt x="1125" y="175"/>
                  </a:lnTo>
                  <a:lnTo>
                    <a:pt x="1127" y="172"/>
                  </a:lnTo>
                  <a:lnTo>
                    <a:pt x="1132" y="170"/>
                  </a:lnTo>
                  <a:lnTo>
                    <a:pt x="1134" y="170"/>
                  </a:lnTo>
                  <a:lnTo>
                    <a:pt x="1136" y="170"/>
                  </a:lnTo>
                  <a:lnTo>
                    <a:pt x="1143" y="165"/>
                  </a:lnTo>
                  <a:lnTo>
                    <a:pt x="1143" y="165"/>
                  </a:lnTo>
                  <a:lnTo>
                    <a:pt x="1146" y="165"/>
                  </a:lnTo>
                  <a:lnTo>
                    <a:pt x="1146" y="163"/>
                  </a:lnTo>
                  <a:lnTo>
                    <a:pt x="1146" y="163"/>
                  </a:lnTo>
                  <a:lnTo>
                    <a:pt x="1143" y="161"/>
                  </a:lnTo>
                  <a:lnTo>
                    <a:pt x="1141" y="161"/>
                  </a:lnTo>
                  <a:lnTo>
                    <a:pt x="1139" y="161"/>
                  </a:lnTo>
                  <a:lnTo>
                    <a:pt x="1136" y="161"/>
                  </a:lnTo>
                  <a:lnTo>
                    <a:pt x="1134" y="161"/>
                  </a:lnTo>
                  <a:lnTo>
                    <a:pt x="1134" y="161"/>
                  </a:lnTo>
                  <a:lnTo>
                    <a:pt x="1132" y="158"/>
                  </a:lnTo>
                  <a:lnTo>
                    <a:pt x="1129" y="158"/>
                  </a:lnTo>
                  <a:lnTo>
                    <a:pt x="1127" y="158"/>
                  </a:lnTo>
                  <a:lnTo>
                    <a:pt x="1122" y="158"/>
                  </a:lnTo>
                  <a:lnTo>
                    <a:pt x="1118" y="158"/>
                  </a:lnTo>
                  <a:lnTo>
                    <a:pt x="1115" y="158"/>
                  </a:lnTo>
                  <a:lnTo>
                    <a:pt x="1113" y="158"/>
                  </a:lnTo>
                  <a:lnTo>
                    <a:pt x="1106" y="161"/>
                  </a:lnTo>
                  <a:lnTo>
                    <a:pt x="1106" y="161"/>
                  </a:lnTo>
                  <a:lnTo>
                    <a:pt x="1103" y="161"/>
                  </a:lnTo>
                  <a:lnTo>
                    <a:pt x="1103" y="161"/>
                  </a:lnTo>
                  <a:lnTo>
                    <a:pt x="1103" y="163"/>
                  </a:lnTo>
                  <a:lnTo>
                    <a:pt x="1103" y="163"/>
                  </a:lnTo>
                  <a:lnTo>
                    <a:pt x="1103" y="163"/>
                  </a:lnTo>
                  <a:lnTo>
                    <a:pt x="1108" y="165"/>
                  </a:lnTo>
                  <a:lnTo>
                    <a:pt x="1110" y="165"/>
                  </a:lnTo>
                  <a:lnTo>
                    <a:pt x="1110" y="165"/>
                  </a:lnTo>
                  <a:lnTo>
                    <a:pt x="1110" y="168"/>
                  </a:lnTo>
                  <a:lnTo>
                    <a:pt x="1108" y="168"/>
                  </a:lnTo>
                  <a:lnTo>
                    <a:pt x="1103" y="165"/>
                  </a:lnTo>
                  <a:lnTo>
                    <a:pt x="1101" y="165"/>
                  </a:lnTo>
                  <a:lnTo>
                    <a:pt x="1101" y="165"/>
                  </a:lnTo>
                  <a:lnTo>
                    <a:pt x="1099" y="165"/>
                  </a:lnTo>
                  <a:lnTo>
                    <a:pt x="1099" y="163"/>
                  </a:lnTo>
                  <a:lnTo>
                    <a:pt x="1096" y="165"/>
                  </a:lnTo>
                  <a:lnTo>
                    <a:pt x="1092" y="168"/>
                  </a:lnTo>
                  <a:lnTo>
                    <a:pt x="1092" y="170"/>
                  </a:lnTo>
                  <a:lnTo>
                    <a:pt x="1092" y="170"/>
                  </a:lnTo>
                  <a:lnTo>
                    <a:pt x="1094" y="170"/>
                  </a:lnTo>
                  <a:lnTo>
                    <a:pt x="1092" y="172"/>
                  </a:lnTo>
                  <a:lnTo>
                    <a:pt x="1092" y="172"/>
                  </a:lnTo>
                  <a:lnTo>
                    <a:pt x="1092" y="172"/>
                  </a:lnTo>
                  <a:lnTo>
                    <a:pt x="1092" y="170"/>
                  </a:lnTo>
                  <a:lnTo>
                    <a:pt x="1089" y="170"/>
                  </a:lnTo>
                  <a:lnTo>
                    <a:pt x="1089" y="168"/>
                  </a:lnTo>
                  <a:lnTo>
                    <a:pt x="1092" y="168"/>
                  </a:lnTo>
                  <a:lnTo>
                    <a:pt x="1094" y="165"/>
                  </a:lnTo>
                  <a:lnTo>
                    <a:pt x="1092" y="163"/>
                  </a:lnTo>
                  <a:lnTo>
                    <a:pt x="1092" y="163"/>
                  </a:lnTo>
                  <a:lnTo>
                    <a:pt x="1089" y="165"/>
                  </a:lnTo>
                  <a:lnTo>
                    <a:pt x="1087" y="165"/>
                  </a:lnTo>
                  <a:lnTo>
                    <a:pt x="1085" y="165"/>
                  </a:lnTo>
                  <a:lnTo>
                    <a:pt x="1085" y="163"/>
                  </a:lnTo>
                  <a:lnTo>
                    <a:pt x="1085" y="163"/>
                  </a:lnTo>
                  <a:lnTo>
                    <a:pt x="1085" y="163"/>
                  </a:lnTo>
                  <a:lnTo>
                    <a:pt x="1082" y="163"/>
                  </a:lnTo>
                  <a:lnTo>
                    <a:pt x="1082" y="163"/>
                  </a:lnTo>
                  <a:lnTo>
                    <a:pt x="1080" y="163"/>
                  </a:lnTo>
                  <a:lnTo>
                    <a:pt x="1080" y="165"/>
                  </a:lnTo>
                  <a:lnTo>
                    <a:pt x="1080" y="165"/>
                  </a:lnTo>
                  <a:lnTo>
                    <a:pt x="1080" y="168"/>
                  </a:lnTo>
                  <a:lnTo>
                    <a:pt x="1080" y="168"/>
                  </a:lnTo>
                  <a:lnTo>
                    <a:pt x="1077" y="165"/>
                  </a:lnTo>
                  <a:lnTo>
                    <a:pt x="1077" y="165"/>
                  </a:lnTo>
                  <a:lnTo>
                    <a:pt x="1073" y="168"/>
                  </a:lnTo>
                  <a:lnTo>
                    <a:pt x="1066" y="170"/>
                  </a:lnTo>
                  <a:lnTo>
                    <a:pt x="1063" y="170"/>
                  </a:lnTo>
                  <a:lnTo>
                    <a:pt x="1063" y="172"/>
                  </a:lnTo>
                  <a:lnTo>
                    <a:pt x="1063" y="172"/>
                  </a:lnTo>
                  <a:lnTo>
                    <a:pt x="1063" y="172"/>
                  </a:lnTo>
                  <a:lnTo>
                    <a:pt x="1063" y="170"/>
                  </a:lnTo>
                  <a:lnTo>
                    <a:pt x="1063" y="170"/>
                  </a:lnTo>
                  <a:lnTo>
                    <a:pt x="1063" y="170"/>
                  </a:lnTo>
                  <a:lnTo>
                    <a:pt x="1063" y="170"/>
                  </a:lnTo>
                  <a:lnTo>
                    <a:pt x="1066" y="168"/>
                  </a:lnTo>
                  <a:lnTo>
                    <a:pt x="1066" y="168"/>
                  </a:lnTo>
                  <a:lnTo>
                    <a:pt x="1066" y="168"/>
                  </a:lnTo>
                  <a:lnTo>
                    <a:pt x="1068" y="168"/>
                  </a:lnTo>
                  <a:lnTo>
                    <a:pt x="1068" y="168"/>
                  </a:lnTo>
                  <a:lnTo>
                    <a:pt x="1066" y="168"/>
                  </a:lnTo>
                  <a:lnTo>
                    <a:pt x="1066" y="165"/>
                  </a:lnTo>
                  <a:lnTo>
                    <a:pt x="1068" y="165"/>
                  </a:lnTo>
                  <a:lnTo>
                    <a:pt x="1073" y="165"/>
                  </a:lnTo>
                  <a:lnTo>
                    <a:pt x="1075" y="163"/>
                  </a:lnTo>
                  <a:lnTo>
                    <a:pt x="1075" y="163"/>
                  </a:lnTo>
                  <a:lnTo>
                    <a:pt x="1073" y="163"/>
                  </a:lnTo>
                  <a:lnTo>
                    <a:pt x="1063" y="165"/>
                  </a:lnTo>
                  <a:lnTo>
                    <a:pt x="1066" y="165"/>
                  </a:lnTo>
                  <a:lnTo>
                    <a:pt x="1070" y="163"/>
                  </a:lnTo>
                  <a:lnTo>
                    <a:pt x="1075" y="161"/>
                  </a:lnTo>
                  <a:lnTo>
                    <a:pt x="1080" y="158"/>
                  </a:lnTo>
                  <a:lnTo>
                    <a:pt x="1082" y="158"/>
                  </a:lnTo>
                  <a:lnTo>
                    <a:pt x="1085" y="158"/>
                  </a:lnTo>
                  <a:lnTo>
                    <a:pt x="1085" y="156"/>
                  </a:lnTo>
                  <a:lnTo>
                    <a:pt x="1082" y="156"/>
                  </a:lnTo>
                  <a:lnTo>
                    <a:pt x="1082" y="156"/>
                  </a:lnTo>
                  <a:lnTo>
                    <a:pt x="1082" y="153"/>
                  </a:lnTo>
                  <a:lnTo>
                    <a:pt x="1082" y="153"/>
                  </a:lnTo>
                  <a:lnTo>
                    <a:pt x="1085" y="151"/>
                  </a:lnTo>
                  <a:lnTo>
                    <a:pt x="1085" y="151"/>
                  </a:lnTo>
                  <a:lnTo>
                    <a:pt x="1085" y="151"/>
                  </a:lnTo>
                  <a:lnTo>
                    <a:pt x="1085" y="149"/>
                  </a:lnTo>
                  <a:lnTo>
                    <a:pt x="1082" y="149"/>
                  </a:lnTo>
                  <a:lnTo>
                    <a:pt x="1082" y="149"/>
                  </a:lnTo>
                  <a:lnTo>
                    <a:pt x="1082" y="144"/>
                  </a:lnTo>
                  <a:lnTo>
                    <a:pt x="1082" y="142"/>
                  </a:lnTo>
                  <a:lnTo>
                    <a:pt x="1082" y="142"/>
                  </a:lnTo>
                  <a:lnTo>
                    <a:pt x="1082" y="142"/>
                  </a:lnTo>
                  <a:lnTo>
                    <a:pt x="1077" y="142"/>
                  </a:lnTo>
                  <a:lnTo>
                    <a:pt x="1075" y="142"/>
                  </a:lnTo>
                  <a:lnTo>
                    <a:pt x="1068" y="142"/>
                  </a:lnTo>
                  <a:lnTo>
                    <a:pt x="1066" y="142"/>
                  </a:lnTo>
                  <a:lnTo>
                    <a:pt x="1066" y="142"/>
                  </a:lnTo>
                  <a:lnTo>
                    <a:pt x="1063" y="142"/>
                  </a:lnTo>
                  <a:lnTo>
                    <a:pt x="1059" y="142"/>
                  </a:lnTo>
                  <a:lnTo>
                    <a:pt x="1052" y="144"/>
                  </a:lnTo>
                  <a:lnTo>
                    <a:pt x="1049" y="144"/>
                  </a:lnTo>
                  <a:lnTo>
                    <a:pt x="1049" y="144"/>
                  </a:lnTo>
                  <a:lnTo>
                    <a:pt x="1049" y="146"/>
                  </a:lnTo>
                  <a:lnTo>
                    <a:pt x="1049" y="146"/>
                  </a:lnTo>
                  <a:lnTo>
                    <a:pt x="1047" y="144"/>
                  </a:lnTo>
                  <a:lnTo>
                    <a:pt x="1042" y="146"/>
                  </a:lnTo>
                  <a:lnTo>
                    <a:pt x="1037" y="146"/>
                  </a:lnTo>
                  <a:lnTo>
                    <a:pt x="1033" y="146"/>
                  </a:lnTo>
                  <a:lnTo>
                    <a:pt x="1023" y="151"/>
                  </a:lnTo>
                  <a:lnTo>
                    <a:pt x="1023" y="151"/>
                  </a:lnTo>
                  <a:lnTo>
                    <a:pt x="1026" y="153"/>
                  </a:lnTo>
                  <a:lnTo>
                    <a:pt x="1033" y="156"/>
                  </a:lnTo>
                  <a:lnTo>
                    <a:pt x="1033" y="156"/>
                  </a:lnTo>
                  <a:lnTo>
                    <a:pt x="1026" y="153"/>
                  </a:lnTo>
                  <a:lnTo>
                    <a:pt x="1023" y="153"/>
                  </a:lnTo>
                  <a:lnTo>
                    <a:pt x="1021" y="153"/>
                  </a:lnTo>
                  <a:lnTo>
                    <a:pt x="1019" y="153"/>
                  </a:lnTo>
                  <a:lnTo>
                    <a:pt x="1016" y="156"/>
                  </a:lnTo>
                  <a:lnTo>
                    <a:pt x="1016" y="156"/>
                  </a:lnTo>
                  <a:lnTo>
                    <a:pt x="1014" y="156"/>
                  </a:lnTo>
                  <a:lnTo>
                    <a:pt x="1014" y="158"/>
                  </a:lnTo>
                  <a:lnTo>
                    <a:pt x="1012" y="158"/>
                  </a:lnTo>
                  <a:lnTo>
                    <a:pt x="1012" y="161"/>
                  </a:lnTo>
                  <a:lnTo>
                    <a:pt x="1012" y="161"/>
                  </a:lnTo>
                  <a:lnTo>
                    <a:pt x="1012" y="161"/>
                  </a:lnTo>
                  <a:lnTo>
                    <a:pt x="1014" y="163"/>
                  </a:lnTo>
                  <a:lnTo>
                    <a:pt x="1014" y="163"/>
                  </a:lnTo>
                  <a:lnTo>
                    <a:pt x="1014" y="163"/>
                  </a:lnTo>
                  <a:lnTo>
                    <a:pt x="1016" y="163"/>
                  </a:lnTo>
                  <a:lnTo>
                    <a:pt x="1019" y="163"/>
                  </a:lnTo>
                  <a:lnTo>
                    <a:pt x="1019" y="163"/>
                  </a:lnTo>
                  <a:lnTo>
                    <a:pt x="1021" y="163"/>
                  </a:lnTo>
                  <a:lnTo>
                    <a:pt x="1021" y="163"/>
                  </a:lnTo>
                  <a:lnTo>
                    <a:pt x="1019" y="165"/>
                  </a:lnTo>
                  <a:lnTo>
                    <a:pt x="1019" y="165"/>
                  </a:lnTo>
                  <a:lnTo>
                    <a:pt x="1019" y="165"/>
                  </a:lnTo>
                  <a:lnTo>
                    <a:pt x="1019" y="168"/>
                  </a:lnTo>
                  <a:lnTo>
                    <a:pt x="1021" y="168"/>
                  </a:lnTo>
                  <a:lnTo>
                    <a:pt x="1021" y="170"/>
                  </a:lnTo>
                  <a:lnTo>
                    <a:pt x="1021" y="170"/>
                  </a:lnTo>
                  <a:lnTo>
                    <a:pt x="1021" y="170"/>
                  </a:lnTo>
                  <a:lnTo>
                    <a:pt x="1019" y="168"/>
                  </a:lnTo>
                  <a:lnTo>
                    <a:pt x="1014" y="165"/>
                  </a:lnTo>
                  <a:lnTo>
                    <a:pt x="1009" y="165"/>
                  </a:lnTo>
                  <a:lnTo>
                    <a:pt x="1009" y="165"/>
                  </a:lnTo>
                  <a:lnTo>
                    <a:pt x="1004" y="168"/>
                  </a:lnTo>
                  <a:lnTo>
                    <a:pt x="1002" y="170"/>
                  </a:lnTo>
                  <a:lnTo>
                    <a:pt x="1000" y="170"/>
                  </a:lnTo>
                  <a:lnTo>
                    <a:pt x="1000" y="170"/>
                  </a:lnTo>
                  <a:lnTo>
                    <a:pt x="1000" y="170"/>
                  </a:lnTo>
                  <a:lnTo>
                    <a:pt x="1000" y="172"/>
                  </a:lnTo>
                  <a:lnTo>
                    <a:pt x="1002" y="172"/>
                  </a:lnTo>
                  <a:lnTo>
                    <a:pt x="1002" y="175"/>
                  </a:lnTo>
                  <a:lnTo>
                    <a:pt x="1002" y="175"/>
                  </a:lnTo>
                  <a:lnTo>
                    <a:pt x="1002" y="175"/>
                  </a:lnTo>
                  <a:lnTo>
                    <a:pt x="1004" y="175"/>
                  </a:lnTo>
                  <a:lnTo>
                    <a:pt x="1004" y="175"/>
                  </a:lnTo>
                  <a:lnTo>
                    <a:pt x="1007" y="175"/>
                  </a:lnTo>
                  <a:lnTo>
                    <a:pt x="1009" y="177"/>
                  </a:lnTo>
                  <a:lnTo>
                    <a:pt x="1009" y="177"/>
                  </a:lnTo>
                  <a:lnTo>
                    <a:pt x="1007" y="179"/>
                  </a:lnTo>
                  <a:lnTo>
                    <a:pt x="1007" y="179"/>
                  </a:lnTo>
                  <a:lnTo>
                    <a:pt x="1004" y="182"/>
                  </a:lnTo>
                  <a:lnTo>
                    <a:pt x="1000" y="187"/>
                  </a:lnTo>
                  <a:lnTo>
                    <a:pt x="997" y="187"/>
                  </a:lnTo>
                  <a:lnTo>
                    <a:pt x="997" y="187"/>
                  </a:lnTo>
                  <a:lnTo>
                    <a:pt x="995" y="187"/>
                  </a:lnTo>
                  <a:lnTo>
                    <a:pt x="995" y="187"/>
                  </a:lnTo>
                  <a:lnTo>
                    <a:pt x="995" y="187"/>
                  </a:lnTo>
                  <a:lnTo>
                    <a:pt x="995" y="187"/>
                  </a:lnTo>
                  <a:lnTo>
                    <a:pt x="997" y="184"/>
                  </a:lnTo>
                  <a:lnTo>
                    <a:pt x="995" y="184"/>
                  </a:lnTo>
                  <a:lnTo>
                    <a:pt x="988" y="184"/>
                  </a:lnTo>
                  <a:lnTo>
                    <a:pt x="986" y="184"/>
                  </a:lnTo>
                  <a:lnTo>
                    <a:pt x="981" y="187"/>
                  </a:lnTo>
                  <a:lnTo>
                    <a:pt x="979" y="187"/>
                  </a:lnTo>
                  <a:lnTo>
                    <a:pt x="974" y="187"/>
                  </a:lnTo>
                  <a:lnTo>
                    <a:pt x="974" y="187"/>
                  </a:lnTo>
                  <a:lnTo>
                    <a:pt x="976" y="187"/>
                  </a:lnTo>
                  <a:lnTo>
                    <a:pt x="981" y="187"/>
                  </a:lnTo>
                  <a:lnTo>
                    <a:pt x="986" y="184"/>
                  </a:lnTo>
                  <a:lnTo>
                    <a:pt x="988" y="184"/>
                  </a:lnTo>
                  <a:lnTo>
                    <a:pt x="993" y="184"/>
                  </a:lnTo>
                  <a:lnTo>
                    <a:pt x="997" y="182"/>
                  </a:lnTo>
                  <a:lnTo>
                    <a:pt x="1000" y="182"/>
                  </a:lnTo>
                  <a:lnTo>
                    <a:pt x="1000" y="179"/>
                  </a:lnTo>
                  <a:lnTo>
                    <a:pt x="997" y="179"/>
                  </a:lnTo>
                  <a:lnTo>
                    <a:pt x="997" y="177"/>
                  </a:lnTo>
                  <a:lnTo>
                    <a:pt x="995" y="177"/>
                  </a:lnTo>
                  <a:lnTo>
                    <a:pt x="993" y="175"/>
                  </a:lnTo>
                  <a:lnTo>
                    <a:pt x="993" y="172"/>
                  </a:lnTo>
                  <a:lnTo>
                    <a:pt x="995" y="170"/>
                  </a:lnTo>
                  <a:lnTo>
                    <a:pt x="995" y="168"/>
                  </a:lnTo>
                  <a:lnTo>
                    <a:pt x="995" y="168"/>
                  </a:lnTo>
                  <a:lnTo>
                    <a:pt x="997" y="165"/>
                  </a:lnTo>
                  <a:lnTo>
                    <a:pt x="1000" y="163"/>
                  </a:lnTo>
                  <a:lnTo>
                    <a:pt x="1002" y="163"/>
                  </a:lnTo>
                  <a:lnTo>
                    <a:pt x="1002" y="161"/>
                  </a:lnTo>
                  <a:lnTo>
                    <a:pt x="1000" y="158"/>
                  </a:lnTo>
                  <a:lnTo>
                    <a:pt x="1002" y="158"/>
                  </a:lnTo>
                  <a:lnTo>
                    <a:pt x="1002" y="156"/>
                  </a:lnTo>
                  <a:lnTo>
                    <a:pt x="1004" y="156"/>
                  </a:lnTo>
                  <a:lnTo>
                    <a:pt x="1004" y="153"/>
                  </a:lnTo>
                  <a:lnTo>
                    <a:pt x="1007" y="153"/>
                  </a:lnTo>
                  <a:lnTo>
                    <a:pt x="1016" y="149"/>
                  </a:lnTo>
                  <a:lnTo>
                    <a:pt x="1019" y="149"/>
                  </a:lnTo>
                  <a:lnTo>
                    <a:pt x="1026" y="144"/>
                  </a:lnTo>
                  <a:lnTo>
                    <a:pt x="1030" y="144"/>
                  </a:lnTo>
                  <a:lnTo>
                    <a:pt x="1035" y="142"/>
                  </a:lnTo>
                  <a:lnTo>
                    <a:pt x="1040" y="142"/>
                  </a:lnTo>
                  <a:lnTo>
                    <a:pt x="1040" y="142"/>
                  </a:lnTo>
                  <a:lnTo>
                    <a:pt x="1040" y="139"/>
                  </a:lnTo>
                  <a:lnTo>
                    <a:pt x="1040" y="139"/>
                  </a:lnTo>
                  <a:lnTo>
                    <a:pt x="1040" y="139"/>
                  </a:lnTo>
                  <a:lnTo>
                    <a:pt x="1028" y="139"/>
                  </a:lnTo>
                  <a:lnTo>
                    <a:pt x="1023" y="139"/>
                  </a:lnTo>
                  <a:lnTo>
                    <a:pt x="1019" y="139"/>
                  </a:lnTo>
                  <a:lnTo>
                    <a:pt x="1007" y="139"/>
                  </a:lnTo>
                  <a:lnTo>
                    <a:pt x="1004" y="142"/>
                  </a:lnTo>
                  <a:lnTo>
                    <a:pt x="1000" y="142"/>
                  </a:lnTo>
                  <a:lnTo>
                    <a:pt x="995" y="144"/>
                  </a:lnTo>
                  <a:lnTo>
                    <a:pt x="986" y="146"/>
                  </a:lnTo>
                  <a:lnTo>
                    <a:pt x="986" y="146"/>
                  </a:lnTo>
                  <a:lnTo>
                    <a:pt x="986" y="146"/>
                  </a:lnTo>
                  <a:lnTo>
                    <a:pt x="983" y="146"/>
                  </a:lnTo>
                  <a:lnTo>
                    <a:pt x="983" y="149"/>
                  </a:lnTo>
                  <a:lnTo>
                    <a:pt x="981" y="149"/>
                  </a:lnTo>
                  <a:lnTo>
                    <a:pt x="976" y="149"/>
                  </a:lnTo>
                  <a:lnTo>
                    <a:pt x="974" y="151"/>
                  </a:lnTo>
                  <a:lnTo>
                    <a:pt x="974" y="151"/>
                  </a:lnTo>
                  <a:lnTo>
                    <a:pt x="971" y="153"/>
                  </a:lnTo>
                  <a:lnTo>
                    <a:pt x="971" y="153"/>
                  </a:lnTo>
                  <a:lnTo>
                    <a:pt x="969" y="156"/>
                  </a:lnTo>
                  <a:lnTo>
                    <a:pt x="967" y="156"/>
                  </a:lnTo>
                  <a:lnTo>
                    <a:pt x="962" y="158"/>
                  </a:lnTo>
                  <a:lnTo>
                    <a:pt x="960" y="161"/>
                  </a:lnTo>
                  <a:lnTo>
                    <a:pt x="955" y="163"/>
                  </a:lnTo>
                  <a:lnTo>
                    <a:pt x="955" y="163"/>
                  </a:lnTo>
                  <a:lnTo>
                    <a:pt x="953" y="163"/>
                  </a:lnTo>
                  <a:lnTo>
                    <a:pt x="953" y="165"/>
                  </a:lnTo>
                  <a:lnTo>
                    <a:pt x="953" y="165"/>
                  </a:lnTo>
                  <a:lnTo>
                    <a:pt x="950" y="165"/>
                  </a:lnTo>
                  <a:lnTo>
                    <a:pt x="953" y="168"/>
                  </a:lnTo>
                  <a:lnTo>
                    <a:pt x="953" y="168"/>
                  </a:lnTo>
                  <a:lnTo>
                    <a:pt x="953" y="168"/>
                  </a:lnTo>
                  <a:lnTo>
                    <a:pt x="948" y="170"/>
                  </a:lnTo>
                  <a:lnTo>
                    <a:pt x="943" y="170"/>
                  </a:lnTo>
                  <a:lnTo>
                    <a:pt x="943" y="172"/>
                  </a:lnTo>
                  <a:lnTo>
                    <a:pt x="943" y="172"/>
                  </a:lnTo>
                  <a:lnTo>
                    <a:pt x="943" y="175"/>
                  </a:lnTo>
                  <a:lnTo>
                    <a:pt x="941" y="177"/>
                  </a:lnTo>
                  <a:lnTo>
                    <a:pt x="938" y="179"/>
                  </a:lnTo>
                  <a:lnTo>
                    <a:pt x="938" y="179"/>
                  </a:lnTo>
                  <a:lnTo>
                    <a:pt x="941" y="179"/>
                  </a:lnTo>
                  <a:lnTo>
                    <a:pt x="943" y="182"/>
                  </a:lnTo>
                  <a:lnTo>
                    <a:pt x="946" y="182"/>
                  </a:lnTo>
                  <a:lnTo>
                    <a:pt x="953" y="184"/>
                  </a:lnTo>
                  <a:lnTo>
                    <a:pt x="957" y="184"/>
                  </a:lnTo>
                  <a:lnTo>
                    <a:pt x="960" y="184"/>
                  </a:lnTo>
                  <a:lnTo>
                    <a:pt x="962" y="184"/>
                  </a:lnTo>
                  <a:lnTo>
                    <a:pt x="962" y="184"/>
                  </a:lnTo>
                  <a:lnTo>
                    <a:pt x="964" y="187"/>
                  </a:lnTo>
                  <a:lnTo>
                    <a:pt x="967" y="187"/>
                  </a:lnTo>
                  <a:lnTo>
                    <a:pt x="967" y="187"/>
                  </a:lnTo>
                  <a:lnTo>
                    <a:pt x="962" y="189"/>
                  </a:lnTo>
                  <a:lnTo>
                    <a:pt x="957" y="189"/>
                  </a:lnTo>
                  <a:lnTo>
                    <a:pt x="955" y="189"/>
                  </a:lnTo>
                  <a:lnTo>
                    <a:pt x="950" y="187"/>
                  </a:lnTo>
                  <a:lnTo>
                    <a:pt x="950" y="187"/>
                  </a:lnTo>
                  <a:lnTo>
                    <a:pt x="948" y="187"/>
                  </a:lnTo>
                  <a:lnTo>
                    <a:pt x="943" y="187"/>
                  </a:lnTo>
                  <a:lnTo>
                    <a:pt x="938" y="187"/>
                  </a:lnTo>
                  <a:lnTo>
                    <a:pt x="936" y="187"/>
                  </a:lnTo>
                  <a:lnTo>
                    <a:pt x="938" y="187"/>
                  </a:lnTo>
                  <a:lnTo>
                    <a:pt x="936" y="187"/>
                  </a:lnTo>
                  <a:lnTo>
                    <a:pt x="936" y="191"/>
                  </a:lnTo>
                  <a:lnTo>
                    <a:pt x="936" y="191"/>
                  </a:lnTo>
                  <a:lnTo>
                    <a:pt x="936" y="196"/>
                  </a:lnTo>
                  <a:lnTo>
                    <a:pt x="936" y="196"/>
                  </a:lnTo>
                  <a:lnTo>
                    <a:pt x="938" y="196"/>
                  </a:lnTo>
                  <a:lnTo>
                    <a:pt x="941" y="196"/>
                  </a:lnTo>
                  <a:lnTo>
                    <a:pt x="943" y="198"/>
                  </a:lnTo>
                  <a:lnTo>
                    <a:pt x="946" y="201"/>
                  </a:lnTo>
                  <a:lnTo>
                    <a:pt x="946" y="201"/>
                  </a:lnTo>
                  <a:lnTo>
                    <a:pt x="946" y="201"/>
                  </a:lnTo>
                  <a:lnTo>
                    <a:pt x="948" y="198"/>
                  </a:lnTo>
                  <a:lnTo>
                    <a:pt x="950" y="198"/>
                  </a:lnTo>
                  <a:lnTo>
                    <a:pt x="950" y="198"/>
                  </a:lnTo>
                  <a:lnTo>
                    <a:pt x="955" y="198"/>
                  </a:lnTo>
                  <a:lnTo>
                    <a:pt x="957" y="198"/>
                  </a:lnTo>
                  <a:lnTo>
                    <a:pt x="957" y="198"/>
                  </a:lnTo>
                  <a:lnTo>
                    <a:pt x="957" y="198"/>
                  </a:lnTo>
                  <a:lnTo>
                    <a:pt x="957" y="198"/>
                  </a:lnTo>
                  <a:lnTo>
                    <a:pt x="957" y="198"/>
                  </a:lnTo>
                  <a:lnTo>
                    <a:pt x="962" y="198"/>
                  </a:lnTo>
                  <a:lnTo>
                    <a:pt x="962" y="198"/>
                  </a:lnTo>
                  <a:lnTo>
                    <a:pt x="964" y="198"/>
                  </a:lnTo>
                  <a:lnTo>
                    <a:pt x="969" y="196"/>
                  </a:lnTo>
                  <a:lnTo>
                    <a:pt x="967" y="196"/>
                  </a:lnTo>
                  <a:lnTo>
                    <a:pt x="967" y="198"/>
                  </a:lnTo>
                  <a:lnTo>
                    <a:pt x="964" y="198"/>
                  </a:lnTo>
                  <a:lnTo>
                    <a:pt x="964" y="201"/>
                  </a:lnTo>
                  <a:lnTo>
                    <a:pt x="964" y="201"/>
                  </a:lnTo>
                  <a:lnTo>
                    <a:pt x="964" y="203"/>
                  </a:lnTo>
                  <a:lnTo>
                    <a:pt x="964" y="203"/>
                  </a:lnTo>
                  <a:lnTo>
                    <a:pt x="969" y="203"/>
                  </a:lnTo>
                  <a:lnTo>
                    <a:pt x="976" y="203"/>
                  </a:lnTo>
                  <a:lnTo>
                    <a:pt x="981" y="203"/>
                  </a:lnTo>
                  <a:lnTo>
                    <a:pt x="983" y="203"/>
                  </a:lnTo>
                  <a:lnTo>
                    <a:pt x="983" y="203"/>
                  </a:lnTo>
                  <a:lnTo>
                    <a:pt x="983" y="203"/>
                  </a:lnTo>
                  <a:lnTo>
                    <a:pt x="986" y="205"/>
                  </a:lnTo>
                  <a:lnTo>
                    <a:pt x="995" y="205"/>
                  </a:lnTo>
                  <a:lnTo>
                    <a:pt x="1000" y="205"/>
                  </a:lnTo>
                  <a:lnTo>
                    <a:pt x="1004" y="205"/>
                  </a:lnTo>
                  <a:lnTo>
                    <a:pt x="1004" y="205"/>
                  </a:lnTo>
                  <a:lnTo>
                    <a:pt x="1007" y="205"/>
                  </a:lnTo>
                  <a:lnTo>
                    <a:pt x="1012" y="208"/>
                  </a:lnTo>
                  <a:lnTo>
                    <a:pt x="1014" y="208"/>
                  </a:lnTo>
                  <a:lnTo>
                    <a:pt x="1016" y="208"/>
                  </a:lnTo>
                  <a:lnTo>
                    <a:pt x="1019" y="208"/>
                  </a:lnTo>
                  <a:lnTo>
                    <a:pt x="1026" y="205"/>
                  </a:lnTo>
                  <a:lnTo>
                    <a:pt x="1030" y="210"/>
                  </a:lnTo>
                  <a:lnTo>
                    <a:pt x="1033" y="208"/>
                  </a:lnTo>
                  <a:lnTo>
                    <a:pt x="1033" y="208"/>
                  </a:lnTo>
                  <a:lnTo>
                    <a:pt x="1033" y="208"/>
                  </a:lnTo>
                  <a:lnTo>
                    <a:pt x="1030" y="205"/>
                  </a:lnTo>
                  <a:lnTo>
                    <a:pt x="1030" y="205"/>
                  </a:lnTo>
                  <a:lnTo>
                    <a:pt x="1028" y="205"/>
                  </a:lnTo>
                  <a:lnTo>
                    <a:pt x="1028" y="205"/>
                  </a:lnTo>
                  <a:lnTo>
                    <a:pt x="1026" y="203"/>
                  </a:lnTo>
                  <a:lnTo>
                    <a:pt x="1026" y="203"/>
                  </a:lnTo>
                  <a:lnTo>
                    <a:pt x="1028" y="203"/>
                  </a:lnTo>
                  <a:lnTo>
                    <a:pt x="1033" y="203"/>
                  </a:lnTo>
                  <a:lnTo>
                    <a:pt x="1037" y="203"/>
                  </a:lnTo>
                  <a:lnTo>
                    <a:pt x="1037" y="203"/>
                  </a:lnTo>
                  <a:lnTo>
                    <a:pt x="1042" y="205"/>
                  </a:lnTo>
                  <a:lnTo>
                    <a:pt x="1042" y="205"/>
                  </a:lnTo>
                  <a:lnTo>
                    <a:pt x="1044" y="205"/>
                  </a:lnTo>
                  <a:lnTo>
                    <a:pt x="1049" y="205"/>
                  </a:lnTo>
                  <a:lnTo>
                    <a:pt x="1052" y="208"/>
                  </a:lnTo>
                  <a:lnTo>
                    <a:pt x="1054" y="205"/>
                  </a:lnTo>
                  <a:lnTo>
                    <a:pt x="1059" y="205"/>
                  </a:lnTo>
                  <a:lnTo>
                    <a:pt x="1061" y="205"/>
                  </a:lnTo>
                  <a:lnTo>
                    <a:pt x="1063" y="205"/>
                  </a:lnTo>
                  <a:lnTo>
                    <a:pt x="1063" y="203"/>
                  </a:lnTo>
                  <a:lnTo>
                    <a:pt x="1063" y="203"/>
                  </a:lnTo>
                  <a:lnTo>
                    <a:pt x="1066" y="201"/>
                  </a:lnTo>
                  <a:lnTo>
                    <a:pt x="1066" y="201"/>
                  </a:lnTo>
                  <a:lnTo>
                    <a:pt x="1066" y="201"/>
                  </a:lnTo>
                  <a:lnTo>
                    <a:pt x="1063" y="198"/>
                  </a:lnTo>
                  <a:lnTo>
                    <a:pt x="1061" y="198"/>
                  </a:lnTo>
                  <a:lnTo>
                    <a:pt x="1061" y="198"/>
                  </a:lnTo>
                  <a:lnTo>
                    <a:pt x="1061" y="196"/>
                  </a:lnTo>
                  <a:lnTo>
                    <a:pt x="1061" y="196"/>
                  </a:lnTo>
                  <a:lnTo>
                    <a:pt x="1063" y="196"/>
                  </a:lnTo>
                  <a:lnTo>
                    <a:pt x="1066" y="194"/>
                  </a:lnTo>
                  <a:lnTo>
                    <a:pt x="1068" y="194"/>
                  </a:lnTo>
                  <a:lnTo>
                    <a:pt x="1068" y="194"/>
                  </a:lnTo>
                  <a:lnTo>
                    <a:pt x="1068" y="196"/>
                  </a:lnTo>
                  <a:lnTo>
                    <a:pt x="1068" y="196"/>
                  </a:lnTo>
                  <a:lnTo>
                    <a:pt x="1068" y="196"/>
                  </a:lnTo>
                  <a:lnTo>
                    <a:pt x="1070" y="198"/>
                  </a:lnTo>
                  <a:lnTo>
                    <a:pt x="1070" y="198"/>
                  </a:lnTo>
                  <a:lnTo>
                    <a:pt x="1070" y="198"/>
                  </a:lnTo>
                  <a:lnTo>
                    <a:pt x="1073" y="201"/>
                  </a:lnTo>
                  <a:lnTo>
                    <a:pt x="1073" y="201"/>
                  </a:lnTo>
                  <a:lnTo>
                    <a:pt x="1075" y="201"/>
                  </a:lnTo>
                  <a:lnTo>
                    <a:pt x="1080" y="201"/>
                  </a:lnTo>
                  <a:lnTo>
                    <a:pt x="1080" y="201"/>
                  </a:lnTo>
                  <a:lnTo>
                    <a:pt x="1080" y="201"/>
                  </a:lnTo>
                  <a:lnTo>
                    <a:pt x="1077" y="203"/>
                  </a:lnTo>
                  <a:lnTo>
                    <a:pt x="1077" y="205"/>
                  </a:lnTo>
                  <a:lnTo>
                    <a:pt x="1077" y="205"/>
                  </a:lnTo>
                  <a:lnTo>
                    <a:pt x="1077" y="208"/>
                  </a:lnTo>
                  <a:lnTo>
                    <a:pt x="1077" y="208"/>
                  </a:lnTo>
                  <a:lnTo>
                    <a:pt x="1082" y="208"/>
                  </a:lnTo>
                  <a:lnTo>
                    <a:pt x="1085" y="208"/>
                  </a:lnTo>
                  <a:lnTo>
                    <a:pt x="1085" y="208"/>
                  </a:lnTo>
                  <a:lnTo>
                    <a:pt x="1085" y="208"/>
                  </a:lnTo>
                  <a:lnTo>
                    <a:pt x="1085" y="210"/>
                  </a:lnTo>
                  <a:lnTo>
                    <a:pt x="1082" y="210"/>
                  </a:lnTo>
                  <a:lnTo>
                    <a:pt x="1080" y="210"/>
                  </a:lnTo>
                  <a:lnTo>
                    <a:pt x="1080" y="210"/>
                  </a:lnTo>
                  <a:lnTo>
                    <a:pt x="1080" y="210"/>
                  </a:lnTo>
                  <a:lnTo>
                    <a:pt x="1080" y="213"/>
                  </a:lnTo>
                  <a:lnTo>
                    <a:pt x="1082" y="213"/>
                  </a:lnTo>
                  <a:lnTo>
                    <a:pt x="1085" y="213"/>
                  </a:lnTo>
                  <a:lnTo>
                    <a:pt x="1085" y="213"/>
                  </a:lnTo>
                  <a:lnTo>
                    <a:pt x="1087" y="210"/>
                  </a:lnTo>
                  <a:lnTo>
                    <a:pt x="1089" y="210"/>
                  </a:lnTo>
                  <a:lnTo>
                    <a:pt x="1089" y="210"/>
                  </a:lnTo>
                  <a:lnTo>
                    <a:pt x="1092" y="210"/>
                  </a:lnTo>
                  <a:lnTo>
                    <a:pt x="1092" y="210"/>
                  </a:lnTo>
                  <a:lnTo>
                    <a:pt x="1089" y="213"/>
                  </a:lnTo>
                  <a:lnTo>
                    <a:pt x="1087" y="213"/>
                  </a:lnTo>
                  <a:lnTo>
                    <a:pt x="1087" y="213"/>
                  </a:lnTo>
                  <a:lnTo>
                    <a:pt x="1087" y="213"/>
                  </a:lnTo>
                  <a:lnTo>
                    <a:pt x="1087" y="215"/>
                  </a:lnTo>
                  <a:lnTo>
                    <a:pt x="1087" y="215"/>
                  </a:lnTo>
                  <a:lnTo>
                    <a:pt x="1087" y="215"/>
                  </a:lnTo>
                  <a:lnTo>
                    <a:pt x="1089" y="215"/>
                  </a:lnTo>
                  <a:lnTo>
                    <a:pt x="1092" y="215"/>
                  </a:lnTo>
                  <a:lnTo>
                    <a:pt x="1094" y="217"/>
                  </a:lnTo>
                  <a:lnTo>
                    <a:pt x="1094" y="217"/>
                  </a:lnTo>
                  <a:lnTo>
                    <a:pt x="1094" y="220"/>
                  </a:lnTo>
                  <a:lnTo>
                    <a:pt x="1094" y="220"/>
                  </a:lnTo>
                  <a:lnTo>
                    <a:pt x="1092" y="220"/>
                  </a:lnTo>
                  <a:lnTo>
                    <a:pt x="1089" y="222"/>
                  </a:lnTo>
                  <a:lnTo>
                    <a:pt x="1087" y="222"/>
                  </a:lnTo>
                  <a:lnTo>
                    <a:pt x="1085" y="222"/>
                  </a:lnTo>
                  <a:lnTo>
                    <a:pt x="1082" y="222"/>
                  </a:lnTo>
                  <a:lnTo>
                    <a:pt x="1080" y="222"/>
                  </a:lnTo>
                  <a:lnTo>
                    <a:pt x="1080" y="222"/>
                  </a:lnTo>
                  <a:lnTo>
                    <a:pt x="1077" y="222"/>
                  </a:lnTo>
                  <a:lnTo>
                    <a:pt x="1077" y="224"/>
                  </a:lnTo>
                  <a:lnTo>
                    <a:pt x="1075" y="227"/>
                  </a:lnTo>
                  <a:lnTo>
                    <a:pt x="1075" y="227"/>
                  </a:lnTo>
                  <a:lnTo>
                    <a:pt x="1075" y="227"/>
                  </a:lnTo>
                  <a:lnTo>
                    <a:pt x="1075" y="227"/>
                  </a:lnTo>
                  <a:lnTo>
                    <a:pt x="1075" y="227"/>
                  </a:lnTo>
                  <a:lnTo>
                    <a:pt x="1077" y="229"/>
                  </a:lnTo>
                  <a:lnTo>
                    <a:pt x="1080" y="227"/>
                  </a:lnTo>
                  <a:lnTo>
                    <a:pt x="1087" y="224"/>
                  </a:lnTo>
                  <a:lnTo>
                    <a:pt x="1089" y="224"/>
                  </a:lnTo>
                  <a:lnTo>
                    <a:pt x="1092" y="224"/>
                  </a:lnTo>
                  <a:lnTo>
                    <a:pt x="1094" y="222"/>
                  </a:lnTo>
                  <a:lnTo>
                    <a:pt x="1094" y="224"/>
                  </a:lnTo>
                  <a:lnTo>
                    <a:pt x="1096" y="224"/>
                  </a:lnTo>
                  <a:lnTo>
                    <a:pt x="1099" y="224"/>
                  </a:lnTo>
                  <a:lnTo>
                    <a:pt x="1101" y="222"/>
                  </a:lnTo>
                  <a:lnTo>
                    <a:pt x="1103" y="222"/>
                  </a:lnTo>
                  <a:lnTo>
                    <a:pt x="1103" y="222"/>
                  </a:lnTo>
                  <a:lnTo>
                    <a:pt x="1103" y="222"/>
                  </a:lnTo>
                  <a:lnTo>
                    <a:pt x="1103" y="222"/>
                  </a:lnTo>
                  <a:lnTo>
                    <a:pt x="1101" y="222"/>
                  </a:lnTo>
                  <a:lnTo>
                    <a:pt x="1099" y="222"/>
                  </a:lnTo>
                  <a:lnTo>
                    <a:pt x="1101" y="224"/>
                  </a:lnTo>
                  <a:lnTo>
                    <a:pt x="1101" y="224"/>
                  </a:lnTo>
                  <a:lnTo>
                    <a:pt x="1101" y="224"/>
                  </a:lnTo>
                  <a:lnTo>
                    <a:pt x="1101" y="224"/>
                  </a:lnTo>
                  <a:lnTo>
                    <a:pt x="1099" y="227"/>
                  </a:lnTo>
                  <a:lnTo>
                    <a:pt x="1099" y="227"/>
                  </a:lnTo>
                  <a:lnTo>
                    <a:pt x="1099" y="227"/>
                  </a:lnTo>
                  <a:lnTo>
                    <a:pt x="1101" y="227"/>
                  </a:lnTo>
                  <a:lnTo>
                    <a:pt x="1101" y="227"/>
                  </a:lnTo>
                  <a:lnTo>
                    <a:pt x="1101" y="227"/>
                  </a:lnTo>
                  <a:lnTo>
                    <a:pt x="1101" y="227"/>
                  </a:lnTo>
                  <a:lnTo>
                    <a:pt x="1101" y="227"/>
                  </a:lnTo>
                  <a:lnTo>
                    <a:pt x="1101" y="229"/>
                  </a:lnTo>
                  <a:lnTo>
                    <a:pt x="1103" y="231"/>
                  </a:lnTo>
                  <a:lnTo>
                    <a:pt x="1103" y="231"/>
                  </a:lnTo>
                  <a:lnTo>
                    <a:pt x="1106" y="231"/>
                  </a:lnTo>
                  <a:lnTo>
                    <a:pt x="1108" y="231"/>
                  </a:lnTo>
                  <a:lnTo>
                    <a:pt x="1108" y="229"/>
                  </a:lnTo>
                  <a:lnTo>
                    <a:pt x="1108" y="227"/>
                  </a:lnTo>
                  <a:lnTo>
                    <a:pt x="1108" y="227"/>
                  </a:lnTo>
                  <a:lnTo>
                    <a:pt x="1110" y="227"/>
                  </a:lnTo>
                  <a:lnTo>
                    <a:pt x="1110" y="227"/>
                  </a:lnTo>
                  <a:lnTo>
                    <a:pt x="1110" y="229"/>
                  </a:lnTo>
                  <a:lnTo>
                    <a:pt x="1110" y="229"/>
                  </a:lnTo>
                  <a:lnTo>
                    <a:pt x="1110" y="229"/>
                  </a:lnTo>
                  <a:lnTo>
                    <a:pt x="1110" y="229"/>
                  </a:lnTo>
                  <a:lnTo>
                    <a:pt x="1108" y="231"/>
                  </a:lnTo>
                  <a:lnTo>
                    <a:pt x="1108" y="231"/>
                  </a:lnTo>
                  <a:lnTo>
                    <a:pt x="1108" y="231"/>
                  </a:lnTo>
                  <a:lnTo>
                    <a:pt x="1108" y="234"/>
                  </a:lnTo>
                  <a:lnTo>
                    <a:pt x="1108" y="234"/>
                  </a:lnTo>
                  <a:lnTo>
                    <a:pt x="1108" y="236"/>
                  </a:lnTo>
                  <a:lnTo>
                    <a:pt x="1110" y="234"/>
                  </a:lnTo>
                  <a:lnTo>
                    <a:pt x="1115" y="234"/>
                  </a:lnTo>
                  <a:lnTo>
                    <a:pt x="1115" y="234"/>
                  </a:lnTo>
                  <a:lnTo>
                    <a:pt x="1113" y="234"/>
                  </a:lnTo>
                  <a:lnTo>
                    <a:pt x="1113" y="236"/>
                  </a:lnTo>
                  <a:lnTo>
                    <a:pt x="1115" y="239"/>
                  </a:lnTo>
                  <a:lnTo>
                    <a:pt x="1115" y="241"/>
                  </a:lnTo>
                  <a:lnTo>
                    <a:pt x="1115" y="243"/>
                  </a:lnTo>
                  <a:lnTo>
                    <a:pt x="1115" y="246"/>
                  </a:lnTo>
                  <a:lnTo>
                    <a:pt x="1115" y="253"/>
                  </a:lnTo>
                  <a:lnTo>
                    <a:pt x="1115" y="253"/>
                  </a:lnTo>
                  <a:lnTo>
                    <a:pt x="1115" y="253"/>
                  </a:lnTo>
                  <a:lnTo>
                    <a:pt x="1115" y="253"/>
                  </a:lnTo>
                  <a:lnTo>
                    <a:pt x="1110" y="255"/>
                  </a:lnTo>
                  <a:lnTo>
                    <a:pt x="1110" y="257"/>
                  </a:lnTo>
                  <a:lnTo>
                    <a:pt x="1106" y="257"/>
                  </a:lnTo>
                  <a:lnTo>
                    <a:pt x="1103" y="257"/>
                  </a:lnTo>
                  <a:lnTo>
                    <a:pt x="1101" y="260"/>
                  </a:lnTo>
                  <a:lnTo>
                    <a:pt x="1099" y="262"/>
                  </a:lnTo>
                  <a:lnTo>
                    <a:pt x="1099" y="262"/>
                  </a:lnTo>
                  <a:lnTo>
                    <a:pt x="1096" y="265"/>
                  </a:lnTo>
                  <a:lnTo>
                    <a:pt x="1094" y="265"/>
                  </a:lnTo>
                  <a:lnTo>
                    <a:pt x="1094" y="265"/>
                  </a:lnTo>
                  <a:lnTo>
                    <a:pt x="1092" y="265"/>
                  </a:lnTo>
                  <a:lnTo>
                    <a:pt x="1089" y="267"/>
                  </a:lnTo>
                  <a:lnTo>
                    <a:pt x="1087" y="267"/>
                  </a:lnTo>
                  <a:lnTo>
                    <a:pt x="1080" y="269"/>
                  </a:lnTo>
                  <a:lnTo>
                    <a:pt x="1073" y="274"/>
                  </a:lnTo>
                  <a:lnTo>
                    <a:pt x="1070" y="274"/>
                  </a:lnTo>
                  <a:lnTo>
                    <a:pt x="1070" y="274"/>
                  </a:lnTo>
                  <a:lnTo>
                    <a:pt x="1070" y="274"/>
                  </a:lnTo>
                  <a:lnTo>
                    <a:pt x="1070" y="276"/>
                  </a:lnTo>
                  <a:lnTo>
                    <a:pt x="1073" y="279"/>
                  </a:lnTo>
                  <a:lnTo>
                    <a:pt x="1075" y="281"/>
                  </a:lnTo>
                  <a:lnTo>
                    <a:pt x="1075" y="281"/>
                  </a:lnTo>
                  <a:lnTo>
                    <a:pt x="1075" y="283"/>
                  </a:lnTo>
                  <a:lnTo>
                    <a:pt x="1075" y="286"/>
                  </a:lnTo>
                  <a:lnTo>
                    <a:pt x="1075" y="286"/>
                  </a:lnTo>
                  <a:lnTo>
                    <a:pt x="1073" y="286"/>
                  </a:lnTo>
                  <a:lnTo>
                    <a:pt x="1070" y="286"/>
                  </a:lnTo>
                  <a:lnTo>
                    <a:pt x="1068" y="286"/>
                  </a:lnTo>
                  <a:lnTo>
                    <a:pt x="1066" y="286"/>
                  </a:lnTo>
                  <a:lnTo>
                    <a:pt x="1063" y="286"/>
                  </a:lnTo>
                  <a:lnTo>
                    <a:pt x="1061" y="288"/>
                  </a:lnTo>
                  <a:lnTo>
                    <a:pt x="1059" y="288"/>
                  </a:lnTo>
                  <a:lnTo>
                    <a:pt x="1059" y="288"/>
                  </a:lnTo>
                  <a:lnTo>
                    <a:pt x="1056" y="288"/>
                  </a:lnTo>
                  <a:lnTo>
                    <a:pt x="1054" y="288"/>
                  </a:lnTo>
                  <a:lnTo>
                    <a:pt x="1052" y="288"/>
                  </a:lnTo>
                  <a:lnTo>
                    <a:pt x="1052" y="288"/>
                  </a:lnTo>
                  <a:lnTo>
                    <a:pt x="1049" y="288"/>
                  </a:lnTo>
                  <a:lnTo>
                    <a:pt x="1049" y="291"/>
                  </a:lnTo>
                  <a:lnTo>
                    <a:pt x="1047" y="291"/>
                  </a:lnTo>
                  <a:lnTo>
                    <a:pt x="1042" y="291"/>
                  </a:lnTo>
                  <a:lnTo>
                    <a:pt x="1040" y="291"/>
                  </a:lnTo>
                  <a:lnTo>
                    <a:pt x="1040" y="291"/>
                  </a:lnTo>
                  <a:lnTo>
                    <a:pt x="1042" y="293"/>
                  </a:lnTo>
                  <a:lnTo>
                    <a:pt x="1042" y="293"/>
                  </a:lnTo>
                  <a:lnTo>
                    <a:pt x="1042" y="295"/>
                  </a:lnTo>
                  <a:lnTo>
                    <a:pt x="1042" y="295"/>
                  </a:lnTo>
                  <a:lnTo>
                    <a:pt x="1042" y="295"/>
                  </a:lnTo>
                  <a:lnTo>
                    <a:pt x="1040" y="295"/>
                  </a:lnTo>
                  <a:lnTo>
                    <a:pt x="1040" y="298"/>
                  </a:lnTo>
                  <a:lnTo>
                    <a:pt x="1040" y="298"/>
                  </a:lnTo>
                  <a:lnTo>
                    <a:pt x="1040" y="298"/>
                  </a:lnTo>
                  <a:lnTo>
                    <a:pt x="1037" y="298"/>
                  </a:lnTo>
                  <a:lnTo>
                    <a:pt x="1037" y="298"/>
                  </a:lnTo>
                  <a:lnTo>
                    <a:pt x="1037" y="298"/>
                  </a:lnTo>
                  <a:lnTo>
                    <a:pt x="1040" y="295"/>
                  </a:lnTo>
                  <a:lnTo>
                    <a:pt x="1040" y="295"/>
                  </a:lnTo>
                  <a:lnTo>
                    <a:pt x="1040" y="295"/>
                  </a:lnTo>
                  <a:lnTo>
                    <a:pt x="1040" y="293"/>
                  </a:lnTo>
                  <a:lnTo>
                    <a:pt x="1040" y="291"/>
                  </a:lnTo>
                  <a:lnTo>
                    <a:pt x="1035" y="291"/>
                  </a:lnTo>
                  <a:lnTo>
                    <a:pt x="1030" y="288"/>
                  </a:lnTo>
                  <a:lnTo>
                    <a:pt x="1028" y="288"/>
                  </a:lnTo>
                  <a:lnTo>
                    <a:pt x="1026" y="288"/>
                  </a:lnTo>
                  <a:lnTo>
                    <a:pt x="1023" y="288"/>
                  </a:lnTo>
                  <a:lnTo>
                    <a:pt x="1021" y="286"/>
                  </a:lnTo>
                  <a:lnTo>
                    <a:pt x="1021" y="286"/>
                  </a:lnTo>
                  <a:lnTo>
                    <a:pt x="1021" y="288"/>
                  </a:lnTo>
                  <a:lnTo>
                    <a:pt x="1019" y="288"/>
                  </a:lnTo>
                  <a:lnTo>
                    <a:pt x="1019" y="288"/>
                  </a:lnTo>
                  <a:lnTo>
                    <a:pt x="1016" y="288"/>
                  </a:lnTo>
                  <a:lnTo>
                    <a:pt x="1016" y="291"/>
                  </a:lnTo>
                  <a:lnTo>
                    <a:pt x="1016" y="291"/>
                  </a:lnTo>
                  <a:lnTo>
                    <a:pt x="1016" y="293"/>
                  </a:lnTo>
                  <a:lnTo>
                    <a:pt x="1007" y="293"/>
                  </a:lnTo>
                  <a:lnTo>
                    <a:pt x="1004" y="295"/>
                  </a:lnTo>
                  <a:lnTo>
                    <a:pt x="1004" y="295"/>
                  </a:lnTo>
                  <a:lnTo>
                    <a:pt x="1002" y="295"/>
                  </a:lnTo>
                  <a:lnTo>
                    <a:pt x="1000" y="300"/>
                  </a:lnTo>
                  <a:lnTo>
                    <a:pt x="1000" y="300"/>
                  </a:lnTo>
                  <a:lnTo>
                    <a:pt x="1000" y="300"/>
                  </a:lnTo>
                  <a:lnTo>
                    <a:pt x="997" y="302"/>
                  </a:lnTo>
                  <a:lnTo>
                    <a:pt x="997" y="302"/>
                  </a:lnTo>
                  <a:lnTo>
                    <a:pt x="997" y="305"/>
                  </a:lnTo>
                  <a:lnTo>
                    <a:pt x="997" y="305"/>
                  </a:lnTo>
                  <a:lnTo>
                    <a:pt x="1000" y="307"/>
                  </a:lnTo>
                  <a:lnTo>
                    <a:pt x="1000" y="307"/>
                  </a:lnTo>
                  <a:lnTo>
                    <a:pt x="1002" y="307"/>
                  </a:lnTo>
                  <a:lnTo>
                    <a:pt x="1004" y="307"/>
                  </a:lnTo>
                  <a:lnTo>
                    <a:pt x="1004" y="309"/>
                  </a:lnTo>
                  <a:lnTo>
                    <a:pt x="1007" y="309"/>
                  </a:lnTo>
                  <a:lnTo>
                    <a:pt x="1007" y="309"/>
                  </a:lnTo>
                  <a:lnTo>
                    <a:pt x="1009" y="309"/>
                  </a:lnTo>
                  <a:lnTo>
                    <a:pt x="1012" y="309"/>
                  </a:lnTo>
                  <a:lnTo>
                    <a:pt x="1014" y="309"/>
                  </a:lnTo>
                  <a:lnTo>
                    <a:pt x="1016" y="309"/>
                  </a:lnTo>
                  <a:lnTo>
                    <a:pt x="1016" y="307"/>
                  </a:lnTo>
                  <a:lnTo>
                    <a:pt x="1016" y="309"/>
                  </a:lnTo>
                  <a:lnTo>
                    <a:pt x="1019" y="307"/>
                  </a:lnTo>
                  <a:lnTo>
                    <a:pt x="1023" y="307"/>
                  </a:lnTo>
                  <a:lnTo>
                    <a:pt x="1026" y="307"/>
                  </a:lnTo>
                  <a:lnTo>
                    <a:pt x="1028" y="307"/>
                  </a:lnTo>
                  <a:lnTo>
                    <a:pt x="1028" y="307"/>
                  </a:lnTo>
                  <a:lnTo>
                    <a:pt x="1030" y="305"/>
                  </a:lnTo>
                  <a:lnTo>
                    <a:pt x="1035" y="305"/>
                  </a:lnTo>
                  <a:lnTo>
                    <a:pt x="1037" y="305"/>
                  </a:lnTo>
                  <a:lnTo>
                    <a:pt x="1037" y="305"/>
                  </a:lnTo>
                  <a:lnTo>
                    <a:pt x="1040" y="305"/>
                  </a:lnTo>
                  <a:lnTo>
                    <a:pt x="1042" y="305"/>
                  </a:lnTo>
                  <a:lnTo>
                    <a:pt x="1044" y="305"/>
                  </a:lnTo>
                  <a:lnTo>
                    <a:pt x="1047" y="302"/>
                  </a:lnTo>
                  <a:lnTo>
                    <a:pt x="1047" y="302"/>
                  </a:lnTo>
                  <a:lnTo>
                    <a:pt x="1047" y="300"/>
                  </a:lnTo>
                  <a:lnTo>
                    <a:pt x="1047" y="300"/>
                  </a:lnTo>
                  <a:lnTo>
                    <a:pt x="1047" y="300"/>
                  </a:lnTo>
                  <a:lnTo>
                    <a:pt x="1047" y="300"/>
                  </a:lnTo>
                  <a:lnTo>
                    <a:pt x="1049" y="300"/>
                  </a:lnTo>
                  <a:lnTo>
                    <a:pt x="1049" y="298"/>
                  </a:lnTo>
                  <a:lnTo>
                    <a:pt x="1049" y="298"/>
                  </a:lnTo>
                  <a:lnTo>
                    <a:pt x="1052" y="298"/>
                  </a:lnTo>
                  <a:lnTo>
                    <a:pt x="1052" y="300"/>
                  </a:lnTo>
                  <a:lnTo>
                    <a:pt x="1049" y="300"/>
                  </a:lnTo>
                  <a:lnTo>
                    <a:pt x="1049" y="302"/>
                  </a:lnTo>
                  <a:lnTo>
                    <a:pt x="1052" y="302"/>
                  </a:lnTo>
                  <a:lnTo>
                    <a:pt x="1052" y="302"/>
                  </a:lnTo>
                  <a:lnTo>
                    <a:pt x="1054" y="302"/>
                  </a:lnTo>
                  <a:lnTo>
                    <a:pt x="1054" y="302"/>
                  </a:lnTo>
                  <a:lnTo>
                    <a:pt x="1054" y="305"/>
                  </a:lnTo>
                  <a:lnTo>
                    <a:pt x="1054" y="305"/>
                  </a:lnTo>
                  <a:lnTo>
                    <a:pt x="1054" y="307"/>
                  </a:lnTo>
                  <a:lnTo>
                    <a:pt x="1054" y="307"/>
                  </a:lnTo>
                  <a:lnTo>
                    <a:pt x="1054" y="305"/>
                  </a:lnTo>
                  <a:lnTo>
                    <a:pt x="1056" y="305"/>
                  </a:lnTo>
                  <a:lnTo>
                    <a:pt x="1059" y="302"/>
                  </a:lnTo>
                  <a:lnTo>
                    <a:pt x="1059" y="302"/>
                  </a:lnTo>
                  <a:lnTo>
                    <a:pt x="1059" y="302"/>
                  </a:lnTo>
                  <a:lnTo>
                    <a:pt x="1061" y="302"/>
                  </a:lnTo>
                  <a:lnTo>
                    <a:pt x="1061" y="302"/>
                  </a:lnTo>
                  <a:lnTo>
                    <a:pt x="1066" y="302"/>
                  </a:lnTo>
                  <a:lnTo>
                    <a:pt x="1066" y="302"/>
                  </a:lnTo>
                  <a:lnTo>
                    <a:pt x="1066" y="302"/>
                  </a:lnTo>
                  <a:lnTo>
                    <a:pt x="1063" y="307"/>
                  </a:lnTo>
                  <a:lnTo>
                    <a:pt x="1061" y="307"/>
                  </a:lnTo>
                  <a:lnTo>
                    <a:pt x="1063" y="307"/>
                  </a:lnTo>
                  <a:lnTo>
                    <a:pt x="1063" y="307"/>
                  </a:lnTo>
                  <a:lnTo>
                    <a:pt x="1063" y="309"/>
                  </a:lnTo>
                  <a:lnTo>
                    <a:pt x="1066" y="312"/>
                  </a:lnTo>
                  <a:lnTo>
                    <a:pt x="1068" y="314"/>
                  </a:lnTo>
                  <a:lnTo>
                    <a:pt x="1068" y="314"/>
                  </a:lnTo>
                  <a:lnTo>
                    <a:pt x="1068" y="314"/>
                  </a:lnTo>
                  <a:lnTo>
                    <a:pt x="1068" y="317"/>
                  </a:lnTo>
                  <a:lnTo>
                    <a:pt x="1068" y="317"/>
                  </a:lnTo>
                  <a:lnTo>
                    <a:pt x="1068" y="317"/>
                  </a:lnTo>
                  <a:lnTo>
                    <a:pt x="1073" y="317"/>
                  </a:lnTo>
                  <a:lnTo>
                    <a:pt x="1073" y="317"/>
                  </a:lnTo>
                  <a:lnTo>
                    <a:pt x="1075" y="317"/>
                  </a:lnTo>
                  <a:lnTo>
                    <a:pt x="1073" y="317"/>
                  </a:lnTo>
                  <a:lnTo>
                    <a:pt x="1073" y="317"/>
                  </a:lnTo>
                  <a:lnTo>
                    <a:pt x="1070" y="319"/>
                  </a:lnTo>
                  <a:lnTo>
                    <a:pt x="1070" y="319"/>
                  </a:lnTo>
                  <a:lnTo>
                    <a:pt x="1070" y="319"/>
                  </a:lnTo>
                  <a:lnTo>
                    <a:pt x="1077" y="319"/>
                  </a:lnTo>
                  <a:lnTo>
                    <a:pt x="1077" y="319"/>
                  </a:lnTo>
                  <a:lnTo>
                    <a:pt x="1080" y="321"/>
                  </a:lnTo>
                  <a:lnTo>
                    <a:pt x="1080" y="321"/>
                  </a:lnTo>
                  <a:lnTo>
                    <a:pt x="1080" y="321"/>
                  </a:lnTo>
                  <a:lnTo>
                    <a:pt x="1080" y="321"/>
                  </a:lnTo>
                  <a:lnTo>
                    <a:pt x="1082" y="321"/>
                  </a:lnTo>
                  <a:lnTo>
                    <a:pt x="1082" y="321"/>
                  </a:lnTo>
                  <a:lnTo>
                    <a:pt x="1080" y="324"/>
                  </a:lnTo>
                  <a:lnTo>
                    <a:pt x="1077" y="324"/>
                  </a:lnTo>
                  <a:lnTo>
                    <a:pt x="1075" y="324"/>
                  </a:lnTo>
                  <a:lnTo>
                    <a:pt x="1073" y="324"/>
                  </a:lnTo>
                  <a:lnTo>
                    <a:pt x="1070" y="324"/>
                  </a:lnTo>
                  <a:lnTo>
                    <a:pt x="1070" y="326"/>
                  </a:lnTo>
                  <a:lnTo>
                    <a:pt x="1073" y="326"/>
                  </a:lnTo>
                  <a:lnTo>
                    <a:pt x="1073" y="328"/>
                  </a:lnTo>
                  <a:lnTo>
                    <a:pt x="1075" y="331"/>
                  </a:lnTo>
                  <a:lnTo>
                    <a:pt x="1075" y="331"/>
                  </a:lnTo>
                  <a:lnTo>
                    <a:pt x="1077" y="333"/>
                  </a:lnTo>
                  <a:lnTo>
                    <a:pt x="1082" y="331"/>
                  </a:lnTo>
                  <a:lnTo>
                    <a:pt x="1082" y="331"/>
                  </a:lnTo>
                  <a:lnTo>
                    <a:pt x="1080" y="333"/>
                  </a:lnTo>
                  <a:lnTo>
                    <a:pt x="1077" y="333"/>
                  </a:lnTo>
                  <a:lnTo>
                    <a:pt x="1080" y="333"/>
                  </a:lnTo>
                  <a:lnTo>
                    <a:pt x="1082" y="335"/>
                  </a:lnTo>
                  <a:lnTo>
                    <a:pt x="1085" y="335"/>
                  </a:lnTo>
                  <a:lnTo>
                    <a:pt x="1087" y="338"/>
                  </a:lnTo>
                  <a:lnTo>
                    <a:pt x="1089" y="338"/>
                  </a:lnTo>
                  <a:lnTo>
                    <a:pt x="1092" y="338"/>
                  </a:lnTo>
                  <a:lnTo>
                    <a:pt x="1092" y="338"/>
                  </a:lnTo>
                  <a:lnTo>
                    <a:pt x="1094" y="338"/>
                  </a:lnTo>
                  <a:lnTo>
                    <a:pt x="1096" y="338"/>
                  </a:lnTo>
                  <a:lnTo>
                    <a:pt x="1099" y="338"/>
                  </a:lnTo>
                  <a:lnTo>
                    <a:pt x="1099" y="340"/>
                  </a:lnTo>
                  <a:lnTo>
                    <a:pt x="1101" y="343"/>
                  </a:lnTo>
                  <a:lnTo>
                    <a:pt x="1101" y="345"/>
                  </a:lnTo>
                  <a:lnTo>
                    <a:pt x="1106" y="345"/>
                  </a:lnTo>
                  <a:lnTo>
                    <a:pt x="1106" y="347"/>
                  </a:lnTo>
                  <a:lnTo>
                    <a:pt x="1106" y="347"/>
                  </a:lnTo>
                  <a:lnTo>
                    <a:pt x="1108" y="347"/>
                  </a:lnTo>
                  <a:lnTo>
                    <a:pt x="1122" y="350"/>
                  </a:lnTo>
                  <a:lnTo>
                    <a:pt x="1122" y="350"/>
                  </a:lnTo>
                  <a:lnTo>
                    <a:pt x="1122" y="350"/>
                  </a:lnTo>
                  <a:lnTo>
                    <a:pt x="1125" y="350"/>
                  </a:lnTo>
                  <a:lnTo>
                    <a:pt x="1129" y="352"/>
                  </a:lnTo>
                  <a:lnTo>
                    <a:pt x="1132" y="352"/>
                  </a:lnTo>
                  <a:lnTo>
                    <a:pt x="1134" y="354"/>
                  </a:lnTo>
                  <a:lnTo>
                    <a:pt x="1134" y="354"/>
                  </a:lnTo>
                  <a:lnTo>
                    <a:pt x="1136" y="354"/>
                  </a:lnTo>
                  <a:lnTo>
                    <a:pt x="1139" y="354"/>
                  </a:lnTo>
                  <a:lnTo>
                    <a:pt x="1139" y="354"/>
                  </a:lnTo>
                  <a:lnTo>
                    <a:pt x="1139" y="352"/>
                  </a:lnTo>
                  <a:lnTo>
                    <a:pt x="1139" y="350"/>
                  </a:lnTo>
                  <a:lnTo>
                    <a:pt x="1141" y="350"/>
                  </a:lnTo>
                  <a:lnTo>
                    <a:pt x="1141" y="350"/>
                  </a:lnTo>
                  <a:lnTo>
                    <a:pt x="1143" y="350"/>
                  </a:lnTo>
                  <a:lnTo>
                    <a:pt x="1143" y="347"/>
                  </a:lnTo>
                  <a:lnTo>
                    <a:pt x="1143" y="347"/>
                  </a:lnTo>
                  <a:lnTo>
                    <a:pt x="1141" y="347"/>
                  </a:lnTo>
                  <a:lnTo>
                    <a:pt x="1141" y="345"/>
                  </a:lnTo>
                  <a:lnTo>
                    <a:pt x="1139" y="345"/>
                  </a:lnTo>
                  <a:lnTo>
                    <a:pt x="1139" y="343"/>
                  </a:lnTo>
                  <a:lnTo>
                    <a:pt x="1139" y="343"/>
                  </a:lnTo>
                  <a:lnTo>
                    <a:pt x="1139" y="340"/>
                  </a:lnTo>
                  <a:lnTo>
                    <a:pt x="1136" y="340"/>
                  </a:lnTo>
                  <a:lnTo>
                    <a:pt x="1134" y="338"/>
                  </a:lnTo>
                  <a:lnTo>
                    <a:pt x="1134" y="338"/>
                  </a:lnTo>
                  <a:lnTo>
                    <a:pt x="1132" y="335"/>
                  </a:lnTo>
                  <a:lnTo>
                    <a:pt x="1132" y="335"/>
                  </a:lnTo>
                  <a:lnTo>
                    <a:pt x="1132" y="335"/>
                  </a:lnTo>
                  <a:lnTo>
                    <a:pt x="1129" y="333"/>
                  </a:lnTo>
                  <a:lnTo>
                    <a:pt x="1127" y="333"/>
                  </a:lnTo>
                  <a:lnTo>
                    <a:pt x="1127" y="333"/>
                  </a:lnTo>
                  <a:lnTo>
                    <a:pt x="1129" y="331"/>
                  </a:lnTo>
                  <a:lnTo>
                    <a:pt x="1129" y="331"/>
                  </a:lnTo>
                  <a:lnTo>
                    <a:pt x="1127" y="331"/>
                  </a:lnTo>
                  <a:lnTo>
                    <a:pt x="1125" y="331"/>
                  </a:lnTo>
                  <a:lnTo>
                    <a:pt x="1122" y="328"/>
                  </a:lnTo>
                  <a:lnTo>
                    <a:pt x="1122" y="328"/>
                  </a:lnTo>
                  <a:lnTo>
                    <a:pt x="1122" y="326"/>
                  </a:lnTo>
                  <a:lnTo>
                    <a:pt x="1120" y="324"/>
                  </a:lnTo>
                  <a:lnTo>
                    <a:pt x="1120" y="324"/>
                  </a:lnTo>
                  <a:lnTo>
                    <a:pt x="1120" y="321"/>
                  </a:lnTo>
                  <a:lnTo>
                    <a:pt x="1118" y="319"/>
                  </a:lnTo>
                  <a:lnTo>
                    <a:pt x="1120" y="319"/>
                  </a:lnTo>
                  <a:lnTo>
                    <a:pt x="1122" y="319"/>
                  </a:lnTo>
                  <a:lnTo>
                    <a:pt x="1125" y="319"/>
                  </a:lnTo>
                  <a:lnTo>
                    <a:pt x="1127" y="321"/>
                  </a:lnTo>
                  <a:lnTo>
                    <a:pt x="1132" y="324"/>
                  </a:lnTo>
                  <a:lnTo>
                    <a:pt x="1132" y="324"/>
                  </a:lnTo>
                  <a:lnTo>
                    <a:pt x="1132" y="324"/>
                  </a:lnTo>
                  <a:lnTo>
                    <a:pt x="1132" y="324"/>
                  </a:lnTo>
                  <a:lnTo>
                    <a:pt x="1134" y="321"/>
                  </a:lnTo>
                  <a:lnTo>
                    <a:pt x="1134" y="319"/>
                  </a:lnTo>
                  <a:lnTo>
                    <a:pt x="1134" y="319"/>
                  </a:lnTo>
                  <a:lnTo>
                    <a:pt x="1134" y="321"/>
                  </a:lnTo>
                  <a:lnTo>
                    <a:pt x="1136" y="324"/>
                  </a:lnTo>
                  <a:lnTo>
                    <a:pt x="1139" y="326"/>
                  </a:lnTo>
                  <a:lnTo>
                    <a:pt x="1139" y="326"/>
                  </a:lnTo>
                  <a:lnTo>
                    <a:pt x="1141" y="326"/>
                  </a:lnTo>
                  <a:lnTo>
                    <a:pt x="1141" y="326"/>
                  </a:lnTo>
                  <a:lnTo>
                    <a:pt x="1141" y="328"/>
                  </a:lnTo>
                  <a:lnTo>
                    <a:pt x="1141" y="328"/>
                  </a:lnTo>
                  <a:lnTo>
                    <a:pt x="1143" y="328"/>
                  </a:lnTo>
                  <a:lnTo>
                    <a:pt x="1143" y="331"/>
                  </a:lnTo>
                  <a:lnTo>
                    <a:pt x="1143" y="331"/>
                  </a:lnTo>
                  <a:lnTo>
                    <a:pt x="1143" y="331"/>
                  </a:lnTo>
                  <a:lnTo>
                    <a:pt x="1143" y="331"/>
                  </a:lnTo>
                  <a:lnTo>
                    <a:pt x="1143" y="331"/>
                  </a:lnTo>
                  <a:lnTo>
                    <a:pt x="1143" y="331"/>
                  </a:lnTo>
                  <a:lnTo>
                    <a:pt x="1146" y="328"/>
                  </a:lnTo>
                  <a:lnTo>
                    <a:pt x="1146" y="328"/>
                  </a:lnTo>
                  <a:lnTo>
                    <a:pt x="1146" y="328"/>
                  </a:lnTo>
                  <a:lnTo>
                    <a:pt x="1146" y="331"/>
                  </a:lnTo>
                  <a:lnTo>
                    <a:pt x="1146" y="333"/>
                  </a:lnTo>
                  <a:lnTo>
                    <a:pt x="1148" y="333"/>
                  </a:lnTo>
                  <a:lnTo>
                    <a:pt x="1148" y="333"/>
                  </a:lnTo>
                  <a:lnTo>
                    <a:pt x="1148" y="333"/>
                  </a:lnTo>
                  <a:lnTo>
                    <a:pt x="1151" y="331"/>
                  </a:lnTo>
                  <a:lnTo>
                    <a:pt x="1151" y="331"/>
                  </a:lnTo>
                  <a:lnTo>
                    <a:pt x="1151" y="331"/>
                  </a:lnTo>
                  <a:lnTo>
                    <a:pt x="1153" y="333"/>
                  </a:lnTo>
                  <a:lnTo>
                    <a:pt x="1153" y="333"/>
                  </a:lnTo>
                  <a:lnTo>
                    <a:pt x="1153" y="333"/>
                  </a:lnTo>
                  <a:lnTo>
                    <a:pt x="1153" y="335"/>
                  </a:lnTo>
                  <a:lnTo>
                    <a:pt x="1153" y="335"/>
                  </a:lnTo>
                  <a:lnTo>
                    <a:pt x="1155" y="333"/>
                  </a:lnTo>
                  <a:lnTo>
                    <a:pt x="1155" y="333"/>
                  </a:lnTo>
                  <a:lnTo>
                    <a:pt x="1158" y="335"/>
                  </a:lnTo>
                  <a:lnTo>
                    <a:pt x="1158" y="338"/>
                  </a:lnTo>
                  <a:lnTo>
                    <a:pt x="1160" y="338"/>
                  </a:lnTo>
                  <a:lnTo>
                    <a:pt x="1160" y="340"/>
                  </a:lnTo>
                  <a:lnTo>
                    <a:pt x="1160" y="340"/>
                  </a:lnTo>
                  <a:lnTo>
                    <a:pt x="1162" y="340"/>
                  </a:lnTo>
                  <a:lnTo>
                    <a:pt x="1162" y="338"/>
                  </a:lnTo>
                  <a:lnTo>
                    <a:pt x="1162" y="333"/>
                  </a:lnTo>
                  <a:lnTo>
                    <a:pt x="1165" y="333"/>
                  </a:lnTo>
                  <a:lnTo>
                    <a:pt x="1167" y="335"/>
                  </a:lnTo>
                  <a:lnTo>
                    <a:pt x="1167" y="335"/>
                  </a:lnTo>
                  <a:lnTo>
                    <a:pt x="1169" y="335"/>
                  </a:lnTo>
                  <a:lnTo>
                    <a:pt x="1169" y="335"/>
                  </a:lnTo>
                  <a:lnTo>
                    <a:pt x="1169" y="333"/>
                  </a:lnTo>
                  <a:lnTo>
                    <a:pt x="1169" y="333"/>
                  </a:lnTo>
                  <a:lnTo>
                    <a:pt x="1169" y="333"/>
                  </a:lnTo>
                  <a:lnTo>
                    <a:pt x="1169" y="331"/>
                  </a:lnTo>
                  <a:lnTo>
                    <a:pt x="1169" y="331"/>
                  </a:lnTo>
                  <a:lnTo>
                    <a:pt x="1169" y="328"/>
                  </a:lnTo>
                  <a:lnTo>
                    <a:pt x="1169" y="328"/>
                  </a:lnTo>
                  <a:lnTo>
                    <a:pt x="1169" y="328"/>
                  </a:lnTo>
                  <a:lnTo>
                    <a:pt x="1169" y="328"/>
                  </a:lnTo>
                  <a:lnTo>
                    <a:pt x="1169" y="326"/>
                  </a:lnTo>
                  <a:lnTo>
                    <a:pt x="1172" y="324"/>
                  </a:lnTo>
                  <a:lnTo>
                    <a:pt x="1172" y="321"/>
                  </a:lnTo>
                  <a:lnTo>
                    <a:pt x="1172" y="319"/>
                  </a:lnTo>
                  <a:lnTo>
                    <a:pt x="1172" y="319"/>
                  </a:lnTo>
                  <a:lnTo>
                    <a:pt x="1172" y="319"/>
                  </a:lnTo>
                  <a:lnTo>
                    <a:pt x="1174" y="321"/>
                  </a:lnTo>
                  <a:lnTo>
                    <a:pt x="1174" y="321"/>
                  </a:lnTo>
                  <a:lnTo>
                    <a:pt x="1174" y="321"/>
                  </a:lnTo>
                  <a:lnTo>
                    <a:pt x="1174" y="328"/>
                  </a:lnTo>
                  <a:lnTo>
                    <a:pt x="1174" y="328"/>
                  </a:lnTo>
                  <a:lnTo>
                    <a:pt x="1174" y="328"/>
                  </a:lnTo>
                  <a:lnTo>
                    <a:pt x="1176" y="328"/>
                  </a:lnTo>
                  <a:lnTo>
                    <a:pt x="1176" y="326"/>
                  </a:lnTo>
                  <a:lnTo>
                    <a:pt x="1179" y="324"/>
                  </a:lnTo>
                  <a:lnTo>
                    <a:pt x="1179" y="321"/>
                  </a:lnTo>
                  <a:lnTo>
                    <a:pt x="1181" y="319"/>
                  </a:lnTo>
                  <a:lnTo>
                    <a:pt x="1181" y="319"/>
                  </a:lnTo>
                  <a:lnTo>
                    <a:pt x="1184" y="319"/>
                  </a:lnTo>
                  <a:lnTo>
                    <a:pt x="1184" y="319"/>
                  </a:lnTo>
                  <a:lnTo>
                    <a:pt x="1184" y="317"/>
                  </a:lnTo>
                  <a:lnTo>
                    <a:pt x="1181" y="317"/>
                  </a:lnTo>
                  <a:lnTo>
                    <a:pt x="1179" y="317"/>
                  </a:lnTo>
                  <a:lnTo>
                    <a:pt x="1179" y="317"/>
                  </a:lnTo>
                  <a:lnTo>
                    <a:pt x="1181" y="314"/>
                  </a:lnTo>
                  <a:lnTo>
                    <a:pt x="1184" y="314"/>
                  </a:lnTo>
                  <a:lnTo>
                    <a:pt x="1184" y="314"/>
                  </a:lnTo>
                  <a:lnTo>
                    <a:pt x="1181" y="314"/>
                  </a:lnTo>
                  <a:lnTo>
                    <a:pt x="1179" y="314"/>
                  </a:lnTo>
                  <a:lnTo>
                    <a:pt x="1176" y="314"/>
                  </a:lnTo>
                  <a:lnTo>
                    <a:pt x="1176" y="314"/>
                  </a:lnTo>
                  <a:lnTo>
                    <a:pt x="1176" y="314"/>
                  </a:lnTo>
                  <a:lnTo>
                    <a:pt x="1176" y="312"/>
                  </a:lnTo>
                  <a:lnTo>
                    <a:pt x="1176" y="312"/>
                  </a:lnTo>
                  <a:lnTo>
                    <a:pt x="1176" y="312"/>
                  </a:lnTo>
                  <a:lnTo>
                    <a:pt x="1176" y="309"/>
                  </a:lnTo>
                  <a:lnTo>
                    <a:pt x="1174" y="309"/>
                  </a:lnTo>
                  <a:lnTo>
                    <a:pt x="1172" y="309"/>
                  </a:lnTo>
                  <a:lnTo>
                    <a:pt x="1172" y="307"/>
                  </a:lnTo>
                  <a:lnTo>
                    <a:pt x="1174" y="307"/>
                  </a:lnTo>
                  <a:lnTo>
                    <a:pt x="1176" y="307"/>
                  </a:lnTo>
                  <a:lnTo>
                    <a:pt x="1179" y="307"/>
                  </a:lnTo>
                  <a:lnTo>
                    <a:pt x="1181" y="305"/>
                  </a:lnTo>
                  <a:lnTo>
                    <a:pt x="1181" y="305"/>
                  </a:lnTo>
                  <a:lnTo>
                    <a:pt x="1181" y="305"/>
                  </a:lnTo>
                  <a:lnTo>
                    <a:pt x="1176" y="305"/>
                  </a:lnTo>
                  <a:lnTo>
                    <a:pt x="1176" y="305"/>
                  </a:lnTo>
                  <a:lnTo>
                    <a:pt x="1176" y="305"/>
                  </a:lnTo>
                  <a:lnTo>
                    <a:pt x="1179" y="302"/>
                  </a:lnTo>
                  <a:lnTo>
                    <a:pt x="1181" y="302"/>
                  </a:lnTo>
                  <a:lnTo>
                    <a:pt x="1179" y="300"/>
                  </a:lnTo>
                  <a:lnTo>
                    <a:pt x="1179" y="300"/>
                  </a:lnTo>
                  <a:lnTo>
                    <a:pt x="1176" y="300"/>
                  </a:lnTo>
                  <a:lnTo>
                    <a:pt x="1176" y="300"/>
                  </a:lnTo>
                  <a:lnTo>
                    <a:pt x="1176" y="298"/>
                  </a:lnTo>
                  <a:lnTo>
                    <a:pt x="1174" y="298"/>
                  </a:lnTo>
                  <a:lnTo>
                    <a:pt x="1172" y="298"/>
                  </a:lnTo>
                  <a:lnTo>
                    <a:pt x="1172" y="300"/>
                  </a:lnTo>
                  <a:lnTo>
                    <a:pt x="1169" y="300"/>
                  </a:lnTo>
                  <a:lnTo>
                    <a:pt x="1169" y="300"/>
                  </a:lnTo>
                  <a:lnTo>
                    <a:pt x="1167" y="300"/>
                  </a:lnTo>
                  <a:lnTo>
                    <a:pt x="1167" y="300"/>
                  </a:lnTo>
                  <a:lnTo>
                    <a:pt x="1169" y="298"/>
                  </a:lnTo>
                  <a:lnTo>
                    <a:pt x="1169" y="298"/>
                  </a:lnTo>
                  <a:lnTo>
                    <a:pt x="1169" y="298"/>
                  </a:lnTo>
                  <a:lnTo>
                    <a:pt x="1167" y="295"/>
                  </a:lnTo>
                  <a:lnTo>
                    <a:pt x="1165" y="295"/>
                  </a:lnTo>
                  <a:lnTo>
                    <a:pt x="1165" y="295"/>
                  </a:lnTo>
                  <a:lnTo>
                    <a:pt x="1162" y="298"/>
                  </a:lnTo>
                  <a:lnTo>
                    <a:pt x="1162" y="298"/>
                  </a:lnTo>
                  <a:lnTo>
                    <a:pt x="1162" y="298"/>
                  </a:lnTo>
                  <a:lnTo>
                    <a:pt x="1165" y="295"/>
                  </a:lnTo>
                  <a:lnTo>
                    <a:pt x="1165" y="293"/>
                  </a:lnTo>
                  <a:lnTo>
                    <a:pt x="1165" y="293"/>
                  </a:lnTo>
                  <a:lnTo>
                    <a:pt x="1162" y="293"/>
                  </a:lnTo>
                  <a:lnTo>
                    <a:pt x="1162" y="293"/>
                  </a:lnTo>
                  <a:lnTo>
                    <a:pt x="1162" y="293"/>
                  </a:lnTo>
                  <a:lnTo>
                    <a:pt x="1162" y="293"/>
                  </a:lnTo>
                  <a:lnTo>
                    <a:pt x="1162" y="293"/>
                  </a:lnTo>
                  <a:lnTo>
                    <a:pt x="1162" y="293"/>
                  </a:lnTo>
                  <a:lnTo>
                    <a:pt x="1162" y="291"/>
                  </a:lnTo>
                  <a:lnTo>
                    <a:pt x="1162" y="291"/>
                  </a:lnTo>
                  <a:lnTo>
                    <a:pt x="1160" y="288"/>
                  </a:lnTo>
                  <a:lnTo>
                    <a:pt x="1160" y="288"/>
                  </a:lnTo>
                  <a:lnTo>
                    <a:pt x="1160" y="288"/>
                  </a:lnTo>
                  <a:lnTo>
                    <a:pt x="1165" y="288"/>
                  </a:lnTo>
                  <a:lnTo>
                    <a:pt x="1165" y="288"/>
                  </a:lnTo>
                  <a:lnTo>
                    <a:pt x="1162" y="286"/>
                  </a:lnTo>
                  <a:lnTo>
                    <a:pt x="1162" y="286"/>
                  </a:lnTo>
                  <a:lnTo>
                    <a:pt x="1162" y="286"/>
                  </a:lnTo>
                  <a:lnTo>
                    <a:pt x="1162" y="283"/>
                  </a:lnTo>
                  <a:lnTo>
                    <a:pt x="1160" y="283"/>
                  </a:lnTo>
                  <a:lnTo>
                    <a:pt x="1160" y="283"/>
                  </a:lnTo>
                  <a:lnTo>
                    <a:pt x="1160" y="283"/>
                  </a:lnTo>
                  <a:lnTo>
                    <a:pt x="1158" y="283"/>
                  </a:lnTo>
                  <a:lnTo>
                    <a:pt x="1155" y="286"/>
                  </a:lnTo>
                  <a:lnTo>
                    <a:pt x="1153" y="286"/>
                  </a:lnTo>
                  <a:lnTo>
                    <a:pt x="1153" y="283"/>
                  </a:lnTo>
                  <a:lnTo>
                    <a:pt x="1155" y="283"/>
                  </a:lnTo>
                  <a:lnTo>
                    <a:pt x="1158" y="281"/>
                  </a:lnTo>
                  <a:lnTo>
                    <a:pt x="1158" y="281"/>
                  </a:lnTo>
                  <a:lnTo>
                    <a:pt x="1155" y="281"/>
                  </a:lnTo>
                  <a:lnTo>
                    <a:pt x="1155" y="281"/>
                  </a:lnTo>
                  <a:lnTo>
                    <a:pt x="1153" y="279"/>
                  </a:lnTo>
                  <a:lnTo>
                    <a:pt x="1153" y="279"/>
                  </a:lnTo>
                  <a:lnTo>
                    <a:pt x="1155" y="276"/>
                  </a:lnTo>
                  <a:lnTo>
                    <a:pt x="1155" y="276"/>
                  </a:lnTo>
                  <a:lnTo>
                    <a:pt x="1155" y="276"/>
                  </a:lnTo>
                  <a:lnTo>
                    <a:pt x="1153" y="274"/>
                  </a:lnTo>
                  <a:lnTo>
                    <a:pt x="1153" y="274"/>
                  </a:lnTo>
                  <a:lnTo>
                    <a:pt x="1151" y="274"/>
                  </a:lnTo>
                  <a:lnTo>
                    <a:pt x="1151" y="274"/>
                  </a:lnTo>
                  <a:lnTo>
                    <a:pt x="1153" y="272"/>
                  </a:lnTo>
                  <a:lnTo>
                    <a:pt x="1155" y="272"/>
                  </a:lnTo>
                  <a:lnTo>
                    <a:pt x="1158" y="274"/>
                  </a:lnTo>
                  <a:lnTo>
                    <a:pt x="1160" y="276"/>
                  </a:lnTo>
                  <a:lnTo>
                    <a:pt x="1160" y="276"/>
                  </a:lnTo>
                  <a:lnTo>
                    <a:pt x="1165" y="279"/>
                  </a:lnTo>
                  <a:lnTo>
                    <a:pt x="1165" y="279"/>
                  </a:lnTo>
                  <a:lnTo>
                    <a:pt x="1167" y="279"/>
                  </a:lnTo>
                  <a:lnTo>
                    <a:pt x="1167" y="279"/>
                  </a:lnTo>
                  <a:lnTo>
                    <a:pt x="1169" y="276"/>
                  </a:lnTo>
                  <a:lnTo>
                    <a:pt x="1169" y="274"/>
                  </a:lnTo>
                  <a:lnTo>
                    <a:pt x="1167" y="274"/>
                  </a:lnTo>
                  <a:lnTo>
                    <a:pt x="1165" y="272"/>
                  </a:lnTo>
                  <a:lnTo>
                    <a:pt x="1165" y="269"/>
                  </a:lnTo>
                  <a:lnTo>
                    <a:pt x="1165" y="269"/>
                  </a:lnTo>
                  <a:lnTo>
                    <a:pt x="1165" y="267"/>
                  </a:lnTo>
                  <a:lnTo>
                    <a:pt x="1167" y="269"/>
                  </a:lnTo>
                  <a:lnTo>
                    <a:pt x="1169" y="269"/>
                  </a:lnTo>
                  <a:lnTo>
                    <a:pt x="1172" y="272"/>
                  </a:lnTo>
                  <a:lnTo>
                    <a:pt x="1172" y="272"/>
                  </a:lnTo>
                  <a:lnTo>
                    <a:pt x="1172" y="272"/>
                  </a:lnTo>
                  <a:lnTo>
                    <a:pt x="1174" y="272"/>
                  </a:lnTo>
                  <a:lnTo>
                    <a:pt x="1174" y="269"/>
                  </a:lnTo>
                  <a:lnTo>
                    <a:pt x="1174" y="267"/>
                  </a:lnTo>
                  <a:lnTo>
                    <a:pt x="1174" y="267"/>
                  </a:lnTo>
                  <a:lnTo>
                    <a:pt x="1176" y="267"/>
                  </a:lnTo>
                  <a:lnTo>
                    <a:pt x="1176" y="267"/>
                  </a:lnTo>
                  <a:lnTo>
                    <a:pt x="1179" y="267"/>
                  </a:lnTo>
                  <a:lnTo>
                    <a:pt x="1179" y="267"/>
                  </a:lnTo>
                  <a:lnTo>
                    <a:pt x="1179" y="265"/>
                  </a:lnTo>
                  <a:lnTo>
                    <a:pt x="1179" y="265"/>
                  </a:lnTo>
                  <a:lnTo>
                    <a:pt x="1181" y="267"/>
                  </a:lnTo>
                  <a:lnTo>
                    <a:pt x="1181" y="267"/>
                  </a:lnTo>
                  <a:lnTo>
                    <a:pt x="1181" y="267"/>
                  </a:lnTo>
                  <a:lnTo>
                    <a:pt x="1181" y="269"/>
                  </a:lnTo>
                  <a:lnTo>
                    <a:pt x="1184" y="272"/>
                  </a:lnTo>
                  <a:lnTo>
                    <a:pt x="1184" y="272"/>
                  </a:lnTo>
                  <a:lnTo>
                    <a:pt x="1186" y="272"/>
                  </a:lnTo>
                  <a:lnTo>
                    <a:pt x="1186" y="274"/>
                  </a:lnTo>
                  <a:lnTo>
                    <a:pt x="1186" y="274"/>
                  </a:lnTo>
                  <a:lnTo>
                    <a:pt x="1188" y="274"/>
                  </a:lnTo>
                  <a:lnTo>
                    <a:pt x="1191" y="274"/>
                  </a:lnTo>
                  <a:lnTo>
                    <a:pt x="1191" y="274"/>
                  </a:lnTo>
                  <a:lnTo>
                    <a:pt x="1193" y="274"/>
                  </a:lnTo>
                  <a:lnTo>
                    <a:pt x="1193" y="274"/>
                  </a:lnTo>
                  <a:lnTo>
                    <a:pt x="1188" y="276"/>
                  </a:lnTo>
                  <a:lnTo>
                    <a:pt x="1188" y="276"/>
                  </a:lnTo>
                  <a:lnTo>
                    <a:pt x="1188" y="276"/>
                  </a:lnTo>
                  <a:lnTo>
                    <a:pt x="1193" y="276"/>
                  </a:lnTo>
                  <a:lnTo>
                    <a:pt x="1195" y="276"/>
                  </a:lnTo>
                  <a:lnTo>
                    <a:pt x="1195" y="276"/>
                  </a:lnTo>
                  <a:lnTo>
                    <a:pt x="1200" y="276"/>
                  </a:lnTo>
                  <a:lnTo>
                    <a:pt x="1202" y="274"/>
                  </a:lnTo>
                  <a:lnTo>
                    <a:pt x="1207" y="272"/>
                  </a:lnTo>
                  <a:lnTo>
                    <a:pt x="1207" y="272"/>
                  </a:lnTo>
                  <a:lnTo>
                    <a:pt x="1212" y="272"/>
                  </a:lnTo>
                  <a:lnTo>
                    <a:pt x="1212" y="272"/>
                  </a:lnTo>
                  <a:lnTo>
                    <a:pt x="1209" y="272"/>
                  </a:lnTo>
                  <a:lnTo>
                    <a:pt x="1207" y="274"/>
                  </a:lnTo>
                  <a:lnTo>
                    <a:pt x="1205" y="276"/>
                  </a:lnTo>
                  <a:lnTo>
                    <a:pt x="1202" y="276"/>
                  </a:lnTo>
                  <a:lnTo>
                    <a:pt x="1200" y="276"/>
                  </a:lnTo>
                  <a:lnTo>
                    <a:pt x="1198" y="279"/>
                  </a:lnTo>
                  <a:lnTo>
                    <a:pt x="1195" y="279"/>
                  </a:lnTo>
                  <a:lnTo>
                    <a:pt x="1193" y="281"/>
                  </a:lnTo>
                  <a:lnTo>
                    <a:pt x="1193" y="281"/>
                  </a:lnTo>
                  <a:lnTo>
                    <a:pt x="1193" y="281"/>
                  </a:lnTo>
                  <a:lnTo>
                    <a:pt x="1193" y="283"/>
                  </a:lnTo>
                  <a:lnTo>
                    <a:pt x="1193" y="283"/>
                  </a:lnTo>
                  <a:lnTo>
                    <a:pt x="1193" y="283"/>
                  </a:lnTo>
                  <a:lnTo>
                    <a:pt x="1193" y="286"/>
                  </a:lnTo>
                  <a:lnTo>
                    <a:pt x="1193" y="286"/>
                  </a:lnTo>
                  <a:lnTo>
                    <a:pt x="1193" y="288"/>
                  </a:lnTo>
                  <a:lnTo>
                    <a:pt x="1195" y="291"/>
                  </a:lnTo>
                  <a:lnTo>
                    <a:pt x="1195" y="291"/>
                  </a:lnTo>
                  <a:lnTo>
                    <a:pt x="1195" y="293"/>
                  </a:lnTo>
                  <a:lnTo>
                    <a:pt x="1195" y="293"/>
                  </a:lnTo>
                  <a:lnTo>
                    <a:pt x="1200" y="291"/>
                  </a:lnTo>
                  <a:lnTo>
                    <a:pt x="1202" y="288"/>
                  </a:lnTo>
                  <a:lnTo>
                    <a:pt x="1202" y="288"/>
                  </a:lnTo>
                  <a:lnTo>
                    <a:pt x="1205" y="288"/>
                  </a:lnTo>
                  <a:lnTo>
                    <a:pt x="1202" y="288"/>
                  </a:lnTo>
                  <a:lnTo>
                    <a:pt x="1200" y="293"/>
                  </a:lnTo>
                  <a:lnTo>
                    <a:pt x="1200" y="293"/>
                  </a:lnTo>
                  <a:lnTo>
                    <a:pt x="1202" y="293"/>
                  </a:lnTo>
                  <a:lnTo>
                    <a:pt x="1202" y="293"/>
                  </a:lnTo>
                  <a:lnTo>
                    <a:pt x="1205" y="293"/>
                  </a:lnTo>
                  <a:lnTo>
                    <a:pt x="1205" y="293"/>
                  </a:lnTo>
                  <a:lnTo>
                    <a:pt x="1207" y="293"/>
                  </a:lnTo>
                  <a:lnTo>
                    <a:pt x="1207" y="295"/>
                  </a:lnTo>
                  <a:lnTo>
                    <a:pt x="1207" y="295"/>
                  </a:lnTo>
                  <a:lnTo>
                    <a:pt x="1207" y="298"/>
                  </a:lnTo>
                  <a:lnTo>
                    <a:pt x="1209" y="295"/>
                  </a:lnTo>
                  <a:lnTo>
                    <a:pt x="1212" y="293"/>
                  </a:lnTo>
                  <a:lnTo>
                    <a:pt x="1214" y="291"/>
                  </a:lnTo>
                  <a:lnTo>
                    <a:pt x="1219" y="286"/>
                  </a:lnTo>
                  <a:lnTo>
                    <a:pt x="1219" y="283"/>
                  </a:lnTo>
                  <a:lnTo>
                    <a:pt x="1217" y="283"/>
                  </a:lnTo>
                  <a:lnTo>
                    <a:pt x="1214" y="283"/>
                  </a:lnTo>
                  <a:lnTo>
                    <a:pt x="1214" y="283"/>
                  </a:lnTo>
                  <a:lnTo>
                    <a:pt x="1219" y="281"/>
                  </a:lnTo>
                  <a:lnTo>
                    <a:pt x="1219" y="281"/>
                  </a:lnTo>
                  <a:lnTo>
                    <a:pt x="1219" y="279"/>
                  </a:lnTo>
                  <a:lnTo>
                    <a:pt x="1219" y="279"/>
                  </a:lnTo>
                  <a:lnTo>
                    <a:pt x="1221" y="283"/>
                  </a:lnTo>
                  <a:lnTo>
                    <a:pt x="1221" y="283"/>
                  </a:lnTo>
                  <a:lnTo>
                    <a:pt x="1224" y="283"/>
                  </a:lnTo>
                  <a:lnTo>
                    <a:pt x="1226" y="283"/>
                  </a:lnTo>
                  <a:lnTo>
                    <a:pt x="1228" y="283"/>
                  </a:lnTo>
                  <a:lnTo>
                    <a:pt x="1228" y="283"/>
                  </a:lnTo>
                  <a:lnTo>
                    <a:pt x="1231" y="281"/>
                  </a:lnTo>
                  <a:lnTo>
                    <a:pt x="1233" y="281"/>
                  </a:lnTo>
                  <a:lnTo>
                    <a:pt x="1235" y="279"/>
                  </a:lnTo>
                  <a:lnTo>
                    <a:pt x="1235" y="279"/>
                  </a:lnTo>
                  <a:lnTo>
                    <a:pt x="1235" y="279"/>
                  </a:lnTo>
                  <a:lnTo>
                    <a:pt x="1235" y="279"/>
                  </a:lnTo>
                  <a:lnTo>
                    <a:pt x="1235" y="276"/>
                  </a:lnTo>
                  <a:lnTo>
                    <a:pt x="1233" y="276"/>
                  </a:lnTo>
                  <a:lnTo>
                    <a:pt x="1233" y="276"/>
                  </a:lnTo>
                  <a:lnTo>
                    <a:pt x="1235" y="276"/>
                  </a:lnTo>
                  <a:lnTo>
                    <a:pt x="1238" y="276"/>
                  </a:lnTo>
                  <a:lnTo>
                    <a:pt x="1240" y="276"/>
                  </a:lnTo>
                  <a:lnTo>
                    <a:pt x="1242" y="276"/>
                  </a:lnTo>
                  <a:lnTo>
                    <a:pt x="1242" y="276"/>
                  </a:lnTo>
                  <a:lnTo>
                    <a:pt x="1240" y="274"/>
                  </a:lnTo>
                  <a:lnTo>
                    <a:pt x="1238" y="272"/>
                  </a:lnTo>
                  <a:lnTo>
                    <a:pt x="1238" y="272"/>
                  </a:lnTo>
                  <a:lnTo>
                    <a:pt x="1240" y="272"/>
                  </a:lnTo>
                  <a:lnTo>
                    <a:pt x="1240" y="272"/>
                  </a:lnTo>
                  <a:lnTo>
                    <a:pt x="1238" y="269"/>
                  </a:lnTo>
                  <a:lnTo>
                    <a:pt x="1240" y="269"/>
                  </a:lnTo>
                  <a:lnTo>
                    <a:pt x="1242" y="269"/>
                  </a:lnTo>
                  <a:lnTo>
                    <a:pt x="1242" y="269"/>
                  </a:lnTo>
                  <a:lnTo>
                    <a:pt x="1242" y="272"/>
                  </a:lnTo>
                  <a:lnTo>
                    <a:pt x="1247" y="272"/>
                  </a:lnTo>
                  <a:lnTo>
                    <a:pt x="1247" y="272"/>
                  </a:lnTo>
                  <a:lnTo>
                    <a:pt x="1252" y="269"/>
                  </a:lnTo>
                  <a:lnTo>
                    <a:pt x="1252" y="269"/>
                  </a:lnTo>
                  <a:lnTo>
                    <a:pt x="1252" y="267"/>
                  </a:lnTo>
                  <a:lnTo>
                    <a:pt x="1247" y="265"/>
                  </a:lnTo>
                  <a:lnTo>
                    <a:pt x="1247" y="265"/>
                  </a:lnTo>
                  <a:lnTo>
                    <a:pt x="1250" y="265"/>
                  </a:lnTo>
                  <a:lnTo>
                    <a:pt x="1252" y="265"/>
                  </a:lnTo>
                  <a:lnTo>
                    <a:pt x="1252" y="265"/>
                  </a:lnTo>
                  <a:lnTo>
                    <a:pt x="1254" y="267"/>
                  </a:lnTo>
                  <a:lnTo>
                    <a:pt x="1257" y="267"/>
                  </a:lnTo>
                  <a:lnTo>
                    <a:pt x="1259" y="265"/>
                  </a:lnTo>
                  <a:lnTo>
                    <a:pt x="1259" y="265"/>
                  </a:lnTo>
                  <a:lnTo>
                    <a:pt x="1259" y="265"/>
                  </a:lnTo>
                  <a:lnTo>
                    <a:pt x="1257" y="262"/>
                  </a:lnTo>
                  <a:close/>
                  <a:moveTo>
                    <a:pt x="1193" y="638"/>
                  </a:moveTo>
                  <a:lnTo>
                    <a:pt x="1195" y="638"/>
                  </a:lnTo>
                  <a:lnTo>
                    <a:pt x="1193" y="638"/>
                  </a:lnTo>
                  <a:lnTo>
                    <a:pt x="1193" y="638"/>
                  </a:lnTo>
                  <a:lnTo>
                    <a:pt x="1193" y="641"/>
                  </a:lnTo>
                  <a:lnTo>
                    <a:pt x="1193" y="641"/>
                  </a:lnTo>
                  <a:lnTo>
                    <a:pt x="1191" y="641"/>
                  </a:lnTo>
                  <a:lnTo>
                    <a:pt x="1191" y="643"/>
                  </a:lnTo>
                  <a:lnTo>
                    <a:pt x="1191" y="643"/>
                  </a:lnTo>
                  <a:lnTo>
                    <a:pt x="1191" y="643"/>
                  </a:lnTo>
                  <a:lnTo>
                    <a:pt x="1191" y="643"/>
                  </a:lnTo>
                  <a:lnTo>
                    <a:pt x="1193" y="638"/>
                  </a:lnTo>
                  <a:close/>
                  <a:moveTo>
                    <a:pt x="1040" y="208"/>
                  </a:moveTo>
                  <a:lnTo>
                    <a:pt x="1040" y="208"/>
                  </a:lnTo>
                  <a:lnTo>
                    <a:pt x="1037" y="208"/>
                  </a:lnTo>
                  <a:lnTo>
                    <a:pt x="1037" y="208"/>
                  </a:lnTo>
                  <a:lnTo>
                    <a:pt x="1037" y="210"/>
                  </a:lnTo>
                  <a:lnTo>
                    <a:pt x="1037" y="210"/>
                  </a:lnTo>
                  <a:lnTo>
                    <a:pt x="1035" y="210"/>
                  </a:lnTo>
                  <a:lnTo>
                    <a:pt x="1033" y="210"/>
                  </a:lnTo>
                  <a:lnTo>
                    <a:pt x="1033" y="210"/>
                  </a:lnTo>
                  <a:lnTo>
                    <a:pt x="1030" y="210"/>
                  </a:lnTo>
                  <a:lnTo>
                    <a:pt x="1030" y="210"/>
                  </a:lnTo>
                  <a:lnTo>
                    <a:pt x="1035" y="210"/>
                  </a:lnTo>
                  <a:lnTo>
                    <a:pt x="1035" y="210"/>
                  </a:lnTo>
                  <a:lnTo>
                    <a:pt x="1035" y="213"/>
                  </a:lnTo>
                  <a:lnTo>
                    <a:pt x="1037" y="213"/>
                  </a:lnTo>
                  <a:lnTo>
                    <a:pt x="1037" y="213"/>
                  </a:lnTo>
                  <a:lnTo>
                    <a:pt x="1037" y="213"/>
                  </a:lnTo>
                  <a:lnTo>
                    <a:pt x="1037" y="213"/>
                  </a:lnTo>
                  <a:lnTo>
                    <a:pt x="1037" y="213"/>
                  </a:lnTo>
                  <a:lnTo>
                    <a:pt x="1040" y="213"/>
                  </a:lnTo>
                  <a:lnTo>
                    <a:pt x="1040" y="213"/>
                  </a:lnTo>
                  <a:lnTo>
                    <a:pt x="1040" y="213"/>
                  </a:lnTo>
                  <a:lnTo>
                    <a:pt x="1040" y="213"/>
                  </a:lnTo>
                  <a:lnTo>
                    <a:pt x="1040" y="210"/>
                  </a:lnTo>
                  <a:lnTo>
                    <a:pt x="1042" y="213"/>
                  </a:lnTo>
                  <a:lnTo>
                    <a:pt x="1047" y="210"/>
                  </a:lnTo>
                  <a:lnTo>
                    <a:pt x="1049" y="210"/>
                  </a:lnTo>
                  <a:lnTo>
                    <a:pt x="1052" y="210"/>
                  </a:lnTo>
                  <a:lnTo>
                    <a:pt x="1052" y="210"/>
                  </a:lnTo>
                  <a:lnTo>
                    <a:pt x="1052" y="208"/>
                  </a:lnTo>
                  <a:lnTo>
                    <a:pt x="1049" y="208"/>
                  </a:lnTo>
                  <a:lnTo>
                    <a:pt x="1047" y="208"/>
                  </a:lnTo>
                  <a:lnTo>
                    <a:pt x="1044" y="210"/>
                  </a:lnTo>
                  <a:lnTo>
                    <a:pt x="1042" y="210"/>
                  </a:lnTo>
                  <a:lnTo>
                    <a:pt x="1042" y="210"/>
                  </a:lnTo>
                  <a:lnTo>
                    <a:pt x="1042" y="210"/>
                  </a:lnTo>
                  <a:lnTo>
                    <a:pt x="1042" y="208"/>
                  </a:lnTo>
                  <a:lnTo>
                    <a:pt x="1040" y="208"/>
                  </a:lnTo>
                  <a:close/>
                  <a:moveTo>
                    <a:pt x="1073" y="220"/>
                  </a:moveTo>
                  <a:lnTo>
                    <a:pt x="1075" y="220"/>
                  </a:lnTo>
                  <a:lnTo>
                    <a:pt x="1077" y="220"/>
                  </a:lnTo>
                  <a:lnTo>
                    <a:pt x="1077" y="217"/>
                  </a:lnTo>
                  <a:lnTo>
                    <a:pt x="1080" y="217"/>
                  </a:lnTo>
                  <a:lnTo>
                    <a:pt x="1082" y="217"/>
                  </a:lnTo>
                  <a:lnTo>
                    <a:pt x="1082" y="217"/>
                  </a:lnTo>
                  <a:lnTo>
                    <a:pt x="1082" y="215"/>
                  </a:lnTo>
                  <a:lnTo>
                    <a:pt x="1082" y="215"/>
                  </a:lnTo>
                  <a:lnTo>
                    <a:pt x="1082" y="215"/>
                  </a:lnTo>
                  <a:lnTo>
                    <a:pt x="1077" y="215"/>
                  </a:lnTo>
                  <a:lnTo>
                    <a:pt x="1077" y="215"/>
                  </a:lnTo>
                  <a:lnTo>
                    <a:pt x="1075" y="215"/>
                  </a:lnTo>
                  <a:lnTo>
                    <a:pt x="1075" y="215"/>
                  </a:lnTo>
                  <a:lnTo>
                    <a:pt x="1073" y="215"/>
                  </a:lnTo>
                  <a:lnTo>
                    <a:pt x="1073" y="215"/>
                  </a:lnTo>
                  <a:lnTo>
                    <a:pt x="1073" y="217"/>
                  </a:lnTo>
                  <a:lnTo>
                    <a:pt x="1070" y="217"/>
                  </a:lnTo>
                  <a:lnTo>
                    <a:pt x="1070" y="220"/>
                  </a:lnTo>
                  <a:lnTo>
                    <a:pt x="1070" y="220"/>
                  </a:lnTo>
                  <a:lnTo>
                    <a:pt x="1073" y="220"/>
                  </a:lnTo>
                  <a:lnTo>
                    <a:pt x="1073" y="220"/>
                  </a:lnTo>
                  <a:close/>
                  <a:moveTo>
                    <a:pt x="1066" y="236"/>
                  </a:moveTo>
                  <a:lnTo>
                    <a:pt x="1066" y="236"/>
                  </a:lnTo>
                  <a:lnTo>
                    <a:pt x="1061" y="239"/>
                  </a:lnTo>
                  <a:lnTo>
                    <a:pt x="1056" y="241"/>
                  </a:lnTo>
                  <a:lnTo>
                    <a:pt x="1054" y="243"/>
                  </a:lnTo>
                  <a:lnTo>
                    <a:pt x="1052" y="246"/>
                  </a:lnTo>
                  <a:lnTo>
                    <a:pt x="1052" y="246"/>
                  </a:lnTo>
                  <a:lnTo>
                    <a:pt x="1049" y="250"/>
                  </a:lnTo>
                  <a:lnTo>
                    <a:pt x="1049" y="250"/>
                  </a:lnTo>
                  <a:lnTo>
                    <a:pt x="1049" y="253"/>
                  </a:lnTo>
                  <a:lnTo>
                    <a:pt x="1049" y="253"/>
                  </a:lnTo>
                  <a:lnTo>
                    <a:pt x="1049" y="255"/>
                  </a:lnTo>
                  <a:lnTo>
                    <a:pt x="1052" y="255"/>
                  </a:lnTo>
                  <a:lnTo>
                    <a:pt x="1054" y="255"/>
                  </a:lnTo>
                  <a:lnTo>
                    <a:pt x="1059" y="253"/>
                  </a:lnTo>
                  <a:lnTo>
                    <a:pt x="1063" y="253"/>
                  </a:lnTo>
                  <a:lnTo>
                    <a:pt x="1066" y="253"/>
                  </a:lnTo>
                  <a:lnTo>
                    <a:pt x="1073" y="253"/>
                  </a:lnTo>
                  <a:lnTo>
                    <a:pt x="1075" y="250"/>
                  </a:lnTo>
                  <a:lnTo>
                    <a:pt x="1077" y="250"/>
                  </a:lnTo>
                  <a:lnTo>
                    <a:pt x="1077" y="248"/>
                  </a:lnTo>
                  <a:lnTo>
                    <a:pt x="1080" y="248"/>
                  </a:lnTo>
                  <a:lnTo>
                    <a:pt x="1082" y="246"/>
                  </a:lnTo>
                  <a:lnTo>
                    <a:pt x="1085" y="241"/>
                  </a:lnTo>
                  <a:lnTo>
                    <a:pt x="1085" y="241"/>
                  </a:lnTo>
                  <a:lnTo>
                    <a:pt x="1087" y="239"/>
                  </a:lnTo>
                  <a:lnTo>
                    <a:pt x="1087" y="239"/>
                  </a:lnTo>
                  <a:lnTo>
                    <a:pt x="1087" y="239"/>
                  </a:lnTo>
                  <a:lnTo>
                    <a:pt x="1087" y="236"/>
                  </a:lnTo>
                  <a:lnTo>
                    <a:pt x="1087" y="236"/>
                  </a:lnTo>
                  <a:lnTo>
                    <a:pt x="1087" y="236"/>
                  </a:lnTo>
                  <a:lnTo>
                    <a:pt x="1082" y="234"/>
                  </a:lnTo>
                  <a:lnTo>
                    <a:pt x="1080" y="234"/>
                  </a:lnTo>
                  <a:lnTo>
                    <a:pt x="1077" y="234"/>
                  </a:lnTo>
                  <a:lnTo>
                    <a:pt x="1075" y="234"/>
                  </a:lnTo>
                  <a:lnTo>
                    <a:pt x="1075" y="234"/>
                  </a:lnTo>
                  <a:lnTo>
                    <a:pt x="1073" y="234"/>
                  </a:lnTo>
                  <a:lnTo>
                    <a:pt x="1068" y="236"/>
                  </a:lnTo>
                  <a:lnTo>
                    <a:pt x="1066" y="236"/>
                  </a:lnTo>
                  <a:close/>
                  <a:moveTo>
                    <a:pt x="1052" y="217"/>
                  </a:moveTo>
                  <a:lnTo>
                    <a:pt x="1052" y="217"/>
                  </a:lnTo>
                  <a:lnTo>
                    <a:pt x="1049" y="220"/>
                  </a:lnTo>
                  <a:lnTo>
                    <a:pt x="1049" y="220"/>
                  </a:lnTo>
                  <a:lnTo>
                    <a:pt x="1044" y="222"/>
                  </a:lnTo>
                  <a:lnTo>
                    <a:pt x="1042" y="222"/>
                  </a:lnTo>
                  <a:lnTo>
                    <a:pt x="1042" y="222"/>
                  </a:lnTo>
                  <a:lnTo>
                    <a:pt x="1040" y="224"/>
                  </a:lnTo>
                  <a:lnTo>
                    <a:pt x="1040" y="224"/>
                  </a:lnTo>
                  <a:lnTo>
                    <a:pt x="1040" y="224"/>
                  </a:lnTo>
                  <a:lnTo>
                    <a:pt x="1040" y="224"/>
                  </a:lnTo>
                  <a:lnTo>
                    <a:pt x="1040" y="224"/>
                  </a:lnTo>
                  <a:lnTo>
                    <a:pt x="1040" y="224"/>
                  </a:lnTo>
                  <a:lnTo>
                    <a:pt x="1040" y="224"/>
                  </a:lnTo>
                  <a:lnTo>
                    <a:pt x="1044" y="224"/>
                  </a:lnTo>
                  <a:lnTo>
                    <a:pt x="1047" y="224"/>
                  </a:lnTo>
                  <a:lnTo>
                    <a:pt x="1047" y="224"/>
                  </a:lnTo>
                  <a:lnTo>
                    <a:pt x="1049" y="222"/>
                  </a:lnTo>
                  <a:lnTo>
                    <a:pt x="1052" y="222"/>
                  </a:lnTo>
                  <a:lnTo>
                    <a:pt x="1054" y="220"/>
                  </a:lnTo>
                  <a:lnTo>
                    <a:pt x="1054" y="220"/>
                  </a:lnTo>
                  <a:lnTo>
                    <a:pt x="1054" y="220"/>
                  </a:lnTo>
                  <a:lnTo>
                    <a:pt x="1056" y="220"/>
                  </a:lnTo>
                  <a:lnTo>
                    <a:pt x="1059" y="217"/>
                  </a:lnTo>
                  <a:lnTo>
                    <a:pt x="1061" y="217"/>
                  </a:lnTo>
                  <a:lnTo>
                    <a:pt x="1061" y="217"/>
                  </a:lnTo>
                  <a:lnTo>
                    <a:pt x="1061" y="215"/>
                  </a:lnTo>
                  <a:lnTo>
                    <a:pt x="1061" y="215"/>
                  </a:lnTo>
                  <a:lnTo>
                    <a:pt x="1061" y="215"/>
                  </a:lnTo>
                  <a:lnTo>
                    <a:pt x="1059" y="215"/>
                  </a:lnTo>
                  <a:lnTo>
                    <a:pt x="1056" y="215"/>
                  </a:lnTo>
                  <a:lnTo>
                    <a:pt x="1056" y="217"/>
                  </a:lnTo>
                  <a:lnTo>
                    <a:pt x="1054" y="217"/>
                  </a:lnTo>
                  <a:lnTo>
                    <a:pt x="1054" y="217"/>
                  </a:lnTo>
                  <a:lnTo>
                    <a:pt x="1054" y="217"/>
                  </a:lnTo>
                  <a:lnTo>
                    <a:pt x="1054" y="217"/>
                  </a:lnTo>
                  <a:lnTo>
                    <a:pt x="1052" y="217"/>
                  </a:lnTo>
                  <a:close/>
                  <a:moveTo>
                    <a:pt x="1066" y="681"/>
                  </a:moveTo>
                  <a:lnTo>
                    <a:pt x="1066" y="681"/>
                  </a:lnTo>
                  <a:lnTo>
                    <a:pt x="1066" y="683"/>
                  </a:lnTo>
                  <a:lnTo>
                    <a:pt x="1066" y="683"/>
                  </a:lnTo>
                  <a:lnTo>
                    <a:pt x="1066" y="683"/>
                  </a:lnTo>
                  <a:lnTo>
                    <a:pt x="1068" y="681"/>
                  </a:lnTo>
                  <a:lnTo>
                    <a:pt x="1068" y="681"/>
                  </a:lnTo>
                  <a:lnTo>
                    <a:pt x="1066" y="681"/>
                  </a:lnTo>
                  <a:lnTo>
                    <a:pt x="1066" y="681"/>
                  </a:lnTo>
                  <a:close/>
                  <a:moveTo>
                    <a:pt x="1118" y="584"/>
                  </a:moveTo>
                  <a:lnTo>
                    <a:pt x="1120" y="584"/>
                  </a:lnTo>
                  <a:lnTo>
                    <a:pt x="1122" y="581"/>
                  </a:lnTo>
                  <a:lnTo>
                    <a:pt x="1127" y="579"/>
                  </a:lnTo>
                  <a:lnTo>
                    <a:pt x="1132" y="577"/>
                  </a:lnTo>
                  <a:lnTo>
                    <a:pt x="1136" y="574"/>
                  </a:lnTo>
                  <a:lnTo>
                    <a:pt x="1139" y="572"/>
                  </a:lnTo>
                  <a:lnTo>
                    <a:pt x="1148" y="565"/>
                  </a:lnTo>
                  <a:lnTo>
                    <a:pt x="1148" y="565"/>
                  </a:lnTo>
                  <a:lnTo>
                    <a:pt x="1151" y="562"/>
                  </a:lnTo>
                  <a:lnTo>
                    <a:pt x="1151" y="562"/>
                  </a:lnTo>
                  <a:lnTo>
                    <a:pt x="1153" y="562"/>
                  </a:lnTo>
                  <a:lnTo>
                    <a:pt x="1155" y="562"/>
                  </a:lnTo>
                  <a:lnTo>
                    <a:pt x="1158" y="562"/>
                  </a:lnTo>
                  <a:lnTo>
                    <a:pt x="1160" y="562"/>
                  </a:lnTo>
                  <a:lnTo>
                    <a:pt x="1162" y="560"/>
                  </a:lnTo>
                  <a:lnTo>
                    <a:pt x="1165" y="560"/>
                  </a:lnTo>
                  <a:lnTo>
                    <a:pt x="1169" y="560"/>
                  </a:lnTo>
                  <a:lnTo>
                    <a:pt x="1172" y="560"/>
                  </a:lnTo>
                  <a:lnTo>
                    <a:pt x="1174" y="560"/>
                  </a:lnTo>
                  <a:lnTo>
                    <a:pt x="1176" y="560"/>
                  </a:lnTo>
                  <a:lnTo>
                    <a:pt x="1176" y="560"/>
                  </a:lnTo>
                  <a:lnTo>
                    <a:pt x="1186" y="555"/>
                  </a:lnTo>
                  <a:lnTo>
                    <a:pt x="1191" y="553"/>
                  </a:lnTo>
                  <a:lnTo>
                    <a:pt x="1195" y="551"/>
                  </a:lnTo>
                  <a:lnTo>
                    <a:pt x="1202" y="546"/>
                  </a:lnTo>
                  <a:lnTo>
                    <a:pt x="1205" y="544"/>
                  </a:lnTo>
                  <a:lnTo>
                    <a:pt x="1205" y="544"/>
                  </a:lnTo>
                  <a:lnTo>
                    <a:pt x="1202" y="544"/>
                  </a:lnTo>
                  <a:lnTo>
                    <a:pt x="1202" y="541"/>
                  </a:lnTo>
                  <a:lnTo>
                    <a:pt x="1200" y="541"/>
                  </a:lnTo>
                  <a:lnTo>
                    <a:pt x="1200" y="541"/>
                  </a:lnTo>
                  <a:lnTo>
                    <a:pt x="1202" y="541"/>
                  </a:lnTo>
                  <a:lnTo>
                    <a:pt x="1202" y="541"/>
                  </a:lnTo>
                  <a:lnTo>
                    <a:pt x="1205" y="541"/>
                  </a:lnTo>
                  <a:lnTo>
                    <a:pt x="1205" y="539"/>
                  </a:lnTo>
                  <a:lnTo>
                    <a:pt x="1205" y="539"/>
                  </a:lnTo>
                  <a:lnTo>
                    <a:pt x="1202" y="539"/>
                  </a:lnTo>
                  <a:lnTo>
                    <a:pt x="1200" y="539"/>
                  </a:lnTo>
                  <a:lnTo>
                    <a:pt x="1198" y="539"/>
                  </a:lnTo>
                  <a:lnTo>
                    <a:pt x="1195" y="536"/>
                  </a:lnTo>
                  <a:lnTo>
                    <a:pt x="1198" y="536"/>
                  </a:lnTo>
                  <a:lnTo>
                    <a:pt x="1200" y="536"/>
                  </a:lnTo>
                  <a:lnTo>
                    <a:pt x="1205" y="536"/>
                  </a:lnTo>
                  <a:lnTo>
                    <a:pt x="1205" y="536"/>
                  </a:lnTo>
                  <a:lnTo>
                    <a:pt x="1205" y="534"/>
                  </a:lnTo>
                  <a:lnTo>
                    <a:pt x="1205" y="534"/>
                  </a:lnTo>
                  <a:lnTo>
                    <a:pt x="1205" y="532"/>
                  </a:lnTo>
                  <a:lnTo>
                    <a:pt x="1207" y="532"/>
                  </a:lnTo>
                  <a:lnTo>
                    <a:pt x="1207" y="529"/>
                  </a:lnTo>
                  <a:lnTo>
                    <a:pt x="1209" y="525"/>
                  </a:lnTo>
                  <a:lnTo>
                    <a:pt x="1209" y="525"/>
                  </a:lnTo>
                  <a:lnTo>
                    <a:pt x="1209" y="522"/>
                  </a:lnTo>
                  <a:lnTo>
                    <a:pt x="1209" y="522"/>
                  </a:lnTo>
                  <a:lnTo>
                    <a:pt x="1209" y="522"/>
                  </a:lnTo>
                  <a:lnTo>
                    <a:pt x="1209" y="522"/>
                  </a:lnTo>
                  <a:lnTo>
                    <a:pt x="1209" y="520"/>
                  </a:lnTo>
                  <a:lnTo>
                    <a:pt x="1209" y="520"/>
                  </a:lnTo>
                  <a:lnTo>
                    <a:pt x="1207" y="518"/>
                  </a:lnTo>
                  <a:lnTo>
                    <a:pt x="1205" y="515"/>
                  </a:lnTo>
                  <a:lnTo>
                    <a:pt x="1205" y="515"/>
                  </a:lnTo>
                  <a:lnTo>
                    <a:pt x="1205" y="513"/>
                  </a:lnTo>
                  <a:lnTo>
                    <a:pt x="1205" y="513"/>
                  </a:lnTo>
                  <a:lnTo>
                    <a:pt x="1202" y="513"/>
                  </a:lnTo>
                  <a:lnTo>
                    <a:pt x="1200" y="513"/>
                  </a:lnTo>
                  <a:lnTo>
                    <a:pt x="1198" y="513"/>
                  </a:lnTo>
                  <a:lnTo>
                    <a:pt x="1195" y="515"/>
                  </a:lnTo>
                  <a:lnTo>
                    <a:pt x="1191" y="518"/>
                  </a:lnTo>
                  <a:lnTo>
                    <a:pt x="1188" y="520"/>
                  </a:lnTo>
                  <a:lnTo>
                    <a:pt x="1188" y="518"/>
                  </a:lnTo>
                  <a:lnTo>
                    <a:pt x="1188" y="518"/>
                  </a:lnTo>
                  <a:lnTo>
                    <a:pt x="1186" y="515"/>
                  </a:lnTo>
                  <a:lnTo>
                    <a:pt x="1186" y="515"/>
                  </a:lnTo>
                  <a:lnTo>
                    <a:pt x="1186" y="515"/>
                  </a:lnTo>
                  <a:lnTo>
                    <a:pt x="1191" y="515"/>
                  </a:lnTo>
                  <a:lnTo>
                    <a:pt x="1193" y="513"/>
                  </a:lnTo>
                  <a:lnTo>
                    <a:pt x="1193" y="513"/>
                  </a:lnTo>
                  <a:lnTo>
                    <a:pt x="1195" y="510"/>
                  </a:lnTo>
                  <a:lnTo>
                    <a:pt x="1193" y="510"/>
                  </a:lnTo>
                  <a:lnTo>
                    <a:pt x="1193" y="506"/>
                  </a:lnTo>
                  <a:lnTo>
                    <a:pt x="1191" y="503"/>
                  </a:lnTo>
                  <a:lnTo>
                    <a:pt x="1181" y="503"/>
                  </a:lnTo>
                  <a:lnTo>
                    <a:pt x="1179" y="503"/>
                  </a:lnTo>
                  <a:lnTo>
                    <a:pt x="1179" y="506"/>
                  </a:lnTo>
                  <a:lnTo>
                    <a:pt x="1179" y="506"/>
                  </a:lnTo>
                  <a:lnTo>
                    <a:pt x="1179" y="506"/>
                  </a:lnTo>
                  <a:lnTo>
                    <a:pt x="1181" y="506"/>
                  </a:lnTo>
                  <a:lnTo>
                    <a:pt x="1181" y="506"/>
                  </a:lnTo>
                  <a:lnTo>
                    <a:pt x="1184" y="506"/>
                  </a:lnTo>
                  <a:lnTo>
                    <a:pt x="1184" y="506"/>
                  </a:lnTo>
                  <a:lnTo>
                    <a:pt x="1181" y="506"/>
                  </a:lnTo>
                  <a:lnTo>
                    <a:pt x="1176" y="508"/>
                  </a:lnTo>
                  <a:lnTo>
                    <a:pt x="1172" y="508"/>
                  </a:lnTo>
                  <a:lnTo>
                    <a:pt x="1167" y="510"/>
                  </a:lnTo>
                  <a:lnTo>
                    <a:pt x="1162" y="513"/>
                  </a:lnTo>
                  <a:lnTo>
                    <a:pt x="1158" y="515"/>
                  </a:lnTo>
                  <a:lnTo>
                    <a:pt x="1155" y="518"/>
                  </a:lnTo>
                  <a:lnTo>
                    <a:pt x="1153" y="518"/>
                  </a:lnTo>
                  <a:lnTo>
                    <a:pt x="1148" y="518"/>
                  </a:lnTo>
                  <a:lnTo>
                    <a:pt x="1148" y="518"/>
                  </a:lnTo>
                  <a:lnTo>
                    <a:pt x="1146" y="520"/>
                  </a:lnTo>
                  <a:lnTo>
                    <a:pt x="1143" y="522"/>
                  </a:lnTo>
                  <a:lnTo>
                    <a:pt x="1139" y="522"/>
                  </a:lnTo>
                  <a:lnTo>
                    <a:pt x="1139" y="522"/>
                  </a:lnTo>
                  <a:lnTo>
                    <a:pt x="1139" y="522"/>
                  </a:lnTo>
                  <a:lnTo>
                    <a:pt x="1141" y="522"/>
                  </a:lnTo>
                  <a:lnTo>
                    <a:pt x="1141" y="522"/>
                  </a:lnTo>
                  <a:lnTo>
                    <a:pt x="1141" y="522"/>
                  </a:lnTo>
                  <a:lnTo>
                    <a:pt x="1141" y="520"/>
                  </a:lnTo>
                  <a:lnTo>
                    <a:pt x="1143" y="520"/>
                  </a:lnTo>
                  <a:lnTo>
                    <a:pt x="1146" y="518"/>
                  </a:lnTo>
                  <a:lnTo>
                    <a:pt x="1143" y="518"/>
                  </a:lnTo>
                  <a:lnTo>
                    <a:pt x="1141" y="515"/>
                  </a:lnTo>
                  <a:lnTo>
                    <a:pt x="1141" y="515"/>
                  </a:lnTo>
                  <a:lnTo>
                    <a:pt x="1143" y="515"/>
                  </a:lnTo>
                  <a:lnTo>
                    <a:pt x="1146" y="518"/>
                  </a:lnTo>
                  <a:lnTo>
                    <a:pt x="1146" y="515"/>
                  </a:lnTo>
                  <a:lnTo>
                    <a:pt x="1146" y="515"/>
                  </a:lnTo>
                  <a:lnTo>
                    <a:pt x="1146" y="515"/>
                  </a:lnTo>
                  <a:lnTo>
                    <a:pt x="1148" y="513"/>
                  </a:lnTo>
                  <a:lnTo>
                    <a:pt x="1148" y="513"/>
                  </a:lnTo>
                  <a:lnTo>
                    <a:pt x="1151" y="513"/>
                  </a:lnTo>
                  <a:lnTo>
                    <a:pt x="1153" y="510"/>
                  </a:lnTo>
                  <a:lnTo>
                    <a:pt x="1153" y="510"/>
                  </a:lnTo>
                  <a:lnTo>
                    <a:pt x="1155" y="513"/>
                  </a:lnTo>
                  <a:lnTo>
                    <a:pt x="1158" y="510"/>
                  </a:lnTo>
                  <a:lnTo>
                    <a:pt x="1162" y="510"/>
                  </a:lnTo>
                  <a:lnTo>
                    <a:pt x="1165" y="508"/>
                  </a:lnTo>
                  <a:lnTo>
                    <a:pt x="1167" y="508"/>
                  </a:lnTo>
                  <a:lnTo>
                    <a:pt x="1167" y="508"/>
                  </a:lnTo>
                  <a:lnTo>
                    <a:pt x="1167" y="508"/>
                  </a:lnTo>
                  <a:lnTo>
                    <a:pt x="1169" y="508"/>
                  </a:lnTo>
                  <a:lnTo>
                    <a:pt x="1172" y="508"/>
                  </a:lnTo>
                  <a:lnTo>
                    <a:pt x="1172" y="508"/>
                  </a:lnTo>
                  <a:lnTo>
                    <a:pt x="1174" y="506"/>
                  </a:lnTo>
                  <a:lnTo>
                    <a:pt x="1176" y="503"/>
                  </a:lnTo>
                  <a:lnTo>
                    <a:pt x="1179" y="503"/>
                  </a:lnTo>
                  <a:lnTo>
                    <a:pt x="1181" y="503"/>
                  </a:lnTo>
                  <a:lnTo>
                    <a:pt x="1184" y="501"/>
                  </a:lnTo>
                  <a:lnTo>
                    <a:pt x="1184" y="501"/>
                  </a:lnTo>
                  <a:lnTo>
                    <a:pt x="1188" y="501"/>
                  </a:lnTo>
                  <a:lnTo>
                    <a:pt x="1191" y="501"/>
                  </a:lnTo>
                  <a:lnTo>
                    <a:pt x="1193" y="499"/>
                  </a:lnTo>
                  <a:lnTo>
                    <a:pt x="1195" y="499"/>
                  </a:lnTo>
                  <a:lnTo>
                    <a:pt x="1198" y="496"/>
                  </a:lnTo>
                  <a:lnTo>
                    <a:pt x="1198" y="496"/>
                  </a:lnTo>
                  <a:lnTo>
                    <a:pt x="1195" y="496"/>
                  </a:lnTo>
                  <a:lnTo>
                    <a:pt x="1193" y="496"/>
                  </a:lnTo>
                  <a:lnTo>
                    <a:pt x="1193" y="494"/>
                  </a:lnTo>
                  <a:lnTo>
                    <a:pt x="1191" y="494"/>
                  </a:lnTo>
                  <a:lnTo>
                    <a:pt x="1191" y="494"/>
                  </a:lnTo>
                  <a:lnTo>
                    <a:pt x="1191" y="492"/>
                  </a:lnTo>
                  <a:lnTo>
                    <a:pt x="1188" y="492"/>
                  </a:lnTo>
                  <a:lnTo>
                    <a:pt x="1186" y="492"/>
                  </a:lnTo>
                  <a:lnTo>
                    <a:pt x="1186" y="492"/>
                  </a:lnTo>
                  <a:lnTo>
                    <a:pt x="1184" y="494"/>
                  </a:lnTo>
                  <a:lnTo>
                    <a:pt x="1181" y="492"/>
                  </a:lnTo>
                  <a:lnTo>
                    <a:pt x="1176" y="492"/>
                  </a:lnTo>
                  <a:lnTo>
                    <a:pt x="1176" y="489"/>
                  </a:lnTo>
                  <a:lnTo>
                    <a:pt x="1176" y="487"/>
                  </a:lnTo>
                  <a:lnTo>
                    <a:pt x="1176" y="484"/>
                  </a:lnTo>
                  <a:lnTo>
                    <a:pt x="1176" y="484"/>
                  </a:lnTo>
                  <a:lnTo>
                    <a:pt x="1174" y="484"/>
                  </a:lnTo>
                  <a:lnTo>
                    <a:pt x="1172" y="484"/>
                  </a:lnTo>
                  <a:lnTo>
                    <a:pt x="1169" y="487"/>
                  </a:lnTo>
                  <a:lnTo>
                    <a:pt x="1169" y="487"/>
                  </a:lnTo>
                  <a:lnTo>
                    <a:pt x="1162" y="492"/>
                  </a:lnTo>
                  <a:lnTo>
                    <a:pt x="1160" y="492"/>
                  </a:lnTo>
                  <a:lnTo>
                    <a:pt x="1162" y="492"/>
                  </a:lnTo>
                  <a:lnTo>
                    <a:pt x="1162" y="489"/>
                  </a:lnTo>
                  <a:lnTo>
                    <a:pt x="1169" y="487"/>
                  </a:lnTo>
                  <a:lnTo>
                    <a:pt x="1169" y="484"/>
                  </a:lnTo>
                  <a:lnTo>
                    <a:pt x="1169" y="484"/>
                  </a:lnTo>
                  <a:lnTo>
                    <a:pt x="1167" y="484"/>
                  </a:lnTo>
                  <a:lnTo>
                    <a:pt x="1167" y="484"/>
                  </a:lnTo>
                  <a:lnTo>
                    <a:pt x="1167" y="482"/>
                  </a:lnTo>
                  <a:lnTo>
                    <a:pt x="1167" y="482"/>
                  </a:lnTo>
                  <a:lnTo>
                    <a:pt x="1165" y="482"/>
                  </a:lnTo>
                  <a:lnTo>
                    <a:pt x="1162" y="482"/>
                  </a:lnTo>
                  <a:lnTo>
                    <a:pt x="1160" y="484"/>
                  </a:lnTo>
                  <a:lnTo>
                    <a:pt x="1158" y="484"/>
                  </a:lnTo>
                  <a:lnTo>
                    <a:pt x="1153" y="487"/>
                  </a:lnTo>
                  <a:lnTo>
                    <a:pt x="1151" y="487"/>
                  </a:lnTo>
                  <a:lnTo>
                    <a:pt x="1153" y="487"/>
                  </a:lnTo>
                  <a:lnTo>
                    <a:pt x="1155" y="484"/>
                  </a:lnTo>
                  <a:lnTo>
                    <a:pt x="1155" y="484"/>
                  </a:lnTo>
                  <a:lnTo>
                    <a:pt x="1158" y="482"/>
                  </a:lnTo>
                  <a:lnTo>
                    <a:pt x="1160" y="480"/>
                  </a:lnTo>
                  <a:lnTo>
                    <a:pt x="1162" y="480"/>
                  </a:lnTo>
                  <a:lnTo>
                    <a:pt x="1160" y="477"/>
                  </a:lnTo>
                  <a:lnTo>
                    <a:pt x="1160" y="475"/>
                  </a:lnTo>
                  <a:lnTo>
                    <a:pt x="1160" y="475"/>
                  </a:lnTo>
                  <a:lnTo>
                    <a:pt x="1160" y="475"/>
                  </a:lnTo>
                  <a:lnTo>
                    <a:pt x="1162" y="473"/>
                  </a:lnTo>
                  <a:lnTo>
                    <a:pt x="1160" y="473"/>
                  </a:lnTo>
                  <a:lnTo>
                    <a:pt x="1160" y="473"/>
                  </a:lnTo>
                  <a:lnTo>
                    <a:pt x="1158" y="475"/>
                  </a:lnTo>
                  <a:lnTo>
                    <a:pt x="1158" y="473"/>
                  </a:lnTo>
                  <a:lnTo>
                    <a:pt x="1158" y="473"/>
                  </a:lnTo>
                  <a:lnTo>
                    <a:pt x="1158" y="470"/>
                  </a:lnTo>
                  <a:lnTo>
                    <a:pt x="1158" y="470"/>
                  </a:lnTo>
                  <a:lnTo>
                    <a:pt x="1155" y="470"/>
                  </a:lnTo>
                  <a:lnTo>
                    <a:pt x="1155" y="470"/>
                  </a:lnTo>
                  <a:lnTo>
                    <a:pt x="1153" y="470"/>
                  </a:lnTo>
                  <a:lnTo>
                    <a:pt x="1151" y="470"/>
                  </a:lnTo>
                  <a:lnTo>
                    <a:pt x="1151" y="470"/>
                  </a:lnTo>
                  <a:lnTo>
                    <a:pt x="1151" y="470"/>
                  </a:lnTo>
                  <a:lnTo>
                    <a:pt x="1151" y="470"/>
                  </a:lnTo>
                  <a:lnTo>
                    <a:pt x="1148" y="468"/>
                  </a:lnTo>
                  <a:lnTo>
                    <a:pt x="1146" y="468"/>
                  </a:lnTo>
                  <a:lnTo>
                    <a:pt x="1148" y="468"/>
                  </a:lnTo>
                  <a:lnTo>
                    <a:pt x="1151" y="468"/>
                  </a:lnTo>
                  <a:lnTo>
                    <a:pt x="1151" y="468"/>
                  </a:lnTo>
                  <a:lnTo>
                    <a:pt x="1151" y="463"/>
                  </a:lnTo>
                  <a:lnTo>
                    <a:pt x="1151" y="463"/>
                  </a:lnTo>
                  <a:lnTo>
                    <a:pt x="1148" y="463"/>
                  </a:lnTo>
                  <a:lnTo>
                    <a:pt x="1146" y="463"/>
                  </a:lnTo>
                  <a:lnTo>
                    <a:pt x="1146" y="463"/>
                  </a:lnTo>
                  <a:lnTo>
                    <a:pt x="1151" y="461"/>
                  </a:lnTo>
                  <a:lnTo>
                    <a:pt x="1151" y="461"/>
                  </a:lnTo>
                  <a:lnTo>
                    <a:pt x="1151" y="461"/>
                  </a:lnTo>
                  <a:lnTo>
                    <a:pt x="1148" y="461"/>
                  </a:lnTo>
                  <a:lnTo>
                    <a:pt x="1143" y="461"/>
                  </a:lnTo>
                  <a:lnTo>
                    <a:pt x="1143" y="458"/>
                  </a:lnTo>
                  <a:lnTo>
                    <a:pt x="1146" y="458"/>
                  </a:lnTo>
                  <a:lnTo>
                    <a:pt x="1148" y="458"/>
                  </a:lnTo>
                  <a:lnTo>
                    <a:pt x="1148" y="458"/>
                  </a:lnTo>
                  <a:lnTo>
                    <a:pt x="1146" y="456"/>
                  </a:lnTo>
                  <a:lnTo>
                    <a:pt x="1146" y="456"/>
                  </a:lnTo>
                  <a:lnTo>
                    <a:pt x="1143" y="456"/>
                  </a:lnTo>
                  <a:lnTo>
                    <a:pt x="1143" y="456"/>
                  </a:lnTo>
                  <a:lnTo>
                    <a:pt x="1139" y="454"/>
                  </a:lnTo>
                  <a:lnTo>
                    <a:pt x="1139" y="454"/>
                  </a:lnTo>
                  <a:lnTo>
                    <a:pt x="1139" y="451"/>
                  </a:lnTo>
                  <a:lnTo>
                    <a:pt x="1141" y="451"/>
                  </a:lnTo>
                  <a:lnTo>
                    <a:pt x="1141" y="451"/>
                  </a:lnTo>
                  <a:lnTo>
                    <a:pt x="1141" y="454"/>
                  </a:lnTo>
                  <a:lnTo>
                    <a:pt x="1141" y="454"/>
                  </a:lnTo>
                  <a:lnTo>
                    <a:pt x="1143" y="454"/>
                  </a:lnTo>
                  <a:lnTo>
                    <a:pt x="1153" y="456"/>
                  </a:lnTo>
                  <a:lnTo>
                    <a:pt x="1155" y="456"/>
                  </a:lnTo>
                  <a:lnTo>
                    <a:pt x="1155" y="454"/>
                  </a:lnTo>
                  <a:lnTo>
                    <a:pt x="1155" y="451"/>
                  </a:lnTo>
                  <a:lnTo>
                    <a:pt x="1158" y="451"/>
                  </a:lnTo>
                  <a:lnTo>
                    <a:pt x="1158" y="449"/>
                  </a:lnTo>
                  <a:lnTo>
                    <a:pt x="1155" y="444"/>
                  </a:lnTo>
                  <a:lnTo>
                    <a:pt x="1155" y="444"/>
                  </a:lnTo>
                  <a:lnTo>
                    <a:pt x="1153" y="444"/>
                  </a:lnTo>
                  <a:lnTo>
                    <a:pt x="1153" y="444"/>
                  </a:lnTo>
                  <a:lnTo>
                    <a:pt x="1151" y="444"/>
                  </a:lnTo>
                  <a:lnTo>
                    <a:pt x="1151" y="444"/>
                  </a:lnTo>
                  <a:lnTo>
                    <a:pt x="1153" y="444"/>
                  </a:lnTo>
                  <a:lnTo>
                    <a:pt x="1153" y="442"/>
                  </a:lnTo>
                  <a:lnTo>
                    <a:pt x="1155" y="442"/>
                  </a:lnTo>
                  <a:lnTo>
                    <a:pt x="1155" y="442"/>
                  </a:lnTo>
                  <a:lnTo>
                    <a:pt x="1153" y="440"/>
                  </a:lnTo>
                  <a:lnTo>
                    <a:pt x="1151" y="440"/>
                  </a:lnTo>
                  <a:lnTo>
                    <a:pt x="1151" y="440"/>
                  </a:lnTo>
                  <a:lnTo>
                    <a:pt x="1148" y="440"/>
                  </a:lnTo>
                  <a:lnTo>
                    <a:pt x="1146" y="440"/>
                  </a:lnTo>
                  <a:lnTo>
                    <a:pt x="1146" y="440"/>
                  </a:lnTo>
                  <a:lnTo>
                    <a:pt x="1146" y="440"/>
                  </a:lnTo>
                  <a:lnTo>
                    <a:pt x="1148" y="440"/>
                  </a:lnTo>
                  <a:lnTo>
                    <a:pt x="1148" y="440"/>
                  </a:lnTo>
                  <a:lnTo>
                    <a:pt x="1151" y="437"/>
                  </a:lnTo>
                  <a:lnTo>
                    <a:pt x="1151" y="437"/>
                  </a:lnTo>
                  <a:lnTo>
                    <a:pt x="1153" y="437"/>
                  </a:lnTo>
                  <a:lnTo>
                    <a:pt x="1155" y="437"/>
                  </a:lnTo>
                  <a:lnTo>
                    <a:pt x="1155" y="435"/>
                  </a:lnTo>
                  <a:lnTo>
                    <a:pt x="1155" y="432"/>
                  </a:lnTo>
                  <a:lnTo>
                    <a:pt x="1158" y="432"/>
                  </a:lnTo>
                  <a:lnTo>
                    <a:pt x="1158" y="432"/>
                  </a:lnTo>
                  <a:lnTo>
                    <a:pt x="1158" y="432"/>
                  </a:lnTo>
                  <a:lnTo>
                    <a:pt x="1158" y="430"/>
                  </a:lnTo>
                  <a:lnTo>
                    <a:pt x="1155" y="430"/>
                  </a:lnTo>
                  <a:lnTo>
                    <a:pt x="1155" y="430"/>
                  </a:lnTo>
                  <a:lnTo>
                    <a:pt x="1153" y="430"/>
                  </a:lnTo>
                  <a:lnTo>
                    <a:pt x="1153" y="425"/>
                  </a:lnTo>
                  <a:lnTo>
                    <a:pt x="1151" y="425"/>
                  </a:lnTo>
                  <a:lnTo>
                    <a:pt x="1148" y="425"/>
                  </a:lnTo>
                  <a:lnTo>
                    <a:pt x="1143" y="428"/>
                  </a:lnTo>
                  <a:lnTo>
                    <a:pt x="1139" y="430"/>
                  </a:lnTo>
                  <a:lnTo>
                    <a:pt x="1139" y="428"/>
                  </a:lnTo>
                  <a:lnTo>
                    <a:pt x="1141" y="428"/>
                  </a:lnTo>
                  <a:lnTo>
                    <a:pt x="1143" y="428"/>
                  </a:lnTo>
                  <a:lnTo>
                    <a:pt x="1148" y="425"/>
                  </a:lnTo>
                  <a:lnTo>
                    <a:pt x="1151" y="423"/>
                  </a:lnTo>
                  <a:lnTo>
                    <a:pt x="1153" y="421"/>
                  </a:lnTo>
                  <a:lnTo>
                    <a:pt x="1153" y="418"/>
                  </a:lnTo>
                  <a:lnTo>
                    <a:pt x="1153" y="418"/>
                  </a:lnTo>
                  <a:lnTo>
                    <a:pt x="1151" y="421"/>
                  </a:lnTo>
                  <a:lnTo>
                    <a:pt x="1146" y="421"/>
                  </a:lnTo>
                  <a:lnTo>
                    <a:pt x="1146" y="421"/>
                  </a:lnTo>
                  <a:lnTo>
                    <a:pt x="1146" y="421"/>
                  </a:lnTo>
                  <a:lnTo>
                    <a:pt x="1146" y="421"/>
                  </a:lnTo>
                  <a:lnTo>
                    <a:pt x="1143" y="421"/>
                  </a:lnTo>
                  <a:lnTo>
                    <a:pt x="1143" y="421"/>
                  </a:lnTo>
                  <a:lnTo>
                    <a:pt x="1139" y="423"/>
                  </a:lnTo>
                  <a:lnTo>
                    <a:pt x="1139" y="423"/>
                  </a:lnTo>
                  <a:lnTo>
                    <a:pt x="1141" y="421"/>
                  </a:lnTo>
                  <a:lnTo>
                    <a:pt x="1141" y="421"/>
                  </a:lnTo>
                  <a:lnTo>
                    <a:pt x="1146" y="418"/>
                  </a:lnTo>
                  <a:lnTo>
                    <a:pt x="1148" y="418"/>
                  </a:lnTo>
                  <a:lnTo>
                    <a:pt x="1153" y="416"/>
                  </a:lnTo>
                  <a:lnTo>
                    <a:pt x="1153" y="414"/>
                  </a:lnTo>
                  <a:lnTo>
                    <a:pt x="1151" y="411"/>
                  </a:lnTo>
                  <a:lnTo>
                    <a:pt x="1151" y="411"/>
                  </a:lnTo>
                  <a:lnTo>
                    <a:pt x="1148" y="411"/>
                  </a:lnTo>
                  <a:lnTo>
                    <a:pt x="1148" y="411"/>
                  </a:lnTo>
                  <a:lnTo>
                    <a:pt x="1148" y="411"/>
                  </a:lnTo>
                  <a:lnTo>
                    <a:pt x="1148" y="411"/>
                  </a:lnTo>
                  <a:lnTo>
                    <a:pt x="1148" y="409"/>
                  </a:lnTo>
                  <a:lnTo>
                    <a:pt x="1148" y="409"/>
                  </a:lnTo>
                  <a:lnTo>
                    <a:pt x="1148" y="409"/>
                  </a:lnTo>
                  <a:lnTo>
                    <a:pt x="1151" y="409"/>
                  </a:lnTo>
                  <a:lnTo>
                    <a:pt x="1151" y="409"/>
                  </a:lnTo>
                  <a:lnTo>
                    <a:pt x="1148" y="409"/>
                  </a:lnTo>
                  <a:lnTo>
                    <a:pt x="1148" y="409"/>
                  </a:lnTo>
                  <a:lnTo>
                    <a:pt x="1146" y="409"/>
                  </a:lnTo>
                  <a:lnTo>
                    <a:pt x="1141" y="409"/>
                  </a:lnTo>
                  <a:lnTo>
                    <a:pt x="1139" y="409"/>
                  </a:lnTo>
                  <a:lnTo>
                    <a:pt x="1139" y="409"/>
                  </a:lnTo>
                  <a:lnTo>
                    <a:pt x="1141" y="409"/>
                  </a:lnTo>
                  <a:lnTo>
                    <a:pt x="1143" y="409"/>
                  </a:lnTo>
                  <a:lnTo>
                    <a:pt x="1143" y="409"/>
                  </a:lnTo>
                  <a:lnTo>
                    <a:pt x="1146" y="406"/>
                  </a:lnTo>
                  <a:lnTo>
                    <a:pt x="1148" y="406"/>
                  </a:lnTo>
                  <a:lnTo>
                    <a:pt x="1148" y="404"/>
                  </a:lnTo>
                  <a:lnTo>
                    <a:pt x="1148" y="402"/>
                  </a:lnTo>
                  <a:lnTo>
                    <a:pt x="1146" y="404"/>
                  </a:lnTo>
                  <a:lnTo>
                    <a:pt x="1143" y="404"/>
                  </a:lnTo>
                  <a:lnTo>
                    <a:pt x="1146" y="404"/>
                  </a:lnTo>
                  <a:lnTo>
                    <a:pt x="1146" y="402"/>
                  </a:lnTo>
                  <a:lnTo>
                    <a:pt x="1143" y="402"/>
                  </a:lnTo>
                  <a:lnTo>
                    <a:pt x="1143" y="402"/>
                  </a:lnTo>
                  <a:lnTo>
                    <a:pt x="1146" y="402"/>
                  </a:lnTo>
                  <a:lnTo>
                    <a:pt x="1148" y="399"/>
                  </a:lnTo>
                  <a:lnTo>
                    <a:pt x="1146" y="399"/>
                  </a:lnTo>
                  <a:lnTo>
                    <a:pt x="1146" y="397"/>
                  </a:lnTo>
                  <a:lnTo>
                    <a:pt x="1146" y="397"/>
                  </a:lnTo>
                  <a:lnTo>
                    <a:pt x="1146" y="395"/>
                  </a:lnTo>
                  <a:lnTo>
                    <a:pt x="1146" y="395"/>
                  </a:lnTo>
                  <a:lnTo>
                    <a:pt x="1143" y="395"/>
                  </a:lnTo>
                  <a:lnTo>
                    <a:pt x="1143" y="395"/>
                  </a:lnTo>
                  <a:lnTo>
                    <a:pt x="1143" y="392"/>
                  </a:lnTo>
                  <a:lnTo>
                    <a:pt x="1146" y="390"/>
                  </a:lnTo>
                  <a:lnTo>
                    <a:pt x="1146" y="390"/>
                  </a:lnTo>
                  <a:lnTo>
                    <a:pt x="1143" y="390"/>
                  </a:lnTo>
                  <a:lnTo>
                    <a:pt x="1141" y="390"/>
                  </a:lnTo>
                  <a:lnTo>
                    <a:pt x="1139" y="390"/>
                  </a:lnTo>
                  <a:lnTo>
                    <a:pt x="1136" y="390"/>
                  </a:lnTo>
                  <a:lnTo>
                    <a:pt x="1139" y="390"/>
                  </a:lnTo>
                  <a:lnTo>
                    <a:pt x="1141" y="388"/>
                  </a:lnTo>
                  <a:lnTo>
                    <a:pt x="1143" y="388"/>
                  </a:lnTo>
                  <a:lnTo>
                    <a:pt x="1143" y="385"/>
                  </a:lnTo>
                  <a:lnTo>
                    <a:pt x="1143" y="385"/>
                  </a:lnTo>
                  <a:lnTo>
                    <a:pt x="1141" y="383"/>
                  </a:lnTo>
                  <a:lnTo>
                    <a:pt x="1141" y="383"/>
                  </a:lnTo>
                  <a:lnTo>
                    <a:pt x="1139" y="385"/>
                  </a:lnTo>
                  <a:lnTo>
                    <a:pt x="1139" y="385"/>
                  </a:lnTo>
                  <a:lnTo>
                    <a:pt x="1136" y="385"/>
                  </a:lnTo>
                  <a:lnTo>
                    <a:pt x="1134" y="390"/>
                  </a:lnTo>
                  <a:lnTo>
                    <a:pt x="1132" y="390"/>
                  </a:lnTo>
                  <a:lnTo>
                    <a:pt x="1129" y="392"/>
                  </a:lnTo>
                  <a:lnTo>
                    <a:pt x="1129" y="392"/>
                  </a:lnTo>
                  <a:lnTo>
                    <a:pt x="1129" y="392"/>
                  </a:lnTo>
                  <a:lnTo>
                    <a:pt x="1129" y="395"/>
                  </a:lnTo>
                  <a:lnTo>
                    <a:pt x="1132" y="395"/>
                  </a:lnTo>
                  <a:lnTo>
                    <a:pt x="1129" y="395"/>
                  </a:lnTo>
                  <a:lnTo>
                    <a:pt x="1129" y="395"/>
                  </a:lnTo>
                  <a:lnTo>
                    <a:pt x="1127" y="395"/>
                  </a:lnTo>
                  <a:lnTo>
                    <a:pt x="1127" y="395"/>
                  </a:lnTo>
                  <a:lnTo>
                    <a:pt x="1125" y="395"/>
                  </a:lnTo>
                  <a:lnTo>
                    <a:pt x="1125" y="395"/>
                  </a:lnTo>
                  <a:lnTo>
                    <a:pt x="1122" y="397"/>
                  </a:lnTo>
                  <a:lnTo>
                    <a:pt x="1122" y="397"/>
                  </a:lnTo>
                  <a:lnTo>
                    <a:pt x="1122" y="397"/>
                  </a:lnTo>
                  <a:lnTo>
                    <a:pt x="1122" y="399"/>
                  </a:lnTo>
                  <a:lnTo>
                    <a:pt x="1125" y="399"/>
                  </a:lnTo>
                  <a:lnTo>
                    <a:pt x="1125" y="399"/>
                  </a:lnTo>
                  <a:lnTo>
                    <a:pt x="1125" y="402"/>
                  </a:lnTo>
                  <a:lnTo>
                    <a:pt x="1127" y="402"/>
                  </a:lnTo>
                  <a:lnTo>
                    <a:pt x="1127" y="402"/>
                  </a:lnTo>
                  <a:lnTo>
                    <a:pt x="1127" y="402"/>
                  </a:lnTo>
                  <a:lnTo>
                    <a:pt x="1125" y="399"/>
                  </a:lnTo>
                  <a:lnTo>
                    <a:pt x="1122" y="399"/>
                  </a:lnTo>
                  <a:lnTo>
                    <a:pt x="1122" y="399"/>
                  </a:lnTo>
                  <a:lnTo>
                    <a:pt x="1120" y="402"/>
                  </a:lnTo>
                  <a:lnTo>
                    <a:pt x="1120" y="404"/>
                  </a:lnTo>
                  <a:lnTo>
                    <a:pt x="1120" y="404"/>
                  </a:lnTo>
                  <a:lnTo>
                    <a:pt x="1120" y="402"/>
                  </a:lnTo>
                  <a:lnTo>
                    <a:pt x="1118" y="404"/>
                  </a:lnTo>
                  <a:lnTo>
                    <a:pt x="1118" y="404"/>
                  </a:lnTo>
                  <a:lnTo>
                    <a:pt x="1118" y="406"/>
                  </a:lnTo>
                  <a:lnTo>
                    <a:pt x="1115" y="404"/>
                  </a:lnTo>
                  <a:lnTo>
                    <a:pt x="1115" y="404"/>
                  </a:lnTo>
                  <a:lnTo>
                    <a:pt x="1115" y="406"/>
                  </a:lnTo>
                  <a:lnTo>
                    <a:pt x="1115" y="406"/>
                  </a:lnTo>
                  <a:lnTo>
                    <a:pt x="1115" y="406"/>
                  </a:lnTo>
                  <a:lnTo>
                    <a:pt x="1115" y="406"/>
                  </a:lnTo>
                  <a:lnTo>
                    <a:pt x="1118" y="409"/>
                  </a:lnTo>
                  <a:lnTo>
                    <a:pt x="1118" y="409"/>
                  </a:lnTo>
                  <a:lnTo>
                    <a:pt x="1118" y="409"/>
                  </a:lnTo>
                  <a:lnTo>
                    <a:pt x="1115" y="409"/>
                  </a:lnTo>
                  <a:lnTo>
                    <a:pt x="1115" y="409"/>
                  </a:lnTo>
                  <a:lnTo>
                    <a:pt x="1113" y="409"/>
                  </a:lnTo>
                  <a:lnTo>
                    <a:pt x="1113" y="409"/>
                  </a:lnTo>
                  <a:lnTo>
                    <a:pt x="1113" y="409"/>
                  </a:lnTo>
                  <a:lnTo>
                    <a:pt x="1113" y="411"/>
                  </a:lnTo>
                  <a:lnTo>
                    <a:pt x="1110" y="409"/>
                  </a:lnTo>
                  <a:lnTo>
                    <a:pt x="1110" y="409"/>
                  </a:lnTo>
                  <a:lnTo>
                    <a:pt x="1108" y="411"/>
                  </a:lnTo>
                  <a:lnTo>
                    <a:pt x="1108" y="411"/>
                  </a:lnTo>
                  <a:lnTo>
                    <a:pt x="1108" y="411"/>
                  </a:lnTo>
                  <a:lnTo>
                    <a:pt x="1108" y="414"/>
                  </a:lnTo>
                  <a:lnTo>
                    <a:pt x="1108" y="414"/>
                  </a:lnTo>
                  <a:lnTo>
                    <a:pt x="1106" y="414"/>
                  </a:lnTo>
                  <a:lnTo>
                    <a:pt x="1106" y="414"/>
                  </a:lnTo>
                  <a:lnTo>
                    <a:pt x="1106" y="414"/>
                  </a:lnTo>
                  <a:lnTo>
                    <a:pt x="1106" y="416"/>
                  </a:lnTo>
                  <a:lnTo>
                    <a:pt x="1106" y="418"/>
                  </a:lnTo>
                  <a:lnTo>
                    <a:pt x="1106" y="418"/>
                  </a:lnTo>
                  <a:lnTo>
                    <a:pt x="1103" y="418"/>
                  </a:lnTo>
                  <a:lnTo>
                    <a:pt x="1101" y="421"/>
                  </a:lnTo>
                  <a:lnTo>
                    <a:pt x="1101" y="421"/>
                  </a:lnTo>
                  <a:lnTo>
                    <a:pt x="1103" y="418"/>
                  </a:lnTo>
                  <a:lnTo>
                    <a:pt x="1103" y="418"/>
                  </a:lnTo>
                  <a:lnTo>
                    <a:pt x="1103" y="416"/>
                  </a:lnTo>
                  <a:lnTo>
                    <a:pt x="1103" y="416"/>
                  </a:lnTo>
                  <a:lnTo>
                    <a:pt x="1103" y="414"/>
                  </a:lnTo>
                  <a:lnTo>
                    <a:pt x="1101" y="414"/>
                  </a:lnTo>
                  <a:lnTo>
                    <a:pt x="1101" y="414"/>
                  </a:lnTo>
                  <a:lnTo>
                    <a:pt x="1099" y="416"/>
                  </a:lnTo>
                  <a:lnTo>
                    <a:pt x="1096" y="416"/>
                  </a:lnTo>
                  <a:lnTo>
                    <a:pt x="1096" y="416"/>
                  </a:lnTo>
                  <a:lnTo>
                    <a:pt x="1094" y="418"/>
                  </a:lnTo>
                  <a:lnTo>
                    <a:pt x="1092" y="421"/>
                  </a:lnTo>
                  <a:lnTo>
                    <a:pt x="1089" y="421"/>
                  </a:lnTo>
                  <a:lnTo>
                    <a:pt x="1087" y="421"/>
                  </a:lnTo>
                  <a:lnTo>
                    <a:pt x="1085" y="423"/>
                  </a:lnTo>
                  <a:lnTo>
                    <a:pt x="1080" y="423"/>
                  </a:lnTo>
                  <a:lnTo>
                    <a:pt x="1075" y="425"/>
                  </a:lnTo>
                  <a:lnTo>
                    <a:pt x="1075" y="425"/>
                  </a:lnTo>
                  <a:lnTo>
                    <a:pt x="1075" y="425"/>
                  </a:lnTo>
                  <a:lnTo>
                    <a:pt x="1073" y="428"/>
                  </a:lnTo>
                  <a:lnTo>
                    <a:pt x="1073" y="430"/>
                  </a:lnTo>
                  <a:lnTo>
                    <a:pt x="1073" y="428"/>
                  </a:lnTo>
                  <a:lnTo>
                    <a:pt x="1073" y="428"/>
                  </a:lnTo>
                  <a:lnTo>
                    <a:pt x="1073" y="425"/>
                  </a:lnTo>
                  <a:lnTo>
                    <a:pt x="1075" y="425"/>
                  </a:lnTo>
                  <a:lnTo>
                    <a:pt x="1075" y="421"/>
                  </a:lnTo>
                  <a:lnTo>
                    <a:pt x="1075" y="421"/>
                  </a:lnTo>
                  <a:lnTo>
                    <a:pt x="1075" y="423"/>
                  </a:lnTo>
                  <a:lnTo>
                    <a:pt x="1073" y="423"/>
                  </a:lnTo>
                  <a:lnTo>
                    <a:pt x="1073" y="423"/>
                  </a:lnTo>
                  <a:lnTo>
                    <a:pt x="1068" y="425"/>
                  </a:lnTo>
                  <a:lnTo>
                    <a:pt x="1068" y="425"/>
                  </a:lnTo>
                  <a:lnTo>
                    <a:pt x="1073" y="423"/>
                  </a:lnTo>
                  <a:lnTo>
                    <a:pt x="1073" y="423"/>
                  </a:lnTo>
                  <a:lnTo>
                    <a:pt x="1073" y="423"/>
                  </a:lnTo>
                  <a:lnTo>
                    <a:pt x="1073" y="421"/>
                  </a:lnTo>
                  <a:lnTo>
                    <a:pt x="1073" y="421"/>
                  </a:lnTo>
                  <a:lnTo>
                    <a:pt x="1070" y="421"/>
                  </a:lnTo>
                  <a:lnTo>
                    <a:pt x="1068" y="421"/>
                  </a:lnTo>
                  <a:lnTo>
                    <a:pt x="1066" y="425"/>
                  </a:lnTo>
                  <a:lnTo>
                    <a:pt x="1063" y="428"/>
                  </a:lnTo>
                  <a:lnTo>
                    <a:pt x="1061" y="428"/>
                  </a:lnTo>
                  <a:lnTo>
                    <a:pt x="1061" y="428"/>
                  </a:lnTo>
                  <a:lnTo>
                    <a:pt x="1056" y="430"/>
                  </a:lnTo>
                  <a:lnTo>
                    <a:pt x="1052" y="430"/>
                  </a:lnTo>
                  <a:lnTo>
                    <a:pt x="1052" y="430"/>
                  </a:lnTo>
                  <a:lnTo>
                    <a:pt x="1054" y="430"/>
                  </a:lnTo>
                  <a:lnTo>
                    <a:pt x="1054" y="430"/>
                  </a:lnTo>
                  <a:lnTo>
                    <a:pt x="1059" y="428"/>
                  </a:lnTo>
                  <a:lnTo>
                    <a:pt x="1061" y="428"/>
                  </a:lnTo>
                  <a:lnTo>
                    <a:pt x="1063" y="425"/>
                  </a:lnTo>
                  <a:lnTo>
                    <a:pt x="1066" y="425"/>
                  </a:lnTo>
                  <a:lnTo>
                    <a:pt x="1068" y="421"/>
                  </a:lnTo>
                  <a:lnTo>
                    <a:pt x="1068" y="421"/>
                  </a:lnTo>
                  <a:lnTo>
                    <a:pt x="1070" y="418"/>
                  </a:lnTo>
                  <a:lnTo>
                    <a:pt x="1070" y="418"/>
                  </a:lnTo>
                  <a:lnTo>
                    <a:pt x="1068" y="418"/>
                  </a:lnTo>
                  <a:lnTo>
                    <a:pt x="1070" y="414"/>
                  </a:lnTo>
                  <a:lnTo>
                    <a:pt x="1070" y="414"/>
                  </a:lnTo>
                  <a:lnTo>
                    <a:pt x="1068" y="414"/>
                  </a:lnTo>
                  <a:lnTo>
                    <a:pt x="1068" y="411"/>
                  </a:lnTo>
                  <a:lnTo>
                    <a:pt x="1068" y="411"/>
                  </a:lnTo>
                  <a:lnTo>
                    <a:pt x="1066" y="411"/>
                  </a:lnTo>
                  <a:lnTo>
                    <a:pt x="1063" y="411"/>
                  </a:lnTo>
                  <a:lnTo>
                    <a:pt x="1061" y="411"/>
                  </a:lnTo>
                  <a:lnTo>
                    <a:pt x="1059" y="411"/>
                  </a:lnTo>
                  <a:lnTo>
                    <a:pt x="1059" y="411"/>
                  </a:lnTo>
                  <a:lnTo>
                    <a:pt x="1056" y="414"/>
                  </a:lnTo>
                  <a:lnTo>
                    <a:pt x="1052" y="416"/>
                  </a:lnTo>
                  <a:lnTo>
                    <a:pt x="1047" y="416"/>
                  </a:lnTo>
                  <a:lnTo>
                    <a:pt x="1047" y="416"/>
                  </a:lnTo>
                  <a:lnTo>
                    <a:pt x="1044" y="414"/>
                  </a:lnTo>
                  <a:lnTo>
                    <a:pt x="1042" y="414"/>
                  </a:lnTo>
                  <a:lnTo>
                    <a:pt x="1044" y="414"/>
                  </a:lnTo>
                  <a:lnTo>
                    <a:pt x="1047" y="414"/>
                  </a:lnTo>
                  <a:lnTo>
                    <a:pt x="1049" y="411"/>
                  </a:lnTo>
                  <a:lnTo>
                    <a:pt x="1049" y="411"/>
                  </a:lnTo>
                  <a:lnTo>
                    <a:pt x="1049" y="411"/>
                  </a:lnTo>
                  <a:lnTo>
                    <a:pt x="1049" y="411"/>
                  </a:lnTo>
                  <a:lnTo>
                    <a:pt x="1052" y="411"/>
                  </a:lnTo>
                  <a:lnTo>
                    <a:pt x="1052" y="411"/>
                  </a:lnTo>
                  <a:lnTo>
                    <a:pt x="1052" y="411"/>
                  </a:lnTo>
                  <a:lnTo>
                    <a:pt x="1052" y="414"/>
                  </a:lnTo>
                  <a:lnTo>
                    <a:pt x="1052" y="414"/>
                  </a:lnTo>
                  <a:lnTo>
                    <a:pt x="1052" y="414"/>
                  </a:lnTo>
                  <a:lnTo>
                    <a:pt x="1054" y="411"/>
                  </a:lnTo>
                  <a:lnTo>
                    <a:pt x="1054" y="411"/>
                  </a:lnTo>
                  <a:lnTo>
                    <a:pt x="1056" y="409"/>
                  </a:lnTo>
                  <a:lnTo>
                    <a:pt x="1056" y="409"/>
                  </a:lnTo>
                  <a:lnTo>
                    <a:pt x="1059" y="409"/>
                  </a:lnTo>
                  <a:lnTo>
                    <a:pt x="1059" y="409"/>
                  </a:lnTo>
                  <a:lnTo>
                    <a:pt x="1059" y="406"/>
                  </a:lnTo>
                  <a:lnTo>
                    <a:pt x="1059" y="406"/>
                  </a:lnTo>
                  <a:lnTo>
                    <a:pt x="1061" y="404"/>
                  </a:lnTo>
                  <a:lnTo>
                    <a:pt x="1061" y="404"/>
                  </a:lnTo>
                  <a:lnTo>
                    <a:pt x="1061" y="404"/>
                  </a:lnTo>
                  <a:lnTo>
                    <a:pt x="1056" y="402"/>
                  </a:lnTo>
                  <a:lnTo>
                    <a:pt x="1056" y="402"/>
                  </a:lnTo>
                  <a:lnTo>
                    <a:pt x="1059" y="399"/>
                  </a:lnTo>
                  <a:lnTo>
                    <a:pt x="1059" y="399"/>
                  </a:lnTo>
                  <a:lnTo>
                    <a:pt x="1061" y="397"/>
                  </a:lnTo>
                  <a:lnTo>
                    <a:pt x="1063" y="397"/>
                  </a:lnTo>
                  <a:lnTo>
                    <a:pt x="1063" y="395"/>
                  </a:lnTo>
                  <a:lnTo>
                    <a:pt x="1063" y="395"/>
                  </a:lnTo>
                  <a:lnTo>
                    <a:pt x="1063" y="392"/>
                  </a:lnTo>
                  <a:lnTo>
                    <a:pt x="1063" y="392"/>
                  </a:lnTo>
                  <a:lnTo>
                    <a:pt x="1061" y="392"/>
                  </a:lnTo>
                  <a:lnTo>
                    <a:pt x="1054" y="390"/>
                  </a:lnTo>
                  <a:lnTo>
                    <a:pt x="1052" y="390"/>
                  </a:lnTo>
                  <a:lnTo>
                    <a:pt x="1049" y="390"/>
                  </a:lnTo>
                  <a:lnTo>
                    <a:pt x="1049" y="390"/>
                  </a:lnTo>
                  <a:lnTo>
                    <a:pt x="1052" y="390"/>
                  </a:lnTo>
                  <a:lnTo>
                    <a:pt x="1061" y="390"/>
                  </a:lnTo>
                  <a:lnTo>
                    <a:pt x="1063" y="390"/>
                  </a:lnTo>
                  <a:lnTo>
                    <a:pt x="1066" y="388"/>
                  </a:lnTo>
                  <a:lnTo>
                    <a:pt x="1066" y="388"/>
                  </a:lnTo>
                  <a:lnTo>
                    <a:pt x="1066" y="388"/>
                  </a:lnTo>
                  <a:lnTo>
                    <a:pt x="1068" y="385"/>
                  </a:lnTo>
                  <a:lnTo>
                    <a:pt x="1068" y="385"/>
                  </a:lnTo>
                  <a:lnTo>
                    <a:pt x="1068" y="385"/>
                  </a:lnTo>
                  <a:lnTo>
                    <a:pt x="1068" y="383"/>
                  </a:lnTo>
                  <a:lnTo>
                    <a:pt x="1068" y="383"/>
                  </a:lnTo>
                  <a:lnTo>
                    <a:pt x="1068" y="383"/>
                  </a:lnTo>
                  <a:lnTo>
                    <a:pt x="1068" y="380"/>
                  </a:lnTo>
                  <a:lnTo>
                    <a:pt x="1070" y="378"/>
                  </a:lnTo>
                  <a:lnTo>
                    <a:pt x="1073" y="376"/>
                  </a:lnTo>
                  <a:lnTo>
                    <a:pt x="1075" y="376"/>
                  </a:lnTo>
                  <a:lnTo>
                    <a:pt x="1075" y="376"/>
                  </a:lnTo>
                  <a:lnTo>
                    <a:pt x="1077" y="373"/>
                  </a:lnTo>
                  <a:lnTo>
                    <a:pt x="1077" y="373"/>
                  </a:lnTo>
                  <a:lnTo>
                    <a:pt x="1077" y="373"/>
                  </a:lnTo>
                  <a:lnTo>
                    <a:pt x="1080" y="373"/>
                  </a:lnTo>
                  <a:lnTo>
                    <a:pt x="1080" y="371"/>
                  </a:lnTo>
                  <a:lnTo>
                    <a:pt x="1080" y="371"/>
                  </a:lnTo>
                  <a:lnTo>
                    <a:pt x="1077" y="369"/>
                  </a:lnTo>
                  <a:lnTo>
                    <a:pt x="1077" y="371"/>
                  </a:lnTo>
                  <a:lnTo>
                    <a:pt x="1077" y="371"/>
                  </a:lnTo>
                  <a:lnTo>
                    <a:pt x="1075" y="371"/>
                  </a:lnTo>
                  <a:lnTo>
                    <a:pt x="1075" y="373"/>
                  </a:lnTo>
                  <a:lnTo>
                    <a:pt x="1073" y="373"/>
                  </a:lnTo>
                  <a:lnTo>
                    <a:pt x="1070" y="373"/>
                  </a:lnTo>
                  <a:lnTo>
                    <a:pt x="1070" y="373"/>
                  </a:lnTo>
                  <a:lnTo>
                    <a:pt x="1068" y="373"/>
                  </a:lnTo>
                  <a:lnTo>
                    <a:pt x="1068" y="373"/>
                  </a:lnTo>
                  <a:lnTo>
                    <a:pt x="1068" y="371"/>
                  </a:lnTo>
                  <a:lnTo>
                    <a:pt x="1068" y="371"/>
                  </a:lnTo>
                  <a:lnTo>
                    <a:pt x="1068" y="371"/>
                  </a:lnTo>
                  <a:lnTo>
                    <a:pt x="1068" y="369"/>
                  </a:lnTo>
                  <a:lnTo>
                    <a:pt x="1066" y="369"/>
                  </a:lnTo>
                  <a:lnTo>
                    <a:pt x="1063" y="371"/>
                  </a:lnTo>
                  <a:lnTo>
                    <a:pt x="1061" y="371"/>
                  </a:lnTo>
                  <a:lnTo>
                    <a:pt x="1056" y="369"/>
                  </a:lnTo>
                  <a:lnTo>
                    <a:pt x="1056" y="369"/>
                  </a:lnTo>
                  <a:lnTo>
                    <a:pt x="1054" y="369"/>
                  </a:lnTo>
                  <a:lnTo>
                    <a:pt x="1052" y="369"/>
                  </a:lnTo>
                  <a:lnTo>
                    <a:pt x="1052" y="366"/>
                  </a:lnTo>
                  <a:lnTo>
                    <a:pt x="1049" y="364"/>
                  </a:lnTo>
                  <a:lnTo>
                    <a:pt x="1049" y="364"/>
                  </a:lnTo>
                  <a:lnTo>
                    <a:pt x="1052" y="364"/>
                  </a:lnTo>
                  <a:lnTo>
                    <a:pt x="1052" y="364"/>
                  </a:lnTo>
                  <a:lnTo>
                    <a:pt x="1049" y="364"/>
                  </a:lnTo>
                  <a:lnTo>
                    <a:pt x="1049" y="361"/>
                  </a:lnTo>
                  <a:lnTo>
                    <a:pt x="1049" y="361"/>
                  </a:lnTo>
                  <a:lnTo>
                    <a:pt x="1052" y="361"/>
                  </a:lnTo>
                  <a:lnTo>
                    <a:pt x="1054" y="359"/>
                  </a:lnTo>
                  <a:lnTo>
                    <a:pt x="1054" y="359"/>
                  </a:lnTo>
                  <a:lnTo>
                    <a:pt x="1054" y="359"/>
                  </a:lnTo>
                  <a:lnTo>
                    <a:pt x="1054" y="359"/>
                  </a:lnTo>
                  <a:lnTo>
                    <a:pt x="1052" y="357"/>
                  </a:lnTo>
                  <a:lnTo>
                    <a:pt x="1052" y="357"/>
                  </a:lnTo>
                  <a:lnTo>
                    <a:pt x="1049" y="359"/>
                  </a:lnTo>
                  <a:lnTo>
                    <a:pt x="1049" y="359"/>
                  </a:lnTo>
                  <a:lnTo>
                    <a:pt x="1044" y="359"/>
                  </a:lnTo>
                  <a:lnTo>
                    <a:pt x="1044" y="359"/>
                  </a:lnTo>
                  <a:lnTo>
                    <a:pt x="1049" y="359"/>
                  </a:lnTo>
                  <a:lnTo>
                    <a:pt x="1049" y="359"/>
                  </a:lnTo>
                  <a:lnTo>
                    <a:pt x="1049" y="357"/>
                  </a:lnTo>
                  <a:lnTo>
                    <a:pt x="1049" y="357"/>
                  </a:lnTo>
                  <a:lnTo>
                    <a:pt x="1049" y="357"/>
                  </a:lnTo>
                  <a:lnTo>
                    <a:pt x="1049" y="354"/>
                  </a:lnTo>
                  <a:lnTo>
                    <a:pt x="1049" y="354"/>
                  </a:lnTo>
                  <a:lnTo>
                    <a:pt x="1047" y="354"/>
                  </a:lnTo>
                  <a:lnTo>
                    <a:pt x="1044" y="352"/>
                  </a:lnTo>
                  <a:lnTo>
                    <a:pt x="1044" y="354"/>
                  </a:lnTo>
                  <a:lnTo>
                    <a:pt x="1042" y="354"/>
                  </a:lnTo>
                  <a:lnTo>
                    <a:pt x="1042" y="354"/>
                  </a:lnTo>
                  <a:lnTo>
                    <a:pt x="1040" y="354"/>
                  </a:lnTo>
                  <a:lnTo>
                    <a:pt x="1042" y="352"/>
                  </a:lnTo>
                  <a:lnTo>
                    <a:pt x="1044" y="352"/>
                  </a:lnTo>
                  <a:lnTo>
                    <a:pt x="1044" y="350"/>
                  </a:lnTo>
                  <a:lnTo>
                    <a:pt x="1044" y="350"/>
                  </a:lnTo>
                  <a:lnTo>
                    <a:pt x="1044" y="350"/>
                  </a:lnTo>
                  <a:lnTo>
                    <a:pt x="1044" y="350"/>
                  </a:lnTo>
                  <a:lnTo>
                    <a:pt x="1044" y="350"/>
                  </a:lnTo>
                  <a:lnTo>
                    <a:pt x="1042" y="350"/>
                  </a:lnTo>
                  <a:lnTo>
                    <a:pt x="1042" y="347"/>
                  </a:lnTo>
                  <a:lnTo>
                    <a:pt x="1040" y="347"/>
                  </a:lnTo>
                  <a:lnTo>
                    <a:pt x="1040" y="347"/>
                  </a:lnTo>
                  <a:lnTo>
                    <a:pt x="1037" y="345"/>
                  </a:lnTo>
                  <a:lnTo>
                    <a:pt x="1037" y="345"/>
                  </a:lnTo>
                  <a:lnTo>
                    <a:pt x="1035" y="343"/>
                  </a:lnTo>
                  <a:lnTo>
                    <a:pt x="1035" y="343"/>
                  </a:lnTo>
                  <a:lnTo>
                    <a:pt x="1033" y="343"/>
                  </a:lnTo>
                  <a:lnTo>
                    <a:pt x="1030" y="343"/>
                  </a:lnTo>
                  <a:lnTo>
                    <a:pt x="1028" y="345"/>
                  </a:lnTo>
                  <a:lnTo>
                    <a:pt x="1026" y="345"/>
                  </a:lnTo>
                  <a:lnTo>
                    <a:pt x="1021" y="347"/>
                  </a:lnTo>
                  <a:lnTo>
                    <a:pt x="1019" y="347"/>
                  </a:lnTo>
                  <a:lnTo>
                    <a:pt x="1016" y="347"/>
                  </a:lnTo>
                  <a:lnTo>
                    <a:pt x="1016" y="350"/>
                  </a:lnTo>
                  <a:lnTo>
                    <a:pt x="1016" y="350"/>
                  </a:lnTo>
                  <a:lnTo>
                    <a:pt x="1014" y="347"/>
                  </a:lnTo>
                  <a:lnTo>
                    <a:pt x="1014" y="347"/>
                  </a:lnTo>
                  <a:lnTo>
                    <a:pt x="1012" y="347"/>
                  </a:lnTo>
                  <a:lnTo>
                    <a:pt x="1009" y="345"/>
                  </a:lnTo>
                  <a:lnTo>
                    <a:pt x="1007" y="345"/>
                  </a:lnTo>
                  <a:lnTo>
                    <a:pt x="1007" y="347"/>
                  </a:lnTo>
                  <a:lnTo>
                    <a:pt x="1000" y="347"/>
                  </a:lnTo>
                  <a:lnTo>
                    <a:pt x="1000" y="347"/>
                  </a:lnTo>
                  <a:lnTo>
                    <a:pt x="1002" y="347"/>
                  </a:lnTo>
                  <a:lnTo>
                    <a:pt x="1002" y="345"/>
                  </a:lnTo>
                  <a:lnTo>
                    <a:pt x="993" y="343"/>
                  </a:lnTo>
                  <a:lnTo>
                    <a:pt x="990" y="343"/>
                  </a:lnTo>
                  <a:lnTo>
                    <a:pt x="986" y="340"/>
                  </a:lnTo>
                  <a:lnTo>
                    <a:pt x="983" y="340"/>
                  </a:lnTo>
                  <a:lnTo>
                    <a:pt x="979" y="343"/>
                  </a:lnTo>
                  <a:lnTo>
                    <a:pt x="974" y="343"/>
                  </a:lnTo>
                  <a:lnTo>
                    <a:pt x="969" y="345"/>
                  </a:lnTo>
                  <a:lnTo>
                    <a:pt x="969" y="345"/>
                  </a:lnTo>
                  <a:lnTo>
                    <a:pt x="967" y="347"/>
                  </a:lnTo>
                  <a:lnTo>
                    <a:pt x="967" y="347"/>
                  </a:lnTo>
                  <a:lnTo>
                    <a:pt x="964" y="350"/>
                  </a:lnTo>
                  <a:lnTo>
                    <a:pt x="964" y="352"/>
                  </a:lnTo>
                  <a:lnTo>
                    <a:pt x="964" y="354"/>
                  </a:lnTo>
                  <a:lnTo>
                    <a:pt x="964" y="357"/>
                  </a:lnTo>
                  <a:lnTo>
                    <a:pt x="964" y="357"/>
                  </a:lnTo>
                  <a:lnTo>
                    <a:pt x="964" y="357"/>
                  </a:lnTo>
                  <a:lnTo>
                    <a:pt x="967" y="359"/>
                  </a:lnTo>
                  <a:lnTo>
                    <a:pt x="967" y="359"/>
                  </a:lnTo>
                  <a:lnTo>
                    <a:pt x="964" y="361"/>
                  </a:lnTo>
                  <a:lnTo>
                    <a:pt x="962" y="361"/>
                  </a:lnTo>
                  <a:lnTo>
                    <a:pt x="962" y="364"/>
                  </a:lnTo>
                  <a:lnTo>
                    <a:pt x="960" y="366"/>
                  </a:lnTo>
                  <a:lnTo>
                    <a:pt x="960" y="366"/>
                  </a:lnTo>
                  <a:lnTo>
                    <a:pt x="960" y="369"/>
                  </a:lnTo>
                  <a:lnTo>
                    <a:pt x="957" y="369"/>
                  </a:lnTo>
                  <a:lnTo>
                    <a:pt x="955" y="371"/>
                  </a:lnTo>
                  <a:lnTo>
                    <a:pt x="950" y="373"/>
                  </a:lnTo>
                  <a:lnTo>
                    <a:pt x="948" y="373"/>
                  </a:lnTo>
                  <a:lnTo>
                    <a:pt x="950" y="373"/>
                  </a:lnTo>
                  <a:lnTo>
                    <a:pt x="950" y="373"/>
                  </a:lnTo>
                  <a:lnTo>
                    <a:pt x="953" y="376"/>
                  </a:lnTo>
                  <a:lnTo>
                    <a:pt x="957" y="373"/>
                  </a:lnTo>
                  <a:lnTo>
                    <a:pt x="957" y="376"/>
                  </a:lnTo>
                  <a:lnTo>
                    <a:pt x="955" y="376"/>
                  </a:lnTo>
                  <a:lnTo>
                    <a:pt x="953" y="376"/>
                  </a:lnTo>
                  <a:lnTo>
                    <a:pt x="953" y="378"/>
                  </a:lnTo>
                  <a:lnTo>
                    <a:pt x="953" y="378"/>
                  </a:lnTo>
                  <a:lnTo>
                    <a:pt x="953" y="378"/>
                  </a:lnTo>
                  <a:lnTo>
                    <a:pt x="953" y="378"/>
                  </a:lnTo>
                  <a:lnTo>
                    <a:pt x="955" y="380"/>
                  </a:lnTo>
                  <a:lnTo>
                    <a:pt x="955" y="380"/>
                  </a:lnTo>
                  <a:lnTo>
                    <a:pt x="953" y="380"/>
                  </a:lnTo>
                  <a:lnTo>
                    <a:pt x="950" y="383"/>
                  </a:lnTo>
                  <a:lnTo>
                    <a:pt x="950" y="383"/>
                  </a:lnTo>
                  <a:lnTo>
                    <a:pt x="950" y="388"/>
                  </a:lnTo>
                  <a:lnTo>
                    <a:pt x="950" y="388"/>
                  </a:lnTo>
                  <a:lnTo>
                    <a:pt x="948" y="388"/>
                  </a:lnTo>
                  <a:lnTo>
                    <a:pt x="948" y="388"/>
                  </a:lnTo>
                  <a:lnTo>
                    <a:pt x="948" y="390"/>
                  </a:lnTo>
                  <a:lnTo>
                    <a:pt x="953" y="390"/>
                  </a:lnTo>
                  <a:lnTo>
                    <a:pt x="953" y="390"/>
                  </a:lnTo>
                  <a:lnTo>
                    <a:pt x="950" y="392"/>
                  </a:lnTo>
                  <a:lnTo>
                    <a:pt x="948" y="392"/>
                  </a:lnTo>
                  <a:lnTo>
                    <a:pt x="948" y="392"/>
                  </a:lnTo>
                  <a:lnTo>
                    <a:pt x="948" y="395"/>
                  </a:lnTo>
                  <a:lnTo>
                    <a:pt x="946" y="395"/>
                  </a:lnTo>
                  <a:lnTo>
                    <a:pt x="946" y="397"/>
                  </a:lnTo>
                  <a:lnTo>
                    <a:pt x="946" y="397"/>
                  </a:lnTo>
                  <a:lnTo>
                    <a:pt x="946" y="399"/>
                  </a:lnTo>
                  <a:lnTo>
                    <a:pt x="946" y="399"/>
                  </a:lnTo>
                  <a:lnTo>
                    <a:pt x="943" y="397"/>
                  </a:lnTo>
                  <a:lnTo>
                    <a:pt x="941" y="397"/>
                  </a:lnTo>
                  <a:lnTo>
                    <a:pt x="941" y="397"/>
                  </a:lnTo>
                  <a:lnTo>
                    <a:pt x="938" y="399"/>
                  </a:lnTo>
                  <a:lnTo>
                    <a:pt x="938" y="399"/>
                  </a:lnTo>
                  <a:lnTo>
                    <a:pt x="936" y="399"/>
                  </a:lnTo>
                  <a:lnTo>
                    <a:pt x="936" y="402"/>
                  </a:lnTo>
                  <a:lnTo>
                    <a:pt x="936" y="402"/>
                  </a:lnTo>
                  <a:lnTo>
                    <a:pt x="936" y="402"/>
                  </a:lnTo>
                  <a:lnTo>
                    <a:pt x="934" y="404"/>
                  </a:lnTo>
                  <a:lnTo>
                    <a:pt x="931" y="404"/>
                  </a:lnTo>
                  <a:lnTo>
                    <a:pt x="929" y="406"/>
                  </a:lnTo>
                  <a:lnTo>
                    <a:pt x="929" y="406"/>
                  </a:lnTo>
                  <a:lnTo>
                    <a:pt x="924" y="409"/>
                  </a:lnTo>
                  <a:lnTo>
                    <a:pt x="920" y="411"/>
                  </a:lnTo>
                  <a:lnTo>
                    <a:pt x="920" y="411"/>
                  </a:lnTo>
                  <a:lnTo>
                    <a:pt x="920" y="414"/>
                  </a:lnTo>
                  <a:lnTo>
                    <a:pt x="917" y="414"/>
                  </a:lnTo>
                  <a:lnTo>
                    <a:pt x="917" y="416"/>
                  </a:lnTo>
                  <a:lnTo>
                    <a:pt x="917" y="416"/>
                  </a:lnTo>
                  <a:lnTo>
                    <a:pt x="917" y="418"/>
                  </a:lnTo>
                  <a:lnTo>
                    <a:pt x="917" y="418"/>
                  </a:lnTo>
                  <a:lnTo>
                    <a:pt x="922" y="421"/>
                  </a:lnTo>
                  <a:lnTo>
                    <a:pt x="922" y="423"/>
                  </a:lnTo>
                  <a:lnTo>
                    <a:pt x="924" y="423"/>
                  </a:lnTo>
                  <a:lnTo>
                    <a:pt x="927" y="425"/>
                  </a:lnTo>
                  <a:lnTo>
                    <a:pt x="927" y="425"/>
                  </a:lnTo>
                  <a:lnTo>
                    <a:pt x="929" y="428"/>
                  </a:lnTo>
                  <a:lnTo>
                    <a:pt x="929" y="435"/>
                  </a:lnTo>
                  <a:lnTo>
                    <a:pt x="929" y="435"/>
                  </a:lnTo>
                  <a:lnTo>
                    <a:pt x="929" y="437"/>
                  </a:lnTo>
                  <a:lnTo>
                    <a:pt x="929" y="442"/>
                  </a:lnTo>
                  <a:lnTo>
                    <a:pt x="929" y="444"/>
                  </a:lnTo>
                  <a:lnTo>
                    <a:pt x="929" y="444"/>
                  </a:lnTo>
                  <a:lnTo>
                    <a:pt x="924" y="451"/>
                  </a:lnTo>
                  <a:lnTo>
                    <a:pt x="924" y="454"/>
                  </a:lnTo>
                  <a:lnTo>
                    <a:pt x="920" y="458"/>
                  </a:lnTo>
                  <a:lnTo>
                    <a:pt x="920" y="461"/>
                  </a:lnTo>
                  <a:lnTo>
                    <a:pt x="915" y="466"/>
                  </a:lnTo>
                  <a:lnTo>
                    <a:pt x="915" y="466"/>
                  </a:lnTo>
                  <a:lnTo>
                    <a:pt x="910" y="468"/>
                  </a:lnTo>
                  <a:lnTo>
                    <a:pt x="908" y="470"/>
                  </a:lnTo>
                  <a:lnTo>
                    <a:pt x="903" y="473"/>
                  </a:lnTo>
                  <a:lnTo>
                    <a:pt x="901" y="475"/>
                  </a:lnTo>
                  <a:lnTo>
                    <a:pt x="898" y="477"/>
                  </a:lnTo>
                  <a:lnTo>
                    <a:pt x="889" y="482"/>
                  </a:lnTo>
                  <a:lnTo>
                    <a:pt x="887" y="482"/>
                  </a:lnTo>
                  <a:lnTo>
                    <a:pt x="884" y="484"/>
                  </a:lnTo>
                  <a:lnTo>
                    <a:pt x="880" y="484"/>
                  </a:lnTo>
                  <a:lnTo>
                    <a:pt x="877" y="487"/>
                  </a:lnTo>
                  <a:lnTo>
                    <a:pt x="872" y="489"/>
                  </a:lnTo>
                  <a:lnTo>
                    <a:pt x="865" y="489"/>
                  </a:lnTo>
                  <a:lnTo>
                    <a:pt x="865" y="492"/>
                  </a:lnTo>
                  <a:lnTo>
                    <a:pt x="851" y="494"/>
                  </a:lnTo>
                  <a:lnTo>
                    <a:pt x="851" y="494"/>
                  </a:lnTo>
                  <a:lnTo>
                    <a:pt x="849" y="496"/>
                  </a:lnTo>
                  <a:lnTo>
                    <a:pt x="851" y="496"/>
                  </a:lnTo>
                  <a:lnTo>
                    <a:pt x="851" y="496"/>
                  </a:lnTo>
                  <a:lnTo>
                    <a:pt x="851" y="496"/>
                  </a:lnTo>
                  <a:lnTo>
                    <a:pt x="851" y="499"/>
                  </a:lnTo>
                  <a:lnTo>
                    <a:pt x="851" y="501"/>
                  </a:lnTo>
                  <a:lnTo>
                    <a:pt x="851" y="501"/>
                  </a:lnTo>
                  <a:lnTo>
                    <a:pt x="851" y="503"/>
                  </a:lnTo>
                  <a:lnTo>
                    <a:pt x="851" y="503"/>
                  </a:lnTo>
                  <a:lnTo>
                    <a:pt x="851" y="506"/>
                  </a:lnTo>
                  <a:lnTo>
                    <a:pt x="854" y="506"/>
                  </a:lnTo>
                  <a:lnTo>
                    <a:pt x="854" y="506"/>
                  </a:lnTo>
                  <a:lnTo>
                    <a:pt x="851" y="506"/>
                  </a:lnTo>
                  <a:lnTo>
                    <a:pt x="851" y="506"/>
                  </a:lnTo>
                  <a:lnTo>
                    <a:pt x="854" y="508"/>
                  </a:lnTo>
                  <a:lnTo>
                    <a:pt x="854" y="508"/>
                  </a:lnTo>
                  <a:lnTo>
                    <a:pt x="854" y="508"/>
                  </a:lnTo>
                  <a:lnTo>
                    <a:pt x="851" y="510"/>
                  </a:lnTo>
                  <a:lnTo>
                    <a:pt x="851" y="510"/>
                  </a:lnTo>
                  <a:lnTo>
                    <a:pt x="851" y="510"/>
                  </a:lnTo>
                  <a:lnTo>
                    <a:pt x="854" y="510"/>
                  </a:lnTo>
                  <a:lnTo>
                    <a:pt x="851" y="513"/>
                  </a:lnTo>
                  <a:lnTo>
                    <a:pt x="851" y="510"/>
                  </a:lnTo>
                  <a:lnTo>
                    <a:pt x="851" y="513"/>
                  </a:lnTo>
                  <a:lnTo>
                    <a:pt x="849" y="513"/>
                  </a:lnTo>
                  <a:lnTo>
                    <a:pt x="849" y="513"/>
                  </a:lnTo>
                  <a:lnTo>
                    <a:pt x="849" y="515"/>
                  </a:lnTo>
                  <a:lnTo>
                    <a:pt x="849" y="518"/>
                  </a:lnTo>
                  <a:lnTo>
                    <a:pt x="847" y="520"/>
                  </a:lnTo>
                  <a:lnTo>
                    <a:pt x="844" y="525"/>
                  </a:lnTo>
                  <a:lnTo>
                    <a:pt x="844" y="527"/>
                  </a:lnTo>
                  <a:lnTo>
                    <a:pt x="844" y="529"/>
                  </a:lnTo>
                  <a:lnTo>
                    <a:pt x="844" y="529"/>
                  </a:lnTo>
                  <a:lnTo>
                    <a:pt x="844" y="532"/>
                  </a:lnTo>
                  <a:lnTo>
                    <a:pt x="844" y="532"/>
                  </a:lnTo>
                  <a:lnTo>
                    <a:pt x="844" y="534"/>
                  </a:lnTo>
                  <a:lnTo>
                    <a:pt x="842" y="536"/>
                  </a:lnTo>
                  <a:lnTo>
                    <a:pt x="842" y="536"/>
                  </a:lnTo>
                  <a:lnTo>
                    <a:pt x="844" y="539"/>
                  </a:lnTo>
                  <a:lnTo>
                    <a:pt x="844" y="539"/>
                  </a:lnTo>
                  <a:lnTo>
                    <a:pt x="842" y="541"/>
                  </a:lnTo>
                  <a:lnTo>
                    <a:pt x="842" y="541"/>
                  </a:lnTo>
                  <a:lnTo>
                    <a:pt x="842" y="544"/>
                  </a:lnTo>
                  <a:lnTo>
                    <a:pt x="842" y="544"/>
                  </a:lnTo>
                  <a:lnTo>
                    <a:pt x="842" y="544"/>
                  </a:lnTo>
                  <a:lnTo>
                    <a:pt x="842" y="544"/>
                  </a:lnTo>
                  <a:lnTo>
                    <a:pt x="839" y="546"/>
                  </a:lnTo>
                  <a:lnTo>
                    <a:pt x="837" y="548"/>
                  </a:lnTo>
                  <a:lnTo>
                    <a:pt x="832" y="548"/>
                  </a:lnTo>
                  <a:lnTo>
                    <a:pt x="832" y="551"/>
                  </a:lnTo>
                  <a:lnTo>
                    <a:pt x="830" y="551"/>
                  </a:lnTo>
                  <a:lnTo>
                    <a:pt x="830" y="553"/>
                  </a:lnTo>
                  <a:lnTo>
                    <a:pt x="830" y="553"/>
                  </a:lnTo>
                  <a:lnTo>
                    <a:pt x="828" y="553"/>
                  </a:lnTo>
                  <a:lnTo>
                    <a:pt x="830" y="558"/>
                  </a:lnTo>
                  <a:lnTo>
                    <a:pt x="830" y="558"/>
                  </a:lnTo>
                  <a:lnTo>
                    <a:pt x="830" y="558"/>
                  </a:lnTo>
                  <a:lnTo>
                    <a:pt x="828" y="560"/>
                  </a:lnTo>
                  <a:lnTo>
                    <a:pt x="828" y="560"/>
                  </a:lnTo>
                  <a:lnTo>
                    <a:pt x="825" y="562"/>
                  </a:lnTo>
                  <a:lnTo>
                    <a:pt x="823" y="565"/>
                  </a:lnTo>
                  <a:lnTo>
                    <a:pt x="825" y="562"/>
                  </a:lnTo>
                  <a:lnTo>
                    <a:pt x="825" y="560"/>
                  </a:lnTo>
                  <a:lnTo>
                    <a:pt x="825" y="560"/>
                  </a:lnTo>
                  <a:lnTo>
                    <a:pt x="825" y="560"/>
                  </a:lnTo>
                  <a:lnTo>
                    <a:pt x="825" y="558"/>
                  </a:lnTo>
                  <a:lnTo>
                    <a:pt x="823" y="558"/>
                  </a:lnTo>
                  <a:lnTo>
                    <a:pt x="823" y="558"/>
                  </a:lnTo>
                  <a:lnTo>
                    <a:pt x="823" y="558"/>
                  </a:lnTo>
                  <a:lnTo>
                    <a:pt x="823" y="555"/>
                  </a:lnTo>
                  <a:lnTo>
                    <a:pt x="821" y="555"/>
                  </a:lnTo>
                  <a:lnTo>
                    <a:pt x="818" y="558"/>
                  </a:lnTo>
                  <a:lnTo>
                    <a:pt x="818" y="558"/>
                  </a:lnTo>
                  <a:lnTo>
                    <a:pt x="816" y="558"/>
                  </a:lnTo>
                  <a:lnTo>
                    <a:pt x="816" y="560"/>
                  </a:lnTo>
                  <a:lnTo>
                    <a:pt x="814" y="560"/>
                  </a:lnTo>
                  <a:lnTo>
                    <a:pt x="814" y="562"/>
                  </a:lnTo>
                  <a:lnTo>
                    <a:pt x="811" y="565"/>
                  </a:lnTo>
                  <a:lnTo>
                    <a:pt x="811" y="565"/>
                  </a:lnTo>
                  <a:lnTo>
                    <a:pt x="811" y="565"/>
                  </a:lnTo>
                  <a:lnTo>
                    <a:pt x="811" y="567"/>
                  </a:lnTo>
                  <a:lnTo>
                    <a:pt x="811" y="567"/>
                  </a:lnTo>
                  <a:lnTo>
                    <a:pt x="811" y="570"/>
                  </a:lnTo>
                  <a:lnTo>
                    <a:pt x="814" y="572"/>
                  </a:lnTo>
                  <a:lnTo>
                    <a:pt x="811" y="574"/>
                  </a:lnTo>
                  <a:lnTo>
                    <a:pt x="811" y="572"/>
                  </a:lnTo>
                  <a:lnTo>
                    <a:pt x="811" y="570"/>
                  </a:lnTo>
                  <a:lnTo>
                    <a:pt x="809" y="565"/>
                  </a:lnTo>
                  <a:lnTo>
                    <a:pt x="806" y="565"/>
                  </a:lnTo>
                  <a:lnTo>
                    <a:pt x="806" y="562"/>
                  </a:lnTo>
                  <a:lnTo>
                    <a:pt x="804" y="562"/>
                  </a:lnTo>
                  <a:lnTo>
                    <a:pt x="802" y="562"/>
                  </a:lnTo>
                  <a:lnTo>
                    <a:pt x="799" y="562"/>
                  </a:lnTo>
                  <a:lnTo>
                    <a:pt x="795" y="565"/>
                  </a:lnTo>
                  <a:lnTo>
                    <a:pt x="792" y="567"/>
                  </a:lnTo>
                  <a:lnTo>
                    <a:pt x="792" y="567"/>
                  </a:lnTo>
                  <a:lnTo>
                    <a:pt x="797" y="562"/>
                  </a:lnTo>
                  <a:lnTo>
                    <a:pt x="799" y="562"/>
                  </a:lnTo>
                  <a:lnTo>
                    <a:pt x="802" y="560"/>
                  </a:lnTo>
                  <a:lnTo>
                    <a:pt x="802" y="560"/>
                  </a:lnTo>
                  <a:lnTo>
                    <a:pt x="802" y="558"/>
                  </a:lnTo>
                  <a:lnTo>
                    <a:pt x="802" y="555"/>
                  </a:lnTo>
                  <a:lnTo>
                    <a:pt x="802" y="553"/>
                  </a:lnTo>
                  <a:lnTo>
                    <a:pt x="802" y="553"/>
                  </a:lnTo>
                  <a:lnTo>
                    <a:pt x="799" y="548"/>
                  </a:lnTo>
                  <a:lnTo>
                    <a:pt x="797" y="548"/>
                  </a:lnTo>
                  <a:lnTo>
                    <a:pt x="795" y="546"/>
                  </a:lnTo>
                  <a:lnTo>
                    <a:pt x="795" y="546"/>
                  </a:lnTo>
                  <a:lnTo>
                    <a:pt x="795" y="544"/>
                  </a:lnTo>
                  <a:lnTo>
                    <a:pt x="792" y="544"/>
                  </a:lnTo>
                  <a:lnTo>
                    <a:pt x="792" y="544"/>
                  </a:lnTo>
                  <a:lnTo>
                    <a:pt x="790" y="544"/>
                  </a:lnTo>
                  <a:lnTo>
                    <a:pt x="788" y="544"/>
                  </a:lnTo>
                  <a:lnTo>
                    <a:pt x="790" y="544"/>
                  </a:lnTo>
                  <a:lnTo>
                    <a:pt x="792" y="544"/>
                  </a:lnTo>
                  <a:lnTo>
                    <a:pt x="792" y="541"/>
                  </a:lnTo>
                  <a:lnTo>
                    <a:pt x="795" y="541"/>
                  </a:lnTo>
                  <a:lnTo>
                    <a:pt x="795" y="539"/>
                  </a:lnTo>
                  <a:lnTo>
                    <a:pt x="795" y="536"/>
                  </a:lnTo>
                  <a:lnTo>
                    <a:pt x="792" y="536"/>
                  </a:lnTo>
                  <a:lnTo>
                    <a:pt x="792" y="532"/>
                  </a:lnTo>
                  <a:lnTo>
                    <a:pt x="792" y="532"/>
                  </a:lnTo>
                  <a:lnTo>
                    <a:pt x="790" y="529"/>
                  </a:lnTo>
                  <a:lnTo>
                    <a:pt x="790" y="529"/>
                  </a:lnTo>
                  <a:lnTo>
                    <a:pt x="790" y="527"/>
                  </a:lnTo>
                  <a:lnTo>
                    <a:pt x="790" y="527"/>
                  </a:lnTo>
                  <a:lnTo>
                    <a:pt x="792" y="525"/>
                  </a:lnTo>
                  <a:lnTo>
                    <a:pt x="795" y="525"/>
                  </a:lnTo>
                  <a:lnTo>
                    <a:pt x="795" y="522"/>
                  </a:lnTo>
                  <a:lnTo>
                    <a:pt x="797" y="520"/>
                  </a:lnTo>
                  <a:lnTo>
                    <a:pt x="797" y="518"/>
                  </a:lnTo>
                  <a:lnTo>
                    <a:pt x="799" y="515"/>
                  </a:lnTo>
                  <a:lnTo>
                    <a:pt x="802" y="513"/>
                  </a:lnTo>
                  <a:lnTo>
                    <a:pt x="802" y="513"/>
                  </a:lnTo>
                  <a:lnTo>
                    <a:pt x="802" y="510"/>
                  </a:lnTo>
                  <a:lnTo>
                    <a:pt x="804" y="508"/>
                  </a:lnTo>
                  <a:lnTo>
                    <a:pt x="804" y="506"/>
                  </a:lnTo>
                  <a:lnTo>
                    <a:pt x="802" y="506"/>
                  </a:lnTo>
                  <a:lnTo>
                    <a:pt x="802" y="503"/>
                  </a:lnTo>
                  <a:lnTo>
                    <a:pt x="804" y="501"/>
                  </a:lnTo>
                  <a:lnTo>
                    <a:pt x="806" y="499"/>
                  </a:lnTo>
                  <a:lnTo>
                    <a:pt x="814" y="492"/>
                  </a:lnTo>
                  <a:lnTo>
                    <a:pt x="814" y="492"/>
                  </a:lnTo>
                  <a:lnTo>
                    <a:pt x="814" y="489"/>
                  </a:lnTo>
                  <a:lnTo>
                    <a:pt x="814" y="487"/>
                  </a:lnTo>
                  <a:lnTo>
                    <a:pt x="811" y="484"/>
                  </a:lnTo>
                  <a:lnTo>
                    <a:pt x="809" y="484"/>
                  </a:lnTo>
                  <a:lnTo>
                    <a:pt x="809" y="484"/>
                  </a:lnTo>
                  <a:lnTo>
                    <a:pt x="806" y="484"/>
                  </a:lnTo>
                  <a:lnTo>
                    <a:pt x="806" y="484"/>
                  </a:lnTo>
                  <a:lnTo>
                    <a:pt x="806" y="484"/>
                  </a:lnTo>
                  <a:lnTo>
                    <a:pt x="802" y="484"/>
                  </a:lnTo>
                  <a:lnTo>
                    <a:pt x="797" y="482"/>
                  </a:lnTo>
                  <a:lnTo>
                    <a:pt x="795" y="482"/>
                  </a:lnTo>
                  <a:lnTo>
                    <a:pt x="792" y="482"/>
                  </a:lnTo>
                  <a:lnTo>
                    <a:pt x="792" y="482"/>
                  </a:lnTo>
                  <a:lnTo>
                    <a:pt x="790" y="482"/>
                  </a:lnTo>
                  <a:lnTo>
                    <a:pt x="790" y="482"/>
                  </a:lnTo>
                  <a:lnTo>
                    <a:pt x="788" y="482"/>
                  </a:lnTo>
                  <a:lnTo>
                    <a:pt x="785" y="482"/>
                  </a:lnTo>
                  <a:lnTo>
                    <a:pt x="783" y="482"/>
                  </a:lnTo>
                  <a:lnTo>
                    <a:pt x="781" y="482"/>
                  </a:lnTo>
                  <a:lnTo>
                    <a:pt x="776" y="482"/>
                  </a:lnTo>
                  <a:lnTo>
                    <a:pt x="773" y="482"/>
                  </a:lnTo>
                  <a:lnTo>
                    <a:pt x="773" y="482"/>
                  </a:lnTo>
                  <a:lnTo>
                    <a:pt x="771" y="484"/>
                  </a:lnTo>
                  <a:lnTo>
                    <a:pt x="766" y="487"/>
                  </a:lnTo>
                  <a:lnTo>
                    <a:pt x="766" y="487"/>
                  </a:lnTo>
                  <a:lnTo>
                    <a:pt x="773" y="482"/>
                  </a:lnTo>
                  <a:lnTo>
                    <a:pt x="773" y="482"/>
                  </a:lnTo>
                  <a:lnTo>
                    <a:pt x="773" y="480"/>
                  </a:lnTo>
                  <a:lnTo>
                    <a:pt x="771" y="480"/>
                  </a:lnTo>
                  <a:lnTo>
                    <a:pt x="771" y="480"/>
                  </a:lnTo>
                  <a:lnTo>
                    <a:pt x="771" y="477"/>
                  </a:lnTo>
                  <a:lnTo>
                    <a:pt x="769" y="477"/>
                  </a:lnTo>
                  <a:lnTo>
                    <a:pt x="766" y="475"/>
                  </a:lnTo>
                  <a:lnTo>
                    <a:pt x="766" y="475"/>
                  </a:lnTo>
                  <a:lnTo>
                    <a:pt x="764" y="475"/>
                  </a:lnTo>
                  <a:lnTo>
                    <a:pt x="759" y="473"/>
                  </a:lnTo>
                  <a:lnTo>
                    <a:pt x="755" y="470"/>
                  </a:lnTo>
                  <a:lnTo>
                    <a:pt x="750" y="468"/>
                  </a:lnTo>
                  <a:lnTo>
                    <a:pt x="748" y="468"/>
                  </a:lnTo>
                  <a:lnTo>
                    <a:pt x="745" y="468"/>
                  </a:lnTo>
                  <a:lnTo>
                    <a:pt x="745" y="461"/>
                  </a:lnTo>
                  <a:lnTo>
                    <a:pt x="743" y="458"/>
                  </a:lnTo>
                  <a:lnTo>
                    <a:pt x="740" y="458"/>
                  </a:lnTo>
                  <a:lnTo>
                    <a:pt x="740" y="456"/>
                  </a:lnTo>
                  <a:lnTo>
                    <a:pt x="738" y="454"/>
                  </a:lnTo>
                  <a:lnTo>
                    <a:pt x="736" y="451"/>
                  </a:lnTo>
                  <a:lnTo>
                    <a:pt x="736" y="451"/>
                  </a:lnTo>
                  <a:lnTo>
                    <a:pt x="731" y="451"/>
                  </a:lnTo>
                  <a:lnTo>
                    <a:pt x="731" y="451"/>
                  </a:lnTo>
                  <a:lnTo>
                    <a:pt x="724" y="449"/>
                  </a:lnTo>
                  <a:lnTo>
                    <a:pt x="722" y="447"/>
                  </a:lnTo>
                  <a:lnTo>
                    <a:pt x="717" y="447"/>
                  </a:lnTo>
                  <a:lnTo>
                    <a:pt x="715" y="444"/>
                  </a:lnTo>
                  <a:lnTo>
                    <a:pt x="710" y="444"/>
                  </a:lnTo>
                  <a:lnTo>
                    <a:pt x="707" y="444"/>
                  </a:lnTo>
                  <a:lnTo>
                    <a:pt x="691" y="447"/>
                  </a:lnTo>
                  <a:lnTo>
                    <a:pt x="686" y="449"/>
                  </a:lnTo>
                  <a:lnTo>
                    <a:pt x="684" y="449"/>
                  </a:lnTo>
                  <a:lnTo>
                    <a:pt x="684" y="449"/>
                  </a:lnTo>
                  <a:lnTo>
                    <a:pt x="686" y="449"/>
                  </a:lnTo>
                  <a:lnTo>
                    <a:pt x="686" y="447"/>
                  </a:lnTo>
                  <a:lnTo>
                    <a:pt x="684" y="449"/>
                  </a:lnTo>
                  <a:lnTo>
                    <a:pt x="684" y="449"/>
                  </a:lnTo>
                  <a:lnTo>
                    <a:pt x="679" y="449"/>
                  </a:lnTo>
                  <a:lnTo>
                    <a:pt x="679" y="449"/>
                  </a:lnTo>
                  <a:lnTo>
                    <a:pt x="677" y="451"/>
                  </a:lnTo>
                  <a:lnTo>
                    <a:pt x="677" y="449"/>
                  </a:lnTo>
                  <a:lnTo>
                    <a:pt x="679" y="449"/>
                  </a:lnTo>
                  <a:lnTo>
                    <a:pt x="679" y="449"/>
                  </a:lnTo>
                  <a:lnTo>
                    <a:pt x="682" y="449"/>
                  </a:lnTo>
                  <a:lnTo>
                    <a:pt x="684" y="447"/>
                  </a:lnTo>
                  <a:lnTo>
                    <a:pt x="686" y="444"/>
                  </a:lnTo>
                  <a:lnTo>
                    <a:pt x="689" y="444"/>
                  </a:lnTo>
                  <a:lnTo>
                    <a:pt x="689" y="442"/>
                  </a:lnTo>
                  <a:lnTo>
                    <a:pt x="689" y="442"/>
                  </a:lnTo>
                  <a:lnTo>
                    <a:pt x="689" y="440"/>
                  </a:lnTo>
                  <a:lnTo>
                    <a:pt x="691" y="432"/>
                  </a:lnTo>
                  <a:lnTo>
                    <a:pt x="691" y="432"/>
                  </a:lnTo>
                  <a:lnTo>
                    <a:pt x="693" y="428"/>
                  </a:lnTo>
                  <a:lnTo>
                    <a:pt x="693" y="425"/>
                  </a:lnTo>
                  <a:lnTo>
                    <a:pt x="696" y="421"/>
                  </a:lnTo>
                  <a:lnTo>
                    <a:pt x="696" y="418"/>
                  </a:lnTo>
                  <a:lnTo>
                    <a:pt x="698" y="416"/>
                  </a:lnTo>
                  <a:lnTo>
                    <a:pt x="698" y="416"/>
                  </a:lnTo>
                  <a:lnTo>
                    <a:pt x="696" y="414"/>
                  </a:lnTo>
                  <a:lnTo>
                    <a:pt x="693" y="414"/>
                  </a:lnTo>
                  <a:lnTo>
                    <a:pt x="693" y="414"/>
                  </a:lnTo>
                  <a:lnTo>
                    <a:pt x="689" y="414"/>
                  </a:lnTo>
                  <a:lnTo>
                    <a:pt x="684" y="414"/>
                  </a:lnTo>
                  <a:lnTo>
                    <a:pt x="684" y="414"/>
                  </a:lnTo>
                  <a:lnTo>
                    <a:pt x="679" y="416"/>
                  </a:lnTo>
                  <a:lnTo>
                    <a:pt x="674" y="421"/>
                  </a:lnTo>
                  <a:lnTo>
                    <a:pt x="674" y="423"/>
                  </a:lnTo>
                  <a:lnTo>
                    <a:pt x="674" y="423"/>
                  </a:lnTo>
                  <a:lnTo>
                    <a:pt x="679" y="416"/>
                  </a:lnTo>
                  <a:lnTo>
                    <a:pt x="679" y="416"/>
                  </a:lnTo>
                  <a:lnTo>
                    <a:pt x="679" y="414"/>
                  </a:lnTo>
                  <a:lnTo>
                    <a:pt x="679" y="414"/>
                  </a:lnTo>
                  <a:lnTo>
                    <a:pt x="677" y="411"/>
                  </a:lnTo>
                  <a:lnTo>
                    <a:pt x="677" y="411"/>
                  </a:lnTo>
                  <a:lnTo>
                    <a:pt x="677" y="411"/>
                  </a:lnTo>
                  <a:lnTo>
                    <a:pt x="677" y="411"/>
                  </a:lnTo>
                  <a:lnTo>
                    <a:pt x="677" y="411"/>
                  </a:lnTo>
                  <a:lnTo>
                    <a:pt x="677" y="409"/>
                  </a:lnTo>
                  <a:lnTo>
                    <a:pt x="677" y="409"/>
                  </a:lnTo>
                  <a:lnTo>
                    <a:pt x="674" y="409"/>
                  </a:lnTo>
                  <a:lnTo>
                    <a:pt x="677" y="409"/>
                  </a:lnTo>
                  <a:lnTo>
                    <a:pt x="679" y="406"/>
                  </a:lnTo>
                  <a:lnTo>
                    <a:pt x="682" y="404"/>
                  </a:lnTo>
                  <a:lnTo>
                    <a:pt x="684" y="399"/>
                  </a:lnTo>
                  <a:lnTo>
                    <a:pt x="691" y="390"/>
                  </a:lnTo>
                  <a:lnTo>
                    <a:pt x="693" y="388"/>
                  </a:lnTo>
                  <a:lnTo>
                    <a:pt x="698" y="385"/>
                  </a:lnTo>
                  <a:lnTo>
                    <a:pt x="700" y="383"/>
                  </a:lnTo>
                  <a:lnTo>
                    <a:pt x="700" y="380"/>
                  </a:lnTo>
                  <a:lnTo>
                    <a:pt x="700" y="380"/>
                  </a:lnTo>
                  <a:lnTo>
                    <a:pt x="700" y="380"/>
                  </a:lnTo>
                  <a:lnTo>
                    <a:pt x="700" y="380"/>
                  </a:lnTo>
                  <a:lnTo>
                    <a:pt x="703" y="380"/>
                  </a:lnTo>
                  <a:lnTo>
                    <a:pt x="705" y="378"/>
                  </a:lnTo>
                  <a:lnTo>
                    <a:pt x="707" y="376"/>
                  </a:lnTo>
                  <a:lnTo>
                    <a:pt x="712" y="373"/>
                  </a:lnTo>
                  <a:lnTo>
                    <a:pt x="717" y="371"/>
                  </a:lnTo>
                  <a:lnTo>
                    <a:pt x="719" y="369"/>
                  </a:lnTo>
                  <a:lnTo>
                    <a:pt x="722" y="366"/>
                  </a:lnTo>
                  <a:lnTo>
                    <a:pt x="722" y="366"/>
                  </a:lnTo>
                  <a:lnTo>
                    <a:pt x="722" y="364"/>
                  </a:lnTo>
                  <a:lnTo>
                    <a:pt x="722" y="364"/>
                  </a:lnTo>
                  <a:lnTo>
                    <a:pt x="724" y="364"/>
                  </a:lnTo>
                  <a:lnTo>
                    <a:pt x="724" y="364"/>
                  </a:lnTo>
                  <a:lnTo>
                    <a:pt x="726" y="364"/>
                  </a:lnTo>
                  <a:lnTo>
                    <a:pt x="726" y="361"/>
                  </a:lnTo>
                  <a:lnTo>
                    <a:pt x="726" y="361"/>
                  </a:lnTo>
                  <a:lnTo>
                    <a:pt x="731" y="359"/>
                  </a:lnTo>
                  <a:lnTo>
                    <a:pt x="738" y="357"/>
                  </a:lnTo>
                  <a:lnTo>
                    <a:pt x="738" y="357"/>
                  </a:lnTo>
                  <a:lnTo>
                    <a:pt x="740" y="357"/>
                  </a:lnTo>
                  <a:lnTo>
                    <a:pt x="740" y="357"/>
                  </a:lnTo>
                  <a:lnTo>
                    <a:pt x="738" y="354"/>
                  </a:lnTo>
                  <a:lnTo>
                    <a:pt x="738" y="354"/>
                  </a:lnTo>
                  <a:lnTo>
                    <a:pt x="738" y="354"/>
                  </a:lnTo>
                  <a:lnTo>
                    <a:pt x="738" y="352"/>
                  </a:lnTo>
                  <a:lnTo>
                    <a:pt x="740" y="352"/>
                  </a:lnTo>
                  <a:lnTo>
                    <a:pt x="743" y="352"/>
                  </a:lnTo>
                  <a:lnTo>
                    <a:pt x="743" y="352"/>
                  </a:lnTo>
                  <a:lnTo>
                    <a:pt x="743" y="352"/>
                  </a:lnTo>
                  <a:lnTo>
                    <a:pt x="743" y="352"/>
                  </a:lnTo>
                  <a:lnTo>
                    <a:pt x="743" y="352"/>
                  </a:lnTo>
                  <a:lnTo>
                    <a:pt x="745" y="352"/>
                  </a:lnTo>
                  <a:lnTo>
                    <a:pt x="748" y="350"/>
                  </a:lnTo>
                  <a:lnTo>
                    <a:pt x="750" y="350"/>
                  </a:lnTo>
                  <a:lnTo>
                    <a:pt x="750" y="350"/>
                  </a:lnTo>
                  <a:lnTo>
                    <a:pt x="748" y="350"/>
                  </a:lnTo>
                  <a:lnTo>
                    <a:pt x="750" y="350"/>
                  </a:lnTo>
                  <a:lnTo>
                    <a:pt x="752" y="347"/>
                  </a:lnTo>
                  <a:lnTo>
                    <a:pt x="752" y="347"/>
                  </a:lnTo>
                  <a:lnTo>
                    <a:pt x="752" y="347"/>
                  </a:lnTo>
                  <a:lnTo>
                    <a:pt x="750" y="345"/>
                  </a:lnTo>
                  <a:lnTo>
                    <a:pt x="750" y="345"/>
                  </a:lnTo>
                  <a:lnTo>
                    <a:pt x="750" y="345"/>
                  </a:lnTo>
                  <a:lnTo>
                    <a:pt x="755" y="345"/>
                  </a:lnTo>
                  <a:lnTo>
                    <a:pt x="755" y="347"/>
                  </a:lnTo>
                  <a:lnTo>
                    <a:pt x="757" y="347"/>
                  </a:lnTo>
                  <a:lnTo>
                    <a:pt x="757" y="347"/>
                  </a:lnTo>
                  <a:lnTo>
                    <a:pt x="757" y="350"/>
                  </a:lnTo>
                  <a:lnTo>
                    <a:pt x="757" y="347"/>
                  </a:lnTo>
                  <a:lnTo>
                    <a:pt x="757" y="347"/>
                  </a:lnTo>
                  <a:lnTo>
                    <a:pt x="757" y="345"/>
                  </a:lnTo>
                  <a:lnTo>
                    <a:pt x="757" y="345"/>
                  </a:lnTo>
                  <a:lnTo>
                    <a:pt x="757" y="345"/>
                  </a:lnTo>
                  <a:lnTo>
                    <a:pt x="759" y="345"/>
                  </a:lnTo>
                  <a:lnTo>
                    <a:pt x="762" y="343"/>
                  </a:lnTo>
                  <a:lnTo>
                    <a:pt x="762" y="343"/>
                  </a:lnTo>
                  <a:lnTo>
                    <a:pt x="762" y="340"/>
                  </a:lnTo>
                  <a:lnTo>
                    <a:pt x="764" y="340"/>
                  </a:lnTo>
                  <a:lnTo>
                    <a:pt x="764" y="340"/>
                  </a:lnTo>
                  <a:lnTo>
                    <a:pt x="766" y="340"/>
                  </a:lnTo>
                  <a:lnTo>
                    <a:pt x="766" y="340"/>
                  </a:lnTo>
                  <a:lnTo>
                    <a:pt x="769" y="340"/>
                  </a:lnTo>
                  <a:lnTo>
                    <a:pt x="769" y="340"/>
                  </a:lnTo>
                  <a:lnTo>
                    <a:pt x="771" y="343"/>
                  </a:lnTo>
                  <a:lnTo>
                    <a:pt x="771" y="340"/>
                  </a:lnTo>
                  <a:lnTo>
                    <a:pt x="771" y="340"/>
                  </a:lnTo>
                  <a:lnTo>
                    <a:pt x="773" y="340"/>
                  </a:lnTo>
                  <a:lnTo>
                    <a:pt x="771" y="340"/>
                  </a:lnTo>
                  <a:lnTo>
                    <a:pt x="769" y="338"/>
                  </a:lnTo>
                  <a:lnTo>
                    <a:pt x="769" y="338"/>
                  </a:lnTo>
                  <a:lnTo>
                    <a:pt x="769" y="338"/>
                  </a:lnTo>
                  <a:lnTo>
                    <a:pt x="769" y="338"/>
                  </a:lnTo>
                  <a:lnTo>
                    <a:pt x="769" y="335"/>
                  </a:lnTo>
                  <a:lnTo>
                    <a:pt x="769" y="335"/>
                  </a:lnTo>
                  <a:lnTo>
                    <a:pt x="771" y="335"/>
                  </a:lnTo>
                  <a:lnTo>
                    <a:pt x="773" y="335"/>
                  </a:lnTo>
                  <a:lnTo>
                    <a:pt x="773" y="335"/>
                  </a:lnTo>
                  <a:lnTo>
                    <a:pt x="773" y="335"/>
                  </a:lnTo>
                  <a:lnTo>
                    <a:pt x="776" y="335"/>
                  </a:lnTo>
                  <a:lnTo>
                    <a:pt x="783" y="335"/>
                  </a:lnTo>
                  <a:lnTo>
                    <a:pt x="783" y="335"/>
                  </a:lnTo>
                  <a:lnTo>
                    <a:pt x="788" y="333"/>
                  </a:lnTo>
                  <a:lnTo>
                    <a:pt x="790" y="333"/>
                  </a:lnTo>
                  <a:lnTo>
                    <a:pt x="792" y="333"/>
                  </a:lnTo>
                  <a:lnTo>
                    <a:pt x="795" y="333"/>
                  </a:lnTo>
                  <a:lnTo>
                    <a:pt x="795" y="333"/>
                  </a:lnTo>
                  <a:lnTo>
                    <a:pt x="797" y="331"/>
                  </a:lnTo>
                  <a:lnTo>
                    <a:pt x="797" y="331"/>
                  </a:lnTo>
                  <a:lnTo>
                    <a:pt x="799" y="326"/>
                  </a:lnTo>
                  <a:lnTo>
                    <a:pt x="799" y="326"/>
                  </a:lnTo>
                  <a:lnTo>
                    <a:pt x="799" y="324"/>
                  </a:lnTo>
                  <a:lnTo>
                    <a:pt x="797" y="324"/>
                  </a:lnTo>
                  <a:lnTo>
                    <a:pt x="795" y="324"/>
                  </a:lnTo>
                  <a:lnTo>
                    <a:pt x="792" y="321"/>
                  </a:lnTo>
                  <a:lnTo>
                    <a:pt x="792" y="321"/>
                  </a:lnTo>
                  <a:lnTo>
                    <a:pt x="790" y="319"/>
                  </a:lnTo>
                  <a:lnTo>
                    <a:pt x="788" y="319"/>
                  </a:lnTo>
                  <a:lnTo>
                    <a:pt x="785" y="321"/>
                  </a:lnTo>
                  <a:lnTo>
                    <a:pt x="781" y="321"/>
                  </a:lnTo>
                  <a:lnTo>
                    <a:pt x="778" y="321"/>
                  </a:lnTo>
                  <a:lnTo>
                    <a:pt x="778" y="321"/>
                  </a:lnTo>
                  <a:lnTo>
                    <a:pt x="785" y="321"/>
                  </a:lnTo>
                  <a:lnTo>
                    <a:pt x="785" y="319"/>
                  </a:lnTo>
                  <a:lnTo>
                    <a:pt x="785" y="319"/>
                  </a:lnTo>
                  <a:lnTo>
                    <a:pt x="783" y="319"/>
                  </a:lnTo>
                  <a:lnTo>
                    <a:pt x="781" y="319"/>
                  </a:lnTo>
                  <a:lnTo>
                    <a:pt x="773" y="317"/>
                  </a:lnTo>
                  <a:lnTo>
                    <a:pt x="773" y="314"/>
                  </a:lnTo>
                  <a:lnTo>
                    <a:pt x="771" y="314"/>
                  </a:lnTo>
                  <a:lnTo>
                    <a:pt x="771" y="314"/>
                  </a:lnTo>
                  <a:lnTo>
                    <a:pt x="771" y="317"/>
                  </a:lnTo>
                  <a:lnTo>
                    <a:pt x="771" y="317"/>
                  </a:lnTo>
                  <a:lnTo>
                    <a:pt x="771" y="317"/>
                  </a:lnTo>
                  <a:lnTo>
                    <a:pt x="771" y="317"/>
                  </a:lnTo>
                  <a:lnTo>
                    <a:pt x="769" y="317"/>
                  </a:lnTo>
                  <a:lnTo>
                    <a:pt x="769" y="317"/>
                  </a:lnTo>
                  <a:lnTo>
                    <a:pt x="766" y="314"/>
                  </a:lnTo>
                  <a:lnTo>
                    <a:pt x="769" y="314"/>
                  </a:lnTo>
                  <a:lnTo>
                    <a:pt x="769" y="314"/>
                  </a:lnTo>
                  <a:lnTo>
                    <a:pt x="771" y="314"/>
                  </a:lnTo>
                  <a:lnTo>
                    <a:pt x="771" y="312"/>
                  </a:lnTo>
                  <a:lnTo>
                    <a:pt x="771" y="314"/>
                  </a:lnTo>
                  <a:lnTo>
                    <a:pt x="778" y="314"/>
                  </a:lnTo>
                  <a:lnTo>
                    <a:pt x="783" y="317"/>
                  </a:lnTo>
                  <a:lnTo>
                    <a:pt x="785" y="319"/>
                  </a:lnTo>
                  <a:lnTo>
                    <a:pt x="785" y="319"/>
                  </a:lnTo>
                  <a:lnTo>
                    <a:pt x="788" y="319"/>
                  </a:lnTo>
                  <a:lnTo>
                    <a:pt x="790" y="317"/>
                  </a:lnTo>
                  <a:lnTo>
                    <a:pt x="790" y="317"/>
                  </a:lnTo>
                  <a:lnTo>
                    <a:pt x="790" y="317"/>
                  </a:lnTo>
                  <a:lnTo>
                    <a:pt x="790" y="317"/>
                  </a:lnTo>
                  <a:lnTo>
                    <a:pt x="790" y="319"/>
                  </a:lnTo>
                  <a:lnTo>
                    <a:pt x="790" y="319"/>
                  </a:lnTo>
                  <a:lnTo>
                    <a:pt x="790" y="319"/>
                  </a:lnTo>
                  <a:lnTo>
                    <a:pt x="792" y="319"/>
                  </a:lnTo>
                  <a:lnTo>
                    <a:pt x="795" y="319"/>
                  </a:lnTo>
                  <a:lnTo>
                    <a:pt x="799" y="321"/>
                  </a:lnTo>
                  <a:lnTo>
                    <a:pt x="802" y="321"/>
                  </a:lnTo>
                  <a:lnTo>
                    <a:pt x="802" y="321"/>
                  </a:lnTo>
                  <a:lnTo>
                    <a:pt x="804" y="321"/>
                  </a:lnTo>
                  <a:lnTo>
                    <a:pt x="806" y="321"/>
                  </a:lnTo>
                  <a:lnTo>
                    <a:pt x="806" y="321"/>
                  </a:lnTo>
                  <a:lnTo>
                    <a:pt x="809" y="321"/>
                  </a:lnTo>
                  <a:lnTo>
                    <a:pt x="809" y="321"/>
                  </a:lnTo>
                  <a:lnTo>
                    <a:pt x="809" y="321"/>
                  </a:lnTo>
                  <a:lnTo>
                    <a:pt x="811" y="321"/>
                  </a:lnTo>
                  <a:lnTo>
                    <a:pt x="814" y="319"/>
                  </a:lnTo>
                  <a:lnTo>
                    <a:pt x="818" y="317"/>
                  </a:lnTo>
                  <a:lnTo>
                    <a:pt x="818" y="317"/>
                  </a:lnTo>
                  <a:lnTo>
                    <a:pt x="818" y="317"/>
                  </a:lnTo>
                  <a:lnTo>
                    <a:pt x="818" y="314"/>
                  </a:lnTo>
                  <a:lnTo>
                    <a:pt x="818" y="314"/>
                  </a:lnTo>
                  <a:lnTo>
                    <a:pt x="821" y="314"/>
                  </a:lnTo>
                  <a:lnTo>
                    <a:pt x="823" y="314"/>
                  </a:lnTo>
                  <a:lnTo>
                    <a:pt x="823" y="314"/>
                  </a:lnTo>
                  <a:lnTo>
                    <a:pt x="823" y="312"/>
                  </a:lnTo>
                  <a:lnTo>
                    <a:pt x="823" y="312"/>
                  </a:lnTo>
                  <a:lnTo>
                    <a:pt x="821" y="312"/>
                  </a:lnTo>
                  <a:lnTo>
                    <a:pt x="823" y="312"/>
                  </a:lnTo>
                  <a:lnTo>
                    <a:pt x="825" y="309"/>
                  </a:lnTo>
                  <a:lnTo>
                    <a:pt x="825" y="312"/>
                  </a:lnTo>
                  <a:lnTo>
                    <a:pt x="825" y="312"/>
                  </a:lnTo>
                  <a:lnTo>
                    <a:pt x="825" y="312"/>
                  </a:lnTo>
                  <a:lnTo>
                    <a:pt x="828" y="314"/>
                  </a:lnTo>
                  <a:lnTo>
                    <a:pt x="828" y="314"/>
                  </a:lnTo>
                  <a:lnTo>
                    <a:pt x="828" y="314"/>
                  </a:lnTo>
                  <a:lnTo>
                    <a:pt x="828" y="314"/>
                  </a:lnTo>
                  <a:lnTo>
                    <a:pt x="830" y="314"/>
                  </a:lnTo>
                  <a:lnTo>
                    <a:pt x="832" y="314"/>
                  </a:lnTo>
                  <a:lnTo>
                    <a:pt x="832" y="314"/>
                  </a:lnTo>
                  <a:lnTo>
                    <a:pt x="832" y="314"/>
                  </a:lnTo>
                  <a:lnTo>
                    <a:pt x="835" y="312"/>
                  </a:lnTo>
                  <a:lnTo>
                    <a:pt x="835" y="312"/>
                  </a:lnTo>
                  <a:lnTo>
                    <a:pt x="835" y="314"/>
                  </a:lnTo>
                  <a:lnTo>
                    <a:pt x="835" y="314"/>
                  </a:lnTo>
                  <a:lnTo>
                    <a:pt x="837" y="314"/>
                  </a:lnTo>
                  <a:lnTo>
                    <a:pt x="839" y="314"/>
                  </a:lnTo>
                  <a:lnTo>
                    <a:pt x="844" y="312"/>
                  </a:lnTo>
                  <a:lnTo>
                    <a:pt x="851" y="309"/>
                  </a:lnTo>
                  <a:lnTo>
                    <a:pt x="854" y="309"/>
                  </a:lnTo>
                  <a:lnTo>
                    <a:pt x="854" y="307"/>
                  </a:lnTo>
                  <a:lnTo>
                    <a:pt x="856" y="307"/>
                  </a:lnTo>
                  <a:lnTo>
                    <a:pt x="872" y="298"/>
                  </a:lnTo>
                  <a:lnTo>
                    <a:pt x="875" y="298"/>
                  </a:lnTo>
                  <a:lnTo>
                    <a:pt x="880" y="293"/>
                  </a:lnTo>
                  <a:lnTo>
                    <a:pt x="880" y="293"/>
                  </a:lnTo>
                  <a:lnTo>
                    <a:pt x="880" y="291"/>
                  </a:lnTo>
                  <a:lnTo>
                    <a:pt x="880" y="291"/>
                  </a:lnTo>
                  <a:lnTo>
                    <a:pt x="877" y="291"/>
                  </a:lnTo>
                  <a:lnTo>
                    <a:pt x="870" y="291"/>
                  </a:lnTo>
                  <a:lnTo>
                    <a:pt x="865" y="291"/>
                  </a:lnTo>
                  <a:lnTo>
                    <a:pt x="856" y="288"/>
                  </a:lnTo>
                  <a:lnTo>
                    <a:pt x="854" y="288"/>
                  </a:lnTo>
                  <a:lnTo>
                    <a:pt x="854" y="286"/>
                  </a:lnTo>
                  <a:lnTo>
                    <a:pt x="851" y="283"/>
                  </a:lnTo>
                  <a:lnTo>
                    <a:pt x="849" y="281"/>
                  </a:lnTo>
                  <a:lnTo>
                    <a:pt x="849" y="281"/>
                  </a:lnTo>
                  <a:lnTo>
                    <a:pt x="847" y="281"/>
                  </a:lnTo>
                  <a:lnTo>
                    <a:pt x="847" y="281"/>
                  </a:lnTo>
                  <a:lnTo>
                    <a:pt x="842" y="279"/>
                  </a:lnTo>
                  <a:lnTo>
                    <a:pt x="835" y="279"/>
                  </a:lnTo>
                  <a:lnTo>
                    <a:pt x="835" y="279"/>
                  </a:lnTo>
                  <a:lnTo>
                    <a:pt x="835" y="279"/>
                  </a:lnTo>
                  <a:lnTo>
                    <a:pt x="835" y="279"/>
                  </a:lnTo>
                  <a:lnTo>
                    <a:pt x="830" y="279"/>
                  </a:lnTo>
                  <a:lnTo>
                    <a:pt x="830" y="279"/>
                  </a:lnTo>
                  <a:lnTo>
                    <a:pt x="830" y="276"/>
                  </a:lnTo>
                  <a:lnTo>
                    <a:pt x="832" y="276"/>
                  </a:lnTo>
                  <a:lnTo>
                    <a:pt x="837" y="276"/>
                  </a:lnTo>
                  <a:lnTo>
                    <a:pt x="839" y="279"/>
                  </a:lnTo>
                  <a:lnTo>
                    <a:pt x="839" y="279"/>
                  </a:lnTo>
                  <a:lnTo>
                    <a:pt x="842" y="279"/>
                  </a:lnTo>
                  <a:lnTo>
                    <a:pt x="844" y="279"/>
                  </a:lnTo>
                  <a:lnTo>
                    <a:pt x="847" y="279"/>
                  </a:lnTo>
                  <a:lnTo>
                    <a:pt x="849" y="279"/>
                  </a:lnTo>
                  <a:lnTo>
                    <a:pt x="851" y="279"/>
                  </a:lnTo>
                  <a:lnTo>
                    <a:pt x="851" y="279"/>
                  </a:lnTo>
                  <a:lnTo>
                    <a:pt x="851" y="279"/>
                  </a:lnTo>
                  <a:lnTo>
                    <a:pt x="851" y="279"/>
                  </a:lnTo>
                  <a:lnTo>
                    <a:pt x="854" y="279"/>
                  </a:lnTo>
                  <a:lnTo>
                    <a:pt x="856" y="279"/>
                  </a:lnTo>
                  <a:lnTo>
                    <a:pt x="856" y="279"/>
                  </a:lnTo>
                  <a:lnTo>
                    <a:pt x="861" y="281"/>
                  </a:lnTo>
                  <a:lnTo>
                    <a:pt x="861" y="281"/>
                  </a:lnTo>
                  <a:lnTo>
                    <a:pt x="863" y="283"/>
                  </a:lnTo>
                  <a:lnTo>
                    <a:pt x="863" y="283"/>
                  </a:lnTo>
                  <a:lnTo>
                    <a:pt x="863" y="283"/>
                  </a:lnTo>
                  <a:lnTo>
                    <a:pt x="865" y="283"/>
                  </a:lnTo>
                  <a:lnTo>
                    <a:pt x="865" y="286"/>
                  </a:lnTo>
                  <a:lnTo>
                    <a:pt x="868" y="288"/>
                  </a:lnTo>
                  <a:lnTo>
                    <a:pt x="870" y="288"/>
                  </a:lnTo>
                  <a:lnTo>
                    <a:pt x="872" y="288"/>
                  </a:lnTo>
                  <a:lnTo>
                    <a:pt x="877" y="288"/>
                  </a:lnTo>
                  <a:lnTo>
                    <a:pt x="880" y="288"/>
                  </a:lnTo>
                  <a:lnTo>
                    <a:pt x="882" y="288"/>
                  </a:lnTo>
                  <a:lnTo>
                    <a:pt x="884" y="288"/>
                  </a:lnTo>
                  <a:lnTo>
                    <a:pt x="887" y="286"/>
                  </a:lnTo>
                  <a:lnTo>
                    <a:pt x="891" y="283"/>
                  </a:lnTo>
                  <a:lnTo>
                    <a:pt x="905" y="276"/>
                  </a:lnTo>
                  <a:lnTo>
                    <a:pt x="908" y="276"/>
                  </a:lnTo>
                  <a:lnTo>
                    <a:pt x="908" y="274"/>
                  </a:lnTo>
                  <a:lnTo>
                    <a:pt x="910" y="274"/>
                  </a:lnTo>
                  <a:lnTo>
                    <a:pt x="910" y="274"/>
                  </a:lnTo>
                  <a:lnTo>
                    <a:pt x="908" y="272"/>
                  </a:lnTo>
                  <a:lnTo>
                    <a:pt x="905" y="272"/>
                  </a:lnTo>
                  <a:lnTo>
                    <a:pt x="903" y="272"/>
                  </a:lnTo>
                  <a:lnTo>
                    <a:pt x="903" y="269"/>
                  </a:lnTo>
                  <a:lnTo>
                    <a:pt x="903" y="269"/>
                  </a:lnTo>
                  <a:lnTo>
                    <a:pt x="903" y="269"/>
                  </a:lnTo>
                  <a:lnTo>
                    <a:pt x="903" y="269"/>
                  </a:lnTo>
                  <a:lnTo>
                    <a:pt x="903" y="269"/>
                  </a:lnTo>
                  <a:lnTo>
                    <a:pt x="903" y="267"/>
                  </a:lnTo>
                  <a:lnTo>
                    <a:pt x="905" y="267"/>
                  </a:lnTo>
                  <a:lnTo>
                    <a:pt x="905" y="267"/>
                  </a:lnTo>
                  <a:lnTo>
                    <a:pt x="913" y="267"/>
                  </a:lnTo>
                  <a:lnTo>
                    <a:pt x="917" y="267"/>
                  </a:lnTo>
                  <a:lnTo>
                    <a:pt x="920" y="267"/>
                  </a:lnTo>
                  <a:lnTo>
                    <a:pt x="922" y="267"/>
                  </a:lnTo>
                  <a:lnTo>
                    <a:pt x="922" y="269"/>
                  </a:lnTo>
                  <a:lnTo>
                    <a:pt x="924" y="269"/>
                  </a:lnTo>
                  <a:lnTo>
                    <a:pt x="924" y="272"/>
                  </a:lnTo>
                  <a:lnTo>
                    <a:pt x="927" y="272"/>
                  </a:lnTo>
                  <a:lnTo>
                    <a:pt x="929" y="274"/>
                  </a:lnTo>
                  <a:lnTo>
                    <a:pt x="931" y="274"/>
                  </a:lnTo>
                  <a:lnTo>
                    <a:pt x="931" y="274"/>
                  </a:lnTo>
                  <a:lnTo>
                    <a:pt x="934" y="272"/>
                  </a:lnTo>
                  <a:lnTo>
                    <a:pt x="934" y="272"/>
                  </a:lnTo>
                  <a:lnTo>
                    <a:pt x="934" y="272"/>
                  </a:lnTo>
                  <a:lnTo>
                    <a:pt x="938" y="272"/>
                  </a:lnTo>
                  <a:lnTo>
                    <a:pt x="938" y="274"/>
                  </a:lnTo>
                  <a:lnTo>
                    <a:pt x="938" y="274"/>
                  </a:lnTo>
                  <a:lnTo>
                    <a:pt x="941" y="272"/>
                  </a:lnTo>
                  <a:lnTo>
                    <a:pt x="941" y="272"/>
                  </a:lnTo>
                  <a:lnTo>
                    <a:pt x="941" y="269"/>
                  </a:lnTo>
                  <a:lnTo>
                    <a:pt x="941" y="267"/>
                  </a:lnTo>
                  <a:lnTo>
                    <a:pt x="941" y="267"/>
                  </a:lnTo>
                  <a:lnTo>
                    <a:pt x="941" y="265"/>
                  </a:lnTo>
                  <a:lnTo>
                    <a:pt x="941" y="265"/>
                  </a:lnTo>
                  <a:lnTo>
                    <a:pt x="941" y="265"/>
                  </a:lnTo>
                  <a:lnTo>
                    <a:pt x="938" y="262"/>
                  </a:lnTo>
                  <a:lnTo>
                    <a:pt x="938" y="260"/>
                  </a:lnTo>
                  <a:lnTo>
                    <a:pt x="938" y="260"/>
                  </a:lnTo>
                  <a:lnTo>
                    <a:pt x="938" y="260"/>
                  </a:lnTo>
                  <a:lnTo>
                    <a:pt x="936" y="260"/>
                  </a:lnTo>
                  <a:lnTo>
                    <a:pt x="936" y="260"/>
                  </a:lnTo>
                  <a:lnTo>
                    <a:pt x="934" y="260"/>
                  </a:lnTo>
                  <a:lnTo>
                    <a:pt x="934" y="260"/>
                  </a:lnTo>
                  <a:lnTo>
                    <a:pt x="931" y="260"/>
                  </a:lnTo>
                  <a:lnTo>
                    <a:pt x="931" y="260"/>
                  </a:lnTo>
                  <a:lnTo>
                    <a:pt x="934" y="260"/>
                  </a:lnTo>
                  <a:lnTo>
                    <a:pt x="938" y="257"/>
                  </a:lnTo>
                  <a:lnTo>
                    <a:pt x="938" y="257"/>
                  </a:lnTo>
                  <a:lnTo>
                    <a:pt x="941" y="260"/>
                  </a:lnTo>
                  <a:lnTo>
                    <a:pt x="941" y="260"/>
                  </a:lnTo>
                  <a:lnTo>
                    <a:pt x="941" y="260"/>
                  </a:lnTo>
                  <a:lnTo>
                    <a:pt x="943" y="260"/>
                  </a:lnTo>
                  <a:lnTo>
                    <a:pt x="943" y="262"/>
                  </a:lnTo>
                  <a:lnTo>
                    <a:pt x="941" y="262"/>
                  </a:lnTo>
                  <a:lnTo>
                    <a:pt x="941" y="262"/>
                  </a:lnTo>
                  <a:lnTo>
                    <a:pt x="941" y="262"/>
                  </a:lnTo>
                  <a:lnTo>
                    <a:pt x="943" y="262"/>
                  </a:lnTo>
                  <a:lnTo>
                    <a:pt x="943" y="262"/>
                  </a:lnTo>
                  <a:lnTo>
                    <a:pt x="946" y="262"/>
                  </a:lnTo>
                  <a:lnTo>
                    <a:pt x="946" y="265"/>
                  </a:lnTo>
                  <a:lnTo>
                    <a:pt x="946" y="265"/>
                  </a:lnTo>
                  <a:lnTo>
                    <a:pt x="946" y="267"/>
                  </a:lnTo>
                  <a:lnTo>
                    <a:pt x="946" y="267"/>
                  </a:lnTo>
                  <a:lnTo>
                    <a:pt x="946" y="269"/>
                  </a:lnTo>
                  <a:lnTo>
                    <a:pt x="946" y="269"/>
                  </a:lnTo>
                  <a:lnTo>
                    <a:pt x="946" y="269"/>
                  </a:lnTo>
                  <a:lnTo>
                    <a:pt x="948" y="269"/>
                  </a:lnTo>
                  <a:lnTo>
                    <a:pt x="950" y="269"/>
                  </a:lnTo>
                  <a:lnTo>
                    <a:pt x="953" y="269"/>
                  </a:lnTo>
                  <a:lnTo>
                    <a:pt x="957" y="267"/>
                  </a:lnTo>
                  <a:lnTo>
                    <a:pt x="962" y="267"/>
                  </a:lnTo>
                  <a:lnTo>
                    <a:pt x="964" y="265"/>
                  </a:lnTo>
                  <a:lnTo>
                    <a:pt x="967" y="265"/>
                  </a:lnTo>
                  <a:lnTo>
                    <a:pt x="969" y="262"/>
                  </a:lnTo>
                  <a:lnTo>
                    <a:pt x="971" y="262"/>
                  </a:lnTo>
                  <a:lnTo>
                    <a:pt x="971" y="262"/>
                  </a:lnTo>
                  <a:lnTo>
                    <a:pt x="976" y="260"/>
                  </a:lnTo>
                  <a:lnTo>
                    <a:pt x="976" y="260"/>
                  </a:lnTo>
                  <a:lnTo>
                    <a:pt x="979" y="260"/>
                  </a:lnTo>
                  <a:lnTo>
                    <a:pt x="981" y="260"/>
                  </a:lnTo>
                  <a:lnTo>
                    <a:pt x="981" y="257"/>
                  </a:lnTo>
                  <a:lnTo>
                    <a:pt x="986" y="257"/>
                  </a:lnTo>
                  <a:lnTo>
                    <a:pt x="986" y="257"/>
                  </a:lnTo>
                  <a:lnTo>
                    <a:pt x="988" y="255"/>
                  </a:lnTo>
                  <a:lnTo>
                    <a:pt x="990" y="253"/>
                  </a:lnTo>
                  <a:lnTo>
                    <a:pt x="993" y="250"/>
                  </a:lnTo>
                  <a:lnTo>
                    <a:pt x="993" y="250"/>
                  </a:lnTo>
                  <a:lnTo>
                    <a:pt x="993" y="248"/>
                  </a:lnTo>
                  <a:lnTo>
                    <a:pt x="993" y="248"/>
                  </a:lnTo>
                  <a:lnTo>
                    <a:pt x="990" y="246"/>
                  </a:lnTo>
                  <a:lnTo>
                    <a:pt x="990" y="243"/>
                  </a:lnTo>
                  <a:lnTo>
                    <a:pt x="990" y="243"/>
                  </a:lnTo>
                  <a:lnTo>
                    <a:pt x="988" y="241"/>
                  </a:lnTo>
                  <a:lnTo>
                    <a:pt x="990" y="241"/>
                  </a:lnTo>
                  <a:lnTo>
                    <a:pt x="990" y="241"/>
                  </a:lnTo>
                  <a:lnTo>
                    <a:pt x="990" y="239"/>
                  </a:lnTo>
                  <a:lnTo>
                    <a:pt x="993" y="236"/>
                  </a:lnTo>
                  <a:lnTo>
                    <a:pt x="993" y="236"/>
                  </a:lnTo>
                  <a:lnTo>
                    <a:pt x="993" y="236"/>
                  </a:lnTo>
                  <a:lnTo>
                    <a:pt x="993" y="236"/>
                  </a:lnTo>
                  <a:lnTo>
                    <a:pt x="990" y="239"/>
                  </a:lnTo>
                  <a:lnTo>
                    <a:pt x="990" y="239"/>
                  </a:lnTo>
                  <a:lnTo>
                    <a:pt x="990" y="239"/>
                  </a:lnTo>
                  <a:lnTo>
                    <a:pt x="990" y="236"/>
                  </a:lnTo>
                  <a:lnTo>
                    <a:pt x="990" y="236"/>
                  </a:lnTo>
                  <a:lnTo>
                    <a:pt x="990" y="234"/>
                  </a:lnTo>
                  <a:lnTo>
                    <a:pt x="990" y="234"/>
                  </a:lnTo>
                  <a:lnTo>
                    <a:pt x="990" y="234"/>
                  </a:lnTo>
                  <a:lnTo>
                    <a:pt x="990" y="234"/>
                  </a:lnTo>
                  <a:lnTo>
                    <a:pt x="990" y="231"/>
                  </a:lnTo>
                  <a:lnTo>
                    <a:pt x="990" y="231"/>
                  </a:lnTo>
                  <a:lnTo>
                    <a:pt x="990" y="231"/>
                  </a:lnTo>
                  <a:lnTo>
                    <a:pt x="993" y="231"/>
                  </a:lnTo>
                  <a:lnTo>
                    <a:pt x="995" y="231"/>
                  </a:lnTo>
                  <a:lnTo>
                    <a:pt x="997" y="231"/>
                  </a:lnTo>
                  <a:lnTo>
                    <a:pt x="997" y="231"/>
                  </a:lnTo>
                  <a:lnTo>
                    <a:pt x="997" y="231"/>
                  </a:lnTo>
                  <a:lnTo>
                    <a:pt x="1000" y="231"/>
                  </a:lnTo>
                  <a:lnTo>
                    <a:pt x="1002" y="231"/>
                  </a:lnTo>
                  <a:lnTo>
                    <a:pt x="1004" y="231"/>
                  </a:lnTo>
                  <a:lnTo>
                    <a:pt x="1009" y="229"/>
                  </a:lnTo>
                  <a:lnTo>
                    <a:pt x="1012" y="229"/>
                  </a:lnTo>
                  <a:lnTo>
                    <a:pt x="1012" y="227"/>
                  </a:lnTo>
                  <a:lnTo>
                    <a:pt x="1012" y="227"/>
                  </a:lnTo>
                  <a:lnTo>
                    <a:pt x="1012" y="224"/>
                  </a:lnTo>
                  <a:lnTo>
                    <a:pt x="1012" y="224"/>
                  </a:lnTo>
                  <a:lnTo>
                    <a:pt x="1009" y="224"/>
                  </a:lnTo>
                  <a:lnTo>
                    <a:pt x="1007" y="224"/>
                  </a:lnTo>
                  <a:lnTo>
                    <a:pt x="1004" y="224"/>
                  </a:lnTo>
                  <a:lnTo>
                    <a:pt x="1004" y="224"/>
                  </a:lnTo>
                  <a:lnTo>
                    <a:pt x="1007" y="224"/>
                  </a:lnTo>
                  <a:lnTo>
                    <a:pt x="1012" y="222"/>
                  </a:lnTo>
                  <a:lnTo>
                    <a:pt x="1016" y="220"/>
                  </a:lnTo>
                  <a:lnTo>
                    <a:pt x="1016" y="220"/>
                  </a:lnTo>
                  <a:lnTo>
                    <a:pt x="1016" y="220"/>
                  </a:lnTo>
                  <a:lnTo>
                    <a:pt x="1016" y="220"/>
                  </a:lnTo>
                  <a:lnTo>
                    <a:pt x="1012" y="217"/>
                  </a:lnTo>
                  <a:lnTo>
                    <a:pt x="1009" y="217"/>
                  </a:lnTo>
                  <a:lnTo>
                    <a:pt x="1007" y="217"/>
                  </a:lnTo>
                  <a:lnTo>
                    <a:pt x="1007" y="217"/>
                  </a:lnTo>
                  <a:lnTo>
                    <a:pt x="1007" y="217"/>
                  </a:lnTo>
                  <a:lnTo>
                    <a:pt x="1007" y="217"/>
                  </a:lnTo>
                  <a:lnTo>
                    <a:pt x="1007" y="217"/>
                  </a:lnTo>
                  <a:lnTo>
                    <a:pt x="1007" y="215"/>
                  </a:lnTo>
                  <a:lnTo>
                    <a:pt x="1002" y="215"/>
                  </a:lnTo>
                  <a:lnTo>
                    <a:pt x="1002" y="213"/>
                  </a:lnTo>
                  <a:lnTo>
                    <a:pt x="1004" y="213"/>
                  </a:lnTo>
                  <a:lnTo>
                    <a:pt x="1007" y="213"/>
                  </a:lnTo>
                  <a:lnTo>
                    <a:pt x="1009" y="213"/>
                  </a:lnTo>
                  <a:lnTo>
                    <a:pt x="1009" y="210"/>
                  </a:lnTo>
                  <a:lnTo>
                    <a:pt x="1007" y="210"/>
                  </a:lnTo>
                  <a:lnTo>
                    <a:pt x="1004" y="210"/>
                  </a:lnTo>
                  <a:lnTo>
                    <a:pt x="1002" y="210"/>
                  </a:lnTo>
                  <a:lnTo>
                    <a:pt x="995" y="210"/>
                  </a:lnTo>
                  <a:lnTo>
                    <a:pt x="993" y="210"/>
                  </a:lnTo>
                  <a:lnTo>
                    <a:pt x="990" y="210"/>
                  </a:lnTo>
                  <a:lnTo>
                    <a:pt x="988" y="208"/>
                  </a:lnTo>
                  <a:lnTo>
                    <a:pt x="986" y="208"/>
                  </a:lnTo>
                  <a:lnTo>
                    <a:pt x="983" y="208"/>
                  </a:lnTo>
                  <a:lnTo>
                    <a:pt x="979" y="208"/>
                  </a:lnTo>
                  <a:lnTo>
                    <a:pt x="976" y="208"/>
                  </a:lnTo>
                  <a:lnTo>
                    <a:pt x="974" y="208"/>
                  </a:lnTo>
                  <a:lnTo>
                    <a:pt x="974" y="208"/>
                  </a:lnTo>
                  <a:lnTo>
                    <a:pt x="971" y="208"/>
                  </a:lnTo>
                  <a:lnTo>
                    <a:pt x="971" y="208"/>
                  </a:lnTo>
                  <a:lnTo>
                    <a:pt x="969" y="208"/>
                  </a:lnTo>
                  <a:lnTo>
                    <a:pt x="971" y="208"/>
                  </a:lnTo>
                  <a:lnTo>
                    <a:pt x="971" y="208"/>
                  </a:lnTo>
                  <a:lnTo>
                    <a:pt x="969" y="210"/>
                  </a:lnTo>
                  <a:lnTo>
                    <a:pt x="967" y="210"/>
                  </a:lnTo>
                  <a:lnTo>
                    <a:pt x="967" y="213"/>
                  </a:lnTo>
                  <a:lnTo>
                    <a:pt x="967" y="213"/>
                  </a:lnTo>
                  <a:lnTo>
                    <a:pt x="967" y="213"/>
                  </a:lnTo>
                  <a:lnTo>
                    <a:pt x="967" y="213"/>
                  </a:lnTo>
                  <a:lnTo>
                    <a:pt x="967" y="215"/>
                  </a:lnTo>
                  <a:lnTo>
                    <a:pt x="967" y="215"/>
                  </a:lnTo>
                  <a:lnTo>
                    <a:pt x="967" y="215"/>
                  </a:lnTo>
                  <a:lnTo>
                    <a:pt x="964" y="215"/>
                  </a:lnTo>
                  <a:lnTo>
                    <a:pt x="964" y="217"/>
                  </a:lnTo>
                  <a:lnTo>
                    <a:pt x="964" y="217"/>
                  </a:lnTo>
                  <a:lnTo>
                    <a:pt x="962" y="217"/>
                  </a:lnTo>
                  <a:lnTo>
                    <a:pt x="964" y="220"/>
                  </a:lnTo>
                  <a:lnTo>
                    <a:pt x="964" y="220"/>
                  </a:lnTo>
                  <a:lnTo>
                    <a:pt x="967" y="220"/>
                  </a:lnTo>
                  <a:lnTo>
                    <a:pt x="967" y="220"/>
                  </a:lnTo>
                  <a:lnTo>
                    <a:pt x="967" y="222"/>
                  </a:lnTo>
                  <a:lnTo>
                    <a:pt x="967" y="222"/>
                  </a:lnTo>
                  <a:lnTo>
                    <a:pt x="967" y="222"/>
                  </a:lnTo>
                  <a:lnTo>
                    <a:pt x="964" y="222"/>
                  </a:lnTo>
                  <a:lnTo>
                    <a:pt x="964" y="224"/>
                  </a:lnTo>
                  <a:lnTo>
                    <a:pt x="962" y="224"/>
                  </a:lnTo>
                  <a:lnTo>
                    <a:pt x="962" y="224"/>
                  </a:lnTo>
                  <a:lnTo>
                    <a:pt x="960" y="224"/>
                  </a:lnTo>
                  <a:lnTo>
                    <a:pt x="964" y="227"/>
                  </a:lnTo>
                  <a:lnTo>
                    <a:pt x="962" y="227"/>
                  </a:lnTo>
                  <a:lnTo>
                    <a:pt x="957" y="227"/>
                  </a:lnTo>
                  <a:lnTo>
                    <a:pt x="957" y="227"/>
                  </a:lnTo>
                  <a:lnTo>
                    <a:pt x="955" y="227"/>
                  </a:lnTo>
                  <a:lnTo>
                    <a:pt x="955" y="227"/>
                  </a:lnTo>
                  <a:lnTo>
                    <a:pt x="955" y="227"/>
                  </a:lnTo>
                  <a:lnTo>
                    <a:pt x="953" y="227"/>
                  </a:lnTo>
                  <a:lnTo>
                    <a:pt x="950" y="227"/>
                  </a:lnTo>
                  <a:lnTo>
                    <a:pt x="950" y="229"/>
                  </a:lnTo>
                  <a:lnTo>
                    <a:pt x="950" y="229"/>
                  </a:lnTo>
                  <a:lnTo>
                    <a:pt x="948" y="229"/>
                  </a:lnTo>
                  <a:lnTo>
                    <a:pt x="948" y="231"/>
                  </a:lnTo>
                  <a:lnTo>
                    <a:pt x="946" y="231"/>
                  </a:lnTo>
                  <a:lnTo>
                    <a:pt x="943" y="234"/>
                  </a:lnTo>
                  <a:lnTo>
                    <a:pt x="938" y="239"/>
                  </a:lnTo>
                  <a:lnTo>
                    <a:pt x="936" y="239"/>
                  </a:lnTo>
                  <a:lnTo>
                    <a:pt x="929" y="243"/>
                  </a:lnTo>
                  <a:lnTo>
                    <a:pt x="927" y="243"/>
                  </a:lnTo>
                  <a:lnTo>
                    <a:pt x="924" y="246"/>
                  </a:lnTo>
                  <a:lnTo>
                    <a:pt x="924" y="246"/>
                  </a:lnTo>
                  <a:lnTo>
                    <a:pt x="922" y="248"/>
                  </a:lnTo>
                  <a:lnTo>
                    <a:pt x="920" y="250"/>
                  </a:lnTo>
                  <a:lnTo>
                    <a:pt x="920" y="250"/>
                  </a:lnTo>
                  <a:lnTo>
                    <a:pt x="917" y="250"/>
                  </a:lnTo>
                  <a:lnTo>
                    <a:pt x="917" y="250"/>
                  </a:lnTo>
                  <a:lnTo>
                    <a:pt x="915" y="250"/>
                  </a:lnTo>
                  <a:lnTo>
                    <a:pt x="915" y="253"/>
                  </a:lnTo>
                  <a:lnTo>
                    <a:pt x="910" y="253"/>
                  </a:lnTo>
                  <a:lnTo>
                    <a:pt x="905" y="255"/>
                  </a:lnTo>
                  <a:lnTo>
                    <a:pt x="905" y="255"/>
                  </a:lnTo>
                  <a:lnTo>
                    <a:pt x="905" y="255"/>
                  </a:lnTo>
                  <a:lnTo>
                    <a:pt x="905" y="255"/>
                  </a:lnTo>
                  <a:lnTo>
                    <a:pt x="905" y="255"/>
                  </a:lnTo>
                  <a:lnTo>
                    <a:pt x="905" y="253"/>
                  </a:lnTo>
                  <a:lnTo>
                    <a:pt x="905" y="253"/>
                  </a:lnTo>
                  <a:lnTo>
                    <a:pt x="903" y="248"/>
                  </a:lnTo>
                  <a:lnTo>
                    <a:pt x="903" y="246"/>
                  </a:lnTo>
                  <a:lnTo>
                    <a:pt x="903" y="241"/>
                  </a:lnTo>
                  <a:lnTo>
                    <a:pt x="903" y="241"/>
                  </a:lnTo>
                  <a:lnTo>
                    <a:pt x="908" y="239"/>
                  </a:lnTo>
                  <a:lnTo>
                    <a:pt x="908" y="236"/>
                  </a:lnTo>
                  <a:lnTo>
                    <a:pt x="908" y="236"/>
                  </a:lnTo>
                  <a:lnTo>
                    <a:pt x="910" y="234"/>
                  </a:lnTo>
                  <a:lnTo>
                    <a:pt x="910" y="234"/>
                  </a:lnTo>
                  <a:lnTo>
                    <a:pt x="910" y="236"/>
                  </a:lnTo>
                  <a:lnTo>
                    <a:pt x="910" y="236"/>
                  </a:lnTo>
                  <a:lnTo>
                    <a:pt x="913" y="236"/>
                  </a:lnTo>
                  <a:lnTo>
                    <a:pt x="915" y="236"/>
                  </a:lnTo>
                  <a:lnTo>
                    <a:pt x="915" y="236"/>
                  </a:lnTo>
                  <a:lnTo>
                    <a:pt x="915" y="234"/>
                  </a:lnTo>
                  <a:lnTo>
                    <a:pt x="917" y="234"/>
                  </a:lnTo>
                  <a:lnTo>
                    <a:pt x="917" y="234"/>
                  </a:lnTo>
                  <a:lnTo>
                    <a:pt x="917" y="231"/>
                  </a:lnTo>
                  <a:lnTo>
                    <a:pt x="917" y="231"/>
                  </a:lnTo>
                  <a:lnTo>
                    <a:pt x="920" y="229"/>
                  </a:lnTo>
                  <a:lnTo>
                    <a:pt x="920" y="227"/>
                  </a:lnTo>
                  <a:lnTo>
                    <a:pt x="920" y="227"/>
                  </a:lnTo>
                  <a:lnTo>
                    <a:pt x="920" y="224"/>
                  </a:lnTo>
                  <a:lnTo>
                    <a:pt x="920" y="224"/>
                  </a:lnTo>
                  <a:lnTo>
                    <a:pt x="917" y="222"/>
                  </a:lnTo>
                  <a:lnTo>
                    <a:pt x="915" y="220"/>
                  </a:lnTo>
                  <a:lnTo>
                    <a:pt x="915" y="220"/>
                  </a:lnTo>
                  <a:lnTo>
                    <a:pt x="915" y="217"/>
                  </a:lnTo>
                  <a:lnTo>
                    <a:pt x="913" y="217"/>
                  </a:lnTo>
                  <a:lnTo>
                    <a:pt x="910" y="217"/>
                  </a:lnTo>
                  <a:lnTo>
                    <a:pt x="910" y="217"/>
                  </a:lnTo>
                  <a:lnTo>
                    <a:pt x="905" y="222"/>
                  </a:lnTo>
                  <a:lnTo>
                    <a:pt x="901" y="222"/>
                  </a:lnTo>
                  <a:lnTo>
                    <a:pt x="901" y="224"/>
                  </a:lnTo>
                  <a:lnTo>
                    <a:pt x="898" y="227"/>
                  </a:lnTo>
                  <a:lnTo>
                    <a:pt x="896" y="227"/>
                  </a:lnTo>
                  <a:lnTo>
                    <a:pt x="894" y="229"/>
                  </a:lnTo>
                  <a:lnTo>
                    <a:pt x="891" y="229"/>
                  </a:lnTo>
                  <a:lnTo>
                    <a:pt x="891" y="231"/>
                  </a:lnTo>
                  <a:lnTo>
                    <a:pt x="891" y="231"/>
                  </a:lnTo>
                  <a:lnTo>
                    <a:pt x="887" y="234"/>
                  </a:lnTo>
                  <a:lnTo>
                    <a:pt x="884" y="234"/>
                  </a:lnTo>
                  <a:lnTo>
                    <a:pt x="884" y="234"/>
                  </a:lnTo>
                  <a:lnTo>
                    <a:pt x="884" y="236"/>
                  </a:lnTo>
                  <a:lnTo>
                    <a:pt x="882" y="236"/>
                  </a:lnTo>
                  <a:lnTo>
                    <a:pt x="882" y="236"/>
                  </a:lnTo>
                  <a:lnTo>
                    <a:pt x="882" y="236"/>
                  </a:lnTo>
                  <a:lnTo>
                    <a:pt x="882" y="234"/>
                  </a:lnTo>
                  <a:lnTo>
                    <a:pt x="882" y="234"/>
                  </a:lnTo>
                  <a:lnTo>
                    <a:pt x="882" y="234"/>
                  </a:lnTo>
                  <a:lnTo>
                    <a:pt x="882" y="231"/>
                  </a:lnTo>
                  <a:lnTo>
                    <a:pt x="882" y="231"/>
                  </a:lnTo>
                  <a:lnTo>
                    <a:pt x="884" y="229"/>
                  </a:lnTo>
                  <a:lnTo>
                    <a:pt x="884" y="229"/>
                  </a:lnTo>
                  <a:lnTo>
                    <a:pt x="887" y="227"/>
                  </a:lnTo>
                  <a:lnTo>
                    <a:pt x="887" y="227"/>
                  </a:lnTo>
                  <a:lnTo>
                    <a:pt x="889" y="224"/>
                  </a:lnTo>
                  <a:lnTo>
                    <a:pt x="889" y="224"/>
                  </a:lnTo>
                  <a:lnTo>
                    <a:pt x="889" y="224"/>
                  </a:lnTo>
                  <a:lnTo>
                    <a:pt x="889" y="220"/>
                  </a:lnTo>
                  <a:lnTo>
                    <a:pt x="884" y="217"/>
                  </a:lnTo>
                  <a:lnTo>
                    <a:pt x="884" y="217"/>
                  </a:lnTo>
                  <a:lnTo>
                    <a:pt x="887" y="217"/>
                  </a:lnTo>
                  <a:lnTo>
                    <a:pt x="889" y="217"/>
                  </a:lnTo>
                  <a:lnTo>
                    <a:pt x="889" y="217"/>
                  </a:lnTo>
                  <a:lnTo>
                    <a:pt x="887" y="217"/>
                  </a:lnTo>
                  <a:lnTo>
                    <a:pt x="889" y="217"/>
                  </a:lnTo>
                  <a:lnTo>
                    <a:pt x="889" y="217"/>
                  </a:lnTo>
                  <a:lnTo>
                    <a:pt x="891" y="217"/>
                  </a:lnTo>
                  <a:lnTo>
                    <a:pt x="891" y="217"/>
                  </a:lnTo>
                  <a:lnTo>
                    <a:pt x="894" y="215"/>
                  </a:lnTo>
                  <a:lnTo>
                    <a:pt x="894" y="215"/>
                  </a:lnTo>
                  <a:lnTo>
                    <a:pt x="896" y="215"/>
                  </a:lnTo>
                  <a:lnTo>
                    <a:pt x="896" y="215"/>
                  </a:lnTo>
                  <a:lnTo>
                    <a:pt x="898" y="215"/>
                  </a:lnTo>
                  <a:lnTo>
                    <a:pt x="898" y="215"/>
                  </a:lnTo>
                  <a:lnTo>
                    <a:pt x="898" y="213"/>
                  </a:lnTo>
                  <a:lnTo>
                    <a:pt x="896" y="213"/>
                  </a:lnTo>
                  <a:lnTo>
                    <a:pt x="894" y="213"/>
                  </a:lnTo>
                  <a:lnTo>
                    <a:pt x="891" y="213"/>
                  </a:lnTo>
                  <a:lnTo>
                    <a:pt x="889" y="213"/>
                  </a:lnTo>
                  <a:lnTo>
                    <a:pt x="887" y="213"/>
                  </a:lnTo>
                  <a:lnTo>
                    <a:pt x="887" y="213"/>
                  </a:lnTo>
                  <a:lnTo>
                    <a:pt x="889" y="213"/>
                  </a:lnTo>
                  <a:lnTo>
                    <a:pt x="891" y="213"/>
                  </a:lnTo>
                  <a:lnTo>
                    <a:pt x="891" y="210"/>
                  </a:lnTo>
                  <a:lnTo>
                    <a:pt x="891" y="210"/>
                  </a:lnTo>
                  <a:lnTo>
                    <a:pt x="889" y="210"/>
                  </a:lnTo>
                  <a:lnTo>
                    <a:pt x="887" y="213"/>
                  </a:lnTo>
                  <a:lnTo>
                    <a:pt x="882" y="213"/>
                  </a:lnTo>
                  <a:lnTo>
                    <a:pt x="880" y="213"/>
                  </a:lnTo>
                  <a:lnTo>
                    <a:pt x="877" y="213"/>
                  </a:lnTo>
                  <a:lnTo>
                    <a:pt x="877" y="210"/>
                  </a:lnTo>
                  <a:lnTo>
                    <a:pt x="877" y="210"/>
                  </a:lnTo>
                  <a:lnTo>
                    <a:pt x="877" y="210"/>
                  </a:lnTo>
                  <a:lnTo>
                    <a:pt x="875" y="210"/>
                  </a:lnTo>
                  <a:lnTo>
                    <a:pt x="872" y="210"/>
                  </a:lnTo>
                  <a:lnTo>
                    <a:pt x="870" y="210"/>
                  </a:lnTo>
                  <a:lnTo>
                    <a:pt x="870" y="210"/>
                  </a:lnTo>
                  <a:lnTo>
                    <a:pt x="868" y="210"/>
                  </a:lnTo>
                  <a:lnTo>
                    <a:pt x="872" y="210"/>
                  </a:lnTo>
                  <a:lnTo>
                    <a:pt x="880" y="205"/>
                  </a:lnTo>
                  <a:lnTo>
                    <a:pt x="884" y="205"/>
                  </a:lnTo>
                  <a:lnTo>
                    <a:pt x="887" y="203"/>
                  </a:lnTo>
                  <a:lnTo>
                    <a:pt x="887" y="203"/>
                  </a:lnTo>
                  <a:lnTo>
                    <a:pt x="887" y="203"/>
                  </a:lnTo>
                  <a:lnTo>
                    <a:pt x="882" y="203"/>
                  </a:lnTo>
                  <a:lnTo>
                    <a:pt x="882" y="203"/>
                  </a:lnTo>
                  <a:lnTo>
                    <a:pt x="882" y="203"/>
                  </a:lnTo>
                  <a:lnTo>
                    <a:pt x="884" y="201"/>
                  </a:lnTo>
                  <a:lnTo>
                    <a:pt x="887" y="201"/>
                  </a:lnTo>
                  <a:lnTo>
                    <a:pt x="887" y="201"/>
                  </a:lnTo>
                  <a:lnTo>
                    <a:pt x="887" y="201"/>
                  </a:lnTo>
                  <a:lnTo>
                    <a:pt x="887" y="201"/>
                  </a:lnTo>
                  <a:lnTo>
                    <a:pt x="889" y="203"/>
                  </a:lnTo>
                  <a:lnTo>
                    <a:pt x="891" y="203"/>
                  </a:lnTo>
                  <a:lnTo>
                    <a:pt x="894" y="203"/>
                  </a:lnTo>
                  <a:lnTo>
                    <a:pt x="894" y="201"/>
                  </a:lnTo>
                  <a:lnTo>
                    <a:pt x="896" y="201"/>
                  </a:lnTo>
                  <a:lnTo>
                    <a:pt x="894" y="201"/>
                  </a:lnTo>
                  <a:lnTo>
                    <a:pt x="894" y="198"/>
                  </a:lnTo>
                  <a:lnTo>
                    <a:pt x="894" y="198"/>
                  </a:lnTo>
                  <a:lnTo>
                    <a:pt x="894" y="198"/>
                  </a:lnTo>
                  <a:lnTo>
                    <a:pt x="894" y="198"/>
                  </a:lnTo>
                  <a:lnTo>
                    <a:pt x="891" y="198"/>
                  </a:lnTo>
                  <a:lnTo>
                    <a:pt x="891" y="201"/>
                  </a:lnTo>
                  <a:lnTo>
                    <a:pt x="891" y="198"/>
                  </a:lnTo>
                  <a:lnTo>
                    <a:pt x="891" y="198"/>
                  </a:lnTo>
                  <a:lnTo>
                    <a:pt x="891" y="198"/>
                  </a:lnTo>
                  <a:lnTo>
                    <a:pt x="891" y="198"/>
                  </a:lnTo>
                  <a:lnTo>
                    <a:pt x="891" y="196"/>
                  </a:lnTo>
                  <a:lnTo>
                    <a:pt x="891" y="194"/>
                  </a:lnTo>
                  <a:lnTo>
                    <a:pt x="891" y="194"/>
                  </a:lnTo>
                  <a:lnTo>
                    <a:pt x="891" y="194"/>
                  </a:lnTo>
                  <a:lnTo>
                    <a:pt x="889" y="194"/>
                  </a:lnTo>
                  <a:lnTo>
                    <a:pt x="889" y="191"/>
                  </a:lnTo>
                  <a:lnTo>
                    <a:pt x="889" y="191"/>
                  </a:lnTo>
                  <a:lnTo>
                    <a:pt x="887" y="189"/>
                  </a:lnTo>
                  <a:lnTo>
                    <a:pt x="887" y="189"/>
                  </a:lnTo>
                  <a:lnTo>
                    <a:pt x="889" y="189"/>
                  </a:lnTo>
                  <a:lnTo>
                    <a:pt x="889" y="189"/>
                  </a:lnTo>
                  <a:lnTo>
                    <a:pt x="891" y="187"/>
                  </a:lnTo>
                  <a:lnTo>
                    <a:pt x="894" y="184"/>
                  </a:lnTo>
                  <a:lnTo>
                    <a:pt x="894" y="182"/>
                  </a:lnTo>
                  <a:lnTo>
                    <a:pt x="894" y="182"/>
                  </a:lnTo>
                  <a:lnTo>
                    <a:pt x="894" y="182"/>
                  </a:lnTo>
                  <a:lnTo>
                    <a:pt x="894" y="179"/>
                  </a:lnTo>
                  <a:lnTo>
                    <a:pt x="894" y="177"/>
                  </a:lnTo>
                  <a:lnTo>
                    <a:pt x="891" y="177"/>
                  </a:lnTo>
                  <a:lnTo>
                    <a:pt x="891" y="177"/>
                  </a:lnTo>
                  <a:lnTo>
                    <a:pt x="891" y="175"/>
                  </a:lnTo>
                  <a:lnTo>
                    <a:pt x="891" y="175"/>
                  </a:lnTo>
                  <a:lnTo>
                    <a:pt x="891" y="175"/>
                  </a:lnTo>
                  <a:lnTo>
                    <a:pt x="891" y="175"/>
                  </a:lnTo>
                  <a:lnTo>
                    <a:pt x="889" y="175"/>
                  </a:lnTo>
                  <a:lnTo>
                    <a:pt x="887" y="175"/>
                  </a:lnTo>
                  <a:lnTo>
                    <a:pt x="884" y="175"/>
                  </a:lnTo>
                  <a:lnTo>
                    <a:pt x="884" y="172"/>
                  </a:lnTo>
                  <a:lnTo>
                    <a:pt x="887" y="172"/>
                  </a:lnTo>
                  <a:lnTo>
                    <a:pt x="887" y="170"/>
                  </a:lnTo>
                  <a:lnTo>
                    <a:pt x="884" y="170"/>
                  </a:lnTo>
                  <a:lnTo>
                    <a:pt x="884" y="170"/>
                  </a:lnTo>
                  <a:lnTo>
                    <a:pt x="882" y="170"/>
                  </a:lnTo>
                  <a:lnTo>
                    <a:pt x="877" y="172"/>
                  </a:lnTo>
                  <a:lnTo>
                    <a:pt x="870" y="175"/>
                  </a:lnTo>
                  <a:lnTo>
                    <a:pt x="868" y="175"/>
                  </a:lnTo>
                  <a:lnTo>
                    <a:pt x="863" y="177"/>
                  </a:lnTo>
                  <a:lnTo>
                    <a:pt x="861" y="177"/>
                  </a:lnTo>
                  <a:lnTo>
                    <a:pt x="861" y="177"/>
                  </a:lnTo>
                  <a:lnTo>
                    <a:pt x="861" y="179"/>
                  </a:lnTo>
                  <a:lnTo>
                    <a:pt x="863" y="179"/>
                  </a:lnTo>
                  <a:lnTo>
                    <a:pt x="865" y="179"/>
                  </a:lnTo>
                  <a:lnTo>
                    <a:pt x="865" y="179"/>
                  </a:lnTo>
                  <a:lnTo>
                    <a:pt x="865" y="179"/>
                  </a:lnTo>
                  <a:lnTo>
                    <a:pt x="861" y="182"/>
                  </a:lnTo>
                  <a:lnTo>
                    <a:pt x="861" y="182"/>
                  </a:lnTo>
                  <a:lnTo>
                    <a:pt x="858" y="182"/>
                  </a:lnTo>
                  <a:lnTo>
                    <a:pt x="858" y="182"/>
                  </a:lnTo>
                  <a:lnTo>
                    <a:pt x="858" y="179"/>
                  </a:lnTo>
                  <a:lnTo>
                    <a:pt x="856" y="179"/>
                  </a:lnTo>
                  <a:lnTo>
                    <a:pt x="856" y="179"/>
                  </a:lnTo>
                  <a:lnTo>
                    <a:pt x="856" y="179"/>
                  </a:lnTo>
                  <a:lnTo>
                    <a:pt x="851" y="182"/>
                  </a:lnTo>
                  <a:lnTo>
                    <a:pt x="849" y="182"/>
                  </a:lnTo>
                  <a:lnTo>
                    <a:pt x="849" y="184"/>
                  </a:lnTo>
                  <a:lnTo>
                    <a:pt x="847" y="184"/>
                  </a:lnTo>
                  <a:lnTo>
                    <a:pt x="847" y="184"/>
                  </a:lnTo>
                  <a:lnTo>
                    <a:pt x="847" y="184"/>
                  </a:lnTo>
                  <a:lnTo>
                    <a:pt x="844" y="184"/>
                  </a:lnTo>
                  <a:lnTo>
                    <a:pt x="844" y="187"/>
                  </a:lnTo>
                  <a:lnTo>
                    <a:pt x="844" y="187"/>
                  </a:lnTo>
                  <a:lnTo>
                    <a:pt x="839" y="189"/>
                  </a:lnTo>
                  <a:lnTo>
                    <a:pt x="839" y="191"/>
                  </a:lnTo>
                  <a:lnTo>
                    <a:pt x="839" y="194"/>
                  </a:lnTo>
                  <a:lnTo>
                    <a:pt x="839" y="194"/>
                  </a:lnTo>
                  <a:lnTo>
                    <a:pt x="842" y="194"/>
                  </a:lnTo>
                  <a:lnTo>
                    <a:pt x="847" y="194"/>
                  </a:lnTo>
                  <a:lnTo>
                    <a:pt x="847" y="194"/>
                  </a:lnTo>
                  <a:lnTo>
                    <a:pt x="844" y="194"/>
                  </a:lnTo>
                  <a:lnTo>
                    <a:pt x="844" y="194"/>
                  </a:lnTo>
                  <a:lnTo>
                    <a:pt x="844" y="196"/>
                  </a:lnTo>
                  <a:lnTo>
                    <a:pt x="842" y="194"/>
                  </a:lnTo>
                  <a:lnTo>
                    <a:pt x="839" y="196"/>
                  </a:lnTo>
                  <a:lnTo>
                    <a:pt x="839" y="196"/>
                  </a:lnTo>
                  <a:lnTo>
                    <a:pt x="837" y="196"/>
                  </a:lnTo>
                  <a:lnTo>
                    <a:pt x="837" y="196"/>
                  </a:lnTo>
                  <a:lnTo>
                    <a:pt x="830" y="198"/>
                  </a:lnTo>
                  <a:lnTo>
                    <a:pt x="830" y="201"/>
                  </a:lnTo>
                  <a:lnTo>
                    <a:pt x="830" y="201"/>
                  </a:lnTo>
                  <a:lnTo>
                    <a:pt x="828" y="203"/>
                  </a:lnTo>
                  <a:lnTo>
                    <a:pt x="830" y="205"/>
                  </a:lnTo>
                  <a:lnTo>
                    <a:pt x="830" y="205"/>
                  </a:lnTo>
                  <a:lnTo>
                    <a:pt x="830" y="208"/>
                  </a:lnTo>
                  <a:lnTo>
                    <a:pt x="830" y="208"/>
                  </a:lnTo>
                  <a:lnTo>
                    <a:pt x="830" y="208"/>
                  </a:lnTo>
                  <a:lnTo>
                    <a:pt x="830" y="208"/>
                  </a:lnTo>
                  <a:lnTo>
                    <a:pt x="832" y="208"/>
                  </a:lnTo>
                  <a:lnTo>
                    <a:pt x="835" y="210"/>
                  </a:lnTo>
                  <a:lnTo>
                    <a:pt x="835" y="210"/>
                  </a:lnTo>
                  <a:lnTo>
                    <a:pt x="837" y="210"/>
                  </a:lnTo>
                  <a:lnTo>
                    <a:pt x="842" y="213"/>
                  </a:lnTo>
                  <a:lnTo>
                    <a:pt x="842" y="213"/>
                  </a:lnTo>
                  <a:lnTo>
                    <a:pt x="844" y="210"/>
                  </a:lnTo>
                  <a:lnTo>
                    <a:pt x="844" y="210"/>
                  </a:lnTo>
                  <a:lnTo>
                    <a:pt x="844" y="210"/>
                  </a:lnTo>
                  <a:lnTo>
                    <a:pt x="847" y="213"/>
                  </a:lnTo>
                  <a:lnTo>
                    <a:pt x="847" y="213"/>
                  </a:lnTo>
                  <a:lnTo>
                    <a:pt x="847" y="215"/>
                  </a:lnTo>
                  <a:lnTo>
                    <a:pt x="847" y="215"/>
                  </a:lnTo>
                  <a:lnTo>
                    <a:pt x="849" y="215"/>
                  </a:lnTo>
                  <a:lnTo>
                    <a:pt x="851" y="215"/>
                  </a:lnTo>
                  <a:lnTo>
                    <a:pt x="851" y="215"/>
                  </a:lnTo>
                  <a:lnTo>
                    <a:pt x="854" y="213"/>
                  </a:lnTo>
                  <a:lnTo>
                    <a:pt x="856" y="213"/>
                  </a:lnTo>
                  <a:lnTo>
                    <a:pt x="856" y="215"/>
                  </a:lnTo>
                  <a:lnTo>
                    <a:pt x="856" y="215"/>
                  </a:lnTo>
                  <a:lnTo>
                    <a:pt x="856" y="215"/>
                  </a:lnTo>
                  <a:lnTo>
                    <a:pt x="856" y="215"/>
                  </a:lnTo>
                  <a:lnTo>
                    <a:pt x="856" y="215"/>
                  </a:lnTo>
                  <a:lnTo>
                    <a:pt x="856" y="217"/>
                  </a:lnTo>
                  <a:lnTo>
                    <a:pt x="854" y="217"/>
                  </a:lnTo>
                  <a:lnTo>
                    <a:pt x="849" y="217"/>
                  </a:lnTo>
                  <a:lnTo>
                    <a:pt x="849" y="217"/>
                  </a:lnTo>
                  <a:lnTo>
                    <a:pt x="851" y="217"/>
                  </a:lnTo>
                  <a:lnTo>
                    <a:pt x="854" y="215"/>
                  </a:lnTo>
                  <a:lnTo>
                    <a:pt x="856" y="215"/>
                  </a:lnTo>
                  <a:lnTo>
                    <a:pt x="851" y="215"/>
                  </a:lnTo>
                  <a:lnTo>
                    <a:pt x="847" y="217"/>
                  </a:lnTo>
                  <a:lnTo>
                    <a:pt x="844" y="217"/>
                  </a:lnTo>
                  <a:lnTo>
                    <a:pt x="844" y="217"/>
                  </a:lnTo>
                  <a:lnTo>
                    <a:pt x="844" y="217"/>
                  </a:lnTo>
                  <a:lnTo>
                    <a:pt x="842" y="220"/>
                  </a:lnTo>
                  <a:lnTo>
                    <a:pt x="842" y="220"/>
                  </a:lnTo>
                  <a:lnTo>
                    <a:pt x="844" y="220"/>
                  </a:lnTo>
                  <a:lnTo>
                    <a:pt x="844" y="220"/>
                  </a:lnTo>
                  <a:lnTo>
                    <a:pt x="839" y="222"/>
                  </a:lnTo>
                  <a:lnTo>
                    <a:pt x="835" y="222"/>
                  </a:lnTo>
                  <a:lnTo>
                    <a:pt x="835" y="224"/>
                  </a:lnTo>
                  <a:lnTo>
                    <a:pt x="832" y="227"/>
                  </a:lnTo>
                  <a:lnTo>
                    <a:pt x="832" y="227"/>
                  </a:lnTo>
                  <a:lnTo>
                    <a:pt x="832" y="227"/>
                  </a:lnTo>
                  <a:lnTo>
                    <a:pt x="837" y="227"/>
                  </a:lnTo>
                  <a:lnTo>
                    <a:pt x="839" y="227"/>
                  </a:lnTo>
                  <a:lnTo>
                    <a:pt x="839" y="227"/>
                  </a:lnTo>
                  <a:lnTo>
                    <a:pt x="842" y="224"/>
                  </a:lnTo>
                  <a:lnTo>
                    <a:pt x="844" y="222"/>
                  </a:lnTo>
                  <a:lnTo>
                    <a:pt x="844" y="222"/>
                  </a:lnTo>
                  <a:lnTo>
                    <a:pt x="844" y="222"/>
                  </a:lnTo>
                  <a:lnTo>
                    <a:pt x="847" y="222"/>
                  </a:lnTo>
                  <a:lnTo>
                    <a:pt x="847" y="222"/>
                  </a:lnTo>
                  <a:lnTo>
                    <a:pt x="847" y="224"/>
                  </a:lnTo>
                  <a:lnTo>
                    <a:pt x="847" y="224"/>
                  </a:lnTo>
                  <a:lnTo>
                    <a:pt x="844" y="224"/>
                  </a:lnTo>
                  <a:lnTo>
                    <a:pt x="844" y="227"/>
                  </a:lnTo>
                  <a:lnTo>
                    <a:pt x="842" y="229"/>
                  </a:lnTo>
                  <a:lnTo>
                    <a:pt x="842" y="229"/>
                  </a:lnTo>
                  <a:lnTo>
                    <a:pt x="842" y="229"/>
                  </a:lnTo>
                  <a:lnTo>
                    <a:pt x="844" y="229"/>
                  </a:lnTo>
                  <a:lnTo>
                    <a:pt x="844" y="229"/>
                  </a:lnTo>
                  <a:lnTo>
                    <a:pt x="839" y="231"/>
                  </a:lnTo>
                  <a:lnTo>
                    <a:pt x="835" y="231"/>
                  </a:lnTo>
                  <a:lnTo>
                    <a:pt x="832" y="234"/>
                  </a:lnTo>
                  <a:lnTo>
                    <a:pt x="828" y="236"/>
                  </a:lnTo>
                  <a:lnTo>
                    <a:pt x="825" y="236"/>
                  </a:lnTo>
                  <a:lnTo>
                    <a:pt x="823" y="236"/>
                  </a:lnTo>
                  <a:lnTo>
                    <a:pt x="818" y="239"/>
                  </a:lnTo>
                  <a:lnTo>
                    <a:pt x="816" y="239"/>
                  </a:lnTo>
                  <a:lnTo>
                    <a:pt x="814" y="239"/>
                  </a:lnTo>
                  <a:lnTo>
                    <a:pt x="814" y="239"/>
                  </a:lnTo>
                  <a:lnTo>
                    <a:pt x="811" y="239"/>
                  </a:lnTo>
                  <a:lnTo>
                    <a:pt x="809" y="239"/>
                  </a:lnTo>
                  <a:lnTo>
                    <a:pt x="809" y="239"/>
                  </a:lnTo>
                  <a:lnTo>
                    <a:pt x="806" y="241"/>
                  </a:lnTo>
                  <a:lnTo>
                    <a:pt x="799" y="246"/>
                  </a:lnTo>
                  <a:lnTo>
                    <a:pt x="799" y="246"/>
                  </a:lnTo>
                  <a:lnTo>
                    <a:pt x="799" y="248"/>
                  </a:lnTo>
                  <a:lnTo>
                    <a:pt x="799" y="248"/>
                  </a:lnTo>
                  <a:lnTo>
                    <a:pt x="799" y="253"/>
                  </a:lnTo>
                  <a:lnTo>
                    <a:pt x="797" y="253"/>
                  </a:lnTo>
                  <a:lnTo>
                    <a:pt x="795" y="255"/>
                  </a:lnTo>
                  <a:lnTo>
                    <a:pt x="792" y="260"/>
                  </a:lnTo>
                  <a:lnTo>
                    <a:pt x="790" y="260"/>
                  </a:lnTo>
                  <a:lnTo>
                    <a:pt x="790" y="260"/>
                  </a:lnTo>
                  <a:lnTo>
                    <a:pt x="788" y="260"/>
                  </a:lnTo>
                  <a:lnTo>
                    <a:pt x="783" y="260"/>
                  </a:lnTo>
                  <a:lnTo>
                    <a:pt x="781" y="260"/>
                  </a:lnTo>
                  <a:lnTo>
                    <a:pt x="781" y="260"/>
                  </a:lnTo>
                  <a:lnTo>
                    <a:pt x="781" y="260"/>
                  </a:lnTo>
                  <a:lnTo>
                    <a:pt x="783" y="265"/>
                  </a:lnTo>
                  <a:lnTo>
                    <a:pt x="781" y="265"/>
                  </a:lnTo>
                  <a:lnTo>
                    <a:pt x="781" y="265"/>
                  </a:lnTo>
                  <a:lnTo>
                    <a:pt x="781" y="265"/>
                  </a:lnTo>
                  <a:lnTo>
                    <a:pt x="781" y="265"/>
                  </a:lnTo>
                  <a:lnTo>
                    <a:pt x="781" y="262"/>
                  </a:lnTo>
                  <a:lnTo>
                    <a:pt x="778" y="260"/>
                  </a:lnTo>
                  <a:lnTo>
                    <a:pt x="778" y="257"/>
                  </a:lnTo>
                  <a:lnTo>
                    <a:pt x="778" y="257"/>
                  </a:lnTo>
                  <a:lnTo>
                    <a:pt x="778" y="257"/>
                  </a:lnTo>
                  <a:lnTo>
                    <a:pt x="778" y="257"/>
                  </a:lnTo>
                  <a:lnTo>
                    <a:pt x="781" y="257"/>
                  </a:lnTo>
                  <a:lnTo>
                    <a:pt x="781" y="257"/>
                  </a:lnTo>
                  <a:lnTo>
                    <a:pt x="783" y="257"/>
                  </a:lnTo>
                  <a:lnTo>
                    <a:pt x="783" y="257"/>
                  </a:lnTo>
                  <a:lnTo>
                    <a:pt x="785" y="260"/>
                  </a:lnTo>
                  <a:lnTo>
                    <a:pt x="785" y="260"/>
                  </a:lnTo>
                  <a:lnTo>
                    <a:pt x="788" y="260"/>
                  </a:lnTo>
                  <a:lnTo>
                    <a:pt x="788" y="260"/>
                  </a:lnTo>
                  <a:lnTo>
                    <a:pt x="790" y="260"/>
                  </a:lnTo>
                  <a:lnTo>
                    <a:pt x="790" y="260"/>
                  </a:lnTo>
                  <a:lnTo>
                    <a:pt x="792" y="257"/>
                  </a:lnTo>
                  <a:lnTo>
                    <a:pt x="792" y="257"/>
                  </a:lnTo>
                  <a:lnTo>
                    <a:pt x="792" y="257"/>
                  </a:lnTo>
                  <a:lnTo>
                    <a:pt x="795" y="255"/>
                  </a:lnTo>
                  <a:lnTo>
                    <a:pt x="792" y="255"/>
                  </a:lnTo>
                  <a:lnTo>
                    <a:pt x="792" y="255"/>
                  </a:lnTo>
                  <a:lnTo>
                    <a:pt x="792" y="255"/>
                  </a:lnTo>
                  <a:lnTo>
                    <a:pt x="790" y="255"/>
                  </a:lnTo>
                  <a:lnTo>
                    <a:pt x="790" y="255"/>
                  </a:lnTo>
                  <a:lnTo>
                    <a:pt x="792" y="253"/>
                  </a:lnTo>
                  <a:lnTo>
                    <a:pt x="792" y="253"/>
                  </a:lnTo>
                  <a:lnTo>
                    <a:pt x="790" y="253"/>
                  </a:lnTo>
                  <a:lnTo>
                    <a:pt x="788" y="253"/>
                  </a:lnTo>
                  <a:lnTo>
                    <a:pt x="785" y="253"/>
                  </a:lnTo>
                  <a:lnTo>
                    <a:pt x="785" y="253"/>
                  </a:lnTo>
                  <a:lnTo>
                    <a:pt x="788" y="253"/>
                  </a:lnTo>
                  <a:lnTo>
                    <a:pt x="788" y="250"/>
                  </a:lnTo>
                  <a:lnTo>
                    <a:pt x="785" y="250"/>
                  </a:lnTo>
                  <a:lnTo>
                    <a:pt x="788" y="248"/>
                  </a:lnTo>
                  <a:lnTo>
                    <a:pt x="790" y="246"/>
                  </a:lnTo>
                  <a:lnTo>
                    <a:pt x="792" y="246"/>
                  </a:lnTo>
                  <a:lnTo>
                    <a:pt x="795" y="243"/>
                  </a:lnTo>
                  <a:lnTo>
                    <a:pt x="802" y="239"/>
                  </a:lnTo>
                  <a:lnTo>
                    <a:pt x="804" y="236"/>
                  </a:lnTo>
                  <a:lnTo>
                    <a:pt x="802" y="236"/>
                  </a:lnTo>
                  <a:lnTo>
                    <a:pt x="795" y="239"/>
                  </a:lnTo>
                  <a:lnTo>
                    <a:pt x="795" y="239"/>
                  </a:lnTo>
                  <a:lnTo>
                    <a:pt x="795" y="239"/>
                  </a:lnTo>
                  <a:lnTo>
                    <a:pt x="792" y="239"/>
                  </a:lnTo>
                  <a:lnTo>
                    <a:pt x="792" y="239"/>
                  </a:lnTo>
                  <a:lnTo>
                    <a:pt x="790" y="239"/>
                  </a:lnTo>
                  <a:lnTo>
                    <a:pt x="790" y="239"/>
                  </a:lnTo>
                  <a:lnTo>
                    <a:pt x="797" y="236"/>
                  </a:lnTo>
                  <a:lnTo>
                    <a:pt x="797" y="236"/>
                  </a:lnTo>
                  <a:lnTo>
                    <a:pt x="799" y="234"/>
                  </a:lnTo>
                  <a:lnTo>
                    <a:pt x="795" y="236"/>
                  </a:lnTo>
                  <a:lnTo>
                    <a:pt x="790" y="236"/>
                  </a:lnTo>
                  <a:lnTo>
                    <a:pt x="790" y="236"/>
                  </a:lnTo>
                  <a:lnTo>
                    <a:pt x="790" y="234"/>
                  </a:lnTo>
                  <a:lnTo>
                    <a:pt x="790" y="234"/>
                  </a:lnTo>
                  <a:lnTo>
                    <a:pt x="790" y="231"/>
                  </a:lnTo>
                  <a:lnTo>
                    <a:pt x="790" y="231"/>
                  </a:lnTo>
                  <a:lnTo>
                    <a:pt x="788" y="231"/>
                  </a:lnTo>
                  <a:lnTo>
                    <a:pt x="788" y="231"/>
                  </a:lnTo>
                  <a:lnTo>
                    <a:pt x="785" y="231"/>
                  </a:lnTo>
                  <a:lnTo>
                    <a:pt x="785" y="231"/>
                  </a:lnTo>
                  <a:lnTo>
                    <a:pt x="783" y="231"/>
                  </a:lnTo>
                  <a:lnTo>
                    <a:pt x="783" y="231"/>
                  </a:lnTo>
                  <a:lnTo>
                    <a:pt x="781" y="231"/>
                  </a:lnTo>
                  <a:lnTo>
                    <a:pt x="781" y="231"/>
                  </a:lnTo>
                  <a:lnTo>
                    <a:pt x="781" y="234"/>
                  </a:lnTo>
                  <a:lnTo>
                    <a:pt x="776" y="234"/>
                  </a:lnTo>
                  <a:lnTo>
                    <a:pt x="773" y="234"/>
                  </a:lnTo>
                  <a:lnTo>
                    <a:pt x="771" y="234"/>
                  </a:lnTo>
                  <a:lnTo>
                    <a:pt x="771" y="234"/>
                  </a:lnTo>
                  <a:lnTo>
                    <a:pt x="771" y="234"/>
                  </a:lnTo>
                  <a:lnTo>
                    <a:pt x="769" y="234"/>
                  </a:lnTo>
                  <a:lnTo>
                    <a:pt x="769" y="234"/>
                  </a:lnTo>
                  <a:lnTo>
                    <a:pt x="769" y="236"/>
                  </a:lnTo>
                  <a:lnTo>
                    <a:pt x="769" y="236"/>
                  </a:lnTo>
                  <a:lnTo>
                    <a:pt x="769" y="239"/>
                  </a:lnTo>
                  <a:lnTo>
                    <a:pt x="769" y="239"/>
                  </a:lnTo>
                  <a:lnTo>
                    <a:pt x="766" y="239"/>
                  </a:lnTo>
                  <a:lnTo>
                    <a:pt x="766" y="239"/>
                  </a:lnTo>
                  <a:lnTo>
                    <a:pt x="766" y="239"/>
                  </a:lnTo>
                  <a:lnTo>
                    <a:pt x="769" y="241"/>
                  </a:lnTo>
                  <a:lnTo>
                    <a:pt x="769" y="243"/>
                  </a:lnTo>
                  <a:lnTo>
                    <a:pt x="773" y="241"/>
                  </a:lnTo>
                  <a:lnTo>
                    <a:pt x="776" y="241"/>
                  </a:lnTo>
                  <a:lnTo>
                    <a:pt x="778" y="241"/>
                  </a:lnTo>
                  <a:lnTo>
                    <a:pt x="781" y="243"/>
                  </a:lnTo>
                  <a:lnTo>
                    <a:pt x="781" y="243"/>
                  </a:lnTo>
                  <a:lnTo>
                    <a:pt x="781" y="243"/>
                  </a:lnTo>
                  <a:lnTo>
                    <a:pt x="781" y="243"/>
                  </a:lnTo>
                  <a:lnTo>
                    <a:pt x="781" y="246"/>
                  </a:lnTo>
                  <a:lnTo>
                    <a:pt x="778" y="246"/>
                  </a:lnTo>
                  <a:lnTo>
                    <a:pt x="778" y="246"/>
                  </a:lnTo>
                  <a:lnTo>
                    <a:pt x="776" y="246"/>
                  </a:lnTo>
                  <a:lnTo>
                    <a:pt x="773" y="248"/>
                  </a:lnTo>
                  <a:lnTo>
                    <a:pt x="771" y="248"/>
                  </a:lnTo>
                  <a:lnTo>
                    <a:pt x="769" y="246"/>
                  </a:lnTo>
                  <a:lnTo>
                    <a:pt x="769" y="246"/>
                  </a:lnTo>
                  <a:lnTo>
                    <a:pt x="766" y="246"/>
                  </a:lnTo>
                  <a:lnTo>
                    <a:pt x="766" y="241"/>
                  </a:lnTo>
                  <a:lnTo>
                    <a:pt x="766" y="239"/>
                  </a:lnTo>
                  <a:lnTo>
                    <a:pt x="764" y="239"/>
                  </a:lnTo>
                  <a:lnTo>
                    <a:pt x="764" y="239"/>
                  </a:lnTo>
                  <a:lnTo>
                    <a:pt x="764" y="239"/>
                  </a:lnTo>
                  <a:lnTo>
                    <a:pt x="762" y="241"/>
                  </a:lnTo>
                  <a:lnTo>
                    <a:pt x="762" y="241"/>
                  </a:lnTo>
                  <a:lnTo>
                    <a:pt x="762" y="241"/>
                  </a:lnTo>
                  <a:lnTo>
                    <a:pt x="764" y="243"/>
                  </a:lnTo>
                  <a:lnTo>
                    <a:pt x="764" y="243"/>
                  </a:lnTo>
                  <a:lnTo>
                    <a:pt x="764" y="243"/>
                  </a:lnTo>
                  <a:lnTo>
                    <a:pt x="762" y="243"/>
                  </a:lnTo>
                  <a:lnTo>
                    <a:pt x="759" y="243"/>
                  </a:lnTo>
                  <a:lnTo>
                    <a:pt x="757" y="246"/>
                  </a:lnTo>
                  <a:lnTo>
                    <a:pt x="755" y="246"/>
                  </a:lnTo>
                  <a:lnTo>
                    <a:pt x="752" y="246"/>
                  </a:lnTo>
                  <a:lnTo>
                    <a:pt x="752" y="246"/>
                  </a:lnTo>
                  <a:lnTo>
                    <a:pt x="750" y="246"/>
                  </a:lnTo>
                  <a:lnTo>
                    <a:pt x="748" y="243"/>
                  </a:lnTo>
                  <a:lnTo>
                    <a:pt x="745" y="243"/>
                  </a:lnTo>
                  <a:lnTo>
                    <a:pt x="738" y="243"/>
                  </a:lnTo>
                  <a:lnTo>
                    <a:pt x="736" y="243"/>
                  </a:lnTo>
                  <a:lnTo>
                    <a:pt x="733" y="243"/>
                  </a:lnTo>
                  <a:lnTo>
                    <a:pt x="733" y="243"/>
                  </a:lnTo>
                  <a:lnTo>
                    <a:pt x="731" y="243"/>
                  </a:lnTo>
                  <a:lnTo>
                    <a:pt x="729" y="243"/>
                  </a:lnTo>
                  <a:lnTo>
                    <a:pt x="726" y="246"/>
                  </a:lnTo>
                  <a:lnTo>
                    <a:pt x="726" y="246"/>
                  </a:lnTo>
                  <a:lnTo>
                    <a:pt x="719" y="246"/>
                  </a:lnTo>
                  <a:lnTo>
                    <a:pt x="717" y="246"/>
                  </a:lnTo>
                  <a:lnTo>
                    <a:pt x="715" y="246"/>
                  </a:lnTo>
                  <a:lnTo>
                    <a:pt x="712" y="246"/>
                  </a:lnTo>
                  <a:lnTo>
                    <a:pt x="710" y="246"/>
                  </a:lnTo>
                  <a:lnTo>
                    <a:pt x="707" y="246"/>
                  </a:lnTo>
                  <a:lnTo>
                    <a:pt x="707" y="246"/>
                  </a:lnTo>
                  <a:lnTo>
                    <a:pt x="705" y="243"/>
                  </a:lnTo>
                  <a:lnTo>
                    <a:pt x="703" y="243"/>
                  </a:lnTo>
                  <a:lnTo>
                    <a:pt x="703" y="241"/>
                  </a:lnTo>
                  <a:lnTo>
                    <a:pt x="700" y="239"/>
                  </a:lnTo>
                  <a:lnTo>
                    <a:pt x="698" y="239"/>
                  </a:lnTo>
                  <a:lnTo>
                    <a:pt x="696" y="239"/>
                  </a:lnTo>
                  <a:lnTo>
                    <a:pt x="691" y="239"/>
                  </a:lnTo>
                  <a:lnTo>
                    <a:pt x="689" y="241"/>
                  </a:lnTo>
                  <a:lnTo>
                    <a:pt x="686" y="239"/>
                  </a:lnTo>
                  <a:lnTo>
                    <a:pt x="684" y="239"/>
                  </a:lnTo>
                  <a:lnTo>
                    <a:pt x="684" y="239"/>
                  </a:lnTo>
                  <a:lnTo>
                    <a:pt x="684" y="239"/>
                  </a:lnTo>
                  <a:lnTo>
                    <a:pt x="684" y="236"/>
                  </a:lnTo>
                  <a:lnTo>
                    <a:pt x="686" y="236"/>
                  </a:lnTo>
                  <a:lnTo>
                    <a:pt x="684" y="236"/>
                  </a:lnTo>
                  <a:lnTo>
                    <a:pt x="682" y="236"/>
                  </a:lnTo>
                  <a:lnTo>
                    <a:pt x="682" y="236"/>
                  </a:lnTo>
                  <a:lnTo>
                    <a:pt x="682" y="234"/>
                  </a:lnTo>
                  <a:lnTo>
                    <a:pt x="682" y="234"/>
                  </a:lnTo>
                  <a:lnTo>
                    <a:pt x="682" y="234"/>
                  </a:lnTo>
                  <a:lnTo>
                    <a:pt x="682" y="236"/>
                  </a:lnTo>
                  <a:lnTo>
                    <a:pt x="679" y="234"/>
                  </a:lnTo>
                  <a:lnTo>
                    <a:pt x="679" y="234"/>
                  </a:lnTo>
                  <a:lnTo>
                    <a:pt x="679" y="234"/>
                  </a:lnTo>
                  <a:lnTo>
                    <a:pt x="679" y="231"/>
                  </a:lnTo>
                  <a:lnTo>
                    <a:pt x="682" y="229"/>
                  </a:lnTo>
                  <a:lnTo>
                    <a:pt x="682" y="227"/>
                  </a:lnTo>
                  <a:lnTo>
                    <a:pt x="682" y="227"/>
                  </a:lnTo>
                  <a:lnTo>
                    <a:pt x="682" y="224"/>
                  </a:lnTo>
                  <a:lnTo>
                    <a:pt x="682" y="224"/>
                  </a:lnTo>
                  <a:lnTo>
                    <a:pt x="679" y="224"/>
                  </a:lnTo>
                  <a:lnTo>
                    <a:pt x="677" y="224"/>
                  </a:lnTo>
                  <a:lnTo>
                    <a:pt x="674" y="224"/>
                  </a:lnTo>
                  <a:lnTo>
                    <a:pt x="667" y="227"/>
                  </a:lnTo>
                  <a:lnTo>
                    <a:pt x="665" y="227"/>
                  </a:lnTo>
                  <a:lnTo>
                    <a:pt x="656" y="229"/>
                  </a:lnTo>
                  <a:lnTo>
                    <a:pt x="651" y="229"/>
                  </a:lnTo>
                  <a:lnTo>
                    <a:pt x="641" y="229"/>
                  </a:lnTo>
                  <a:lnTo>
                    <a:pt x="641" y="229"/>
                  </a:lnTo>
                  <a:lnTo>
                    <a:pt x="634" y="234"/>
                  </a:lnTo>
                  <a:lnTo>
                    <a:pt x="632" y="234"/>
                  </a:lnTo>
                  <a:lnTo>
                    <a:pt x="632" y="236"/>
                  </a:lnTo>
                  <a:lnTo>
                    <a:pt x="634" y="236"/>
                  </a:lnTo>
                  <a:lnTo>
                    <a:pt x="634" y="239"/>
                  </a:lnTo>
                  <a:lnTo>
                    <a:pt x="634" y="239"/>
                  </a:lnTo>
                  <a:lnTo>
                    <a:pt x="637" y="236"/>
                  </a:lnTo>
                  <a:lnTo>
                    <a:pt x="637" y="239"/>
                  </a:lnTo>
                  <a:lnTo>
                    <a:pt x="641" y="236"/>
                  </a:lnTo>
                  <a:lnTo>
                    <a:pt x="644" y="236"/>
                  </a:lnTo>
                  <a:lnTo>
                    <a:pt x="644" y="236"/>
                  </a:lnTo>
                  <a:lnTo>
                    <a:pt x="644" y="236"/>
                  </a:lnTo>
                  <a:lnTo>
                    <a:pt x="646" y="234"/>
                  </a:lnTo>
                  <a:lnTo>
                    <a:pt x="649" y="234"/>
                  </a:lnTo>
                  <a:lnTo>
                    <a:pt x="651" y="236"/>
                  </a:lnTo>
                  <a:lnTo>
                    <a:pt x="653" y="234"/>
                  </a:lnTo>
                  <a:lnTo>
                    <a:pt x="656" y="234"/>
                  </a:lnTo>
                  <a:lnTo>
                    <a:pt x="656" y="234"/>
                  </a:lnTo>
                  <a:lnTo>
                    <a:pt x="658" y="234"/>
                  </a:lnTo>
                  <a:lnTo>
                    <a:pt x="658" y="234"/>
                  </a:lnTo>
                  <a:lnTo>
                    <a:pt x="660" y="234"/>
                  </a:lnTo>
                  <a:lnTo>
                    <a:pt x="663" y="234"/>
                  </a:lnTo>
                  <a:lnTo>
                    <a:pt x="663" y="231"/>
                  </a:lnTo>
                  <a:lnTo>
                    <a:pt x="665" y="231"/>
                  </a:lnTo>
                  <a:lnTo>
                    <a:pt x="670" y="229"/>
                  </a:lnTo>
                  <a:lnTo>
                    <a:pt x="674" y="229"/>
                  </a:lnTo>
                  <a:lnTo>
                    <a:pt x="674" y="229"/>
                  </a:lnTo>
                  <a:lnTo>
                    <a:pt x="677" y="229"/>
                  </a:lnTo>
                  <a:lnTo>
                    <a:pt x="677" y="229"/>
                  </a:lnTo>
                  <a:lnTo>
                    <a:pt x="674" y="231"/>
                  </a:lnTo>
                  <a:lnTo>
                    <a:pt x="672" y="231"/>
                  </a:lnTo>
                  <a:lnTo>
                    <a:pt x="672" y="231"/>
                  </a:lnTo>
                  <a:lnTo>
                    <a:pt x="670" y="234"/>
                  </a:lnTo>
                  <a:lnTo>
                    <a:pt x="667" y="234"/>
                  </a:lnTo>
                  <a:lnTo>
                    <a:pt x="665" y="234"/>
                  </a:lnTo>
                  <a:lnTo>
                    <a:pt x="663" y="234"/>
                  </a:lnTo>
                  <a:lnTo>
                    <a:pt x="663" y="236"/>
                  </a:lnTo>
                  <a:lnTo>
                    <a:pt x="660" y="236"/>
                  </a:lnTo>
                  <a:lnTo>
                    <a:pt x="660" y="236"/>
                  </a:lnTo>
                  <a:lnTo>
                    <a:pt x="658" y="236"/>
                  </a:lnTo>
                  <a:lnTo>
                    <a:pt x="658" y="236"/>
                  </a:lnTo>
                  <a:lnTo>
                    <a:pt x="656" y="236"/>
                  </a:lnTo>
                  <a:lnTo>
                    <a:pt x="653" y="239"/>
                  </a:lnTo>
                  <a:lnTo>
                    <a:pt x="653" y="239"/>
                  </a:lnTo>
                  <a:lnTo>
                    <a:pt x="651" y="239"/>
                  </a:lnTo>
                  <a:lnTo>
                    <a:pt x="651" y="239"/>
                  </a:lnTo>
                  <a:lnTo>
                    <a:pt x="649" y="239"/>
                  </a:lnTo>
                  <a:lnTo>
                    <a:pt x="649" y="239"/>
                  </a:lnTo>
                  <a:lnTo>
                    <a:pt x="646" y="239"/>
                  </a:lnTo>
                  <a:lnTo>
                    <a:pt x="644" y="239"/>
                  </a:lnTo>
                  <a:lnTo>
                    <a:pt x="644" y="239"/>
                  </a:lnTo>
                  <a:lnTo>
                    <a:pt x="639" y="241"/>
                  </a:lnTo>
                  <a:lnTo>
                    <a:pt x="639" y="239"/>
                  </a:lnTo>
                  <a:lnTo>
                    <a:pt x="639" y="241"/>
                  </a:lnTo>
                  <a:lnTo>
                    <a:pt x="639" y="241"/>
                  </a:lnTo>
                  <a:lnTo>
                    <a:pt x="637" y="241"/>
                  </a:lnTo>
                  <a:lnTo>
                    <a:pt x="634" y="243"/>
                  </a:lnTo>
                  <a:lnTo>
                    <a:pt x="632" y="243"/>
                  </a:lnTo>
                  <a:lnTo>
                    <a:pt x="630" y="246"/>
                  </a:lnTo>
                  <a:lnTo>
                    <a:pt x="630" y="246"/>
                  </a:lnTo>
                  <a:lnTo>
                    <a:pt x="630" y="248"/>
                  </a:lnTo>
                  <a:lnTo>
                    <a:pt x="632" y="248"/>
                  </a:lnTo>
                  <a:lnTo>
                    <a:pt x="632" y="248"/>
                  </a:lnTo>
                  <a:lnTo>
                    <a:pt x="630" y="250"/>
                  </a:lnTo>
                  <a:lnTo>
                    <a:pt x="630" y="250"/>
                  </a:lnTo>
                  <a:lnTo>
                    <a:pt x="630" y="250"/>
                  </a:lnTo>
                  <a:lnTo>
                    <a:pt x="627" y="253"/>
                  </a:lnTo>
                  <a:lnTo>
                    <a:pt x="627" y="255"/>
                  </a:lnTo>
                  <a:lnTo>
                    <a:pt x="630" y="255"/>
                  </a:lnTo>
                  <a:lnTo>
                    <a:pt x="630" y="257"/>
                  </a:lnTo>
                  <a:lnTo>
                    <a:pt x="627" y="257"/>
                  </a:lnTo>
                  <a:lnTo>
                    <a:pt x="627" y="257"/>
                  </a:lnTo>
                  <a:lnTo>
                    <a:pt x="627" y="260"/>
                  </a:lnTo>
                  <a:lnTo>
                    <a:pt x="627" y="260"/>
                  </a:lnTo>
                  <a:lnTo>
                    <a:pt x="625" y="260"/>
                  </a:lnTo>
                  <a:lnTo>
                    <a:pt x="625" y="260"/>
                  </a:lnTo>
                  <a:lnTo>
                    <a:pt x="625" y="260"/>
                  </a:lnTo>
                  <a:lnTo>
                    <a:pt x="625" y="260"/>
                  </a:lnTo>
                  <a:lnTo>
                    <a:pt x="623" y="260"/>
                  </a:lnTo>
                  <a:lnTo>
                    <a:pt x="623" y="260"/>
                  </a:lnTo>
                  <a:lnTo>
                    <a:pt x="623" y="257"/>
                  </a:lnTo>
                  <a:lnTo>
                    <a:pt x="620" y="260"/>
                  </a:lnTo>
                  <a:lnTo>
                    <a:pt x="620" y="260"/>
                  </a:lnTo>
                  <a:lnTo>
                    <a:pt x="618" y="262"/>
                  </a:lnTo>
                  <a:lnTo>
                    <a:pt x="616" y="262"/>
                  </a:lnTo>
                  <a:lnTo>
                    <a:pt x="616" y="262"/>
                  </a:lnTo>
                  <a:lnTo>
                    <a:pt x="616" y="265"/>
                  </a:lnTo>
                  <a:lnTo>
                    <a:pt x="618" y="269"/>
                  </a:lnTo>
                  <a:lnTo>
                    <a:pt x="616" y="269"/>
                  </a:lnTo>
                  <a:lnTo>
                    <a:pt x="616" y="269"/>
                  </a:lnTo>
                  <a:lnTo>
                    <a:pt x="616" y="269"/>
                  </a:lnTo>
                  <a:lnTo>
                    <a:pt x="616" y="267"/>
                  </a:lnTo>
                  <a:lnTo>
                    <a:pt x="616" y="265"/>
                  </a:lnTo>
                  <a:lnTo>
                    <a:pt x="616" y="265"/>
                  </a:lnTo>
                  <a:lnTo>
                    <a:pt x="613" y="262"/>
                  </a:lnTo>
                  <a:lnTo>
                    <a:pt x="613" y="262"/>
                  </a:lnTo>
                  <a:lnTo>
                    <a:pt x="613" y="262"/>
                  </a:lnTo>
                  <a:lnTo>
                    <a:pt x="613" y="262"/>
                  </a:lnTo>
                  <a:lnTo>
                    <a:pt x="613" y="260"/>
                  </a:lnTo>
                  <a:lnTo>
                    <a:pt x="613" y="260"/>
                  </a:lnTo>
                  <a:lnTo>
                    <a:pt x="611" y="257"/>
                  </a:lnTo>
                  <a:lnTo>
                    <a:pt x="611" y="257"/>
                  </a:lnTo>
                  <a:lnTo>
                    <a:pt x="613" y="257"/>
                  </a:lnTo>
                  <a:lnTo>
                    <a:pt x="613" y="257"/>
                  </a:lnTo>
                  <a:lnTo>
                    <a:pt x="616" y="257"/>
                  </a:lnTo>
                  <a:lnTo>
                    <a:pt x="618" y="257"/>
                  </a:lnTo>
                  <a:lnTo>
                    <a:pt x="618" y="257"/>
                  </a:lnTo>
                  <a:lnTo>
                    <a:pt x="620" y="255"/>
                  </a:lnTo>
                  <a:lnTo>
                    <a:pt x="620" y="255"/>
                  </a:lnTo>
                  <a:lnTo>
                    <a:pt x="623" y="255"/>
                  </a:lnTo>
                  <a:lnTo>
                    <a:pt x="623" y="253"/>
                  </a:lnTo>
                  <a:lnTo>
                    <a:pt x="620" y="250"/>
                  </a:lnTo>
                  <a:lnTo>
                    <a:pt x="620" y="250"/>
                  </a:lnTo>
                  <a:lnTo>
                    <a:pt x="620" y="248"/>
                  </a:lnTo>
                  <a:lnTo>
                    <a:pt x="620" y="248"/>
                  </a:lnTo>
                  <a:lnTo>
                    <a:pt x="618" y="248"/>
                  </a:lnTo>
                  <a:lnTo>
                    <a:pt x="618" y="248"/>
                  </a:lnTo>
                  <a:lnTo>
                    <a:pt x="613" y="250"/>
                  </a:lnTo>
                  <a:lnTo>
                    <a:pt x="613" y="250"/>
                  </a:lnTo>
                  <a:lnTo>
                    <a:pt x="613" y="250"/>
                  </a:lnTo>
                  <a:lnTo>
                    <a:pt x="613" y="250"/>
                  </a:lnTo>
                  <a:lnTo>
                    <a:pt x="613" y="248"/>
                  </a:lnTo>
                  <a:lnTo>
                    <a:pt x="616" y="248"/>
                  </a:lnTo>
                  <a:lnTo>
                    <a:pt x="616" y="246"/>
                  </a:lnTo>
                  <a:lnTo>
                    <a:pt x="616" y="246"/>
                  </a:lnTo>
                  <a:lnTo>
                    <a:pt x="613" y="246"/>
                  </a:lnTo>
                  <a:lnTo>
                    <a:pt x="608" y="246"/>
                  </a:lnTo>
                  <a:lnTo>
                    <a:pt x="608" y="246"/>
                  </a:lnTo>
                  <a:lnTo>
                    <a:pt x="608" y="243"/>
                  </a:lnTo>
                  <a:lnTo>
                    <a:pt x="608" y="243"/>
                  </a:lnTo>
                  <a:lnTo>
                    <a:pt x="606" y="243"/>
                  </a:lnTo>
                  <a:lnTo>
                    <a:pt x="606" y="243"/>
                  </a:lnTo>
                  <a:lnTo>
                    <a:pt x="606" y="241"/>
                  </a:lnTo>
                  <a:lnTo>
                    <a:pt x="606" y="241"/>
                  </a:lnTo>
                  <a:lnTo>
                    <a:pt x="606" y="241"/>
                  </a:lnTo>
                  <a:lnTo>
                    <a:pt x="604" y="241"/>
                  </a:lnTo>
                  <a:lnTo>
                    <a:pt x="601" y="241"/>
                  </a:lnTo>
                  <a:lnTo>
                    <a:pt x="594" y="243"/>
                  </a:lnTo>
                  <a:lnTo>
                    <a:pt x="590" y="243"/>
                  </a:lnTo>
                  <a:lnTo>
                    <a:pt x="590" y="243"/>
                  </a:lnTo>
                  <a:lnTo>
                    <a:pt x="587" y="243"/>
                  </a:lnTo>
                  <a:lnTo>
                    <a:pt x="587" y="243"/>
                  </a:lnTo>
                  <a:lnTo>
                    <a:pt x="587" y="243"/>
                  </a:lnTo>
                  <a:lnTo>
                    <a:pt x="585" y="243"/>
                  </a:lnTo>
                  <a:lnTo>
                    <a:pt x="583" y="246"/>
                  </a:lnTo>
                  <a:lnTo>
                    <a:pt x="580" y="246"/>
                  </a:lnTo>
                  <a:lnTo>
                    <a:pt x="573" y="246"/>
                  </a:lnTo>
                  <a:lnTo>
                    <a:pt x="573" y="246"/>
                  </a:lnTo>
                  <a:lnTo>
                    <a:pt x="571" y="246"/>
                  </a:lnTo>
                  <a:lnTo>
                    <a:pt x="568" y="246"/>
                  </a:lnTo>
                  <a:lnTo>
                    <a:pt x="568" y="246"/>
                  </a:lnTo>
                  <a:lnTo>
                    <a:pt x="561" y="246"/>
                  </a:lnTo>
                  <a:lnTo>
                    <a:pt x="559" y="246"/>
                  </a:lnTo>
                  <a:lnTo>
                    <a:pt x="559" y="246"/>
                  </a:lnTo>
                  <a:lnTo>
                    <a:pt x="552" y="246"/>
                  </a:lnTo>
                  <a:lnTo>
                    <a:pt x="550" y="246"/>
                  </a:lnTo>
                  <a:lnTo>
                    <a:pt x="547" y="246"/>
                  </a:lnTo>
                  <a:lnTo>
                    <a:pt x="545" y="246"/>
                  </a:lnTo>
                  <a:lnTo>
                    <a:pt x="545" y="246"/>
                  </a:lnTo>
                  <a:lnTo>
                    <a:pt x="542" y="246"/>
                  </a:lnTo>
                  <a:lnTo>
                    <a:pt x="540" y="243"/>
                  </a:lnTo>
                  <a:lnTo>
                    <a:pt x="538" y="243"/>
                  </a:lnTo>
                  <a:lnTo>
                    <a:pt x="535" y="243"/>
                  </a:lnTo>
                  <a:lnTo>
                    <a:pt x="535" y="243"/>
                  </a:lnTo>
                  <a:lnTo>
                    <a:pt x="533" y="243"/>
                  </a:lnTo>
                  <a:lnTo>
                    <a:pt x="531" y="243"/>
                  </a:lnTo>
                  <a:lnTo>
                    <a:pt x="533" y="241"/>
                  </a:lnTo>
                  <a:lnTo>
                    <a:pt x="538" y="241"/>
                  </a:lnTo>
                  <a:lnTo>
                    <a:pt x="538" y="241"/>
                  </a:lnTo>
                  <a:lnTo>
                    <a:pt x="538" y="239"/>
                  </a:lnTo>
                  <a:lnTo>
                    <a:pt x="540" y="239"/>
                  </a:lnTo>
                  <a:lnTo>
                    <a:pt x="540" y="239"/>
                  </a:lnTo>
                  <a:lnTo>
                    <a:pt x="545" y="236"/>
                  </a:lnTo>
                  <a:lnTo>
                    <a:pt x="547" y="236"/>
                  </a:lnTo>
                  <a:lnTo>
                    <a:pt x="554" y="236"/>
                  </a:lnTo>
                  <a:lnTo>
                    <a:pt x="557" y="236"/>
                  </a:lnTo>
                  <a:lnTo>
                    <a:pt x="559" y="236"/>
                  </a:lnTo>
                  <a:lnTo>
                    <a:pt x="559" y="234"/>
                  </a:lnTo>
                  <a:lnTo>
                    <a:pt x="561" y="234"/>
                  </a:lnTo>
                  <a:lnTo>
                    <a:pt x="561" y="234"/>
                  </a:lnTo>
                  <a:lnTo>
                    <a:pt x="561" y="234"/>
                  </a:lnTo>
                  <a:lnTo>
                    <a:pt x="561" y="231"/>
                  </a:lnTo>
                  <a:lnTo>
                    <a:pt x="561" y="231"/>
                  </a:lnTo>
                  <a:lnTo>
                    <a:pt x="561" y="231"/>
                  </a:lnTo>
                  <a:lnTo>
                    <a:pt x="561" y="229"/>
                  </a:lnTo>
                  <a:lnTo>
                    <a:pt x="559" y="227"/>
                  </a:lnTo>
                  <a:lnTo>
                    <a:pt x="557" y="224"/>
                  </a:lnTo>
                  <a:lnTo>
                    <a:pt x="554" y="224"/>
                  </a:lnTo>
                  <a:lnTo>
                    <a:pt x="552" y="224"/>
                  </a:lnTo>
                  <a:lnTo>
                    <a:pt x="550" y="222"/>
                  </a:lnTo>
                  <a:lnTo>
                    <a:pt x="547" y="222"/>
                  </a:lnTo>
                  <a:lnTo>
                    <a:pt x="547" y="222"/>
                  </a:lnTo>
                  <a:lnTo>
                    <a:pt x="545" y="222"/>
                  </a:lnTo>
                  <a:lnTo>
                    <a:pt x="542" y="222"/>
                  </a:lnTo>
                  <a:lnTo>
                    <a:pt x="542" y="222"/>
                  </a:lnTo>
                  <a:lnTo>
                    <a:pt x="540" y="222"/>
                  </a:lnTo>
                  <a:lnTo>
                    <a:pt x="542" y="224"/>
                  </a:lnTo>
                  <a:lnTo>
                    <a:pt x="542" y="224"/>
                  </a:lnTo>
                  <a:lnTo>
                    <a:pt x="540" y="224"/>
                  </a:lnTo>
                  <a:lnTo>
                    <a:pt x="538" y="224"/>
                  </a:lnTo>
                  <a:lnTo>
                    <a:pt x="538" y="224"/>
                  </a:lnTo>
                  <a:lnTo>
                    <a:pt x="535" y="224"/>
                  </a:lnTo>
                  <a:lnTo>
                    <a:pt x="531" y="224"/>
                  </a:lnTo>
                  <a:lnTo>
                    <a:pt x="528" y="224"/>
                  </a:lnTo>
                  <a:lnTo>
                    <a:pt x="528" y="224"/>
                  </a:lnTo>
                  <a:lnTo>
                    <a:pt x="526" y="224"/>
                  </a:lnTo>
                  <a:lnTo>
                    <a:pt x="521" y="222"/>
                  </a:lnTo>
                  <a:lnTo>
                    <a:pt x="519" y="222"/>
                  </a:lnTo>
                  <a:lnTo>
                    <a:pt x="517" y="220"/>
                  </a:lnTo>
                  <a:lnTo>
                    <a:pt x="514" y="220"/>
                  </a:lnTo>
                  <a:lnTo>
                    <a:pt x="514" y="217"/>
                  </a:lnTo>
                  <a:lnTo>
                    <a:pt x="512" y="217"/>
                  </a:lnTo>
                  <a:lnTo>
                    <a:pt x="500" y="217"/>
                  </a:lnTo>
                  <a:lnTo>
                    <a:pt x="498" y="215"/>
                  </a:lnTo>
                  <a:lnTo>
                    <a:pt x="495" y="215"/>
                  </a:lnTo>
                  <a:lnTo>
                    <a:pt x="493" y="213"/>
                  </a:lnTo>
                  <a:lnTo>
                    <a:pt x="493" y="210"/>
                  </a:lnTo>
                  <a:lnTo>
                    <a:pt x="488" y="210"/>
                  </a:lnTo>
                  <a:lnTo>
                    <a:pt x="486" y="208"/>
                  </a:lnTo>
                  <a:lnTo>
                    <a:pt x="484" y="208"/>
                  </a:lnTo>
                  <a:lnTo>
                    <a:pt x="481" y="208"/>
                  </a:lnTo>
                  <a:lnTo>
                    <a:pt x="477" y="208"/>
                  </a:lnTo>
                  <a:lnTo>
                    <a:pt x="472" y="208"/>
                  </a:lnTo>
                  <a:lnTo>
                    <a:pt x="472" y="208"/>
                  </a:lnTo>
                  <a:lnTo>
                    <a:pt x="469" y="208"/>
                  </a:lnTo>
                  <a:lnTo>
                    <a:pt x="467" y="208"/>
                  </a:lnTo>
                  <a:lnTo>
                    <a:pt x="467" y="208"/>
                  </a:lnTo>
                  <a:lnTo>
                    <a:pt x="465" y="210"/>
                  </a:lnTo>
                  <a:lnTo>
                    <a:pt x="462" y="210"/>
                  </a:lnTo>
                  <a:lnTo>
                    <a:pt x="460" y="213"/>
                  </a:lnTo>
                  <a:lnTo>
                    <a:pt x="458" y="213"/>
                  </a:lnTo>
                  <a:lnTo>
                    <a:pt x="455" y="213"/>
                  </a:lnTo>
                  <a:lnTo>
                    <a:pt x="453" y="215"/>
                  </a:lnTo>
                  <a:lnTo>
                    <a:pt x="453" y="215"/>
                  </a:lnTo>
                  <a:lnTo>
                    <a:pt x="451" y="215"/>
                  </a:lnTo>
                  <a:lnTo>
                    <a:pt x="444" y="215"/>
                  </a:lnTo>
                  <a:lnTo>
                    <a:pt x="444" y="215"/>
                  </a:lnTo>
                  <a:lnTo>
                    <a:pt x="441" y="215"/>
                  </a:lnTo>
                  <a:lnTo>
                    <a:pt x="439" y="215"/>
                  </a:lnTo>
                  <a:lnTo>
                    <a:pt x="439" y="215"/>
                  </a:lnTo>
                  <a:lnTo>
                    <a:pt x="439" y="215"/>
                  </a:lnTo>
                  <a:lnTo>
                    <a:pt x="441" y="215"/>
                  </a:lnTo>
                  <a:lnTo>
                    <a:pt x="444" y="213"/>
                  </a:lnTo>
                  <a:lnTo>
                    <a:pt x="448" y="210"/>
                  </a:lnTo>
                  <a:lnTo>
                    <a:pt x="451" y="210"/>
                  </a:lnTo>
                  <a:lnTo>
                    <a:pt x="448" y="210"/>
                  </a:lnTo>
                  <a:lnTo>
                    <a:pt x="448" y="208"/>
                  </a:lnTo>
                  <a:lnTo>
                    <a:pt x="451" y="205"/>
                  </a:lnTo>
                  <a:lnTo>
                    <a:pt x="453" y="205"/>
                  </a:lnTo>
                  <a:lnTo>
                    <a:pt x="453" y="203"/>
                  </a:lnTo>
                  <a:lnTo>
                    <a:pt x="455" y="203"/>
                  </a:lnTo>
                  <a:lnTo>
                    <a:pt x="455" y="203"/>
                  </a:lnTo>
                  <a:lnTo>
                    <a:pt x="455" y="203"/>
                  </a:lnTo>
                  <a:lnTo>
                    <a:pt x="453" y="203"/>
                  </a:lnTo>
                  <a:lnTo>
                    <a:pt x="451" y="203"/>
                  </a:lnTo>
                  <a:lnTo>
                    <a:pt x="451" y="203"/>
                  </a:lnTo>
                  <a:lnTo>
                    <a:pt x="446" y="203"/>
                  </a:lnTo>
                  <a:lnTo>
                    <a:pt x="446" y="203"/>
                  </a:lnTo>
                  <a:lnTo>
                    <a:pt x="446" y="205"/>
                  </a:lnTo>
                  <a:lnTo>
                    <a:pt x="446" y="205"/>
                  </a:lnTo>
                  <a:lnTo>
                    <a:pt x="448" y="205"/>
                  </a:lnTo>
                  <a:lnTo>
                    <a:pt x="448" y="205"/>
                  </a:lnTo>
                  <a:lnTo>
                    <a:pt x="448" y="205"/>
                  </a:lnTo>
                  <a:lnTo>
                    <a:pt x="446" y="205"/>
                  </a:lnTo>
                  <a:lnTo>
                    <a:pt x="444" y="205"/>
                  </a:lnTo>
                  <a:lnTo>
                    <a:pt x="441" y="208"/>
                  </a:lnTo>
                  <a:lnTo>
                    <a:pt x="441" y="208"/>
                  </a:lnTo>
                  <a:lnTo>
                    <a:pt x="439" y="208"/>
                  </a:lnTo>
                  <a:lnTo>
                    <a:pt x="439" y="208"/>
                  </a:lnTo>
                  <a:lnTo>
                    <a:pt x="436" y="210"/>
                  </a:lnTo>
                  <a:lnTo>
                    <a:pt x="436" y="210"/>
                  </a:lnTo>
                  <a:lnTo>
                    <a:pt x="434" y="210"/>
                  </a:lnTo>
                  <a:lnTo>
                    <a:pt x="432" y="210"/>
                  </a:lnTo>
                  <a:lnTo>
                    <a:pt x="432" y="213"/>
                  </a:lnTo>
                  <a:lnTo>
                    <a:pt x="432" y="215"/>
                  </a:lnTo>
                  <a:lnTo>
                    <a:pt x="432" y="215"/>
                  </a:lnTo>
                  <a:lnTo>
                    <a:pt x="427" y="217"/>
                  </a:lnTo>
                  <a:lnTo>
                    <a:pt x="425" y="217"/>
                  </a:lnTo>
                  <a:lnTo>
                    <a:pt x="422" y="215"/>
                  </a:lnTo>
                  <a:lnTo>
                    <a:pt x="420" y="215"/>
                  </a:lnTo>
                  <a:lnTo>
                    <a:pt x="420" y="215"/>
                  </a:lnTo>
                  <a:lnTo>
                    <a:pt x="418" y="213"/>
                  </a:lnTo>
                  <a:lnTo>
                    <a:pt x="418" y="210"/>
                  </a:lnTo>
                  <a:lnTo>
                    <a:pt x="418" y="208"/>
                  </a:lnTo>
                  <a:lnTo>
                    <a:pt x="418" y="208"/>
                  </a:lnTo>
                  <a:lnTo>
                    <a:pt x="420" y="205"/>
                  </a:lnTo>
                  <a:lnTo>
                    <a:pt x="420" y="203"/>
                  </a:lnTo>
                  <a:lnTo>
                    <a:pt x="422" y="201"/>
                  </a:lnTo>
                  <a:lnTo>
                    <a:pt x="422" y="198"/>
                  </a:lnTo>
                  <a:lnTo>
                    <a:pt x="422" y="198"/>
                  </a:lnTo>
                  <a:lnTo>
                    <a:pt x="420" y="196"/>
                  </a:lnTo>
                  <a:lnTo>
                    <a:pt x="420" y="196"/>
                  </a:lnTo>
                  <a:lnTo>
                    <a:pt x="418" y="194"/>
                  </a:lnTo>
                  <a:lnTo>
                    <a:pt x="418" y="194"/>
                  </a:lnTo>
                  <a:lnTo>
                    <a:pt x="415" y="196"/>
                  </a:lnTo>
                  <a:lnTo>
                    <a:pt x="413" y="196"/>
                  </a:lnTo>
                  <a:lnTo>
                    <a:pt x="413" y="198"/>
                  </a:lnTo>
                  <a:lnTo>
                    <a:pt x="413" y="198"/>
                  </a:lnTo>
                  <a:lnTo>
                    <a:pt x="413" y="198"/>
                  </a:lnTo>
                  <a:lnTo>
                    <a:pt x="413" y="198"/>
                  </a:lnTo>
                  <a:lnTo>
                    <a:pt x="411" y="198"/>
                  </a:lnTo>
                  <a:lnTo>
                    <a:pt x="413" y="201"/>
                  </a:lnTo>
                  <a:lnTo>
                    <a:pt x="415" y="201"/>
                  </a:lnTo>
                  <a:lnTo>
                    <a:pt x="413" y="201"/>
                  </a:lnTo>
                  <a:lnTo>
                    <a:pt x="408" y="201"/>
                  </a:lnTo>
                  <a:lnTo>
                    <a:pt x="403" y="203"/>
                  </a:lnTo>
                  <a:lnTo>
                    <a:pt x="401" y="205"/>
                  </a:lnTo>
                  <a:lnTo>
                    <a:pt x="399" y="205"/>
                  </a:lnTo>
                  <a:lnTo>
                    <a:pt x="392" y="208"/>
                  </a:lnTo>
                  <a:lnTo>
                    <a:pt x="389" y="210"/>
                  </a:lnTo>
                  <a:lnTo>
                    <a:pt x="387" y="210"/>
                  </a:lnTo>
                  <a:lnTo>
                    <a:pt x="385" y="210"/>
                  </a:lnTo>
                  <a:lnTo>
                    <a:pt x="385" y="210"/>
                  </a:lnTo>
                  <a:lnTo>
                    <a:pt x="385" y="210"/>
                  </a:lnTo>
                  <a:lnTo>
                    <a:pt x="385" y="208"/>
                  </a:lnTo>
                  <a:lnTo>
                    <a:pt x="387" y="208"/>
                  </a:lnTo>
                  <a:lnTo>
                    <a:pt x="389" y="208"/>
                  </a:lnTo>
                  <a:lnTo>
                    <a:pt x="392" y="205"/>
                  </a:lnTo>
                  <a:lnTo>
                    <a:pt x="392" y="205"/>
                  </a:lnTo>
                  <a:lnTo>
                    <a:pt x="392" y="205"/>
                  </a:lnTo>
                  <a:lnTo>
                    <a:pt x="392" y="205"/>
                  </a:lnTo>
                  <a:lnTo>
                    <a:pt x="389" y="205"/>
                  </a:lnTo>
                  <a:lnTo>
                    <a:pt x="387" y="208"/>
                  </a:lnTo>
                  <a:lnTo>
                    <a:pt x="385" y="208"/>
                  </a:lnTo>
                  <a:lnTo>
                    <a:pt x="380" y="208"/>
                  </a:lnTo>
                  <a:lnTo>
                    <a:pt x="370" y="210"/>
                  </a:lnTo>
                  <a:lnTo>
                    <a:pt x="366" y="210"/>
                  </a:lnTo>
                  <a:lnTo>
                    <a:pt x="361" y="213"/>
                  </a:lnTo>
                  <a:lnTo>
                    <a:pt x="359" y="215"/>
                  </a:lnTo>
                  <a:lnTo>
                    <a:pt x="352" y="217"/>
                  </a:lnTo>
                  <a:lnTo>
                    <a:pt x="349" y="217"/>
                  </a:lnTo>
                  <a:lnTo>
                    <a:pt x="347" y="220"/>
                  </a:lnTo>
                  <a:lnTo>
                    <a:pt x="349" y="217"/>
                  </a:lnTo>
                  <a:lnTo>
                    <a:pt x="352" y="215"/>
                  </a:lnTo>
                  <a:lnTo>
                    <a:pt x="352" y="215"/>
                  </a:lnTo>
                  <a:lnTo>
                    <a:pt x="352" y="215"/>
                  </a:lnTo>
                  <a:lnTo>
                    <a:pt x="352" y="215"/>
                  </a:lnTo>
                  <a:lnTo>
                    <a:pt x="352" y="215"/>
                  </a:lnTo>
                  <a:lnTo>
                    <a:pt x="349" y="215"/>
                  </a:lnTo>
                  <a:lnTo>
                    <a:pt x="347" y="215"/>
                  </a:lnTo>
                  <a:lnTo>
                    <a:pt x="347" y="215"/>
                  </a:lnTo>
                  <a:lnTo>
                    <a:pt x="347" y="215"/>
                  </a:lnTo>
                  <a:lnTo>
                    <a:pt x="347" y="215"/>
                  </a:lnTo>
                  <a:lnTo>
                    <a:pt x="345" y="215"/>
                  </a:lnTo>
                  <a:lnTo>
                    <a:pt x="345" y="215"/>
                  </a:lnTo>
                  <a:lnTo>
                    <a:pt x="342" y="215"/>
                  </a:lnTo>
                  <a:lnTo>
                    <a:pt x="340" y="215"/>
                  </a:lnTo>
                  <a:lnTo>
                    <a:pt x="340" y="215"/>
                  </a:lnTo>
                  <a:lnTo>
                    <a:pt x="340" y="215"/>
                  </a:lnTo>
                  <a:lnTo>
                    <a:pt x="340" y="217"/>
                  </a:lnTo>
                  <a:lnTo>
                    <a:pt x="337" y="217"/>
                  </a:lnTo>
                  <a:lnTo>
                    <a:pt x="333" y="217"/>
                  </a:lnTo>
                  <a:lnTo>
                    <a:pt x="330" y="220"/>
                  </a:lnTo>
                  <a:lnTo>
                    <a:pt x="328" y="220"/>
                  </a:lnTo>
                  <a:lnTo>
                    <a:pt x="326" y="220"/>
                  </a:lnTo>
                  <a:lnTo>
                    <a:pt x="321" y="222"/>
                  </a:lnTo>
                  <a:lnTo>
                    <a:pt x="321" y="222"/>
                  </a:lnTo>
                  <a:lnTo>
                    <a:pt x="319" y="222"/>
                  </a:lnTo>
                  <a:lnTo>
                    <a:pt x="319" y="222"/>
                  </a:lnTo>
                  <a:lnTo>
                    <a:pt x="319" y="224"/>
                  </a:lnTo>
                  <a:lnTo>
                    <a:pt x="316" y="224"/>
                  </a:lnTo>
                  <a:lnTo>
                    <a:pt x="319" y="224"/>
                  </a:lnTo>
                  <a:lnTo>
                    <a:pt x="319" y="224"/>
                  </a:lnTo>
                  <a:lnTo>
                    <a:pt x="319" y="224"/>
                  </a:lnTo>
                  <a:lnTo>
                    <a:pt x="316" y="227"/>
                  </a:lnTo>
                  <a:lnTo>
                    <a:pt x="309" y="224"/>
                  </a:lnTo>
                  <a:lnTo>
                    <a:pt x="307" y="224"/>
                  </a:lnTo>
                  <a:lnTo>
                    <a:pt x="307" y="227"/>
                  </a:lnTo>
                  <a:lnTo>
                    <a:pt x="309" y="227"/>
                  </a:lnTo>
                  <a:lnTo>
                    <a:pt x="309" y="227"/>
                  </a:lnTo>
                  <a:lnTo>
                    <a:pt x="307" y="227"/>
                  </a:lnTo>
                  <a:lnTo>
                    <a:pt x="307" y="227"/>
                  </a:lnTo>
                  <a:lnTo>
                    <a:pt x="307" y="227"/>
                  </a:lnTo>
                  <a:lnTo>
                    <a:pt x="307" y="224"/>
                  </a:lnTo>
                  <a:lnTo>
                    <a:pt x="309" y="224"/>
                  </a:lnTo>
                  <a:lnTo>
                    <a:pt x="312" y="222"/>
                  </a:lnTo>
                  <a:lnTo>
                    <a:pt x="316" y="222"/>
                  </a:lnTo>
                  <a:lnTo>
                    <a:pt x="319" y="220"/>
                  </a:lnTo>
                  <a:lnTo>
                    <a:pt x="323" y="220"/>
                  </a:lnTo>
                  <a:lnTo>
                    <a:pt x="326" y="217"/>
                  </a:lnTo>
                  <a:lnTo>
                    <a:pt x="328" y="217"/>
                  </a:lnTo>
                  <a:lnTo>
                    <a:pt x="333" y="217"/>
                  </a:lnTo>
                  <a:lnTo>
                    <a:pt x="335" y="215"/>
                  </a:lnTo>
                  <a:lnTo>
                    <a:pt x="337" y="215"/>
                  </a:lnTo>
                  <a:lnTo>
                    <a:pt x="340" y="213"/>
                  </a:lnTo>
                  <a:lnTo>
                    <a:pt x="342" y="213"/>
                  </a:lnTo>
                  <a:lnTo>
                    <a:pt x="345" y="213"/>
                  </a:lnTo>
                  <a:lnTo>
                    <a:pt x="349" y="213"/>
                  </a:lnTo>
                  <a:lnTo>
                    <a:pt x="352" y="213"/>
                  </a:lnTo>
                  <a:lnTo>
                    <a:pt x="354" y="213"/>
                  </a:lnTo>
                  <a:lnTo>
                    <a:pt x="356" y="210"/>
                  </a:lnTo>
                  <a:lnTo>
                    <a:pt x="359" y="210"/>
                  </a:lnTo>
                  <a:lnTo>
                    <a:pt x="361" y="210"/>
                  </a:lnTo>
                  <a:lnTo>
                    <a:pt x="368" y="208"/>
                  </a:lnTo>
                  <a:lnTo>
                    <a:pt x="382" y="205"/>
                  </a:lnTo>
                  <a:lnTo>
                    <a:pt x="387" y="203"/>
                  </a:lnTo>
                  <a:lnTo>
                    <a:pt x="387" y="203"/>
                  </a:lnTo>
                  <a:lnTo>
                    <a:pt x="387" y="201"/>
                  </a:lnTo>
                  <a:lnTo>
                    <a:pt x="387" y="201"/>
                  </a:lnTo>
                  <a:lnTo>
                    <a:pt x="387" y="201"/>
                  </a:lnTo>
                  <a:lnTo>
                    <a:pt x="382" y="203"/>
                  </a:lnTo>
                  <a:lnTo>
                    <a:pt x="382" y="203"/>
                  </a:lnTo>
                  <a:lnTo>
                    <a:pt x="380" y="203"/>
                  </a:lnTo>
                  <a:lnTo>
                    <a:pt x="378" y="203"/>
                  </a:lnTo>
                  <a:lnTo>
                    <a:pt x="378" y="203"/>
                  </a:lnTo>
                  <a:lnTo>
                    <a:pt x="375" y="203"/>
                  </a:lnTo>
                  <a:lnTo>
                    <a:pt x="375" y="203"/>
                  </a:lnTo>
                  <a:lnTo>
                    <a:pt x="373" y="203"/>
                  </a:lnTo>
                  <a:lnTo>
                    <a:pt x="368" y="203"/>
                  </a:lnTo>
                  <a:lnTo>
                    <a:pt x="366" y="205"/>
                  </a:lnTo>
                  <a:lnTo>
                    <a:pt x="363" y="205"/>
                  </a:lnTo>
                  <a:lnTo>
                    <a:pt x="361" y="205"/>
                  </a:lnTo>
                  <a:lnTo>
                    <a:pt x="361" y="205"/>
                  </a:lnTo>
                  <a:lnTo>
                    <a:pt x="359" y="205"/>
                  </a:lnTo>
                  <a:lnTo>
                    <a:pt x="356" y="205"/>
                  </a:lnTo>
                  <a:lnTo>
                    <a:pt x="354" y="208"/>
                  </a:lnTo>
                  <a:lnTo>
                    <a:pt x="347" y="210"/>
                  </a:lnTo>
                  <a:lnTo>
                    <a:pt x="342" y="210"/>
                  </a:lnTo>
                  <a:lnTo>
                    <a:pt x="342" y="210"/>
                  </a:lnTo>
                  <a:lnTo>
                    <a:pt x="342" y="210"/>
                  </a:lnTo>
                  <a:lnTo>
                    <a:pt x="340" y="210"/>
                  </a:lnTo>
                  <a:lnTo>
                    <a:pt x="337" y="210"/>
                  </a:lnTo>
                  <a:lnTo>
                    <a:pt x="337" y="210"/>
                  </a:lnTo>
                  <a:lnTo>
                    <a:pt x="337" y="210"/>
                  </a:lnTo>
                  <a:lnTo>
                    <a:pt x="337" y="210"/>
                  </a:lnTo>
                  <a:lnTo>
                    <a:pt x="340" y="210"/>
                  </a:lnTo>
                  <a:lnTo>
                    <a:pt x="337" y="210"/>
                  </a:lnTo>
                  <a:lnTo>
                    <a:pt x="337" y="210"/>
                  </a:lnTo>
                  <a:lnTo>
                    <a:pt x="337" y="210"/>
                  </a:lnTo>
                  <a:lnTo>
                    <a:pt x="333" y="210"/>
                  </a:lnTo>
                  <a:lnTo>
                    <a:pt x="330" y="210"/>
                  </a:lnTo>
                  <a:lnTo>
                    <a:pt x="326" y="213"/>
                  </a:lnTo>
                  <a:lnTo>
                    <a:pt x="326" y="215"/>
                  </a:lnTo>
                  <a:lnTo>
                    <a:pt x="323" y="215"/>
                  </a:lnTo>
                  <a:lnTo>
                    <a:pt x="321" y="215"/>
                  </a:lnTo>
                  <a:lnTo>
                    <a:pt x="319" y="215"/>
                  </a:lnTo>
                  <a:lnTo>
                    <a:pt x="314" y="215"/>
                  </a:lnTo>
                  <a:lnTo>
                    <a:pt x="309" y="217"/>
                  </a:lnTo>
                  <a:lnTo>
                    <a:pt x="304" y="217"/>
                  </a:lnTo>
                  <a:lnTo>
                    <a:pt x="307" y="217"/>
                  </a:lnTo>
                  <a:lnTo>
                    <a:pt x="312" y="215"/>
                  </a:lnTo>
                  <a:lnTo>
                    <a:pt x="312" y="215"/>
                  </a:lnTo>
                  <a:lnTo>
                    <a:pt x="316" y="213"/>
                  </a:lnTo>
                  <a:lnTo>
                    <a:pt x="316" y="213"/>
                  </a:lnTo>
                  <a:lnTo>
                    <a:pt x="314" y="213"/>
                  </a:lnTo>
                  <a:lnTo>
                    <a:pt x="314" y="213"/>
                  </a:lnTo>
                  <a:lnTo>
                    <a:pt x="314" y="210"/>
                  </a:lnTo>
                  <a:lnTo>
                    <a:pt x="314" y="210"/>
                  </a:lnTo>
                  <a:lnTo>
                    <a:pt x="312" y="210"/>
                  </a:lnTo>
                  <a:lnTo>
                    <a:pt x="312" y="210"/>
                  </a:lnTo>
                  <a:lnTo>
                    <a:pt x="309" y="210"/>
                  </a:lnTo>
                  <a:lnTo>
                    <a:pt x="309" y="213"/>
                  </a:lnTo>
                  <a:lnTo>
                    <a:pt x="309" y="213"/>
                  </a:lnTo>
                  <a:lnTo>
                    <a:pt x="307" y="215"/>
                  </a:lnTo>
                  <a:lnTo>
                    <a:pt x="307" y="215"/>
                  </a:lnTo>
                  <a:lnTo>
                    <a:pt x="302" y="215"/>
                  </a:lnTo>
                  <a:lnTo>
                    <a:pt x="297" y="215"/>
                  </a:lnTo>
                  <a:lnTo>
                    <a:pt x="297" y="215"/>
                  </a:lnTo>
                  <a:lnTo>
                    <a:pt x="295" y="215"/>
                  </a:lnTo>
                  <a:lnTo>
                    <a:pt x="293" y="217"/>
                  </a:lnTo>
                  <a:lnTo>
                    <a:pt x="293" y="217"/>
                  </a:lnTo>
                  <a:lnTo>
                    <a:pt x="290" y="217"/>
                  </a:lnTo>
                  <a:lnTo>
                    <a:pt x="288" y="217"/>
                  </a:lnTo>
                  <a:lnTo>
                    <a:pt x="286" y="217"/>
                  </a:lnTo>
                  <a:lnTo>
                    <a:pt x="279" y="220"/>
                  </a:lnTo>
                  <a:lnTo>
                    <a:pt x="279" y="222"/>
                  </a:lnTo>
                  <a:lnTo>
                    <a:pt x="281" y="222"/>
                  </a:lnTo>
                  <a:lnTo>
                    <a:pt x="281" y="222"/>
                  </a:lnTo>
                  <a:lnTo>
                    <a:pt x="281" y="222"/>
                  </a:lnTo>
                  <a:lnTo>
                    <a:pt x="281" y="222"/>
                  </a:lnTo>
                  <a:lnTo>
                    <a:pt x="279" y="222"/>
                  </a:lnTo>
                  <a:lnTo>
                    <a:pt x="276" y="222"/>
                  </a:lnTo>
                  <a:lnTo>
                    <a:pt x="276" y="222"/>
                  </a:lnTo>
                  <a:lnTo>
                    <a:pt x="276" y="222"/>
                  </a:lnTo>
                  <a:lnTo>
                    <a:pt x="274" y="224"/>
                  </a:lnTo>
                  <a:lnTo>
                    <a:pt x="274" y="224"/>
                  </a:lnTo>
                  <a:lnTo>
                    <a:pt x="279" y="224"/>
                  </a:lnTo>
                  <a:lnTo>
                    <a:pt x="279" y="224"/>
                  </a:lnTo>
                  <a:lnTo>
                    <a:pt x="279" y="224"/>
                  </a:lnTo>
                  <a:lnTo>
                    <a:pt x="279" y="227"/>
                  </a:lnTo>
                  <a:lnTo>
                    <a:pt x="279" y="229"/>
                  </a:lnTo>
                  <a:lnTo>
                    <a:pt x="276" y="227"/>
                  </a:lnTo>
                  <a:lnTo>
                    <a:pt x="274" y="224"/>
                  </a:lnTo>
                  <a:lnTo>
                    <a:pt x="271" y="224"/>
                  </a:lnTo>
                  <a:lnTo>
                    <a:pt x="267" y="224"/>
                  </a:lnTo>
                  <a:lnTo>
                    <a:pt x="262" y="224"/>
                  </a:lnTo>
                  <a:lnTo>
                    <a:pt x="260" y="224"/>
                  </a:lnTo>
                  <a:lnTo>
                    <a:pt x="257" y="222"/>
                  </a:lnTo>
                  <a:lnTo>
                    <a:pt x="253" y="220"/>
                  </a:lnTo>
                  <a:lnTo>
                    <a:pt x="250" y="220"/>
                  </a:lnTo>
                  <a:lnTo>
                    <a:pt x="250" y="220"/>
                  </a:lnTo>
                  <a:lnTo>
                    <a:pt x="246" y="217"/>
                  </a:lnTo>
                  <a:lnTo>
                    <a:pt x="243" y="213"/>
                  </a:lnTo>
                  <a:lnTo>
                    <a:pt x="236" y="213"/>
                  </a:lnTo>
                  <a:lnTo>
                    <a:pt x="229" y="213"/>
                  </a:lnTo>
                  <a:lnTo>
                    <a:pt x="224" y="210"/>
                  </a:lnTo>
                  <a:lnTo>
                    <a:pt x="222" y="210"/>
                  </a:lnTo>
                  <a:lnTo>
                    <a:pt x="217" y="215"/>
                  </a:lnTo>
                  <a:lnTo>
                    <a:pt x="210" y="222"/>
                  </a:lnTo>
                  <a:lnTo>
                    <a:pt x="203" y="227"/>
                  </a:lnTo>
                  <a:lnTo>
                    <a:pt x="196" y="231"/>
                  </a:lnTo>
                  <a:lnTo>
                    <a:pt x="189" y="236"/>
                  </a:lnTo>
                  <a:lnTo>
                    <a:pt x="182" y="243"/>
                  </a:lnTo>
                  <a:lnTo>
                    <a:pt x="175" y="248"/>
                  </a:lnTo>
                  <a:lnTo>
                    <a:pt x="168" y="253"/>
                  </a:lnTo>
                  <a:lnTo>
                    <a:pt x="161" y="257"/>
                  </a:lnTo>
                  <a:lnTo>
                    <a:pt x="154" y="265"/>
                  </a:lnTo>
                  <a:lnTo>
                    <a:pt x="149" y="269"/>
                  </a:lnTo>
                  <a:lnTo>
                    <a:pt x="142" y="274"/>
                  </a:lnTo>
                  <a:lnTo>
                    <a:pt x="135" y="279"/>
                  </a:lnTo>
                  <a:lnTo>
                    <a:pt x="128" y="286"/>
                  </a:lnTo>
                  <a:lnTo>
                    <a:pt x="121" y="291"/>
                  </a:lnTo>
                  <a:lnTo>
                    <a:pt x="114" y="295"/>
                  </a:lnTo>
                  <a:lnTo>
                    <a:pt x="109" y="300"/>
                  </a:lnTo>
                  <a:lnTo>
                    <a:pt x="102" y="307"/>
                  </a:lnTo>
                  <a:lnTo>
                    <a:pt x="95" y="312"/>
                  </a:lnTo>
                  <a:lnTo>
                    <a:pt x="88" y="317"/>
                  </a:lnTo>
                  <a:lnTo>
                    <a:pt x="83" y="324"/>
                  </a:lnTo>
                  <a:lnTo>
                    <a:pt x="76" y="328"/>
                  </a:lnTo>
                  <a:lnTo>
                    <a:pt x="69" y="333"/>
                  </a:lnTo>
                  <a:lnTo>
                    <a:pt x="62" y="340"/>
                  </a:lnTo>
                  <a:lnTo>
                    <a:pt x="57" y="345"/>
                  </a:lnTo>
                  <a:lnTo>
                    <a:pt x="50" y="350"/>
                  </a:lnTo>
                  <a:lnTo>
                    <a:pt x="43" y="357"/>
                  </a:lnTo>
                  <a:lnTo>
                    <a:pt x="38" y="361"/>
                  </a:lnTo>
                  <a:lnTo>
                    <a:pt x="31" y="369"/>
                  </a:lnTo>
                  <a:lnTo>
                    <a:pt x="24" y="373"/>
                  </a:lnTo>
                  <a:lnTo>
                    <a:pt x="17" y="378"/>
                  </a:lnTo>
                  <a:lnTo>
                    <a:pt x="12" y="385"/>
                  </a:lnTo>
                  <a:lnTo>
                    <a:pt x="15" y="385"/>
                  </a:lnTo>
                  <a:lnTo>
                    <a:pt x="17" y="385"/>
                  </a:lnTo>
                  <a:lnTo>
                    <a:pt x="19" y="385"/>
                  </a:lnTo>
                  <a:lnTo>
                    <a:pt x="22" y="385"/>
                  </a:lnTo>
                  <a:lnTo>
                    <a:pt x="24" y="388"/>
                  </a:lnTo>
                  <a:lnTo>
                    <a:pt x="29" y="385"/>
                  </a:lnTo>
                  <a:lnTo>
                    <a:pt x="31" y="383"/>
                  </a:lnTo>
                  <a:lnTo>
                    <a:pt x="36" y="383"/>
                  </a:lnTo>
                  <a:lnTo>
                    <a:pt x="38" y="383"/>
                  </a:lnTo>
                  <a:lnTo>
                    <a:pt x="40" y="383"/>
                  </a:lnTo>
                  <a:lnTo>
                    <a:pt x="40" y="385"/>
                  </a:lnTo>
                  <a:lnTo>
                    <a:pt x="36" y="388"/>
                  </a:lnTo>
                  <a:lnTo>
                    <a:pt x="33" y="388"/>
                  </a:lnTo>
                  <a:lnTo>
                    <a:pt x="33" y="390"/>
                  </a:lnTo>
                  <a:lnTo>
                    <a:pt x="36" y="392"/>
                  </a:lnTo>
                  <a:lnTo>
                    <a:pt x="38" y="392"/>
                  </a:lnTo>
                  <a:lnTo>
                    <a:pt x="36" y="395"/>
                  </a:lnTo>
                  <a:lnTo>
                    <a:pt x="36" y="397"/>
                  </a:lnTo>
                  <a:lnTo>
                    <a:pt x="38" y="397"/>
                  </a:lnTo>
                  <a:lnTo>
                    <a:pt x="38" y="399"/>
                  </a:lnTo>
                  <a:lnTo>
                    <a:pt x="38" y="402"/>
                  </a:lnTo>
                  <a:lnTo>
                    <a:pt x="38" y="402"/>
                  </a:lnTo>
                  <a:lnTo>
                    <a:pt x="40" y="404"/>
                  </a:lnTo>
                  <a:lnTo>
                    <a:pt x="40" y="404"/>
                  </a:lnTo>
                  <a:lnTo>
                    <a:pt x="38" y="406"/>
                  </a:lnTo>
                  <a:lnTo>
                    <a:pt x="36" y="409"/>
                  </a:lnTo>
                  <a:lnTo>
                    <a:pt x="33" y="411"/>
                  </a:lnTo>
                  <a:lnTo>
                    <a:pt x="36" y="411"/>
                  </a:lnTo>
                  <a:lnTo>
                    <a:pt x="40" y="409"/>
                  </a:lnTo>
                  <a:lnTo>
                    <a:pt x="43" y="409"/>
                  </a:lnTo>
                  <a:lnTo>
                    <a:pt x="48" y="406"/>
                  </a:lnTo>
                  <a:lnTo>
                    <a:pt x="50" y="406"/>
                  </a:lnTo>
                  <a:lnTo>
                    <a:pt x="55" y="406"/>
                  </a:lnTo>
                  <a:lnTo>
                    <a:pt x="57" y="404"/>
                  </a:lnTo>
                  <a:lnTo>
                    <a:pt x="62" y="402"/>
                  </a:lnTo>
                  <a:lnTo>
                    <a:pt x="64" y="402"/>
                  </a:lnTo>
                  <a:lnTo>
                    <a:pt x="64" y="399"/>
                  </a:lnTo>
                  <a:lnTo>
                    <a:pt x="66" y="399"/>
                  </a:lnTo>
                  <a:lnTo>
                    <a:pt x="66" y="397"/>
                  </a:lnTo>
                  <a:lnTo>
                    <a:pt x="71" y="397"/>
                  </a:lnTo>
                  <a:lnTo>
                    <a:pt x="73" y="397"/>
                  </a:lnTo>
                  <a:lnTo>
                    <a:pt x="78" y="395"/>
                  </a:lnTo>
                  <a:lnTo>
                    <a:pt x="83" y="395"/>
                  </a:lnTo>
                  <a:lnTo>
                    <a:pt x="83" y="395"/>
                  </a:lnTo>
                  <a:lnTo>
                    <a:pt x="85" y="397"/>
                  </a:lnTo>
                  <a:lnTo>
                    <a:pt x="85" y="399"/>
                  </a:lnTo>
                  <a:lnTo>
                    <a:pt x="85" y="399"/>
                  </a:lnTo>
                  <a:lnTo>
                    <a:pt x="83" y="399"/>
                  </a:lnTo>
                  <a:lnTo>
                    <a:pt x="83" y="402"/>
                  </a:lnTo>
                  <a:lnTo>
                    <a:pt x="81" y="404"/>
                  </a:lnTo>
                  <a:lnTo>
                    <a:pt x="81" y="404"/>
                  </a:lnTo>
                  <a:lnTo>
                    <a:pt x="83" y="404"/>
                  </a:lnTo>
                  <a:lnTo>
                    <a:pt x="83" y="406"/>
                  </a:lnTo>
                  <a:lnTo>
                    <a:pt x="83" y="406"/>
                  </a:lnTo>
                  <a:lnTo>
                    <a:pt x="85" y="409"/>
                  </a:lnTo>
                  <a:lnTo>
                    <a:pt x="83" y="409"/>
                  </a:lnTo>
                  <a:lnTo>
                    <a:pt x="83" y="409"/>
                  </a:lnTo>
                  <a:lnTo>
                    <a:pt x="83" y="411"/>
                  </a:lnTo>
                  <a:lnTo>
                    <a:pt x="83" y="411"/>
                  </a:lnTo>
                  <a:lnTo>
                    <a:pt x="83" y="411"/>
                  </a:lnTo>
                  <a:lnTo>
                    <a:pt x="83" y="414"/>
                  </a:lnTo>
                  <a:lnTo>
                    <a:pt x="83" y="414"/>
                  </a:lnTo>
                  <a:lnTo>
                    <a:pt x="85" y="414"/>
                  </a:lnTo>
                  <a:lnTo>
                    <a:pt x="85" y="416"/>
                  </a:lnTo>
                  <a:lnTo>
                    <a:pt x="85" y="418"/>
                  </a:lnTo>
                  <a:lnTo>
                    <a:pt x="85" y="418"/>
                  </a:lnTo>
                  <a:lnTo>
                    <a:pt x="85" y="421"/>
                  </a:lnTo>
                  <a:lnTo>
                    <a:pt x="85" y="423"/>
                  </a:lnTo>
                  <a:lnTo>
                    <a:pt x="85" y="425"/>
                  </a:lnTo>
                  <a:lnTo>
                    <a:pt x="83" y="428"/>
                  </a:lnTo>
                  <a:lnTo>
                    <a:pt x="83" y="430"/>
                  </a:lnTo>
                  <a:lnTo>
                    <a:pt x="83" y="432"/>
                  </a:lnTo>
                  <a:lnTo>
                    <a:pt x="83" y="432"/>
                  </a:lnTo>
                  <a:lnTo>
                    <a:pt x="83" y="437"/>
                  </a:lnTo>
                  <a:lnTo>
                    <a:pt x="81" y="440"/>
                  </a:lnTo>
                  <a:lnTo>
                    <a:pt x="81" y="440"/>
                  </a:lnTo>
                  <a:lnTo>
                    <a:pt x="81" y="444"/>
                  </a:lnTo>
                  <a:lnTo>
                    <a:pt x="81" y="444"/>
                  </a:lnTo>
                  <a:lnTo>
                    <a:pt x="78" y="447"/>
                  </a:lnTo>
                  <a:lnTo>
                    <a:pt x="76" y="447"/>
                  </a:lnTo>
                  <a:lnTo>
                    <a:pt x="78" y="447"/>
                  </a:lnTo>
                  <a:lnTo>
                    <a:pt x="81" y="449"/>
                  </a:lnTo>
                  <a:lnTo>
                    <a:pt x="78" y="449"/>
                  </a:lnTo>
                  <a:lnTo>
                    <a:pt x="76" y="451"/>
                  </a:lnTo>
                  <a:lnTo>
                    <a:pt x="78" y="451"/>
                  </a:lnTo>
                  <a:lnTo>
                    <a:pt x="78" y="454"/>
                  </a:lnTo>
                  <a:lnTo>
                    <a:pt x="76" y="454"/>
                  </a:lnTo>
                  <a:lnTo>
                    <a:pt x="76" y="456"/>
                  </a:lnTo>
                  <a:lnTo>
                    <a:pt x="76" y="456"/>
                  </a:lnTo>
                  <a:lnTo>
                    <a:pt x="78" y="456"/>
                  </a:lnTo>
                  <a:lnTo>
                    <a:pt x="78" y="456"/>
                  </a:lnTo>
                  <a:lnTo>
                    <a:pt x="81" y="458"/>
                  </a:lnTo>
                  <a:lnTo>
                    <a:pt x="81" y="458"/>
                  </a:lnTo>
                  <a:lnTo>
                    <a:pt x="83" y="458"/>
                  </a:lnTo>
                  <a:lnTo>
                    <a:pt x="83" y="461"/>
                  </a:lnTo>
                  <a:lnTo>
                    <a:pt x="85" y="461"/>
                  </a:lnTo>
                  <a:lnTo>
                    <a:pt x="88" y="461"/>
                  </a:lnTo>
                  <a:lnTo>
                    <a:pt x="88" y="463"/>
                  </a:lnTo>
                  <a:lnTo>
                    <a:pt x="88" y="463"/>
                  </a:lnTo>
                  <a:lnTo>
                    <a:pt x="88" y="466"/>
                  </a:lnTo>
                  <a:lnTo>
                    <a:pt x="90" y="468"/>
                  </a:lnTo>
                  <a:lnTo>
                    <a:pt x="92" y="466"/>
                  </a:lnTo>
                  <a:lnTo>
                    <a:pt x="92" y="468"/>
                  </a:lnTo>
                  <a:lnTo>
                    <a:pt x="92" y="468"/>
                  </a:lnTo>
                  <a:lnTo>
                    <a:pt x="90" y="470"/>
                  </a:lnTo>
                  <a:lnTo>
                    <a:pt x="90" y="470"/>
                  </a:lnTo>
                  <a:lnTo>
                    <a:pt x="90" y="470"/>
                  </a:lnTo>
                  <a:lnTo>
                    <a:pt x="88" y="473"/>
                  </a:lnTo>
                  <a:lnTo>
                    <a:pt x="85" y="473"/>
                  </a:lnTo>
                  <a:lnTo>
                    <a:pt x="85" y="475"/>
                  </a:lnTo>
                  <a:lnTo>
                    <a:pt x="83" y="475"/>
                  </a:lnTo>
                  <a:lnTo>
                    <a:pt x="83" y="477"/>
                  </a:lnTo>
                  <a:lnTo>
                    <a:pt x="81" y="480"/>
                  </a:lnTo>
                  <a:lnTo>
                    <a:pt x="81" y="482"/>
                  </a:lnTo>
                  <a:lnTo>
                    <a:pt x="78" y="482"/>
                  </a:lnTo>
                  <a:lnTo>
                    <a:pt x="76" y="484"/>
                  </a:lnTo>
                  <a:lnTo>
                    <a:pt x="73" y="487"/>
                  </a:lnTo>
                  <a:lnTo>
                    <a:pt x="73" y="487"/>
                  </a:lnTo>
                  <a:lnTo>
                    <a:pt x="76" y="487"/>
                  </a:lnTo>
                  <a:lnTo>
                    <a:pt x="81" y="484"/>
                  </a:lnTo>
                  <a:lnTo>
                    <a:pt x="81" y="482"/>
                  </a:lnTo>
                  <a:lnTo>
                    <a:pt x="83" y="480"/>
                  </a:lnTo>
                  <a:lnTo>
                    <a:pt x="85" y="477"/>
                  </a:lnTo>
                  <a:lnTo>
                    <a:pt x="88" y="477"/>
                  </a:lnTo>
                  <a:lnTo>
                    <a:pt x="85" y="477"/>
                  </a:lnTo>
                  <a:lnTo>
                    <a:pt x="85" y="480"/>
                  </a:lnTo>
                  <a:lnTo>
                    <a:pt x="85" y="480"/>
                  </a:lnTo>
                  <a:lnTo>
                    <a:pt x="88" y="480"/>
                  </a:lnTo>
                  <a:lnTo>
                    <a:pt x="88" y="480"/>
                  </a:lnTo>
                  <a:lnTo>
                    <a:pt x="88" y="480"/>
                  </a:lnTo>
                  <a:lnTo>
                    <a:pt x="83" y="482"/>
                  </a:lnTo>
                  <a:lnTo>
                    <a:pt x="78" y="484"/>
                  </a:lnTo>
                  <a:lnTo>
                    <a:pt x="76" y="487"/>
                  </a:lnTo>
                  <a:lnTo>
                    <a:pt x="69" y="492"/>
                  </a:lnTo>
                  <a:lnTo>
                    <a:pt x="69" y="492"/>
                  </a:lnTo>
                  <a:lnTo>
                    <a:pt x="64" y="494"/>
                  </a:lnTo>
                  <a:lnTo>
                    <a:pt x="64" y="494"/>
                  </a:lnTo>
                  <a:lnTo>
                    <a:pt x="62" y="496"/>
                  </a:lnTo>
                  <a:lnTo>
                    <a:pt x="62" y="496"/>
                  </a:lnTo>
                  <a:lnTo>
                    <a:pt x="59" y="499"/>
                  </a:lnTo>
                  <a:lnTo>
                    <a:pt x="57" y="499"/>
                  </a:lnTo>
                  <a:lnTo>
                    <a:pt x="57" y="501"/>
                  </a:lnTo>
                  <a:lnTo>
                    <a:pt x="55" y="501"/>
                  </a:lnTo>
                  <a:lnTo>
                    <a:pt x="55" y="503"/>
                  </a:lnTo>
                  <a:lnTo>
                    <a:pt x="57" y="506"/>
                  </a:lnTo>
                  <a:lnTo>
                    <a:pt x="62" y="503"/>
                  </a:lnTo>
                  <a:lnTo>
                    <a:pt x="62" y="503"/>
                  </a:lnTo>
                  <a:lnTo>
                    <a:pt x="64" y="503"/>
                  </a:lnTo>
                  <a:lnTo>
                    <a:pt x="62" y="506"/>
                  </a:lnTo>
                  <a:lnTo>
                    <a:pt x="57" y="506"/>
                  </a:lnTo>
                  <a:lnTo>
                    <a:pt x="57" y="506"/>
                  </a:lnTo>
                  <a:lnTo>
                    <a:pt x="52" y="508"/>
                  </a:lnTo>
                  <a:lnTo>
                    <a:pt x="50" y="510"/>
                  </a:lnTo>
                  <a:lnTo>
                    <a:pt x="45" y="513"/>
                  </a:lnTo>
                  <a:lnTo>
                    <a:pt x="45" y="515"/>
                  </a:lnTo>
                  <a:lnTo>
                    <a:pt x="48" y="518"/>
                  </a:lnTo>
                  <a:lnTo>
                    <a:pt x="48" y="518"/>
                  </a:lnTo>
                  <a:lnTo>
                    <a:pt x="48" y="520"/>
                  </a:lnTo>
                  <a:lnTo>
                    <a:pt x="48" y="522"/>
                  </a:lnTo>
                  <a:lnTo>
                    <a:pt x="48" y="522"/>
                  </a:lnTo>
                  <a:lnTo>
                    <a:pt x="52" y="522"/>
                  </a:lnTo>
                  <a:lnTo>
                    <a:pt x="55" y="520"/>
                  </a:lnTo>
                  <a:lnTo>
                    <a:pt x="57" y="520"/>
                  </a:lnTo>
                  <a:lnTo>
                    <a:pt x="57" y="520"/>
                  </a:lnTo>
                  <a:lnTo>
                    <a:pt x="59" y="518"/>
                  </a:lnTo>
                  <a:lnTo>
                    <a:pt x="62" y="515"/>
                  </a:lnTo>
                  <a:lnTo>
                    <a:pt x="66" y="513"/>
                  </a:lnTo>
                  <a:lnTo>
                    <a:pt x="66" y="513"/>
                  </a:lnTo>
                  <a:lnTo>
                    <a:pt x="69" y="510"/>
                  </a:lnTo>
                  <a:lnTo>
                    <a:pt x="69" y="510"/>
                  </a:lnTo>
                  <a:lnTo>
                    <a:pt x="69" y="513"/>
                  </a:lnTo>
                  <a:lnTo>
                    <a:pt x="69" y="513"/>
                  </a:lnTo>
                  <a:lnTo>
                    <a:pt x="73" y="510"/>
                  </a:lnTo>
                  <a:lnTo>
                    <a:pt x="76" y="510"/>
                  </a:lnTo>
                  <a:lnTo>
                    <a:pt x="76" y="510"/>
                  </a:lnTo>
                  <a:lnTo>
                    <a:pt x="76" y="510"/>
                  </a:lnTo>
                  <a:lnTo>
                    <a:pt x="73" y="513"/>
                  </a:lnTo>
                  <a:lnTo>
                    <a:pt x="71" y="513"/>
                  </a:lnTo>
                  <a:lnTo>
                    <a:pt x="71" y="513"/>
                  </a:lnTo>
                  <a:lnTo>
                    <a:pt x="71" y="513"/>
                  </a:lnTo>
                  <a:lnTo>
                    <a:pt x="69" y="515"/>
                  </a:lnTo>
                  <a:lnTo>
                    <a:pt x="69" y="515"/>
                  </a:lnTo>
                  <a:lnTo>
                    <a:pt x="69" y="518"/>
                  </a:lnTo>
                  <a:lnTo>
                    <a:pt x="69" y="518"/>
                  </a:lnTo>
                  <a:lnTo>
                    <a:pt x="69" y="520"/>
                  </a:lnTo>
                  <a:lnTo>
                    <a:pt x="69" y="520"/>
                  </a:lnTo>
                  <a:lnTo>
                    <a:pt x="71" y="518"/>
                  </a:lnTo>
                  <a:lnTo>
                    <a:pt x="73" y="518"/>
                  </a:lnTo>
                  <a:lnTo>
                    <a:pt x="76" y="520"/>
                  </a:lnTo>
                  <a:lnTo>
                    <a:pt x="76" y="522"/>
                  </a:lnTo>
                  <a:lnTo>
                    <a:pt x="76" y="522"/>
                  </a:lnTo>
                  <a:lnTo>
                    <a:pt x="73" y="520"/>
                  </a:lnTo>
                  <a:lnTo>
                    <a:pt x="73" y="520"/>
                  </a:lnTo>
                  <a:lnTo>
                    <a:pt x="73" y="520"/>
                  </a:lnTo>
                  <a:lnTo>
                    <a:pt x="71" y="520"/>
                  </a:lnTo>
                  <a:lnTo>
                    <a:pt x="69" y="520"/>
                  </a:lnTo>
                  <a:lnTo>
                    <a:pt x="69" y="520"/>
                  </a:lnTo>
                  <a:lnTo>
                    <a:pt x="66" y="518"/>
                  </a:lnTo>
                  <a:lnTo>
                    <a:pt x="64" y="518"/>
                  </a:lnTo>
                  <a:lnTo>
                    <a:pt x="66" y="515"/>
                  </a:lnTo>
                  <a:lnTo>
                    <a:pt x="69" y="515"/>
                  </a:lnTo>
                  <a:lnTo>
                    <a:pt x="66" y="515"/>
                  </a:lnTo>
                  <a:lnTo>
                    <a:pt x="64" y="515"/>
                  </a:lnTo>
                  <a:lnTo>
                    <a:pt x="62" y="515"/>
                  </a:lnTo>
                  <a:lnTo>
                    <a:pt x="59" y="518"/>
                  </a:lnTo>
                  <a:lnTo>
                    <a:pt x="59" y="520"/>
                  </a:lnTo>
                  <a:lnTo>
                    <a:pt x="59" y="520"/>
                  </a:lnTo>
                  <a:lnTo>
                    <a:pt x="62" y="522"/>
                  </a:lnTo>
                  <a:lnTo>
                    <a:pt x="64" y="525"/>
                  </a:lnTo>
                  <a:lnTo>
                    <a:pt x="64" y="525"/>
                  </a:lnTo>
                  <a:lnTo>
                    <a:pt x="59" y="532"/>
                  </a:lnTo>
                  <a:lnTo>
                    <a:pt x="59" y="532"/>
                  </a:lnTo>
                  <a:lnTo>
                    <a:pt x="66" y="529"/>
                  </a:lnTo>
                  <a:lnTo>
                    <a:pt x="66" y="529"/>
                  </a:lnTo>
                  <a:lnTo>
                    <a:pt x="64" y="532"/>
                  </a:lnTo>
                  <a:lnTo>
                    <a:pt x="64" y="532"/>
                  </a:lnTo>
                  <a:lnTo>
                    <a:pt x="59" y="536"/>
                  </a:lnTo>
                  <a:lnTo>
                    <a:pt x="55" y="539"/>
                  </a:lnTo>
                  <a:lnTo>
                    <a:pt x="55" y="541"/>
                  </a:lnTo>
                  <a:lnTo>
                    <a:pt x="55" y="541"/>
                  </a:lnTo>
                  <a:lnTo>
                    <a:pt x="57" y="541"/>
                  </a:lnTo>
                  <a:lnTo>
                    <a:pt x="59" y="539"/>
                  </a:lnTo>
                  <a:lnTo>
                    <a:pt x="62" y="536"/>
                  </a:lnTo>
                  <a:lnTo>
                    <a:pt x="62" y="536"/>
                  </a:lnTo>
                  <a:lnTo>
                    <a:pt x="59" y="539"/>
                  </a:lnTo>
                  <a:lnTo>
                    <a:pt x="59" y="539"/>
                  </a:lnTo>
                  <a:lnTo>
                    <a:pt x="59" y="539"/>
                  </a:lnTo>
                  <a:lnTo>
                    <a:pt x="57" y="541"/>
                  </a:lnTo>
                  <a:lnTo>
                    <a:pt x="57" y="541"/>
                  </a:lnTo>
                  <a:lnTo>
                    <a:pt x="50" y="546"/>
                  </a:lnTo>
                  <a:lnTo>
                    <a:pt x="50" y="548"/>
                  </a:lnTo>
                  <a:lnTo>
                    <a:pt x="48" y="553"/>
                  </a:lnTo>
                  <a:lnTo>
                    <a:pt x="52" y="551"/>
                  </a:lnTo>
                  <a:lnTo>
                    <a:pt x="57" y="546"/>
                  </a:lnTo>
                  <a:lnTo>
                    <a:pt x="59" y="544"/>
                  </a:lnTo>
                  <a:lnTo>
                    <a:pt x="59" y="544"/>
                  </a:lnTo>
                  <a:lnTo>
                    <a:pt x="62" y="541"/>
                  </a:lnTo>
                  <a:lnTo>
                    <a:pt x="64" y="541"/>
                  </a:lnTo>
                  <a:lnTo>
                    <a:pt x="66" y="541"/>
                  </a:lnTo>
                  <a:lnTo>
                    <a:pt x="76" y="536"/>
                  </a:lnTo>
                  <a:lnTo>
                    <a:pt x="78" y="536"/>
                  </a:lnTo>
                  <a:lnTo>
                    <a:pt x="78" y="534"/>
                  </a:lnTo>
                  <a:lnTo>
                    <a:pt x="81" y="534"/>
                  </a:lnTo>
                  <a:lnTo>
                    <a:pt x="81" y="534"/>
                  </a:lnTo>
                  <a:lnTo>
                    <a:pt x="83" y="532"/>
                  </a:lnTo>
                  <a:lnTo>
                    <a:pt x="83" y="532"/>
                  </a:lnTo>
                  <a:lnTo>
                    <a:pt x="81" y="532"/>
                  </a:lnTo>
                  <a:lnTo>
                    <a:pt x="81" y="534"/>
                  </a:lnTo>
                  <a:lnTo>
                    <a:pt x="81" y="534"/>
                  </a:lnTo>
                  <a:lnTo>
                    <a:pt x="78" y="534"/>
                  </a:lnTo>
                  <a:lnTo>
                    <a:pt x="73" y="539"/>
                  </a:lnTo>
                  <a:lnTo>
                    <a:pt x="73" y="539"/>
                  </a:lnTo>
                  <a:lnTo>
                    <a:pt x="73" y="539"/>
                  </a:lnTo>
                  <a:lnTo>
                    <a:pt x="71" y="541"/>
                  </a:lnTo>
                  <a:lnTo>
                    <a:pt x="71" y="541"/>
                  </a:lnTo>
                  <a:lnTo>
                    <a:pt x="73" y="541"/>
                  </a:lnTo>
                  <a:lnTo>
                    <a:pt x="73" y="544"/>
                  </a:lnTo>
                  <a:lnTo>
                    <a:pt x="73" y="544"/>
                  </a:lnTo>
                  <a:lnTo>
                    <a:pt x="73" y="546"/>
                  </a:lnTo>
                  <a:lnTo>
                    <a:pt x="73" y="548"/>
                  </a:lnTo>
                  <a:lnTo>
                    <a:pt x="73" y="548"/>
                  </a:lnTo>
                  <a:lnTo>
                    <a:pt x="73" y="546"/>
                  </a:lnTo>
                  <a:lnTo>
                    <a:pt x="73" y="546"/>
                  </a:lnTo>
                  <a:lnTo>
                    <a:pt x="73" y="544"/>
                  </a:lnTo>
                  <a:lnTo>
                    <a:pt x="73" y="544"/>
                  </a:lnTo>
                  <a:lnTo>
                    <a:pt x="71" y="541"/>
                  </a:lnTo>
                  <a:lnTo>
                    <a:pt x="71" y="541"/>
                  </a:lnTo>
                  <a:lnTo>
                    <a:pt x="66" y="541"/>
                  </a:lnTo>
                  <a:lnTo>
                    <a:pt x="64" y="544"/>
                  </a:lnTo>
                  <a:lnTo>
                    <a:pt x="62" y="544"/>
                  </a:lnTo>
                  <a:lnTo>
                    <a:pt x="59" y="544"/>
                  </a:lnTo>
                  <a:lnTo>
                    <a:pt x="57" y="546"/>
                  </a:lnTo>
                  <a:lnTo>
                    <a:pt x="55" y="548"/>
                  </a:lnTo>
                  <a:lnTo>
                    <a:pt x="57" y="548"/>
                  </a:lnTo>
                  <a:lnTo>
                    <a:pt x="52" y="551"/>
                  </a:lnTo>
                  <a:lnTo>
                    <a:pt x="50" y="553"/>
                  </a:lnTo>
                  <a:lnTo>
                    <a:pt x="50" y="553"/>
                  </a:lnTo>
                  <a:lnTo>
                    <a:pt x="50" y="555"/>
                  </a:lnTo>
                  <a:lnTo>
                    <a:pt x="48" y="558"/>
                  </a:lnTo>
                  <a:lnTo>
                    <a:pt x="48" y="558"/>
                  </a:lnTo>
                  <a:lnTo>
                    <a:pt x="48" y="558"/>
                  </a:lnTo>
                  <a:lnTo>
                    <a:pt x="48" y="558"/>
                  </a:lnTo>
                  <a:lnTo>
                    <a:pt x="48" y="560"/>
                  </a:lnTo>
                  <a:lnTo>
                    <a:pt x="50" y="560"/>
                  </a:lnTo>
                  <a:lnTo>
                    <a:pt x="50" y="558"/>
                  </a:lnTo>
                  <a:lnTo>
                    <a:pt x="52" y="558"/>
                  </a:lnTo>
                  <a:lnTo>
                    <a:pt x="55" y="555"/>
                  </a:lnTo>
                  <a:lnTo>
                    <a:pt x="57" y="555"/>
                  </a:lnTo>
                  <a:lnTo>
                    <a:pt x="62" y="555"/>
                  </a:lnTo>
                  <a:lnTo>
                    <a:pt x="69" y="555"/>
                  </a:lnTo>
                  <a:lnTo>
                    <a:pt x="66" y="555"/>
                  </a:lnTo>
                  <a:lnTo>
                    <a:pt x="62" y="555"/>
                  </a:lnTo>
                  <a:lnTo>
                    <a:pt x="57" y="555"/>
                  </a:lnTo>
                  <a:lnTo>
                    <a:pt x="57" y="555"/>
                  </a:lnTo>
                  <a:lnTo>
                    <a:pt x="55" y="555"/>
                  </a:lnTo>
                  <a:lnTo>
                    <a:pt x="48" y="560"/>
                  </a:lnTo>
                  <a:lnTo>
                    <a:pt x="45" y="562"/>
                  </a:lnTo>
                  <a:lnTo>
                    <a:pt x="45" y="562"/>
                  </a:lnTo>
                  <a:lnTo>
                    <a:pt x="43" y="565"/>
                  </a:lnTo>
                  <a:lnTo>
                    <a:pt x="43" y="567"/>
                  </a:lnTo>
                  <a:lnTo>
                    <a:pt x="45" y="570"/>
                  </a:lnTo>
                  <a:lnTo>
                    <a:pt x="45" y="570"/>
                  </a:lnTo>
                  <a:lnTo>
                    <a:pt x="45" y="570"/>
                  </a:lnTo>
                  <a:lnTo>
                    <a:pt x="48" y="572"/>
                  </a:lnTo>
                  <a:lnTo>
                    <a:pt x="50" y="572"/>
                  </a:lnTo>
                  <a:lnTo>
                    <a:pt x="50" y="572"/>
                  </a:lnTo>
                  <a:lnTo>
                    <a:pt x="57" y="570"/>
                  </a:lnTo>
                  <a:lnTo>
                    <a:pt x="57" y="570"/>
                  </a:lnTo>
                  <a:lnTo>
                    <a:pt x="59" y="567"/>
                  </a:lnTo>
                  <a:lnTo>
                    <a:pt x="59" y="570"/>
                  </a:lnTo>
                  <a:lnTo>
                    <a:pt x="57" y="572"/>
                  </a:lnTo>
                  <a:lnTo>
                    <a:pt x="57" y="572"/>
                  </a:lnTo>
                  <a:lnTo>
                    <a:pt x="59" y="572"/>
                  </a:lnTo>
                  <a:lnTo>
                    <a:pt x="59" y="572"/>
                  </a:lnTo>
                  <a:lnTo>
                    <a:pt x="57" y="572"/>
                  </a:lnTo>
                  <a:lnTo>
                    <a:pt x="57" y="574"/>
                  </a:lnTo>
                  <a:lnTo>
                    <a:pt x="55" y="574"/>
                  </a:lnTo>
                  <a:lnTo>
                    <a:pt x="55" y="574"/>
                  </a:lnTo>
                  <a:lnTo>
                    <a:pt x="55" y="577"/>
                  </a:lnTo>
                  <a:lnTo>
                    <a:pt x="57" y="577"/>
                  </a:lnTo>
                  <a:lnTo>
                    <a:pt x="64" y="574"/>
                  </a:lnTo>
                  <a:lnTo>
                    <a:pt x="64" y="574"/>
                  </a:lnTo>
                  <a:lnTo>
                    <a:pt x="64" y="574"/>
                  </a:lnTo>
                  <a:lnTo>
                    <a:pt x="62" y="577"/>
                  </a:lnTo>
                  <a:lnTo>
                    <a:pt x="57" y="577"/>
                  </a:lnTo>
                  <a:lnTo>
                    <a:pt x="55" y="577"/>
                  </a:lnTo>
                  <a:lnTo>
                    <a:pt x="55" y="577"/>
                  </a:lnTo>
                  <a:lnTo>
                    <a:pt x="52" y="579"/>
                  </a:lnTo>
                  <a:lnTo>
                    <a:pt x="52" y="579"/>
                  </a:lnTo>
                  <a:lnTo>
                    <a:pt x="57" y="579"/>
                  </a:lnTo>
                  <a:lnTo>
                    <a:pt x="57" y="579"/>
                  </a:lnTo>
                  <a:lnTo>
                    <a:pt x="59" y="579"/>
                  </a:lnTo>
                  <a:lnTo>
                    <a:pt x="59" y="579"/>
                  </a:lnTo>
                  <a:lnTo>
                    <a:pt x="62" y="579"/>
                  </a:lnTo>
                  <a:lnTo>
                    <a:pt x="64" y="579"/>
                  </a:lnTo>
                  <a:lnTo>
                    <a:pt x="64" y="579"/>
                  </a:lnTo>
                  <a:lnTo>
                    <a:pt x="64" y="579"/>
                  </a:lnTo>
                  <a:lnTo>
                    <a:pt x="64" y="579"/>
                  </a:lnTo>
                  <a:lnTo>
                    <a:pt x="66" y="579"/>
                  </a:lnTo>
                  <a:lnTo>
                    <a:pt x="66" y="577"/>
                  </a:lnTo>
                  <a:lnTo>
                    <a:pt x="69" y="577"/>
                  </a:lnTo>
                  <a:lnTo>
                    <a:pt x="69" y="577"/>
                  </a:lnTo>
                  <a:lnTo>
                    <a:pt x="66" y="579"/>
                  </a:lnTo>
                  <a:lnTo>
                    <a:pt x="66" y="579"/>
                  </a:lnTo>
                  <a:lnTo>
                    <a:pt x="69" y="579"/>
                  </a:lnTo>
                  <a:lnTo>
                    <a:pt x="71" y="579"/>
                  </a:lnTo>
                  <a:lnTo>
                    <a:pt x="76" y="579"/>
                  </a:lnTo>
                  <a:lnTo>
                    <a:pt x="78" y="577"/>
                  </a:lnTo>
                  <a:lnTo>
                    <a:pt x="78" y="577"/>
                  </a:lnTo>
                  <a:lnTo>
                    <a:pt x="81" y="574"/>
                  </a:lnTo>
                  <a:lnTo>
                    <a:pt x="81" y="574"/>
                  </a:lnTo>
                  <a:lnTo>
                    <a:pt x="81" y="572"/>
                  </a:lnTo>
                  <a:lnTo>
                    <a:pt x="83" y="572"/>
                  </a:lnTo>
                  <a:lnTo>
                    <a:pt x="83" y="572"/>
                  </a:lnTo>
                  <a:lnTo>
                    <a:pt x="81" y="574"/>
                  </a:lnTo>
                  <a:lnTo>
                    <a:pt x="81" y="577"/>
                  </a:lnTo>
                  <a:lnTo>
                    <a:pt x="81" y="577"/>
                  </a:lnTo>
                  <a:lnTo>
                    <a:pt x="78" y="579"/>
                  </a:lnTo>
                  <a:lnTo>
                    <a:pt x="73" y="581"/>
                  </a:lnTo>
                  <a:lnTo>
                    <a:pt x="73" y="581"/>
                  </a:lnTo>
                  <a:lnTo>
                    <a:pt x="73" y="581"/>
                  </a:lnTo>
                  <a:lnTo>
                    <a:pt x="73" y="584"/>
                  </a:lnTo>
                  <a:lnTo>
                    <a:pt x="73" y="584"/>
                  </a:lnTo>
                  <a:lnTo>
                    <a:pt x="73" y="588"/>
                  </a:lnTo>
                  <a:lnTo>
                    <a:pt x="71" y="588"/>
                  </a:lnTo>
                  <a:lnTo>
                    <a:pt x="71" y="591"/>
                  </a:lnTo>
                  <a:lnTo>
                    <a:pt x="73" y="593"/>
                  </a:lnTo>
                  <a:lnTo>
                    <a:pt x="73" y="593"/>
                  </a:lnTo>
                  <a:lnTo>
                    <a:pt x="76" y="593"/>
                  </a:lnTo>
                  <a:lnTo>
                    <a:pt x="78" y="593"/>
                  </a:lnTo>
                  <a:lnTo>
                    <a:pt x="81" y="593"/>
                  </a:lnTo>
                  <a:lnTo>
                    <a:pt x="83" y="591"/>
                  </a:lnTo>
                  <a:lnTo>
                    <a:pt x="83" y="591"/>
                  </a:lnTo>
                  <a:lnTo>
                    <a:pt x="83" y="591"/>
                  </a:lnTo>
                  <a:lnTo>
                    <a:pt x="85" y="588"/>
                  </a:lnTo>
                  <a:lnTo>
                    <a:pt x="88" y="588"/>
                  </a:lnTo>
                  <a:lnTo>
                    <a:pt x="88" y="586"/>
                  </a:lnTo>
                  <a:lnTo>
                    <a:pt x="88" y="586"/>
                  </a:lnTo>
                  <a:lnTo>
                    <a:pt x="88" y="586"/>
                  </a:lnTo>
                  <a:lnTo>
                    <a:pt x="88" y="586"/>
                  </a:lnTo>
                  <a:lnTo>
                    <a:pt x="90" y="586"/>
                  </a:lnTo>
                  <a:lnTo>
                    <a:pt x="90" y="586"/>
                  </a:lnTo>
                  <a:lnTo>
                    <a:pt x="88" y="588"/>
                  </a:lnTo>
                  <a:lnTo>
                    <a:pt x="88" y="588"/>
                  </a:lnTo>
                  <a:lnTo>
                    <a:pt x="85" y="588"/>
                  </a:lnTo>
                  <a:lnTo>
                    <a:pt x="85" y="591"/>
                  </a:lnTo>
                  <a:lnTo>
                    <a:pt x="83" y="593"/>
                  </a:lnTo>
                  <a:lnTo>
                    <a:pt x="83" y="596"/>
                  </a:lnTo>
                  <a:lnTo>
                    <a:pt x="83" y="596"/>
                  </a:lnTo>
                  <a:lnTo>
                    <a:pt x="83" y="596"/>
                  </a:lnTo>
                  <a:lnTo>
                    <a:pt x="83" y="596"/>
                  </a:lnTo>
                  <a:lnTo>
                    <a:pt x="85" y="596"/>
                  </a:lnTo>
                  <a:lnTo>
                    <a:pt x="85" y="596"/>
                  </a:lnTo>
                  <a:lnTo>
                    <a:pt x="83" y="598"/>
                  </a:lnTo>
                  <a:lnTo>
                    <a:pt x="81" y="598"/>
                  </a:lnTo>
                  <a:lnTo>
                    <a:pt x="81" y="596"/>
                  </a:lnTo>
                  <a:lnTo>
                    <a:pt x="81" y="596"/>
                  </a:lnTo>
                  <a:lnTo>
                    <a:pt x="81" y="596"/>
                  </a:lnTo>
                  <a:lnTo>
                    <a:pt x="81" y="596"/>
                  </a:lnTo>
                  <a:lnTo>
                    <a:pt x="78" y="596"/>
                  </a:lnTo>
                  <a:lnTo>
                    <a:pt x="78" y="596"/>
                  </a:lnTo>
                  <a:lnTo>
                    <a:pt x="78" y="598"/>
                  </a:lnTo>
                  <a:lnTo>
                    <a:pt x="78" y="598"/>
                  </a:lnTo>
                  <a:lnTo>
                    <a:pt x="78" y="600"/>
                  </a:lnTo>
                  <a:lnTo>
                    <a:pt x="78" y="600"/>
                  </a:lnTo>
                  <a:lnTo>
                    <a:pt x="83" y="603"/>
                  </a:lnTo>
                  <a:lnTo>
                    <a:pt x="83" y="603"/>
                  </a:lnTo>
                  <a:lnTo>
                    <a:pt x="85" y="600"/>
                  </a:lnTo>
                  <a:lnTo>
                    <a:pt x="85" y="600"/>
                  </a:lnTo>
                  <a:lnTo>
                    <a:pt x="85" y="600"/>
                  </a:lnTo>
                  <a:lnTo>
                    <a:pt x="88" y="600"/>
                  </a:lnTo>
                  <a:lnTo>
                    <a:pt x="88" y="598"/>
                  </a:lnTo>
                  <a:lnTo>
                    <a:pt x="88" y="598"/>
                  </a:lnTo>
                  <a:lnTo>
                    <a:pt x="92" y="596"/>
                  </a:lnTo>
                  <a:lnTo>
                    <a:pt x="92" y="596"/>
                  </a:lnTo>
                  <a:lnTo>
                    <a:pt x="92" y="596"/>
                  </a:lnTo>
                  <a:lnTo>
                    <a:pt x="90" y="598"/>
                  </a:lnTo>
                  <a:lnTo>
                    <a:pt x="88" y="600"/>
                  </a:lnTo>
                  <a:lnTo>
                    <a:pt x="88" y="603"/>
                  </a:lnTo>
                  <a:lnTo>
                    <a:pt x="85" y="603"/>
                  </a:lnTo>
                  <a:lnTo>
                    <a:pt x="85" y="603"/>
                  </a:lnTo>
                  <a:lnTo>
                    <a:pt x="85" y="603"/>
                  </a:lnTo>
                  <a:lnTo>
                    <a:pt x="88" y="603"/>
                  </a:lnTo>
                  <a:lnTo>
                    <a:pt x="90" y="603"/>
                  </a:lnTo>
                  <a:lnTo>
                    <a:pt x="90" y="603"/>
                  </a:lnTo>
                  <a:lnTo>
                    <a:pt x="92" y="603"/>
                  </a:lnTo>
                  <a:lnTo>
                    <a:pt x="92" y="603"/>
                  </a:lnTo>
                  <a:lnTo>
                    <a:pt x="90" y="603"/>
                  </a:lnTo>
                  <a:lnTo>
                    <a:pt x="88" y="603"/>
                  </a:lnTo>
                  <a:lnTo>
                    <a:pt x="85" y="605"/>
                  </a:lnTo>
                  <a:lnTo>
                    <a:pt x="85" y="605"/>
                  </a:lnTo>
                  <a:lnTo>
                    <a:pt x="85" y="605"/>
                  </a:lnTo>
                  <a:lnTo>
                    <a:pt x="83" y="607"/>
                  </a:lnTo>
                  <a:lnTo>
                    <a:pt x="83" y="607"/>
                  </a:lnTo>
                  <a:lnTo>
                    <a:pt x="85" y="607"/>
                  </a:lnTo>
                  <a:lnTo>
                    <a:pt x="85" y="607"/>
                  </a:lnTo>
                  <a:lnTo>
                    <a:pt x="85" y="607"/>
                  </a:lnTo>
                  <a:lnTo>
                    <a:pt x="85" y="607"/>
                  </a:lnTo>
                  <a:lnTo>
                    <a:pt x="83" y="610"/>
                  </a:lnTo>
                  <a:lnTo>
                    <a:pt x="83" y="610"/>
                  </a:lnTo>
                  <a:lnTo>
                    <a:pt x="83" y="610"/>
                  </a:lnTo>
                  <a:lnTo>
                    <a:pt x="83" y="610"/>
                  </a:lnTo>
                  <a:lnTo>
                    <a:pt x="85" y="610"/>
                  </a:lnTo>
                  <a:lnTo>
                    <a:pt x="85" y="610"/>
                  </a:lnTo>
                  <a:lnTo>
                    <a:pt x="85" y="610"/>
                  </a:lnTo>
                  <a:lnTo>
                    <a:pt x="88" y="607"/>
                  </a:lnTo>
                  <a:lnTo>
                    <a:pt x="88" y="607"/>
                  </a:lnTo>
                  <a:lnTo>
                    <a:pt x="88" y="610"/>
                  </a:lnTo>
                  <a:lnTo>
                    <a:pt x="88" y="610"/>
                  </a:lnTo>
                  <a:lnTo>
                    <a:pt x="139" y="610"/>
                  </a:lnTo>
                  <a:lnTo>
                    <a:pt x="147" y="610"/>
                  </a:lnTo>
                  <a:lnTo>
                    <a:pt x="304" y="610"/>
                  </a:lnTo>
                  <a:lnTo>
                    <a:pt x="312" y="610"/>
                  </a:lnTo>
                  <a:lnTo>
                    <a:pt x="472" y="610"/>
                  </a:lnTo>
                  <a:lnTo>
                    <a:pt x="479" y="610"/>
                  </a:lnTo>
                  <a:lnTo>
                    <a:pt x="533" y="610"/>
                  </a:lnTo>
                  <a:lnTo>
                    <a:pt x="538" y="610"/>
                  </a:lnTo>
                  <a:lnTo>
                    <a:pt x="540" y="605"/>
                  </a:lnTo>
                  <a:lnTo>
                    <a:pt x="542" y="603"/>
                  </a:lnTo>
                  <a:lnTo>
                    <a:pt x="545" y="603"/>
                  </a:lnTo>
                  <a:lnTo>
                    <a:pt x="545" y="603"/>
                  </a:lnTo>
                  <a:lnTo>
                    <a:pt x="545" y="603"/>
                  </a:lnTo>
                  <a:lnTo>
                    <a:pt x="545" y="605"/>
                  </a:lnTo>
                  <a:lnTo>
                    <a:pt x="545" y="607"/>
                  </a:lnTo>
                  <a:lnTo>
                    <a:pt x="542" y="610"/>
                  </a:lnTo>
                  <a:lnTo>
                    <a:pt x="542" y="612"/>
                  </a:lnTo>
                  <a:lnTo>
                    <a:pt x="542" y="612"/>
                  </a:lnTo>
                  <a:lnTo>
                    <a:pt x="542" y="614"/>
                  </a:lnTo>
                  <a:lnTo>
                    <a:pt x="542" y="614"/>
                  </a:lnTo>
                  <a:lnTo>
                    <a:pt x="542" y="614"/>
                  </a:lnTo>
                  <a:lnTo>
                    <a:pt x="547" y="617"/>
                  </a:lnTo>
                  <a:lnTo>
                    <a:pt x="552" y="617"/>
                  </a:lnTo>
                  <a:lnTo>
                    <a:pt x="554" y="617"/>
                  </a:lnTo>
                  <a:lnTo>
                    <a:pt x="554" y="619"/>
                  </a:lnTo>
                  <a:lnTo>
                    <a:pt x="557" y="619"/>
                  </a:lnTo>
                  <a:lnTo>
                    <a:pt x="559" y="619"/>
                  </a:lnTo>
                  <a:lnTo>
                    <a:pt x="559" y="619"/>
                  </a:lnTo>
                  <a:lnTo>
                    <a:pt x="561" y="617"/>
                  </a:lnTo>
                  <a:lnTo>
                    <a:pt x="564" y="617"/>
                  </a:lnTo>
                  <a:lnTo>
                    <a:pt x="566" y="617"/>
                  </a:lnTo>
                  <a:lnTo>
                    <a:pt x="568" y="617"/>
                  </a:lnTo>
                  <a:lnTo>
                    <a:pt x="568" y="617"/>
                  </a:lnTo>
                  <a:lnTo>
                    <a:pt x="571" y="619"/>
                  </a:lnTo>
                  <a:lnTo>
                    <a:pt x="571" y="619"/>
                  </a:lnTo>
                  <a:lnTo>
                    <a:pt x="573" y="622"/>
                  </a:lnTo>
                  <a:lnTo>
                    <a:pt x="573" y="622"/>
                  </a:lnTo>
                  <a:lnTo>
                    <a:pt x="573" y="624"/>
                  </a:lnTo>
                  <a:lnTo>
                    <a:pt x="573" y="624"/>
                  </a:lnTo>
                  <a:lnTo>
                    <a:pt x="575" y="624"/>
                  </a:lnTo>
                  <a:lnTo>
                    <a:pt x="575" y="624"/>
                  </a:lnTo>
                  <a:lnTo>
                    <a:pt x="578" y="624"/>
                  </a:lnTo>
                  <a:lnTo>
                    <a:pt x="580" y="624"/>
                  </a:lnTo>
                  <a:lnTo>
                    <a:pt x="583" y="626"/>
                  </a:lnTo>
                  <a:lnTo>
                    <a:pt x="585" y="629"/>
                  </a:lnTo>
                  <a:lnTo>
                    <a:pt x="587" y="629"/>
                  </a:lnTo>
                  <a:lnTo>
                    <a:pt x="587" y="629"/>
                  </a:lnTo>
                  <a:lnTo>
                    <a:pt x="592" y="629"/>
                  </a:lnTo>
                  <a:lnTo>
                    <a:pt x="594" y="626"/>
                  </a:lnTo>
                  <a:lnTo>
                    <a:pt x="597" y="626"/>
                  </a:lnTo>
                  <a:lnTo>
                    <a:pt x="599" y="626"/>
                  </a:lnTo>
                  <a:lnTo>
                    <a:pt x="599" y="629"/>
                  </a:lnTo>
                  <a:lnTo>
                    <a:pt x="599" y="629"/>
                  </a:lnTo>
                  <a:lnTo>
                    <a:pt x="601" y="629"/>
                  </a:lnTo>
                  <a:lnTo>
                    <a:pt x="606" y="629"/>
                  </a:lnTo>
                  <a:lnTo>
                    <a:pt x="611" y="629"/>
                  </a:lnTo>
                  <a:lnTo>
                    <a:pt x="611" y="629"/>
                  </a:lnTo>
                  <a:lnTo>
                    <a:pt x="611" y="631"/>
                  </a:lnTo>
                  <a:lnTo>
                    <a:pt x="611" y="631"/>
                  </a:lnTo>
                  <a:lnTo>
                    <a:pt x="613" y="631"/>
                  </a:lnTo>
                  <a:lnTo>
                    <a:pt x="618" y="631"/>
                  </a:lnTo>
                  <a:lnTo>
                    <a:pt x="618" y="631"/>
                  </a:lnTo>
                  <a:lnTo>
                    <a:pt x="620" y="629"/>
                  </a:lnTo>
                  <a:lnTo>
                    <a:pt x="620" y="629"/>
                  </a:lnTo>
                  <a:lnTo>
                    <a:pt x="623" y="629"/>
                  </a:lnTo>
                  <a:lnTo>
                    <a:pt x="623" y="626"/>
                  </a:lnTo>
                  <a:lnTo>
                    <a:pt x="625" y="626"/>
                  </a:lnTo>
                  <a:lnTo>
                    <a:pt x="625" y="624"/>
                  </a:lnTo>
                  <a:lnTo>
                    <a:pt x="627" y="624"/>
                  </a:lnTo>
                  <a:lnTo>
                    <a:pt x="627" y="624"/>
                  </a:lnTo>
                  <a:lnTo>
                    <a:pt x="627" y="622"/>
                  </a:lnTo>
                  <a:lnTo>
                    <a:pt x="627" y="622"/>
                  </a:lnTo>
                  <a:lnTo>
                    <a:pt x="627" y="622"/>
                  </a:lnTo>
                  <a:lnTo>
                    <a:pt x="630" y="619"/>
                  </a:lnTo>
                  <a:lnTo>
                    <a:pt x="637" y="619"/>
                  </a:lnTo>
                  <a:lnTo>
                    <a:pt x="637" y="619"/>
                  </a:lnTo>
                  <a:lnTo>
                    <a:pt x="634" y="619"/>
                  </a:lnTo>
                  <a:lnTo>
                    <a:pt x="632" y="622"/>
                  </a:lnTo>
                  <a:lnTo>
                    <a:pt x="632" y="622"/>
                  </a:lnTo>
                  <a:lnTo>
                    <a:pt x="632" y="624"/>
                  </a:lnTo>
                  <a:lnTo>
                    <a:pt x="632" y="624"/>
                  </a:lnTo>
                  <a:lnTo>
                    <a:pt x="632" y="624"/>
                  </a:lnTo>
                  <a:lnTo>
                    <a:pt x="634" y="624"/>
                  </a:lnTo>
                  <a:lnTo>
                    <a:pt x="634" y="622"/>
                  </a:lnTo>
                  <a:lnTo>
                    <a:pt x="637" y="622"/>
                  </a:lnTo>
                  <a:lnTo>
                    <a:pt x="637" y="622"/>
                  </a:lnTo>
                  <a:lnTo>
                    <a:pt x="637" y="619"/>
                  </a:lnTo>
                  <a:lnTo>
                    <a:pt x="637" y="619"/>
                  </a:lnTo>
                  <a:lnTo>
                    <a:pt x="639" y="619"/>
                  </a:lnTo>
                  <a:lnTo>
                    <a:pt x="639" y="619"/>
                  </a:lnTo>
                  <a:lnTo>
                    <a:pt x="639" y="617"/>
                  </a:lnTo>
                  <a:lnTo>
                    <a:pt x="641" y="617"/>
                  </a:lnTo>
                  <a:lnTo>
                    <a:pt x="641" y="617"/>
                  </a:lnTo>
                  <a:lnTo>
                    <a:pt x="641" y="617"/>
                  </a:lnTo>
                  <a:lnTo>
                    <a:pt x="641" y="614"/>
                  </a:lnTo>
                  <a:lnTo>
                    <a:pt x="644" y="614"/>
                  </a:lnTo>
                  <a:lnTo>
                    <a:pt x="644" y="612"/>
                  </a:lnTo>
                  <a:lnTo>
                    <a:pt x="644" y="612"/>
                  </a:lnTo>
                  <a:lnTo>
                    <a:pt x="646" y="612"/>
                  </a:lnTo>
                  <a:lnTo>
                    <a:pt x="646" y="614"/>
                  </a:lnTo>
                  <a:lnTo>
                    <a:pt x="646" y="614"/>
                  </a:lnTo>
                  <a:lnTo>
                    <a:pt x="646" y="614"/>
                  </a:lnTo>
                  <a:lnTo>
                    <a:pt x="646" y="617"/>
                  </a:lnTo>
                  <a:lnTo>
                    <a:pt x="644" y="617"/>
                  </a:lnTo>
                  <a:lnTo>
                    <a:pt x="639" y="619"/>
                  </a:lnTo>
                  <a:lnTo>
                    <a:pt x="639" y="619"/>
                  </a:lnTo>
                  <a:lnTo>
                    <a:pt x="639" y="622"/>
                  </a:lnTo>
                  <a:lnTo>
                    <a:pt x="639" y="622"/>
                  </a:lnTo>
                  <a:lnTo>
                    <a:pt x="639" y="622"/>
                  </a:lnTo>
                  <a:lnTo>
                    <a:pt x="639" y="622"/>
                  </a:lnTo>
                  <a:lnTo>
                    <a:pt x="641" y="619"/>
                  </a:lnTo>
                  <a:lnTo>
                    <a:pt x="641" y="619"/>
                  </a:lnTo>
                  <a:lnTo>
                    <a:pt x="641" y="619"/>
                  </a:lnTo>
                  <a:lnTo>
                    <a:pt x="641" y="619"/>
                  </a:lnTo>
                  <a:lnTo>
                    <a:pt x="641" y="619"/>
                  </a:lnTo>
                  <a:lnTo>
                    <a:pt x="641" y="619"/>
                  </a:lnTo>
                  <a:lnTo>
                    <a:pt x="644" y="619"/>
                  </a:lnTo>
                  <a:lnTo>
                    <a:pt x="644" y="619"/>
                  </a:lnTo>
                  <a:lnTo>
                    <a:pt x="646" y="619"/>
                  </a:lnTo>
                  <a:lnTo>
                    <a:pt x="646" y="619"/>
                  </a:lnTo>
                  <a:lnTo>
                    <a:pt x="649" y="617"/>
                  </a:lnTo>
                  <a:lnTo>
                    <a:pt x="649" y="614"/>
                  </a:lnTo>
                  <a:lnTo>
                    <a:pt x="649" y="614"/>
                  </a:lnTo>
                  <a:lnTo>
                    <a:pt x="649" y="614"/>
                  </a:lnTo>
                  <a:lnTo>
                    <a:pt x="649" y="612"/>
                  </a:lnTo>
                  <a:lnTo>
                    <a:pt x="649" y="612"/>
                  </a:lnTo>
                  <a:lnTo>
                    <a:pt x="649" y="612"/>
                  </a:lnTo>
                  <a:lnTo>
                    <a:pt x="649" y="610"/>
                  </a:lnTo>
                  <a:lnTo>
                    <a:pt x="649" y="610"/>
                  </a:lnTo>
                  <a:lnTo>
                    <a:pt x="651" y="610"/>
                  </a:lnTo>
                  <a:lnTo>
                    <a:pt x="651" y="610"/>
                  </a:lnTo>
                  <a:lnTo>
                    <a:pt x="651" y="610"/>
                  </a:lnTo>
                  <a:lnTo>
                    <a:pt x="653" y="610"/>
                  </a:lnTo>
                  <a:lnTo>
                    <a:pt x="653" y="610"/>
                  </a:lnTo>
                  <a:lnTo>
                    <a:pt x="653" y="610"/>
                  </a:lnTo>
                  <a:lnTo>
                    <a:pt x="656" y="612"/>
                  </a:lnTo>
                  <a:lnTo>
                    <a:pt x="658" y="612"/>
                  </a:lnTo>
                  <a:lnTo>
                    <a:pt x="658" y="612"/>
                  </a:lnTo>
                  <a:lnTo>
                    <a:pt x="660" y="612"/>
                  </a:lnTo>
                  <a:lnTo>
                    <a:pt x="660" y="612"/>
                  </a:lnTo>
                  <a:lnTo>
                    <a:pt x="660" y="612"/>
                  </a:lnTo>
                  <a:lnTo>
                    <a:pt x="660" y="612"/>
                  </a:lnTo>
                  <a:lnTo>
                    <a:pt x="663" y="612"/>
                  </a:lnTo>
                  <a:lnTo>
                    <a:pt x="663" y="614"/>
                  </a:lnTo>
                  <a:lnTo>
                    <a:pt x="665" y="614"/>
                  </a:lnTo>
                  <a:lnTo>
                    <a:pt x="667" y="614"/>
                  </a:lnTo>
                  <a:lnTo>
                    <a:pt x="667" y="614"/>
                  </a:lnTo>
                  <a:lnTo>
                    <a:pt x="670" y="614"/>
                  </a:lnTo>
                  <a:lnTo>
                    <a:pt x="670" y="614"/>
                  </a:lnTo>
                  <a:lnTo>
                    <a:pt x="672" y="614"/>
                  </a:lnTo>
                  <a:lnTo>
                    <a:pt x="672" y="614"/>
                  </a:lnTo>
                  <a:lnTo>
                    <a:pt x="674" y="614"/>
                  </a:lnTo>
                  <a:lnTo>
                    <a:pt x="674" y="614"/>
                  </a:lnTo>
                  <a:lnTo>
                    <a:pt x="674" y="614"/>
                  </a:lnTo>
                  <a:lnTo>
                    <a:pt x="677" y="614"/>
                  </a:lnTo>
                  <a:lnTo>
                    <a:pt x="677" y="614"/>
                  </a:lnTo>
                  <a:lnTo>
                    <a:pt x="677" y="614"/>
                  </a:lnTo>
                  <a:lnTo>
                    <a:pt x="677" y="617"/>
                  </a:lnTo>
                  <a:lnTo>
                    <a:pt x="677" y="617"/>
                  </a:lnTo>
                  <a:lnTo>
                    <a:pt x="677" y="617"/>
                  </a:lnTo>
                  <a:lnTo>
                    <a:pt x="677" y="617"/>
                  </a:lnTo>
                  <a:lnTo>
                    <a:pt x="677" y="619"/>
                  </a:lnTo>
                  <a:lnTo>
                    <a:pt x="677" y="619"/>
                  </a:lnTo>
                  <a:lnTo>
                    <a:pt x="677" y="622"/>
                  </a:lnTo>
                  <a:lnTo>
                    <a:pt x="677" y="622"/>
                  </a:lnTo>
                  <a:lnTo>
                    <a:pt x="677" y="622"/>
                  </a:lnTo>
                  <a:lnTo>
                    <a:pt x="677" y="622"/>
                  </a:lnTo>
                  <a:lnTo>
                    <a:pt x="677" y="624"/>
                  </a:lnTo>
                  <a:lnTo>
                    <a:pt x="677" y="626"/>
                  </a:lnTo>
                  <a:lnTo>
                    <a:pt x="677" y="629"/>
                  </a:lnTo>
                  <a:lnTo>
                    <a:pt x="677" y="631"/>
                  </a:lnTo>
                  <a:lnTo>
                    <a:pt x="679" y="631"/>
                  </a:lnTo>
                  <a:lnTo>
                    <a:pt x="682" y="631"/>
                  </a:lnTo>
                  <a:lnTo>
                    <a:pt x="684" y="631"/>
                  </a:lnTo>
                  <a:lnTo>
                    <a:pt x="686" y="631"/>
                  </a:lnTo>
                  <a:lnTo>
                    <a:pt x="689" y="631"/>
                  </a:lnTo>
                  <a:lnTo>
                    <a:pt x="693" y="631"/>
                  </a:lnTo>
                  <a:lnTo>
                    <a:pt x="693" y="631"/>
                  </a:lnTo>
                  <a:lnTo>
                    <a:pt x="693" y="631"/>
                  </a:lnTo>
                  <a:lnTo>
                    <a:pt x="693" y="633"/>
                  </a:lnTo>
                  <a:lnTo>
                    <a:pt x="691" y="633"/>
                  </a:lnTo>
                  <a:lnTo>
                    <a:pt x="691" y="633"/>
                  </a:lnTo>
                  <a:lnTo>
                    <a:pt x="691" y="636"/>
                  </a:lnTo>
                  <a:lnTo>
                    <a:pt x="691" y="636"/>
                  </a:lnTo>
                  <a:lnTo>
                    <a:pt x="689" y="636"/>
                  </a:lnTo>
                  <a:lnTo>
                    <a:pt x="689" y="636"/>
                  </a:lnTo>
                  <a:lnTo>
                    <a:pt x="689" y="638"/>
                  </a:lnTo>
                  <a:lnTo>
                    <a:pt x="689" y="638"/>
                  </a:lnTo>
                  <a:lnTo>
                    <a:pt x="689" y="638"/>
                  </a:lnTo>
                  <a:lnTo>
                    <a:pt x="689" y="641"/>
                  </a:lnTo>
                  <a:lnTo>
                    <a:pt x="689" y="641"/>
                  </a:lnTo>
                  <a:lnTo>
                    <a:pt x="691" y="641"/>
                  </a:lnTo>
                  <a:lnTo>
                    <a:pt x="691" y="643"/>
                  </a:lnTo>
                  <a:lnTo>
                    <a:pt x="691" y="643"/>
                  </a:lnTo>
                  <a:lnTo>
                    <a:pt x="691" y="643"/>
                  </a:lnTo>
                  <a:lnTo>
                    <a:pt x="691" y="643"/>
                  </a:lnTo>
                  <a:lnTo>
                    <a:pt x="691" y="643"/>
                  </a:lnTo>
                  <a:lnTo>
                    <a:pt x="691" y="645"/>
                  </a:lnTo>
                  <a:lnTo>
                    <a:pt x="691" y="645"/>
                  </a:lnTo>
                  <a:lnTo>
                    <a:pt x="689" y="648"/>
                  </a:lnTo>
                  <a:lnTo>
                    <a:pt x="689" y="648"/>
                  </a:lnTo>
                  <a:lnTo>
                    <a:pt x="689" y="648"/>
                  </a:lnTo>
                  <a:lnTo>
                    <a:pt x="686" y="650"/>
                  </a:lnTo>
                  <a:lnTo>
                    <a:pt x="686" y="650"/>
                  </a:lnTo>
                  <a:lnTo>
                    <a:pt x="686" y="652"/>
                  </a:lnTo>
                  <a:lnTo>
                    <a:pt x="686" y="652"/>
                  </a:lnTo>
                  <a:lnTo>
                    <a:pt x="689" y="652"/>
                  </a:lnTo>
                  <a:lnTo>
                    <a:pt x="689" y="652"/>
                  </a:lnTo>
                  <a:lnTo>
                    <a:pt x="689" y="652"/>
                  </a:lnTo>
                  <a:lnTo>
                    <a:pt x="689" y="652"/>
                  </a:lnTo>
                  <a:lnTo>
                    <a:pt x="691" y="652"/>
                  </a:lnTo>
                  <a:lnTo>
                    <a:pt x="691" y="652"/>
                  </a:lnTo>
                  <a:lnTo>
                    <a:pt x="691" y="652"/>
                  </a:lnTo>
                  <a:lnTo>
                    <a:pt x="691" y="655"/>
                  </a:lnTo>
                  <a:lnTo>
                    <a:pt x="691" y="655"/>
                  </a:lnTo>
                  <a:lnTo>
                    <a:pt x="691" y="655"/>
                  </a:lnTo>
                  <a:lnTo>
                    <a:pt x="689" y="655"/>
                  </a:lnTo>
                  <a:lnTo>
                    <a:pt x="689" y="655"/>
                  </a:lnTo>
                  <a:lnTo>
                    <a:pt x="689" y="655"/>
                  </a:lnTo>
                  <a:lnTo>
                    <a:pt x="686" y="657"/>
                  </a:lnTo>
                  <a:lnTo>
                    <a:pt x="686" y="657"/>
                  </a:lnTo>
                  <a:lnTo>
                    <a:pt x="686" y="657"/>
                  </a:lnTo>
                  <a:lnTo>
                    <a:pt x="686" y="657"/>
                  </a:lnTo>
                  <a:lnTo>
                    <a:pt x="689" y="657"/>
                  </a:lnTo>
                  <a:lnTo>
                    <a:pt x="689" y="657"/>
                  </a:lnTo>
                  <a:lnTo>
                    <a:pt x="689" y="657"/>
                  </a:lnTo>
                  <a:lnTo>
                    <a:pt x="689" y="657"/>
                  </a:lnTo>
                  <a:lnTo>
                    <a:pt x="686" y="659"/>
                  </a:lnTo>
                  <a:lnTo>
                    <a:pt x="684" y="659"/>
                  </a:lnTo>
                  <a:lnTo>
                    <a:pt x="684" y="659"/>
                  </a:lnTo>
                  <a:lnTo>
                    <a:pt x="686" y="662"/>
                  </a:lnTo>
                  <a:lnTo>
                    <a:pt x="686" y="662"/>
                  </a:lnTo>
                  <a:lnTo>
                    <a:pt x="686" y="662"/>
                  </a:lnTo>
                  <a:lnTo>
                    <a:pt x="686" y="662"/>
                  </a:lnTo>
                  <a:lnTo>
                    <a:pt x="689" y="662"/>
                  </a:lnTo>
                  <a:lnTo>
                    <a:pt x="691" y="659"/>
                  </a:lnTo>
                  <a:lnTo>
                    <a:pt x="691" y="659"/>
                  </a:lnTo>
                  <a:lnTo>
                    <a:pt x="691" y="662"/>
                  </a:lnTo>
                  <a:lnTo>
                    <a:pt x="693" y="662"/>
                  </a:lnTo>
                  <a:lnTo>
                    <a:pt x="691" y="662"/>
                  </a:lnTo>
                  <a:lnTo>
                    <a:pt x="691" y="662"/>
                  </a:lnTo>
                  <a:lnTo>
                    <a:pt x="691" y="664"/>
                  </a:lnTo>
                  <a:lnTo>
                    <a:pt x="691" y="664"/>
                  </a:lnTo>
                  <a:lnTo>
                    <a:pt x="691" y="664"/>
                  </a:lnTo>
                  <a:lnTo>
                    <a:pt x="693" y="664"/>
                  </a:lnTo>
                  <a:lnTo>
                    <a:pt x="693" y="664"/>
                  </a:lnTo>
                  <a:lnTo>
                    <a:pt x="693" y="667"/>
                  </a:lnTo>
                  <a:lnTo>
                    <a:pt x="693" y="667"/>
                  </a:lnTo>
                  <a:lnTo>
                    <a:pt x="698" y="667"/>
                  </a:lnTo>
                  <a:lnTo>
                    <a:pt x="698" y="667"/>
                  </a:lnTo>
                  <a:lnTo>
                    <a:pt x="698" y="667"/>
                  </a:lnTo>
                  <a:lnTo>
                    <a:pt x="700" y="667"/>
                  </a:lnTo>
                  <a:lnTo>
                    <a:pt x="707" y="669"/>
                  </a:lnTo>
                  <a:lnTo>
                    <a:pt x="710" y="669"/>
                  </a:lnTo>
                  <a:lnTo>
                    <a:pt x="712" y="667"/>
                  </a:lnTo>
                  <a:lnTo>
                    <a:pt x="712" y="669"/>
                  </a:lnTo>
                  <a:lnTo>
                    <a:pt x="712" y="669"/>
                  </a:lnTo>
                  <a:lnTo>
                    <a:pt x="715" y="669"/>
                  </a:lnTo>
                  <a:lnTo>
                    <a:pt x="717" y="669"/>
                  </a:lnTo>
                  <a:lnTo>
                    <a:pt x="719" y="669"/>
                  </a:lnTo>
                  <a:lnTo>
                    <a:pt x="719" y="669"/>
                  </a:lnTo>
                  <a:lnTo>
                    <a:pt x="722" y="669"/>
                  </a:lnTo>
                  <a:lnTo>
                    <a:pt x="724" y="669"/>
                  </a:lnTo>
                  <a:lnTo>
                    <a:pt x="726" y="669"/>
                  </a:lnTo>
                  <a:lnTo>
                    <a:pt x="726" y="669"/>
                  </a:lnTo>
                  <a:lnTo>
                    <a:pt x="726" y="671"/>
                  </a:lnTo>
                  <a:lnTo>
                    <a:pt x="726" y="671"/>
                  </a:lnTo>
                  <a:lnTo>
                    <a:pt x="726" y="671"/>
                  </a:lnTo>
                  <a:lnTo>
                    <a:pt x="726" y="671"/>
                  </a:lnTo>
                  <a:lnTo>
                    <a:pt x="729" y="671"/>
                  </a:lnTo>
                  <a:lnTo>
                    <a:pt x="729" y="669"/>
                  </a:lnTo>
                  <a:lnTo>
                    <a:pt x="729" y="669"/>
                  </a:lnTo>
                  <a:lnTo>
                    <a:pt x="729" y="669"/>
                  </a:lnTo>
                  <a:lnTo>
                    <a:pt x="731" y="669"/>
                  </a:lnTo>
                  <a:lnTo>
                    <a:pt x="731" y="671"/>
                  </a:lnTo>
                  <a:lnTo>
                    <a:pt x="729" y="671"/>
                  </a:lnTo>
                  <a:lnTo>
                    <a:pt x="729" y="671"/>
                  </a:lnTo>
                  <a:lnTo>
                    <a:pt x="729" y="671"/>
                  </a:lnTo>
                  <a:lnTo>
                    <a:pt x="729" y="671"/>
                  </a:lnTo>
                  <a:lnTo>
                    <a:pt x="729" y="671"/>
                  </a:lnTo>
                  <a:lnTo>
                    <a:pt x="729" y="671"/>
                  </a:lnTo>
                  <a:lnTo>
                    <a:pt x="729" y="674"/>
                  </a:lnTo>
                  <a:lnTo>
                    <a:pt x="731" y="671"/>
                  </a:lnTo>
                  <a:lnTo>
                    <a:pt x="731" y="671"/>
                  </a:lnTo>
                  <a:lnTo>
                    <a:pt x="733" y="671"/>
                  </a:lnTo>
                  <a:lnTo>
                    <a:pt x="733" y="671"/>
                  </a:lnTo>
                  <a:lnTo>
                    <a:pt x="736" y="671"/>
                  </a:lnTo>
                  <a:lnTo>
                    <a:pt x="736" y="671"/>
                  </a:lnTo>
                  <a:lnTo>
                    <a:pt x="736" y="671"/>
                  </a:lnTo>
                  <a:lnTo>
                    <a:pt x="736" y="671"/>
                  </a:lnTo>
                  <a:lnTo>
                    <a:pt x="736" y="671"/>
                  </a:lnTo>
                  <a:lnTo>
                    <a:pt x="736" y="674"/>
                  </a:lnTo>
                  <a:lnTo>
                    <a:pt x="736" y="674"/>
                  </a:lnTo>
                  <a:lnTo>
                    <a:pt x="738" y="674"/>
                  </a:lnTo>
                  <a:lnTo>
                    <a:pt x="740" y="674"/>
                  </a:lnTo>
                  <a:lnTo>
                    <a:pt x="740" y="674"/>
                  </a:lnTo>
                  <a:lnTo>
                    <a:pt x="740" y="674"/>
                  </a:lnTo>
                  <a:lnTo>
                    <a:pt x="740" y="674"/>
                  </a:lnTo>
                  <a:lnTo>
                    <a:pt x="743" y="674"/>
                  </a:lnTo>
                  <a:lnTo>
                    <a:pt x="743" y="674"/>
                  </a:lnTo>
                  <a:lnTo>
                    <a:pt x="743" y="676"/>
                  </a:lnTo>
                  <a:lnTo>
                    <a:pt x="743" y="676"/>
                  </a:lnTo>
                  <a:lnTo>
                    <a:pt x="743" y="676"/>
                  </a:lnTo>
                  <a:lnTo>
                    <a:pt x="743" y="676"/>
                  </a:lnTo>
                  <a:lnTo>
                    <a:pt x="743" y="678"/>
                  </a:lnTo>
                  <a:lnTo>
                    <a:pt x="743" y="678"/>
                  </a:lnTo>
                  <a:lnTo>
                    <a:pt x="743" y="678"/>
                  </a:lnTo>
                  <a:lnTo>
                    <a:pt x="743" y="681"/>
                  </a:lnTo>
                  <a:lnTo>
                    <a:pt x="743" y="681"/>
                  </a:lnTo>
                  <a:lnTo>
                    <a:pt x="743" y="681"/>
                  </a:lnTo>
                  <a:lnTo>
                    <a:pt x="743" y="681"/>
                  </a:lnTo>
                  <a:lnTo>
                    <a:pt x="745" y="681"/>
                  </a:lnTo>
                  <a:lnTo>
                    <a:pt x="745" y="678"/>
                  </a:lnTo>
                  <a:lnTo>
                    <a:pt x="745" y="681"/>
                  </a:lnTo>
                  <a:lnTo>
                    <a:pt x="745" y="681"/>
                  </a:lnTo>
                  <a:lnTo>
                    <a:pt x="745" y="683"/>
                  </a:lnTo>
                  <a:lnTo>
                    <a:pt x="743" y="683"/>
                  </a:lnTo>
                  <a:lnTo>
                    <a:pt x="743" y="683"/>
                  </a:lnTo>
                  <a:lnTo>
                    <a:pt x="745" y="685"/>
                  </a:lnTo>
                  <a:lnTo>
                    <a:pt x="745" y="685"/>
                  </a:lnTo>
                  <a:lnTo>
                    <a:pt x="745" y="685"/>
                  </a:lnTo>
                  <a:lnTo>
                    <a:pt x="748" y="685"/>
                  </a:lnTo>
                  <a:lnTo>
                    <a:pt x="748" y="685"/>
                  </a:lnTo>
                  <a:lnTo>
                    <a:pt x="748" y="683"/>
                  </a:lnTo>
                  <a:lnTo>
                    <a:pt x="748" y="683"/>
                  </a:lnTo>
                  <a:lnTo>
                    <a:pt x="748" y="683"/>
                  </a:lnTo>
                  <a:lnTo>
                    <a:pt x="748" y="685"/>
                  </a:lnTo>
                  <a:lnTo>
                    <a:pt x="748" y="685"/>
                  </a:lnTo>
                  <a:lnTo>
                    <a:pt x="748" y="685"/>
                  </a:lnTo>
                  <a:lnTo>
                    <a:pt x="748" y="688"/>
                  </a:lnTo>
                  <a:lnTo>
                    <a:pt x="745" y="688"/>
                  </a:lnTo>
                  <a:lnTo>
                    <a:pt x="745" y="688"/>
                  </a:lnTo>
                  <a:lnTo>
                    <a:pt x="745" y="688"/>
                  </a:lnTo>
                  <a:lnTo>
                    <a:pt x="748" y="688"/>
                  </a:lnTo>
                  <a:lnTo>
                    <a:pt x="748" y="688"/>
                  </a:lnTo>
                  <a:lnTo>
                    <a:pt x="748" y="688"/>
                  </a:lnTo>
                  <a:lnTo>
                    <a:pt x="748" y="690"/>
                  </a:lnTo>
                  <a:lnTo>
                    <a:pt x="748" y="690"/>
                  </a:lnTo>
                  <a:lnTo>
                    <a:pt x="745" y="690"/>
                  </a:lnTo>
                  <a:lnTo>
                    <a:pt x="745" y="690"/>
                  </a:lnTo>
                  <a:lnTo>
                    <a:pt x="745" y="690"/>
                  </a:lnTo>
                  <a:lnTo>
                    <a:pt x="748" y="693"/>
                  </a:lnTo>
                  <a:lnTo>
                    <a:pt x="748" y="693"/>
                  </a:lnTo>
                  <a:lnTo>
                    <a:pt x="748" y="693"/>
                  </a:lnTo>
                  <a:lnTo>
                    <a:pt x="748" y="695"/>
                  </a:lnTo>
                  <a:lnTo>
                    <a:pt x="748" y="695"/>
                  </a:lnTo>
                  <a:lnTo>
                    <a:pt x="748" y="695"/>
                  </a:lnTo>
                  <a:lnTo>
                    <a:pt x="748" y="697"/>
                  </a:lnTo>
                  <a:lnTo>
                    <a:pt x="748" y="697"/>
                  </a:lnTo>
                  <a:lnTo>
                    <a:pt x="748" y="697"/>
                  </a:lnTo>
                  <a:lnTo>
                    <a:pt x="748" y="697"/>
                  </a:lnTo>
                  <a:lnTo>
                    <a:pt x="750" y="697"/>
                  </a:lnTo>
                  <a:lnTo>
                    <a:pt x="750" y="697"/>
                  </a:lnTo>
                  <a:lnTo>
                    <a:pt x="750" y="697"/>
                  </a:lnTo>
                  <a:lnTo>
                    <a:pt x="750" y="697"/>
                  </a:lnTo>
                  <a:lnTo>
                    <a:pt x="750" y="697"/>
                  </a:lnTo>
                  <a:lnTo>
                    <a:pt x="750" y="697"/>
                  </a:lnTo>
                  <a:lnTo>
                    <a:pt x="750" y="700"/>
                  </a:lnTo>
                  <a:lnTo>
                    <a:pt x="748" y="700"/>
                  </a:lnTo>
                  <a:lnTo>
                    <a:pt x="748" y="700"/>
                  </a:lnTo>
                  <a:lnTo>
                    <a:pt x="745" y="697"/>
                  </a:lnTo>
                  <a:lnTo>
                    <a:pt x="745" y="697"/>
                  </a:lnTo>
                  <a:lnTo>
                    <a:pt x="745" y="697"/>
                  </a:lnTo>
                  <a:lnTo>
                    <a:pt x="745" y="697"/>
                  </a:lnTo>
                  <a:lnTo>
                    <a:pt x="745" y="697"/>
                  </a:lnTo>
                  <a:lnTo>
                    <a:pt x="745" y="697"/>
                  </a:lnTo>
                  <a:lnTo>
                    <a:pt x="745" y="697"/>
                  </a:lnTo>
                  <a:lnTo>
                    <a:pt x="743" y="697"/>
                  </a:lnTo>
                  <a:lnTo>
                    <a:pt x="743" y="697"/>
                  </a:lnTo>
                  <a:lnTo>
                    <a:pt x="743" y="700"/>
                  </a:lnTo>
                  <a:lnTo>
                    <a:pt x="743" y="700"/>
                  </a:lnTo>
                  <a:lnTo>
                    <a:pt x="743" y="700"/>
                  </a:lnTo>
                  <a:lnTo>
                    <a:pt x="743" y="702"/>
                  </a:lnTo>
                  <a:lnTo>
                    <a:pt x="743" y="702"/>
                  </a:lnTo>
                  <a:lnTo>
                    <a:pt x="740" y="704"/>
                  </a:lnTo>
                  <a:lnTo>
                    <a:pt x="740" y="704"/>
                  </a:lnTo>
                  <a:lnTo>
                    <a:pt x="738" y="704"/>
                  </a:lnTo>
                  <a:lnTo>
                    <a:pt x="733" y="702"/>
                  </a:lnTo>
                  <a:lnTo>
                    <a:pt x="733" y="702"/>
                  </a:lnTo>
                  <a:lnTo>
                    <a:pt x="733" y="700"/>
                  </a:lnTo>
                  <a:lnTo>
                    <a:pt x="733" y="700"/>
                  </a:lnTo>
                  <a:lnTo>
                    <a:pt x="731" y="700"/>
                  </a:lnTo>
                  <a:lnTo>
                    <a:pt x="729" y="702"/>
                  </a:lnTo>
                  <a:lnTo>
                    <a:pt x="726" y="702"/>
                  </a:lnTo>
                  <a:lnTo>
                    <a:pt x="726" y="702"/>
                  </a:lnTo>
                  <a:lnTo>
                    <a:pt x="729" y="700"/>
                  </a:lnTo>
                  <a:lnTo>
                    <a:pt x="729" y="700"/>
                  </a:lnTo>
                  <a:lnTo>
                    <a:pt x="729" y="700"/>
                  </a:lnTo>
                  <a:lnTo>
                    <a:pt x="729" y="697"/>
                  </a:lnTo>
                  <a:lnTo>
                    <a:pt x="729" y="697"/>
                  </a:lnTo>
                  <a:lnTo>
                    <a:pt x="726" y="697"/>
                  </a:lnTo>
                  <a:lnTo>
                    <a:pt x="726" y="700"/>
                  </a:lnTo>
                  <a:lnTo>
                    <a:pt x="724" y="700"/>
                  </a:lnTo>
                  <a:lnTo>
                    <a:pt x="726" y="700"/>
                  </a:lnTo>
                  <a:lnTo>
                    <a:pt x="726" y="697"/>
                  </a:lnTo>
                  <a:lnTo>
                    <a:pt x="729" y="697"/>
                  </a:lnTo>
                  <a:lnTo>
                    <a:pt x="729" y="695"/>
                  </a:lnTo>
                  <a:lnTo>
                    <a:pt x="729" y="695"/>
                  </a:lnTo>
                  <a:lnTo>
                    <a:pt x="729" y="695"/>
                  </a:lnTo>
                  <a:lnTo>
                    <a:pt x="729" y="695"/>
                  </a:lnTo>
                  <a:lnTo>
                    <a:pt x="729" y="695"/>
                  </a:lnTo>
                  <a:lnTo>
                    <a:pt x="729" y="695"/>
                  </a:lnTo>
                  <a:lnTo>
                    <a:pt x="726" y="695"/>
                  </a:lnTo>
                  <a:lnTo>
                    <a:pt x="726" y="695"/>
                  </a:lnTo>
                  <a:lnTo>
                    <a:pt x="726" y="695"/>
                  </a:lnTo>
                  <a:lnTo>
                    <a:pt x="726" y="695"/>
                  </a:lnTo>
                  <a:lnTo>
                    <a:pt x="726" y="695"/>
                  </a:lnTo>
                  <a:lnTo>
                    <a:pt x="726" y="695"/>
                  </a:lnTo>
                  <a:lnTo>
                    <a:pt x="726" y="693"/>
                  </a:lnTo>
                  <a:lnTo>
                    <a:pt x="726" y="693"/>
                  </a:lnTo>
                  <a:lnTo>
                    <a:pt x="726" y="693"/>
                  </a:lnTo>
                  <a:lnTo>
                    <a:pt x="726" y="690"/>
                  </a:lnTo>
                  <a:lnTo>
                    <a:pt x="726" y="690"/>
                  </a:lnTo>
                  <a:lnTo>
                    <a:pt x="726" y="690"/>
                  </a:lnTo>
                  <a:lnTo>
                    <a:pt x="726" y="688"/>
                  </a:lnTo>
                  <a:lnTo>
                    <a:pt x="726" y="688"/>
                  </a:lnTo>
                  <a:lnTo>
                    <a:pt x="726" y="688"/>
                  </a:lnTo>
                  <a:lnTo>
                    <a:pt x="724" y="688"/>
                  </a:lnTo>
                  <a:lnTo>
                    <a:pt x="722" y="688"/>
                  </a:lnTo>
                  <a:lnTo>
                    <a:pt x="719" y="688"/>
                  </a:lnTo>
                  <a:lnTo>
                    <a:pt x="719" y="688"/>
                  </a:lnTo>
                  <a:lnTo>
                    <a:pt x="719" y="688"/>
                  </a:lnTo>
                  <a:lnTo>
                    <a:pt x="722" y="688"/>
                  </a:lnTo>
                  <a:lnTo>
                    <a:pt x="722" y="688"/>
                  </a:lnTo>
                  <a:lnTo>
                    <a:pt x="722" y="690"/>
                  </a:lnTo>
                  <a:lnTo>
                    <a:pt x="722" y="690"/>
                  </a:lnTo>
                  <a:lnTo>
                    <a:pt x="722" y="690"/>
                  </a:lnTo>
                  <a:lnTo>
                    <a:pt x="722" y="693"/>
                  </a:lnTo>
                  <a:lnTo>
                    <a:pt x="722" y="695"/>
                  </a:lnTo>
                  <a:lnTo>
                    <a:pt x="724" y="695"/>
                  </a:lnTo>
                  <a:lnTo>
                    <a:pt x="724" y="695"/>
                  </a:lnTo>
                  <a:lnTo>
                    <a:pt x="722" y="695"/>
                  </a:lnTo>
                  <a:lnTo>
                    <a:pt x="722" y="697"/>
                  </a:lnTo>
                  <a:lnTo>
                    <a:pt x="722" y="697"/>
                  </a:lnTo>
                  <a:lnTo>
                    <a:pt x="722" y="697"/>
                  </a:lnTo>
                  <a:lnTo>
                    <a:pt x="722" y="700"/>
                  </a:lnTo>
                  <a:lnTo>
                    <a:pt x="722" y="702"/>
                  </a:lnTo>
                  <a:lnTo>
                    <a:pt x="722" y="702"/>
                  </a:lnTo>
                  <a:lnTo>
                    <a:pt x="719" y="704"/>
                  </a:lnTo>
                  <a:lnTo>
                    <a:pt x="719" y="704"/>
                  </a:lnTo>
                  <a:lnTo>
                    <a:pt x="717" y="704"/>
                  </a:lnTo>
                  <a:lnTo>
                    <a:pt x="717" y="704"/>
                  </a:lnTo>
                  <a:lnTo>
                    <a:pt x="717" y="707"/>
                  </a:lnTo>
                  <a:lnTo>
                    <a:pt x="715" y="707"/>
                  </a:lnTo>
                  <a:lnTo>
                    <a:pt x="715" y="707"/>
                  </a:lnTo>
                  <a:lnTo>
                    <a:pt x="712" y="709"/>
                  </a:lnTo>
                  <a:lnTo>
                    <a:pt x="712" y="709"/>
                  </a:lnTo>
                  <a:lnTo>
                    <a:pt x="712" y="711"/>
                  </a:lnTo>
                  <a:lnTo>
                    <a:pt x="710" y="711"/>
                  </a:lnTo>
                  <a:lnTo>
                    <a:pt x="707" y="714"/>
                  </a:lnTo>
                  <a:lnTo>
                    <a:pt x="707" y="714"/>
                  </a:lnTo>
                  <a:lnTo>
                    <a:pt x="705" y="721"/>
                  </a:lnTo>
                  <a:lnTo>
                    <a:pt x="705" y="723"/>
                  </a:lnTo>
                  <a:lnTo>
                    <a:pt x="703" y="726"/>
                  </a:lnTo>
                  <a:lnTo>
                    <a:pt x="703" y="728"/>
                  </a:lnTo>
                  <a:lnTo>
                    <a:pt x="700" y="728"/>
                  </a:lnTo>
                  <a:lnTo>
                    <a:pt x="700" y="728"/>
                  </a:lnTo>
                  <a:lnTo>
                    <a:pt x="698" y="730"/>
                  </a:lnTo>
                  <a:lnTo>
                    <a:pt x="696" y="730"/>
                  </a:lnTo>
                  <a:lnTo>
                    <a:pt x="696" y="730"/>
                  </a:lnTo>
                  <a:lnTo>
                    <a:pt x="693" y="733"/>
                  </a:lnTo>
                  <a:lnTo>
                    <a:pt x="691" y="733"/>
                  </a:lnTo>
                  <a:lnTo>
                    <a:pt x="689" y="735"/>
                  </a:lnTo>
                  <a:lnTo>
                    <a:pt x="689" y="735"/>
                  </a:lnTo>
                  <a:lnTo>
                    <a:pt x="684" y="740"/>
                  </a:lnTo>
                  <a:lnTo>
                    <a:pt x="682" y="742"/>
                  </a:lnTo>
                  <a:lnTo>
                    <a:pt x="679" y="745"/>
                  </a:lnTo>
                  <a:lnTo>
                    <a:pt x="679" y="745"/>
                  </a:lnTo>
                  <a:lnTo>
                    <a:pt x="679" y="745"/>
                  </a:lnTo>
                  <a:lnTo>
                    <a:pt x="682" y="745"/>
                  </a:lnTo>
                  <a:lnTo>
                    <a:pt x="682" y="745"/>
                  </a:lnTo>
                  <a:lnTo>
                    <a:pt x="682" y="745"/>
                  </a:lnTo>
                  <a:lnTo>
                    <a:pt x="682" y="745"/>
                  </a:lnTo>
                  <a:lnTo>
                    <a:pt x="682" y="747"/>
                  </a:lnTo>
                  <a:lnTo>
                    <a:pt x="682" y="747"/>
                  </a:lnTo>
                  <a:lnTo>
                    <a:pt x="682" y="749"/>
                  </a:lnTo>
                  <a:lnTo>
                    <a:pt x="679" y="749"/>
                  </a:lnTo>
                  <a:lnTo>
                    <a:pt x="679" y="749"/>
                  </a:lnTo>
                  <a:lnTo>
                    <a:pt x="674" y="749"/>
                  </a:lnTo>
                  <a:lnTo>
                    <a:pt x="672" y="749"/>
                  </a:lnTo>
                  <a:lnTo>
                    <a:pt x="672" y="749"/>
                  </a:lnTo>
                  <a:lnTo>
                    <a:pt x="670" y="749"/>
                  </a:lnTo>
                  <a:lnTo>
                    <a:pt x="670" y="749"/>
                  </a:lnTo>
                  <a:lnTo>
                    <a:pt x="670" y="752"/>
                  </a:lnTo>
                  <a:lnTo>
                    <a:pt x="667" y="752"/>
                  </a:lnTo>
                  <a:lnTo>
                    <a:pt x="667" y="754"/>
                  </a:lnTo>
                  <a:lnTo>
                    <a:pt x="667" y="754"/>
                  </a:lnTo>
                  <a:lnTo>
                    <a:pt x="670" y="754"/>
                  </a:lnTo>
                  <a:lnTo>
                    <a:pt x="672" y="756"/>
                  </a:lnTo>
                  <a:lnTo>
                    <a:pt x="674" y="754"/>
                  </a:lnTo>
                  <a:lnTo>
                    <a:pt x="674" y="754"/>
                  </a:lnTo>
                  <a:lnTo>
                    <a:pt x="674" y="754"/>
                  </a:lnTo>
                  <a:lnTo>
                    <a:pt x="677" y="756"/>
                  </a:lnTo>
                  <a:lnTo>
                    <a:pt x="677" y="756"/>
                  </a:lnTo>
                  <a:lnTo>
                    <a:pt x="677" y="756"/>
                  </a:lnTo>
                  <a:lnTo>
                    <a:pt x="677" y="754"/>
                  </a:lnTo>
                  <a:lnTo>
                    <a:pt x="679" y="754"/>
                  </a:lnTo>
                  <a:lnTo>
                    <a:pt x="679" y="754"/>
                  </a:lnTo>
                  <a:lnTo>
                    <a:pt x="682" y="752"/>
                  </a:lnTo>
                  <a:lnTo>
                    <a:pt x="684" y="752"/>
                  </a:lnTo>
                  <a:lnTo>
                    <a:pt x="686" y="749"/>
                  </a:lnTo>
                  <a:lnTo>
                    <a:pt x="689" y="749"/>
                  </a:lnTo>
                  <a:lnTo>
                    <a:pt x="689" y="749"/>
                  </a:lnTo>
                  <a:lnTo>
                    <a:pt x="691" y="749"/>
                  </a:lnTo>
                  <a:lnTo>
                    <a:pt x="691" y="749"/>
                  </a:lnTo>
                  <a:lnTo>
                    <a:pt x="691" y="749"/>
                  </a:lnTo>
                  <a:lnTo>
                    <a:pt x="689" y="749"/>
                  </a:lnTo>
                  <a:lnTo>
                    <a:pt x="691" y="749"/>
                  </a:lnTo>
                  <a:lnTo>
                    <a:pt x="691" y="749"/>
                  </a:lnTo>
                  <a:lnTo>
                    <a:pt x="691" y="747"/>
                  </a:lnTo>
                  <a:lnTo>
                    <a:pt x="693" y="747"/>
                  </a:lnTo>
                  <a:lnTo>
                    <a:pt x="700" y="742"/>
                  </a:lnTo>
                  <a:lnTo>
                    <a:pt x="700" y="742"/>
                  </a:lnTo>
                  <a:lnTo>
                    <a:pt x="705" y="742"/>
                  </a:lnTo>
                  <a:lnTo>
                    <a:pt x="707" y="742"/>
                  </a:lnTo>
                  <a:lnTo>
                    <a:pt x="712" y="742"/>
                  </a:lnTo>
                  <a:lnTo>
                    <a:pt x="715" y="742"/>
                  </a:lnTo>
                  <a:lnTo>
                    <a:pt x="717" y="745"/>
                  </a:lnTo>
                  <a:lnTo>
                    <a:pt x="717" y="745"/>
                  </a:lnTo>
                  <a:lnTo>
                    <a:pt x="722" y="745"/>
                  </a:lnTo>
                  <a:lnTo>
                    <a:pt x="724" y="745"/>
                  </a:lnTo>
                  <a:lnTo>
                    <a:pt x="722" y="745"/>
                  </a:lnTo>
                  <a:lnTo>
                    <a:pt x="719" y="742"/>
                  </a:lnTo>
                  <a:lnTo>
                    <a:pt x="719" y="742"/>
                  </a:lnTo>
                  <a:lnTo>
                    <a:pt x="717" y="742"/>
                  </a:lnTo>
                  <a:lnTo>
                    <a:pt x="717" y="742"/>
                  </a:lnTo>
                  <a:lnTo>
                    <a:pt x="719" y="742"/>
                  </a:lnTo>
                  <a:lnTo>
                    <a:pt x="719" y="742"/>
                  </a:lnTo>
                  <a:lnTo>
                    <a:pt x="719" y="740"/>
                  </a:lnTo>
                  <a:lnTo>
                    <a:pt x="722" y="740"/>
                  </a:lnTo>
                  <a:lnTo>
                    <a:pt x="722" y="740"/>
                  </a:lnTo>
                  <a:lnTo>
                    <a:pt x="724" y="740"/>
                  </a:lnTo>
                  <a:lnTo>
                    <a:pt x="729" y="737"/>
                  </a:lnTo>
                  <a:lnTo>
                    <a:pt x="731" y="737"/>
                  </a:lnTo>
                  <a:lnTo>
                    <a:pt x="731" y="737"/>
                  </a:lnTo>
                  <a:lnTo>
                    <a:pt x="733" y="737"/>
                  </a:lnTo>
                  <a:lnTo>
                    <a:pt x="733" y="737"/>
                  </a:lnTo>
                  <a:lnTo>
                    <a:pt x="738" y="737"/>
                  </a:lnTo>
                  <a:lnTo>
                    <a:pt x="740" y="737"/>
                  </a:lnTo>
                  <a:lnTo>
                    <a:pt x="740" y="737"/>
                  </a:lnTo>
                  <a:lnTo>
                    <a:pt x="743" y="737"/>
                  </a:lnTo>
                  <a:lnTo>
                    <a:pt x="743" y="737"/>
                  </a:lnTo>
                  <a:lnTo>
                    <a:pt x="745" y="737"/>
                  </a:lnTo>
                  <a:lnTo>
                    <a:pt x="745" y="737"/>
                  </a:lnTo>
                  <a:lnTo>
                    <a:pt x="745" y="735"/>
                  </a:lnTo>
                  <a:lnTo>
                    <a:pt x="745" y="735"/>
                  </a:lnTo>
                  <a:lnTo>
                    <a:pt x="745" y="735"/>
                  </a:lnTo>
                  <a:lnTo>
                    <a:pt x="745" y="735"/>
                  </a:lnTo>
                  <a:lnTo>
                    <a:pt x="745" y="733"/>
                  </a:lnTo>
                  <a:lnTo>
                    <a:pt x="745" y="733"/>
                  </a:lnTo>
                  <a:lnTo>
                    <a:pt x="745" y="733"/>
                  </a:lnTo>
                  <a:lnTo>
                    <a:pt x="748" y="728"/>
                  </a:lnTo>
                  <a:lnTo>
                    <a:pt x="748" y="728"/>
                  </a:lnTo>
                  <a:lnTo>
                    <a:pt x="743" y="730"/>
                  </a:lnTo>
                  <a:lnTo>
                    <a:pt x="743" y="730"/>
                  </a:lnTo>
                  <a:lnTo>
                    <a:pt x="740" y="730"/>
                  </a:lnTo>
                  <a:lnTo>
                    <a:pt x="740" y="730"/>
                  </a:lnTo>
                  <a:lnTo>
                    <a:pt x="738" y="730"/>
                  </a:lnTo>
                  <a:lnTo>
                    <a:pt x="736" y="730"/>
                  </a:lnTo>
                  <a:lnTo>
                    <a:pt x="736" y="730"/>
                  </a:lnTo>
                  <a:lnTo>
                    <a:pt x="736" y="728"/>
                  </a:lnTo>
                  <a:lnTo>
                    <a:pt x="736" y="728"/>
                  </a:lnTo>
                  <a:lnTo>
                    <a:pt x="738" y="726"/>
                  </a:lnTo>
                  <a:lnTo>
                    <a:pt x="738" y="723"/>
                  </a:lnTo>
                  <a:lnTo>
                    <a:pt x="740" y="723"/>
                  </a:lnTo>
                  <a:lnTo>
                    <a:pt x="740" y="723"/>
                  </a:lnTo>
                  <a:lnTo>
                    <a:pt x="743" y="723"/>
                  </a:lnTo>
                  <a:lnTo>
                    <a:pt x="743" y="721"/>
                  </a:lnTo>
                  <a:lnTo>
                    <a:pt x="743" y="721"/>
                  </a:lnTo>
                  <a:lnTo>
                    <a:pt x="743" y="721"/>
                  </a:lnTo>
                  <a:lnTo>
                    <a:pt x="745" y="721"/>
                  </a:lnTo>
                  <a:lnTo>
                    <a:pt x="750" y="719"/>
                  </a:lnTo>
                  <a:lnTo>
                    <a:pt x="752" y="719"/>
                  </a:lnTo>
                  <a:lnTo>
                    <a:pt x="752" y="719"/>
                  </a:lnTo>
                  <a:lnTo>
                    <a:pt x="757" y="716"/>
                  </a:lnTo>
                  <a:lnTo>
                    <a:pt x="759" y="716"/>
                  </a:lnTo>
                  <a:lnTo>
                    <a:pt x="759" y="716"/>
                  </a:lnTo>
                  <a:lnTo>
                    <a:pt x="762" y="716"/>
                  </a:lnTo>
                  <a:lnTo>
                    <a:pt x="762" y="716"/>
                  </a:lnTo>
                  <a:lnTo>
                    <a:pt x="764" y="716"/>
                  </a:lnTo>
                  <a:lnTo>
                    <a:pt x="766" y="716"/>
                  </a:lnTo>
                  <a:lnTo>
                    <a:pt x="771" y="714"/>
                  </a:lnTo>
                  <a:lnTo>
                    <a:pt x="773" y="714"/>
                  </a:lnTo>
                  <a:lnTo>
                    <a:pt x="773" y="714"/>
                  </a:lnTo>
                  <a:lnTo>
                    <a:pt x="776" y="714"/>
                  </a:lnTo>
                  <a:lnTo>
                    <a:pt x="776" y="714"/>
                  </a:lnTo>
                  <a:lnTo>
                    <a:pt x="776" y="714"/>
                  </a:lnTo>
                  <a:lnTo>
                    <a:pt x="778" y="714"/>
                  </a:lnTo>
                  <a:lnTo>
                    <a:pt x="778" y="714"/>
                  </a:lnTo>
                  <a:lnTo>
                    <a:pt x="778" y="714"/>
                  </a:lnTo>
                  <a:lnTo>
                    <a:pt x="778" y="714"/>
                  </a:lnTo>
                  <a:lnTo>
                    <a:pt x="778" y="714"/>
                  </a:lnTo>
                  <a:lnTo>
                    <a:pt x="778" y="716"/>
                  </a:lnTo>
                  <a:lnTo>
                    <a:pt x="781" y="716"/>
                  </a:lnTo>
                  <a:lnTo>
                    <a:pt x="781" y="716"/>
                  </a:lnTo>
                  <a:lnTo>
                    <a:pt x="783" y="716"/>
                  </a:lnTo>
                  <a:lnTo>
                    <a:pt x="783" y="716"/>
                  </a:lnTo>
                  <a:lnTo>
                    <a:pt x="781" y="716"/>
                  </a:lnTo>
                  <a:lnTo>
                    <a:pt x="781" y="716"/>
                  </a:lnTo>
                  <a:lnTo>
                    <a:pt x="783" y="716"/>
                  </a:lnTo>
                  <a:lnTo>
                    <a:pt x="783" y="716"/>
                  </a:lnTo>
                  <a:lnTo>
                    <a:pt x="783" y="716"/>
                  </a:lnTo>
                  <a:lnTo>
                    <a:pt x="783" y="716"/>
                  </a:lnTo>
                  <a:lnTo>
                    <a:pt x="783" y="716"/>
                  </a:lnTo>
                  <a:lnTo>
                    <a:pt x="783" y="716"/>
                  </a:lnTo>
                  <a:lnTo>
                    <a:pt x="783" y="716"/>
                  </a:lnTo>
                  <a:lnTo>
                    <a:pt x="785" y="716"/>
                  </a:lnTo>
                  <a:lnTo>
                    <a:pt x="788" y="716"/>
                  </a:lnTo>
                  <a:lnTo>
                    <a:pt x="790" y="716"/>
                  </a:lnTo>
                  <a:lnTo>
                    <a:pt x="790" y="716"/>
                  </a:lnTo>
                  <a:lnTo>
                    <a:pt x="788" y="716"/>
                  </a:lnTo>
                  <a:lnTo>
                    <a:pt x="788" y="716"/>
                  </a:lnTo>
                  <a:lnTo>
                    <a:pt x="785" y="716"/>
                  </a:lnTo>
                  <a:lnTo>
                    <a:pt x="785" y="716"/>
                  </a:lnTo>
                  <a:lnTo>
                    <a:pt x="788" y="714"/>
                  </a:lnTo>
                  <a:lnTo>
                    <a:pt x="788" y="714"/>
                  </a:lnTo>
                  <a:lnTo>
                    <a:pt x="790" y="714"/>
                  </a:lnTo>
                  <a:lnTo>
                    <a:pt x="790" y="711"/>
                  </a:lnTo>
                  <a:lnTo>
                    <a:pt x="790" y="711"/>
                  </a:lnTo>
                  <a:lnTo>
                    <a:pt x="788" y="714"/>
                  </a:lnTo>
                  <a:lnTo>
                    <a:pt x="788" y="714"/>
                  </a:lnTo>
                  <a:lnTo>
                    <a:pt x="785" y="714"/>
                  </a:lnTo>
                  <a:lnTo>
                    <a:pt x="785" y="714"/>
                  </a:lnTo>
                  <a:lnTo>
                    <a:pt x="788" y="711"/>
                  </a:lnTo>
                  <a:lnTo>
                    <a:pt x="788" y="711"/>
                  </a:lnTo>
                  <a:lnTo>
                    <a:pt x="783" y="711"/>
                  </a:lnTo>
                  <a:lnTo>
                    <a:pt x="783" y="711"/>
                  </a:lnTo>
                  <a:lnTo>
                    <a:pt x="783" y="711"/>
                  </a:lnTo>
                  <a:lnTo>
                    <a:pt x="783" y="711"/>
                  </a:lnTo>
                  <a:lnTo>
                    <a:pt x="783" y="711"/>
                  </a:lnTo>
                  <a:lnTo>
                    <a:pt x="783" y="711"/>
                  </a:lnTo>
                  <a:lnTo>
                    <a:pt x="783" y="711"/>
                  </a:lnTo>
                  <a:lnTo>
                    <a:pt x="783" y="711"/>
                  </a:lnTo>
                  <a:lnTo>
                    <a:pt x="783" y="711"/>
                  </a:lnTo>
                  <a:lnTo>
                    <a:pt x="783" y="711"/>
                  </a:lnTo>
                  <a:lnTo>
                    <a:pt x="783" y="711"/>
                  </a:lnTo>
                  <a:lnTo>
                    <a:pt x="781" y="711"/>
                  </a:lnTo>
                  <a:lnTo>
                    <a:pt x="778" y="714"/>
                  </a:lnTo>
                  <a:lnTo>
                    <a:pt x="778" y="711"/>
                  </a:lnTo>
                  <a:lnTo>
                    <a:pt x="778" y="711"/>
                  </a:lnTo>
                  <a:lnTo>
                    <a:pt x="783" y="711"/>
                  </a:lnTo>
                  <a:lnTo>
                    <a:pt x="783" y="711"/>
                  </a:lnTo>
                  <a:lnTo>
                    <a:pt x="785" y="711"/>
                  </a:lnTo>
                  <a:lnTo>
                    <a:pt x="785" y="711"/>
                  </a:lnTo>
                  <a:lnTo>
                    <a:pt x="785" y="711"/>
                  </a:lnTo>
                  <a:lnTo>
                    <a:pt x="785" y="711"/>
                  </a:lnTo>
                  <a:lnTo>
                    <a:pt x="785" y="711"/>
                  </a:lnTo>
                  <a:lnTo>
                    <a:pt x="788" y="709"/>
                  </a:lnTo>
                  <a:lnTo>
                    <a:pt x="788" y="711"/>
                  </a:lnTo>
                  <a:lnTo>
                    <a:pt x="788" y="711"/>
                  </a:lnTo>
                  <a:lnTo>
                    <a:pt x="788" y="711"/>
                  </a:lnTo>
                  <a:lnTo>
                    <a:pt x="790" y="711"/>
                  </a:lnTo>
                  <a:lnTo>
                    <a:pt x="790" y="711"/>
                  </a:lnTo>
                  <a:lnTo>
                    <a:pt x="790" y="711"/>
                  </a:lnTo>
                  <a:lnTo>
                    <a:pt x="788" y="711"/>
                  </a:lnTo>
                  <a:lnTo>
                    <a:pt x="788" y="711"/>
                  </a:lnTo>
                  <a:lnTo>
                    <a:pt x="788" y="711"/>
                  </a:lnTo>
                  <a:lnTo>
                    <a:pt x="788" y="714"/>
                  </a:lnTo>
                  <a:lnTo>
                    <a:pt x="788" y="714"/>
                  </a:lnTo>
                  <a:lnTo>
                    <a:pt x="792" y="711"/>
                  </a:lnTo>
                  <a:lnTo>
                    <a:pt x="795" y="709"/>
                  </a:lnTo>
                  <a:lnTo>
                    <a:pt x="797" y="709"/>
                  </a:lnTo>
                  <a:lnTo>
                    <a:pt x="797" y="709"/>
                  </a:lnTo>
                  <a:lnTo>
                    <a:pt x="799" y="709"/>
                  </a:lnTo>
                  <a:lnTo>
                    <a:pt x="802" y="709"/>
                  </a:lnTo>
                  <a:lnTo>
                    <a:pt x="806" y="707"/>
                  </a:lnTo>
                  <a:lnTo>
                    <a:pt x="809" y="707"/>
                  </a:lnTo>
                  <a:lnTo>
                    <a:pt x="811" y="704"/>
                  </a:lnTo>
                  <a:lnTo>
                    <a:pt x="811" y="704"/>
                  </a:lnTo>
                  <a:lnTo>
                    <a:pt x="811" y="704"/>
                  </a:lnTo>
                  <a:lnTo>
                    <a:pt x="811" y="704"/>
                  </a:lnTo>
                  <a:lnTo>
                    <a:pt x="821" y="700"/>
                  </a:lnTo>
                  <a:lnTo>
                    <a:pt x="825" y="695"/>
                  </a:lnTo>
                  <a:lnTo>
                    <a:pt x="830" y="695"/>
                  </a:lnTo>
                  <a:lnTo>
                    <a:pt x="832" y="693"/>
                  </a:lnTo>
                  <a:lnTo>
                    <a:pt x="832" y="695"/>
                  </a:lnTo>
                  <a:lnTo>
                    <a:pt x="835" y="693"/>
                  </a:lnTo>
                  <a:lnTo>
                    <a:pt x="842" y="688"/>
                  </a:lnTo>
                  <a:lnTo>
                    <a:pt x="847" y="685"/>
                  </a:lnTo>
                  <a:lnTo>
                    <a:pt x="849" y="685"/>
                  </a:lnTo>
                  <a:lnTo>
                    <a:pt x="849" y="683"/>
                  </a:lnTo>
                  <a:lnTo>
                    <a:pt x="847" y="683"/>
                  </a:lnTo>
                  <a:lnTo>
                    <a:pt x="844" y="681"/>
                  </a:lnTo>
                  <a:lnTo>
                    <a:pt x="849" y="683"/>
                  </a:lnTo>
                  <a:lnTo>
                    <a:pt x="854" y="681"/>
                  </a:lnTo>
                  <a:lnTo>
                    <a:pt x="856" y="678"/>
                  </a:lnTo>
                  <a:lnTo>
                    <a:pt x="856" y="678"/>
                  </a:lnTo>
                  <a:lnTo>
                    <a:pt x="861" y="676"/>
                  </a:lnTo>
                  <a:lnTo>
                    <a:pt x="865" y="674"/>
                  </a:lnTo>
                  <a:lnTo>
                    <a:pt x="868" y="671"/>
                  </a:lnTo>
                  <a:lnTo>
                    <a:pt x="870" y="671"/>
                  </a:lnTo>
                  <a:lnTo>
                    <a:pt x="872" y="669"/>
                  </a:lnTo>
                  <a:lnTo>
                    <a:pt x="872" y="667"/>
                  </a:lnTo>
                  <a:lnTo>
                    <a:pt x="875" y="667"/>
                  </a:lnTo>
                  <a:lnTo>
                    <a:pt x="880" y="667"/>
                  </a:lnTo>
                  <a:lnTo>
                    <a:pt x="887" y="662"/>
                  </a:lnTo>
                  <a:lnTo>
                    <a:pt x="889" y="659"/>
                  </a:lnTo>
                  <a:lnTo>
                    <a:pt x="891" y="659"/>
                  </a:lnTo>
                  <a:lnTo>
                    <a:pt x="896" y="657"/>
                  </a:lnTo>
                  <a:lnTo>
                    <a:pt x="898" y="657"/>
                  </a:lnTo>
                  <a:lnTo>
                    <a:pt x="901" y="657"/>
                  </a:lnTo>
                  <a:lnTo>
                    <a:pt x="905" y="655"/>
                  </a:lnTo>
                  <a:lnTo>
                    <a:pt x="910" y="652"/>
                  </a:lnTo>
                  <a:lnTo>
                    <a:pt x="913" y="650"/>
                  </a:lnTo>
                  <a:lnTo>
                    <a:pt x="920" y="648"/>
                  </a:lnTo>
                  <a:lnTo>
                    <a:pt x="924" y="643"/>
                  </a:lnTo>
                  <a:lnTo>
                    <a:pt x="929" y="641"/>
                  </a:lnTo>
                  <a:lnTo>
                    <a:pt x="936" y="636"/>
                  </a:lnTo>
                  <a:lnTo>
                    <a:pt x="938" y="633"/>
                  </a:lnTo>
                  <a:lnTo>
                    <a:pt x="941" y="631"/>
                  </a:lnTo>
                  <a:lnTo>
                    <a:pt x="943" y="629"/>
                  </a:lnTo>
                  <a:lnTo>
                    <a:pt x="941" y="626"/>
                  </a:lnTo>
                  <a:lnTo>
                    <a:pt x="941" y="626"/>
                  </a:lnTo>
                  <a:lnTo>
                    <a:pt x="936" y="626"/>
                  </a:lnTo>
                  <a:lnTo>
                    <a:pt x="931" y="624"/>
                  </a:lnTo>
                  <a:lnTo>
                    <a:pt x="929" y="624"/>
                  </a:lnTo>
                  <a:lnTo>
                    <a:pt x="927" y="624"/>
                  </a:lnTo>
                  <a:lnTo>
                    <a:pt x="927" y="622"/>
                  </a:lnTo>
                  <a:lnTo>
                    <a:pt x="924" y="622"/>
                  </a:lnTo>
                  <a:lnTo>
                    <a:pt x="934" y="624"/>
                  </a:lnTo>
                  <a:lnTo>
                    <a:pt x="938" y="624"/>
                  </a:lnTo>
                  <a:lnTo>
                    <a:pt x="941" y="624"/>
                  </a:lnTo>
                  <a:lnTo>
                    <a:pt x="941" y="626"/>
                  </a:lnTo>
                  <a:lnTo>
                    <a:pt x="943" y="626"/>
                  </a:lnTo>
                  <a:lnTo>
                    <a:pt x="946" y="626"/>
                  </a:lnTo>
                  <a:lnTo>
                    <a:pt x="948" y="626"/>
                  </a:lnTo>
                  <a:lnTo>
                    <a:pt x="950" y="622"/>
                  </a:lnTo>
                  <a:lnTo>
                    <a:pt x="955" y="619"/>
                  </a:lnTo>
                  <a:lnTo>
                    <a:pt x="962" y="614"/>
                  </a:lnTo>
                  <a:lnTo>
                    <a:pt x="967" y="612"/>
                  </a:lnTo>
                  <a:lnTo>
                    <a:pt x="969" y="610"/>
                  </a:lnTo>
                  <a:lnTo>
                    <a:pt x="971" y="610"/>
                  </a:lnTo>
                  <a:lnTo>
                    <a:pt x="974" y="607"/>
                  </a:lnTo>
                  <a:lnTo>
                    <a:pt x="974" y="607"/>
                  </a:lnTo>
                  <a:lnTo>
                    <a:pt x="976" y="607"/>
                  </a:lnTo>
                  <a:lnTo>
                    <a:pt x="976" y="605"/>
                  </a:lnTo>
                  <a:lnTo>
                    <a:pt x="981" y="605"/>
                  </a:lnTo>
                  <a:lnTo>
                    <a:pt x="988" y="603"/>
                  </a:lnTo>
                  <a:lnTo>
                    <a:pt x="990" y="603"/>
                  </a:lnTo>
                  <a:lnTo>
                    <a:pt x="993" y="603"/>
                  </a:lnTo>
                  <a:lnTo>
                    <a:pt x="995" y="600"/>
                  </a:lnTo>
                  <a:lnTo>
                    <a:pt x="997" y="598"/>
                  </a:lnTo>
                  <a:lnTo>
                    <a:pt x="1004" y="588"/>
                  </a:lnTo>
                  <a:lnTo>
                    <a:pt x="1009" y="588"/>
                  </a:lnTo>
                  <a:lnTo>
                    <a:pt x="1012" y="586"/>
                  </a:lnTo>
                  <a:lnTo>
                    <a:pt x="1012" y="586"/>
                  </a:lnTo>
                  <a:lnTo>
                    <a:pt x="1014" y="586"/>
                  </a:lnTo>
                  <a:lnTo>
                    <a:pt x="1016" y="584"/>
                  </a:lnTo>
                  <a:lnTo>
                    <a:pt x="1016" y="586"/>
                  </a:lnTo>
                  <a:lnTo>
                    <a:pt x="1019" y="584"/>
                  </a:lnTo>
                  <a:lnTo>
                    <a:pt x="1019" y="586"/>
                  </a:lnTo>
                  <a:lnTo>
                    <a:pt x="1023" y="584"/>
                  </a:lnTo>
                  <a:lnTo>
                    <a:pt x="1026" y="584"/>
                  </a:lnTo>
                  <a:lnTo>
                    <a:pt x="1035" y="584"/>
                  </a:lnTo>
                  <a:lnTo>
                    <a:pt x="1035" y="584"/>
                  </a:lnTo>
                  <a:lnTo>
                    <a:pt x="1040" y="584"/>
                  </a:lnTo>
                  <a:lnTo>
                    <a:pt x="1047" y="584"/>
                  </a:lnTo>
                  <a:lnTo>
                    <a:pt x="1052" y="584"/>
                  </a:lnTo>
                  <a:lnTo>
                    <a:pt x="1054" y="584"/>
                  </a:lnTo>
                  <a:lnTo>
                    <a:pt x="1056" y="584"/>
                  </a:lnTo>
                  <a:lnTo>
                    <a:pt x="1059" y="584"/>
                  </a:lnTo>
                  <a:lnTo>
                    <a:pt x="1061" y="584"/>
                  </a:lnTo>
                  <a:lnTo>
                    <a:pt x="1066" y="584"/>
                  </a:lnTo>
                  <a:lnTo>
                    <a:pt x="1068" y="584"/>
                  </a:lnTo>
                  <a:lnTo>
                    <a:pt x="1070" y="584"/>
                  </a:lnTo>
                  <a:lnTo>
                    <a:pt x="1073" y="584"/>
                  </a:lnTo>
                  <a:lnTo>
                    <a:pt x="1075" y="584"/>
                  </a:lnTo>
                  <a:lnTo>
                    <a:pt x="1077" y="584"/>
                  </a:lnTo>
                  <a:lnTo>
                    <a:pt x="1080" y="584"/>
                  </a:lnTo>
                  <a:lnTo>
                    <a:pt x="1085" y="584"/>
                  </a:lnTo>
                  <a:lnTo>
                    <a:pt x="1087" y="584"/>
                  </a:lnTo>
                  <a:lnTo>
                    <a:pt x="1089" y="586"/>
                  </a:lnTo>
                  <a:lnTo>
                    <a:pt x="1089" y="586"/>
                  </a:lnTo>
                  <a:lnTo>
                    <a:pt x="1096" y="586"/>
                  </a:lnTo>
                  <a:lnTo>
                    <a:pt x="1099" y="586"/>
                  </a:lnTo>
                  <a:lnTo>
                    <a:pt x="1103" y="586"/>
                  </a:lnTo>
                  <a:lnTo>
                    <a:pt x="1106" y="584"/>
                  </a:lnTo>
                  <a:lnTo>
                    <a:pt x="1108" y="584"/>
                  </a:lnTo>
                  <a:lnTo>
                    <a:pt x="1110" y="584"/>
                  </a:lnTo>
                  <a:lnTo>
                    <a:pt x="1118" y="584"/>
                  </a:lnTo>
                  <a:close/>
                  <a:moveTo>
                    <a:pt x="851" y="683"/>
                  </a:moveTo>
                  <a:lnTo>
                    <a:pt x="851" y="683"/>
                  </a:lnTo>
                  <a:lnTo>
                    <a:pt x="854" y="683"/>
                  </a:lnTo>
                  <a:lnTo>
                    <a:pt x="856" y="683"/>
                  </a:lnTo>
                  <a:lnTo>
                    <a:pt x="858" y="683"/>
                  </a:lnTo>
                  <a:lnTo>
                    <a:pt x="858" y="683"/>
                  </a:lnTo>
                  <a:lnTo>
                    <a:pt x="858" y="681"/>
                  </a:lnTo>
                  <a:lnTo>
                    <a:pt x="861" y="678"/>
                  </a:lnTo>
                  <a:lnTo>
                    <a:pt x="861" y="678"/>
                  </a:lnTo>
                  <a:lnTo>
                    <a:pt x="856" y="681"/>
                  </a:lnTo>
                  <a:lnTo>
                    <a:pt x="854" y="681"/>
                  </a:lnTo>
                  <a:lnTo>
                    <a:pt x="851" y="683"/>
                  </a:lnTo>
                  <a:close/>
                  <a:moveTo>
                    <a:pt x="910" y="652"/>
                  </a:moveTo>
                  <a:lnTo>
                    <a:pt x="910" y="655"/>
                  </a:lnTo>
                  <a:lnTo>
                    <a:pt x="910" y="655"/>
                  </a:lnTo>
                  <a:lnTo>
                    <a:pt x="913" y="652"/>
                  </a:lnTo>
                  <a:lnTo>
                    <a:pt x="915" y="652"/>
                  </a:lnTo>
                  <a:lnTo>
                    <a:pt x="915" y="652"/>
                  </a:lnTo>
                  <a:lnTo>
                    <a:pt x="913" y="652"/>
                  </a:lnTo>
                  <a:lnTo>
                    <a:pt x="910" y="652"/>
                  </a:lnTo>
                  <a:close/>
                  <a:moveTo>
                    <a:pt x="839" y="693"/>
                  </a:moveTo>
                  <a:lnTo>
                    <a:pt x="854" y="693"/>
                  </a:lnTo>
                  <a:lnTo>
                    <a:pt x="861" y="693"/>
                  </a:lnTo>
                  <a:lnTo>
                    <a:pt x="868" y="693"/>
                  </a:lnTo>
                  <a:lnTo>
                    <a:pt x="872" y="693"/>
                  </a:lnTo>
                  <a:lnTo>
                    <a:pt x="880" y="693"/>
                  </a:lnTo>
                  <a:lnTo>
                    <a:pt x="887" y="693"/>
                  </a:lnTo>
                  <a:lnTo>
                    <a:pt x="891" y="688"/>
                  </a:lnTo>
                  <a:lnTo>
                    <a:pt x="894" y="685"/>
                  </a:lnTo>
                  <a:lnTo>
                    <a:pt x="894" y="688"/>
                  </a:lnTo>
                  <a:lnTo>
                    <a:pt x="896" y="688"/>
                  </a:lnTo>
                  <a:lnTo>
                    <a:pt x="898" y="685"/>
                  </a:lnTo>
                  <a:lnTo>
                    <a:pt x="898" y="685"/>
                  </a:lnTo>
                  <a:lnTo>
                    <a:pt x="898" y="685"/>
                  </a:lnTo>
                  <a:lnTo>
                    <a:pt x="901" y="685"/>
                  </a:lnTo>
                  <a:lnTo>
                    <a:pt x="901" y="688"/>
                  </a:lnTo>
                  <a:lnTo>
                    <a:pt x="901" y="688"/>
                  </a:lnTo>
                  <a:lnTo>
                    <a:pt x="901" y="685"/>
                  </a:lnTo>
                  <a:lnTo>
                    <a:pt x="901" y="685"/>
                  </a:lnTo>
                  <a:lnTo>
                    <a:pt x="903" y="683"/>
                  </a:lnTo>
                  <a:lnTo>
                    <a:pt x="903" y="683"/>
                  </a:lnTo>
                  <a:lnTo>
                    <a:pt x="903" y="683"/>
                  </a:lnTo>
                  <a:lnTo>
                    <a:pt x="905" y="683"/>
                  </a:lnTo>
                  <a:lnTo>
                    <a:pt x="905" y="683"/>
                  </a:lnTo>
                  <a:lnTo>
                    <a:pt x="905" y="683"/>
                  </a:lnTo>
                  <a:lnTo>
                    <a:pt x="905" y="681"/>
                  </a:lnTo>
                  <a:lnTo>
                    <a:pt x="908" y="678"/>
                  </a:lnTo>
                  <a:lnTo>
                    <a:pt x="910" y="678"/>
                  </a:lnTo>
                  <a:lnTo>
                    <a:pt x="913" y="676"/>
                  </a:lnTo>
                  <a:lnTo>
                    <a:pt x="913" y="676"/>
                  </a:lnTo>
                  <a:lnTo>
                    <a:pt x="915" y="674"/>
                  </a:lnTo>
                  <a:lnTo>
                    <a:pt x="915" y="674"/>
                  </a:lnTo>
                  <a:lnTo>
                    <a:pt x="915" y="674"/>
                  </a:lnTo>
                  <a:lnTo>
                    <a:pt x="915" y="671"/>
                  </a:lnTo>
                  <a:lnTo>
                    <a:pt x="917" y="671"/>
                  </a:lnTo>
                  <a:lnTo>
                    <a:pt x="917" y="669"/>
                  </a:lnTo>
                  <a:lnTo>
                    <a:pt x="920" y="667"/>
                  </a:lnTo>
                  <a:lnTo>
                    <a:pt x="920" y="664"/>
                  </a:lnTo>
                  <a:lnTo>
                    <a:pt x="924" y="662"/>
                  </a:lnTo>
                  <a:lnTo>
                    <a:pt x="924" y="659"/>
                  </a:lnTo>
                  <a:lnTo>
                    <a:pt x="927" y="657"/>
                  </a:lnTo>
                  <a:lnTo>
                    <a:pt x="929" y="655"/>
                  </a:lnTo>
                  <a:lnTo>
                    <a:pt x="934" y="652"/>
                  </a:lnTo>
                  <a:lnTo>
                    <a:pt x="936" y="650"/>
                  </a:lnTo>
                  <a:lnTo>
                    <a:pt x="941" y="645"/>
                  </a:lnTo>
                  <a:lnTo>
                    <a:pt x="943" y="643"/>
                  </a:lnTo>
                  <a:lnTo>
                    <a:pt x="943" y="643"/>
                  </a:lnTo>
                  <a:lnTo>
                    <a:pt x="946" y="641"/>
                  </a:lnTo>
                  <a:lnTo>
                    <a:pt x="948" y="643"/>
                  </a:lnTo>
                  <a:lnTo>
                    <a:pt x="948" y="643"/>
                  </a:lnTo>
                  <a:lnTo>
                    <a:pt x="948" y="645"/>
                  </a:lnTo>
                  <a:lnTo>
                    <a:pt x="948" y="645"/>
                  </a:lnTo>
                  <a:lnTo>
                    <a:pt x="948" y="645"/>
                  </a:lnTo>
                  <a:lnTo>
                    <a:pt x="948" y="648"/>
                  </a:lnTo>
                  <a:lnTo>
                    <a:pt x="948" y="648"/>
                  </a:lnTo>
                  <a:lnTo>
                    <a:pt x="950" y="648"/>
                  </a:lnTo>
                  <a:lnTo>
                    <a:pt x="953" y="645"/>
                  </a:lnTo>
                  <a:lnTo>
                    <a:pt x="957" y="645"/>
                  </a:lnTo>
                  <a:lnTo>
                    <a:pt x="957" y="645"/>
                  </a:lnTo>
                  <a:lnTo>
                    <a:pt x="960" y="643"/>
                  </a:lnTo>
                  <a:lnTo>
                    <a:pt x="960" y="643"/>
                  </a:lnTo>
                  <a:lnTo>
                    <a:pt x="962" y="643"/>
                  </a:lnTo>
                  <a:lnTo>
                    <a:pt x="962" y="645"/>
                  </a:lnTo>
                  <a:lnTo>
                    <a:pt x="964" y="648"/>
                  </a:lnTo>
                  <a:lnTo>
                    <a:pt x="967" y="650"/>
                  </a:lnTo>
                  <a:lnTo>
                    <a:pt x="964" y="652"/>
                  </a:lnTo>
                  <a:lnTo>
                    <a:pt x="964" y="655"/>
                  </a:lnTo>
                  <a:lnTo>
                    <a:pt x="962" y="659"/>
                  </a:lnTo>
                  <a:lnTo>
                    <a:pt x="962" y="662"/>
                  </a:lnTo>
                  <a:lnTo>
                    <a:pt x="960" y="664"/>
                  </a:lnTo>
                  <a:lnTo>
                    <a:pt x="960" y="667"/>
                  </a:lnTo>
                  <a:lnTo>
                    <a:pt x="957" y="671"/>
                  </a:lnTo>
                  <a:lnTo>
                    <a:pt x="957" y="674"/>
                  </a:lnTo>
                  <a:lnTo>
                    <a:pt x="957" y="674"/>
                  </a:lnTo>
                  <a:lnTo>
                    <a:pt x="957" y="674"/>
                  </a:lnTo>
                  <a:lnTo>
                    <a:pt x="957" y="674"/>
                  </a:lnTo>
                  <a:lnTo>
                    <a:pt x="957" y="674"/>
                  </a:lnTo>
                  <a:lnTo>
                    <a:pt x="957" y="676"/>
                  </a:lnTo>
                  <a:lnTo>
                    <a:pt x="957" y="676"/>
                  </a:lnTo>
                  <a:lnTo>
                    <a:pt x="955" y="676"/>
                  </a:lnTo>
                  <a:lnTo>
                    <a:pt x="955" y="676"/>
                  </a:lnTo>
                  <a:lnTo>
                    <a:pt x="955" y="678"/>
                  </a:lnTo>
                  <a:lnTo>
                    <a:pt x="955" y="678"/>
                  </a:lnTo>
                  <a:lnTo>
                    <a:pt x="955" y="678"/>
                  </a:lnTo>
                  <a:lnTo>
                    <a:pt x="955" y="678"/>
                  </a:lnTo>
                  <a:lnTo>
                    <a:pt x="957" y="678"/>
                  </a:lnTo>
                  <a:lnTo>
                    <a:pt x="957" y="678"/>
                  </a:lnTo>
                  <a:lnTo>
                    <a:pt x="957" y="681"/>
                  </a:lnTo>
                  <a:lnTo>
                    <a:pt x="960" y="681"/>
                  </a:lnTo>
                  <a:lnTo>
                    <a:pt x="960" y="681"/>
                  </a:lnTo>
                  <a:lnTo>
                    <a:pt x="960" y="681"/>
                  </a:lnTo>
                  <a:lnTo>
                    <a:pt x="960" y="681"/>
                  </a:lnTo>
                  <a:lnTo>
                    <a:pt x="960" y="681"/>
                  </a:lnTo>
                  <a:lnTo>
                    <a:pt x="960" y="681"/>
                  </a:lnTo>
                  <a:lnTo>
                    <a:pt x="957" y="683"/>
                  </a:lnTo>
                  <a:lnTo>
                    <a:pt x="957" y="683"/>
                  </a:lnTo>
                  <a:lnTo>
                    <a:pt x="957" y="683"/>
                  </a:lnTo>
                  <a:lnTo>
                    <a:pt x="957" y="683"/>
                  </a:lnTo>
                  <a:lnTo>
                    <a:pt x="957" y="685"/>
                  </a:lnTo>
                  <a:lnTo>
                    <a:pt x="957" y="685"/>
                  </a:lnTo>
                  <a:lnTo>
                    <a:pt x="957" y="685"/>
                  </a:lnTo>
                  <a:lnTo>
                    <a:pt x="957" y="688"/>
                  </a:lnTo>
                  <a:lnTo>
                    <a:pt x="957" y="688"/>
                  </a:lnTo>
                  <a:lnTo>
                    <a:pt x="957" y="688"/>
                  </a:lnTo>
                  <a:lnTo>
                    <a:pt x="957" y="688"/>
                  </a:lnTo>
                  <a:lnTo>
                    <a:pt x="960" y="690"/>
                  </a:lnTo>
                  <a:lnTo>
                    <a:pt x="960" y="688"/>
                  </a:lnTo>
                  <a:lnTo>
                    <a:pt x="960" y="688"/>
                  </a:lnTo>
                  <a:lnTo>
                    <a:pt x="960" y="688"/>
                  </a:lnTo>
                  <a:lnTo>
                    <a:pt x="960" y="688"/>
                  </a:lnTo>
                  <a:lnTo>
                    <a:pt x="962" y="688"/>
                  </a:lnTo>
                  <a:lnTo>
                    <a:pt x="962" y="688"/>
                  </a:lnTo>
                  <a:lnTo>
                    <a:pt x="962" y="690"/>
                  </a:lnTo>
                  <a:lnTo>
                    <a:pt x="964" y="690"/>
                  </a:lnTo>
                  <a:lnTo>
                    <a:pt x="964" y="690"/>
                  </a:lnTo>
                  <a:lnTo>
                    <a:pt x="964" y="690"/>
                  </a:lnTo>
                  <a:lnTo>
                    <a:pt x="964" y="690"/>
                  </a:lnTo>
                  <a:lnTo>
                    <a:pt x="969" y="690"/>
                  </a:lnTo>
                  <a:lnTo>
                    <a:pt x="971" y="690"/>
                  </a:lnTo>
                  <a:lnTo>
                    <a:pt x="974" y="690"/>
                  </a:lnTo>
                  <a:lnTo>
                    <a:pt x="974" y="690"/>
                  </a:lnTo>
                  <a:lnTo>
                    <a:pt x="976" y="688"/>
                  </a:lnTo>
                  <a:lnTo>
                    <a:pt x="979" y="688"/>
                  </a:lnTo>
                  <a:lnTo>
                    <a:pt x="979" y="688"/>
                  </a:lnTo>
                  <a:lnTo>
                    <a:pt x="979" y="685"/>
                  </a:lnTo>
                  <a:lnTo>
                    <a:pt x="981" y="685"/>
                  </a:lnTo>
                  <a:lnTo>
                    <a:pt x="981" y="683"/>
                  </a:lnTo>
                  <a:lnTo>
                    <a:pt x="981" y="683"/>
                  </a:lnTo>
                  <a:lnTo>
                    <a:pt x="981" y="685"/>
                  </a:lnTo>
                  <a:lnTo>
                    <a:pt x="981" y="685"/>
                  </a:lnTo>
                  <a:lnTo>
                    <a:pt x="981" y="688"/>
                  </a:lnTo>
                  <a:lnTo>
                    <a:pt x="983" y="688"/>
                  </a:lnTo>
                  <a:lnTo>
                    <a:pt x="990" y="685"/>
                  </a:lnTo>
                  <a:lnTo>
                    <a:pt x="995" y="683"/>
                  </a:lnTo>
                  <a:lnTo>
                    <a:pt x="1000" y="681"/>
                  </a:lnTo>
                  <a:lnTo>
                    <a:pt x="1002" y="678"/>
                  </a:lnTo>
                  <a:lnTo>
                    <a:pt x="1004" y="678"/>
                  </a:lnTo>
                  <a:lnTo>
                    <a:pt x="1009" y="676"/>
                  </a:lnTo>
                  <a:lnTo>
                    <a:pt x="1009" y="674"/>
                  </a:lnTo>
                  <a:lnTo>
                    <a:pt x="1009" y="674"/>
                  </a:lnTo>
                  <a:lnTo>
                    <a:pt x="1009" y="674"/>
                  </a:lnTo>
                  <a:lnTo>
                    <a:pt x="1012" y="676"/>
                  </a:lnTo>
                  <a:lnTo>
                    <a:pt x="1012" y="676"/>
                  </a:lnTo>
                  <a:lnTo>
                    <a:pt x="1014" y="676"/>
                  </a:lnTo>
                  <a:lnTo>
                    <a:pt x="1012" y="676"/>
                  </a:lnTo>
                  <a:lnTo>
                    <a:pt x="1012" y="676"/>
                  </a:lnTo>
                  <a:lnTo>
                    <a:pt x="1009" y="678"/>
                  </a:lnTo>
                  <a:lnTo>
                    <a:pt x="1002" y="683"/>
                  </a:lnTo>
                  <a:lnTo>
                    <a:pt x="1000" y="685"/>
                  </a:lnTo>
                  <a:lnTo>
                    <a:pt x="1000" y="685"/>
                  </a:lnTo>
                  <a:lnTo>
                    <a:pt x="1002" y="685"/>
                  </a:lnTo>
                  <a:lnTo>
                    <a:pt x="1002" y="685"/>
                  </a:lnTo>
                  <a:lnTo>
                    <a:pt x="1004" y="685"/>
                  </a:lnTo>
                  <a:lnTo>
                    <a:pt x="1007" y="683"/>
                  </a:lnTo>
                  <a:lnTo>
                    <a:pt x="1009" y="685"/>
                  </a:lnTo>
                  <a:lnTo>
                    <a:pt x="1014" y="683"/>
                  </a:lnTo>
                  <a:lnTo>
                    <a:pt x="1016" y="685"/>
                  </a:lnTo>
                  <a:lnTo>
                    <a:pt x="1021" y="683"/>
                  </a:lnTo>
                  <a:lnTo>
                    <a:pt x="1026" y="685"/>
                  </a:lnTo>
                  <a:lnTo>
                    <a:pt x="1023" y="685"/>
                  </a:lnTo>
                  <a:lnTo>
                    <a:pt x="1019" y="685"/>
                  </a:lnTo>
                  <a:lnTo>
                    <a:pt x="1012" y="688"/>
                  </a:lnTo>
                  <a:lnTo>
                    <a:pt x="1012" y="690"/>
                  </a:lnTo>
                  <a:lnTo>
                    <a:pt x="1012" y="693"/>
                  </a:lnTo>
                  <a:lnTo>
                    <a:pt x="1009" y="690"/>
                  </a:lnTo>
                  <a:lnTo>
                    <a:pt x="1007" y="690"/>
                  </a:lnTo>
                  <a:lnTo>
                    <a:pt x="1007" y="688"/>
                  </a:lnTo>
                  <a:lnTo>
                    <a:pt x="1009" y="688"/>
                  </a:lnTo>
                  <a:lnTo>
                    <a:pt x="1009" y="688"/>
                  </a:lnTo>
                  <a:lnTo>
                    <a:pt x="1009" y="685"/>
                  </a:lnTo>
                  <a:lnTo>
                    <a:pt x="1007" y="685"/>
                  </a:lnTo>
                  <a:lnTo>
                    <a:pt x="1009" y="685"/>
                  </a:lnTo>
                  <a:lnTo>
                    <a:pt x="1007" y="688"/>
                  </a:lnTo>
                  <a:lnTo>
                    <a:pt x="1002" y="688"/>
                  </a:lnTo>
                  <a:lnTo>
                    <a:pt x="997" y="690"/>
                  </a:lnTo>
                  <a:lnTo>
                    <a:pt x="983" y="700"/>
                  </a:lnTo>
                  <a:lnTo>
                    <a:pt x="983" y="700"/>
                  </a:lnTo>
                  <a:lnTo>
                    <a:pt x="981" y="700"/>
                  </a:lnTo>
                  <a:lnTo>
                    <a:pt x="983" y="700"/>
                  </a:lnTo>
                  <a:lnTo>
                    <a:pt x="986" y="700"/>
                  </a:lnTo>
                  <a:lnTo>
                    <a:pt x="986" y="700"/>
                  </a:lnTo>
                  <a:lnTo>
                    <a:pt x="983" y="700"/>
                  </a:lnTo>
                  <a:lnTo>
                    <a:pt x="981" y="702"/>
                  </a:lnTo>
                  <a:lnTo>
                    <a:pt x="981" y="702"/>
                  </a:lnTo>
                  <a:lnTo>
                    <a:pt x="979" y="702"/>
                  </a:lnTo>
                  <a:lnTo>
                    <a:pt x="976" y="702"/>
                  </a:lnTo>
                  <a:lnTo>
                    <a:pt x="974" y="704"/>
                  </a:lnTo>
                  <a:lnTo>
                    <a:pt x="974" y="704"/>
                  </a:lnTo>
                  <a:lnTo>
                    <a:pt x="971" y="707"/>
                  </a:lnTo>
                  <a:lnTo>
                    <a:pt x="976" y="702"/>
                  </a:lnTo>
                  <a:lnTo>
                    <a:pt x="979" y="702"/>
                  </a:lnTo>
                  <a:lnTo>
                    <a:pt x="974" y="707"/>
                  </a:lnTo>
                  <a:lnTo>
                    <a:pt x="969" y="711"/>
                  </a:lnTo>
                  <a:lnTo>
                    <a:pt x="969" y="714"/>
                  </a:lnTo>
                  <a:lnTo>
                    <a:pt x="969" y="719"/>
                  </a:lnTo>
                  <a:lnTo>
                    <a:pt x="969" y="719"/>
                  </a:lnTo>
                  <a:lnTo>
                    <a:pt x="969" y="719"/>
                  </a:lnTo>
                  <a:lnTo>
                    <a:pt x="971" y="719"/>
                  </a:lnTo>
                  <a:lnTo>
                    <a:pt x="971" y="719"/>
                  </a:lnTo>
                  <a:lnTo>
                    <a:pt x="971" y="721"/>
                  </a:lnTo>
                  <a:lnTo>
                    <a:pt x="974" y="723"/>
                  </a:lnTo>
                  <a:lnTo>
                    <a:pt x="974" y="723"/>
                  </a:lnTo>
                  <a:lnTo>
                    <a:pt x="976" y="723"/>
                  </a:lnTo>
                  <a:lnTo>
                    <a:pt x="976" y="723"/>
                  </a:lnTo>
                  <a:lnTo>
                    <a:pt x="976" y="723"/>
                  </a:lnTo>
                  <a:lnTo>
                    <a:pt x="979" y="723"/>
                  </a:lnTo>
                  <a:lnTo>
                    <a:pt x="979" y="723"/>
                  </a:lnTo>
                  <a:lnTo>
                    <a:pt x="979" y="723"/>
                  </a:lnTo>
                  <a:lnTo>
                    <a:pt x="981" y="721"/>
                  </a:lnTo>
                  <a:lnTo>
                    <a:pt x="983" y="721"/>
                  </a:lnTo>
                  <a:lnTo>
                    <a:pt x="983" y="721"/>
                  </a:lnTo>
                  <a:lnTo>
                    <a:pt x="986" y="721"/>
                  </a:lnTo>
                  <a:lnTo>
                    <a:pt x="990" y="716"/>
                  </a:lnTo>
                  <a:lnTo>
                    <a:pt x="990" y="716"/>
                  </a:lnTo>
                  <a:lnTo>
                    <a:pt x="993" y="714"/>
                  </a:lnTo>
                  <a:lnTo>
                    <a:pt x="997" y="711"/>
                  </a:lnTo>
                  <a:lnTo>
                    <a:pt x="1000" y="711"/>
                  </a:lnTo>
                  <a:lnTo>
                    <a:pt x="1002" y="709"/>
                  </a:lnTo>
                  <a:lnTo>
                    <a:pt x="1002" y="709"/>
                  </a:lnTo>
                  <a:lnTo>
                    <a:pt x="1002" y="707"/>
                  </a:lnTo>
                  <a:lnTo>
                    <a:pt x="1002" y="707"/>
                  </a:lnTo>
                  <a:lnTo>
                    <a:pt x="1002" y="704"/>
                  </a:lnTo>
                  <a:lnTo>
                    <a:pt x="1004" y="704"/>
                  </a:lnTo>
                  <a:lnTo>
                    <a:pt x="1007" y="702"/>
                  </a:lnTo>
                  <a:lnTo>
                    <a:pt x="1007" y="704"/>
                  </a:lnTo>
                  <a:lnTo>
                    <a:pt x="1009" y="704"/>
                  </a:lnTo>
                  <a:lnTo>
                    <a:pt x="1009" y="702"/>
                  </a:lnTo>
                  <a:lnTo>
                    <a:pt x="1009" y="702"/>
                  </a:lnTo>
                  <a:lnTo>
                    <a:pt x="1012" y="702"/>
                  </a:lnTo>
                  <a:lnTo>
                    <a:pt x="1012" y="704"/>
                  </a:lnTo>
                  <a:lnTo>
                    <a:pt x="1012" y="704"/>
                  </a:lnTo>
                  <a:lnTo>
                    <a:pt x="1014" y="704"/>
                  </a:lnTo>
                  <a:lnTo>
                    <a:pt x="1016" y="704"/>
                  </a:lnTo>
                  <a:lnTo>
                    <a:pt x="1016" y="704"/>
                  </a:lnTo>
                  <a:lnTo>
                    <a:pt x="1016" y="704"/>
                  </a:lnTo>
                  <a:lnTo>
                    <a:pt x="1016" y="702"/>
                  </a:lnTo>
                  <a:lnTo>
                    <a:pt x="1016" y="700"/>
                  </a:lnTo>
                  <a:lnTo>
                    <a:pt x="1019" y="702"/>
                  </a:lnTo>
                  <a:lnTo>
                    <a:pt x="1019" y="702"/>
                  </a:lnTo>
                  <a:lnTo>
                    <a:pt x="1021" y="702"/>
                  </a:lnTo>
                  <a:lnTo>
                    <a:pt x="1021" y="702"/>
                  </a:lnTo>
                  <a:lnTo>
                    <a:pt x="1026" y="700"/>
                  </a:lnTo>
                  <a:lnTo>
                    <a:pt x="1026" y="700"/>
                  </a:lnTo>
                  <a:lnTo>
                    <a:pt x="1026" y="700"/>
                  </a:lnTo>
                  <a:lnTo>
                    <a:pt x="1033" y="697"/>
                  </a:lnTo>
                  <a:lnTo>
                    <a:pt x="1035" y="697"/>
                  </a:lnTo>
                  <a:lnTo>
                    <a:pt x="1042" y="695"/>
                  </a:lnTo>
                  <a:lnTo>
                    <a:pt x="1044" y="695"/>
                  </a:lnTo>
                  <a:lnTo>
                    <a:pt x="1049" y="690"/>
                  </a:lnTo>
                  <a:lnTo>
                    <a:pt x="1052" y="690"/>
                  </a:lnTo>
                  <a:lnTo>
                    <a:pt x="1052" y="690"/>
                  </a:lnTo>
                  <a:lnTo>
                    <a:pt x="1054" y="690"/>
                  </a:lnTo>
                  <a:lnTo>
                    <a:pt x="1056" y="690"/>
                  </a:lnTo>
                  <a:lnTo>
                    <a:pt x="1059" y="688"/>
                  </a:lnTo>
                  <a:lnTo>
                    <a:pt x="1059" y="688"/>
                  </a:lnTo>
                  <a:lnTo>
                    <a:pt x="1061" y="688"/>
                  </a:lnTo>
                  <a:lnTo>
                    <a:pt x="1063" y="688"/>
                  </a:lnTo>
                  <a:lnTo>
                    <a:pt x="1063" y="688"/>
                  </a:lnTo>
                  <a:lnTo>
                    <a:pt x="1063" y="685"/>
                  </a:lnTo>
                  <a:lnTo>
                    <a:pt x="1063" y="685"/>
                  </a:lnTo>
                  <a:lnTo>
                    <a:pt x="1063" y="685"/>
                  </a:lnTo>
                  <a:lnTo>
                    <a:pt x="1059" y="685"/>
                  </a:lnTo>
                  <a:lnTo>
                    <a:pt x="1059" y="683"/>
                  </a:lnTo>
                  <a:lnTo>
                    <a:pt x="1061" y="683"/>
                  </a:lnTo>
                  <a:lnTo>
                    <a:pt x="1061" y="683"/>
                  </a:lnTo>
                  <a:lnTo>
                    <a:pt x="1061" y="681"/>
                  </a:lnTo>
                  <a:lnTo>
                    <a:pt x="1061" y="678"/>
                  </a:lnTo>
                  <a:lnTo>
                    <a:pt x="1059" y="678"/>
                  </a:lnTo>
                  <a:lnTo>
                    <a:pt x="1056" y="678"/>
                  </a:lnTo>
                  <a:lnTo>
                    <a:pt x="1054" y="678"/>
                  </a:lnTo>
                  <a:lnTo>
                    <a:pt x="1054" y="678"/>
                  </a:lnTo>
                  <a:lnTo>
                    <a:pt x="1054" y="676"/>
                  </a:lnTo>
                  <a:lnTo>
                    <a:pt x="1054" y="676"/>
                  </a:lnTo>
                  <a:lnTo>
                    <a:pt x="1054" y="674"/>
                  </a:lnTo>
                  <a:lnTo>
                    <a:pt x="1047" y="678"/>
                  </a:lnTo>
                  <a:lnTo>
                    <a:pt x="1044" y="678"/>
                  </a:lnTo>
                  <a:lnTo>
                    <a:pt x="1042" y="678"/>
                  </a:lnTo>
                  <a:lnTo>
                    <a:pt x="1042" y="681"/>
                  </a:lnTo>
                  <a:lnTo>
                    <a:pt x="1042" y="678"/>
                  </a:lnTo>
                  <a:lnTo>
                    <a:pt x="1037" y="678"/>
                  </a:lnTo>
                  <a:lnTo>
                    <a:pt x="1040" y="678"/>
                  </a:lnTo>
                  <a:lnTo>
                    <a:pt x="1040" y="676"/>
                  </a:lnTo>
                  <a:lnTo>
                    <a:pt x="1037" y="676"/>
                  </a:lnTo>
                  <a:lnTo>
                    <a:pt x="1033" y="676"/>
                  </a:lnTo>
                  <a:lnTo>
                    <a:pt x="1030" y="676"/>
                  </a:lnTo>
                  <a:lnTo>
                    <a:pt x="1030" y="676"/>
                  </a:lnTo>
                  <a:lnTo>
                    <a:pt x="1030" y="676"/>
                  </a:lnTo>
                  <a:lnTo>
                    <a:pt x="1030" y="676"/>
                  </a:lnTo>
                  <a:lnTo>
                    <a:pt x="1028" y="674"/>
                  </a:lnTo>
                  <a:lnTo>
                    <a:pt x="1026" y="674"/>
                  </a:lnTo>
                  <a:lnTo>
                    <a:pt x="1023" y="674"/>
                  </a:lnTo>
                  <a:lnTo>
                    <a:pt x="1021" y="674"/>
                  </a:lnTo>
                  <a:lnTo>
                    <a:pt x="1019" y="671"/>
                  </a:lnTo>
                  <a:lnTo>
                    <a:pt x="1023" y="669"/>
                  </a:lnTo>
                  <a:lnTo>
                    <a:pt x="1023" y="669"/>
                  </a:lnTo>
                  <a:lnTo>
                    <a:pt x="1023" y="669"/>
                  </a:lnTo>
                  <a:lnTo>
                    <a:pt x="1019" y="669"/>
                  </a:lnTo>
                  <a:lnTo>
                    <a:pt x="1019" y="667"/>
                  </a:lnTo>
                  <a:lnTo>
                    <a:pt x="1014" y="667"/>
                  </a:lnTo>
                  <a:lnTo>
                    <a:pt x="1014" y="667"/>
                  </a:lnTo>
                  <a:lnTo>
                    <a:pt x="1012" y="664"/>
                  </a:lnTo>
                  <a:lnTo>
                    <a:pt x="1014" y="664"/>
                  </a:lnTo>
                  <a:lnTo>
                    <a:pt x="1012" y="662"/>
                  </a:lnTo>
                  <a:lnTo>
                    <a:pt x="1014" y="657"/>
                  </a:lnTo>
                  <a:lnTo>
                    <a:pt x="1012" y="657"/>
                  </a:lnTo>
                  <a:lnTo>
                    <a:pt x="1012" y="655"/>
                  </a:lnTo>
                  <a:lnTo>
                    <a:pt x="1012" y="652"/>
                  </a:lnTo>
                  <a:lnTo>
                    <a:pt x="1014" y="652"/>
                  </a:lnTo>
                  <a:lnTo>
                    <a:pt x="1014" y="650"/>
                  </a:lnTo>
                  <a:lnTo>
                    <a:pt x="1014" y="650"/>
                  </a:lnTo>
                  <a:lnTo>
                    <a:pt x="1012" y="650"/>
                  </a:lnTo>
                  <a:lnTo>
                    <a:pt x="1009" y="650"/>
                  </a:lnTo>
                  <a:lnTo>
                    <a:pt x="1007" y="650"/>
                  </a:lnTo>
                  <a:lnTo>
                    <a:pt x="1007" y="650"/>
                  </a:lnTo>
                  <a:lnTo>
                    <a:pt x="1012" y="645"/>
                  </a:lnTo>
                  <a:lnTo>
                    <a:pt x="1016" y="643"/>
                  </a:lnTo>
                  <a:lnTo>
                    <a:pt x="1019" y="641"/>
                  </a:lnTo>
                  <a:lnTo>
                    <a:pt x="1021" y="638"/>
                  </a:lnTo>
                  <a:lnTo>
                    <a:pt x="1021" y="636"/>
                  </a:lnTo>
                  <a:lnTo>
                    <a:pt x="1019" y="636"/>
                  </a:lnTo>
                  <a:lnTo>
                    <a:pt x="1016" y="636"/>
                  </a:lnTo>
                  <a:lnTo>
                    <a:pt x="1019" y="633"/>
                  </a:lnTo>
                  <a:lnTo>
                    <a:pt x="1014" y="633"/>
                  </a:lnTo>
                  <a:lnTo>
                    <a:pt x="1012" y="636"/>
                  </a:lnTo>
                  <a:lnTo>
                    <a:pt x="1009" y="636"/>
                  </a:lnTo>
                  <a:lnTo>
                    <a:pt x="1007" y="638"/>
                  </a:lnTo>
                  <a:lnTo>
                    <a:pt x="1007" y="636"/>
                  </a:lnTo>
                  <a:lnTo>
                    <a:pt x="1007" y="633"/>
                  </a:lnTo>
                  <a:lnTo>
                    <a:pt x="1004" y="633"/>
                  </a:lnTo>
                  <a:lnTo>
                    <a:pt x="1000" y="631"/>
                  </a:lnTo>
                  <a:lnTo>
                    <a:pt x="997" y="629"/>
                  </a:lnTo>
                  <a:lnTo>
                    <a:pt x="997" y="629"/>
                  </a:lnTo>
                  <a:lnTo>
                    <a:pt x="993" y="631"/>
                  </a:lnTo>
                  <a:lnTo>
                    <a:pt x="993" y="631"/>
                  </a:lnTo>
                  <a:lnTo>
                    <a:pt x="997" y="629"/>
                  </a:lnTo>
                  <a:lnTo>
                    <a:pt x="997" y="629"/>
                  </a:lnTo>
                  <a:lnTo>
                    <a:pt x="1000" y="629"/>
                  </a:lnTo>
                  <a:lnTo>
                    <a:pt x="1002" y="629"/>
                  </a:lnTo>
                  <a:lnTo>
                    <a:pt x="1004" y="626"/>
                  </a:lnTo>
                  <a:lnTo>
                    <a:pt x="1007" y="626"/>
                  </a:lnTo>
                  <a:lnTo>
                    <a:pt x="1007" y="629"/>
                  </a:lnTo>
                  <a:lnTo>
                    <a:pt x="1012" y="629"/>
                  </a:lnTo>
                  <a:lnTo>
                    <a:pt x="1014" y="631"/>
                  </a:lnTo>
                  <a:lnTo>
                    <a:pt x="1016" y="631"/>
                  </a:lnTo>
                  <a:lnTo>
                    <a:pt x="1019" y="629"/>
                  </a:lnTo>
                  <a:lnTo>
                    <a:pt x="1021" y="626"/>
                  </a:lnTo>
                  <a:lnTo>
                    <a:pt x="1023" y="626"/>
                  </a:lnTo>
                  <a:lnTo>
                    <a:pt x="1026" y="626"/>
                  </a:lnTo>
                  <a:lnTo>
                    <a:pt x="1026" y="624"/>
                  </a:lnTo>
                  <a:lnTo>
                    <a:pt x="1028" y="624"/>
                  </a:lnTo>
                  <a:lnTo>
                    <a:pt x="1033" y="622"/>
                  </a:lnTo>
                  <a:lnTo>
                    <a:pt x="1035" y="619"/>
                  </a:lnTo>
                  <a:lnTo>
                    <a:pt x="1037" y="617"/>
                  </a:lnTo>
                  <a:lnTo>
                    <a:pt x="1035" y="614"/>
                  </a:lnTo>
                  <a:lnTo>
                    <a:pt x="1035" y="612"/>
                  </a:lnTo>
                  <a:lnTo>
                    <a:pt x="1037" y="612"/>
                  </a:lnTo>
                  <a:lnTo>
                    <a:pt x="1040" y="614"/>
                  </a:lnTo>
                  <a:lnTo>
                    <a:pt x="1040" y="612"/>
                  </a:lnTo>
                  <a:lnTo>
                    <a:pt x="1040" y="612"/>
                  </a:lnTo>
                  <a:lnTo>
                    <a:pt x="1035" y="607"/>
                  </a:lnTo>
                  <a:lnTo>
                    <a:pt x="1033" y="605"/>
                  </a:lnTo>
                  <a:lnTo>
                    <a:pt x="1023" y="605"/>
                  </a:lnTo>
                  <a:lnTo>
                    <a:pt x="1021" y="605"/>
                  </a:lnTo>
                  <a:lnTo>
                    <a:pt x="1014" y="605"/>
                  </a:lnTo>
                  <a:lnTo>
                    <a:pt x="1009" y="605"/>
                  </a:lnTo>
                  <a:lnTo>
                    <a:pt x="1002" y="607"/>
                  </a:lnTo>
                  <a:lnTo>
                    <a:pt x="993" y="610"/>
                  </a:lnTo>
                  <a:lnTo>
                    <a:pt x="986" y="612"/>
                  </a:lnTo>
                  <a:lnTo>
                    <a:pt x="979" y="614"/>
                  </a:lnTo>
                  <a:lnTo>
                    <a:pt x="971" y="617"/>
                  </a:lnTo>
                  <a:lnTo>
                    <a:pt x="967" y="619"/>
                  </a:lnTo>
                  <a:lnTo>
                    <a:pt x="964" y="622"/>
                  </a:lnTo>
                  <a:lnTo>
                    <a:pt x="962" y="622"/>
                  </a:lnTo>
                  <a:lnTo>
                    <a:pt x="960" y="624"/>
                  </a:lnTo>
                  <a:lnTo>
                    <a:pt x="957" y="624"/>
                  </a:lnTo>
                  <a:lnTo>
                    <a:pt x="950" y="629"/>
                  </a:lnTo>
                  <a:lnTo>
                    <a:pt x="946" y="631"/>
                  </a:lnTo>
                  <a:lnTo>
                    <a:pt x="943" y="633"/>
                  </a:lnTo>
                  <a:lnTo>
                    <a:pt x="938" y="638"/>
                  </a:lnTo>
                  <a:lnTo>
                    <a:pt x="934" y="641"/>
                  </a:lnTo>
                  <a:lnTo>
                    <a:pt x="931" y="643"/>
                  </a:lnTo>
                  <a:lnTo>
                    <a:pt x="929" y="645"/>
                  </a:lnTo>
                  <a:lnTo>
                    <a:pt x="924" y="648"/>
                  </a:lnTo>
                  <a:lnTo>
                    <a:pt x="920" y="650"/>
                  </a:lnTo>
                  <a:lnTo>
                    <a:pt x="913" y="655"/>
                  </a:lnTo>
                  <a:lnTo>
                    <a:pt x="908" y="655"/>
                  </a:lnTo>
                  <a:lnTo>
                    <a:pt x="905" y="657"/>
                  </a:lnTo>
                  <a:lnTo>
                    <a:pt x="903" y="657"/>
                  </a:lnTo>
                  <a:lnTo>
                    <a:pt x="898" y="659"/>
                  </a:lnTo>
                  <a:lnTo>
                    <a:pt x="894" y="659"/>
                  </a:lnTo>
                  <a:lnTo>
                    <a:pt x="891" y="659"/>
                  </a:lnTo>
                  <a:lnTo>
                    <a:pt x="889" y="662"/>
                  </a:lnTo>
                  <a:lnTo>
                    <a:pt x="887" y="662"/>
                  </a:lnTo>
                  <a:lnTo>
                    <a:pt x="884" y="664"/>
                  </a:lnTo>
                  <a:lnTo>
                    <a:pt x="882" y="664"/>
                  </a:lnTo>
                  <a:lnTo>
                    <a:pt x="877" y="669"/>
                  </a:lnTo>
                  <a:lnTo>
                    <a:pt x="872" y="669"/>
                  </a:lnTo>
                  <a:lnTo>
                    <a:pt x="868" y="671"/>
                  </a:lnTo>
                  <a:lnTo>
                    <a:pt x="865" y="674"/>
                  </a:lnTo>
                  <a:lnTo>
                    <a:pt x="863" y="676"/>
                  </a:lnTo>
                  <a:lnTo>
                    <a:pt x="861" y="678"/>
                  </a:lnTo>
                  <a:lnTo>
                    <a:pt x="861" y="681"/>
                  </a:lnTo>
                  <a:lnTo>
                    <a:pt x="858" y="683"/>
                  </a:lnTo>
                  <a:lnTo>
                    <a:pt x="856" y="683"/>
                  </a:lnTo>
                  <a:lnTo>
                    <a:pt x="854" y="683"/>
                  </a:lnTo>
                  <a:lnTo>
                    <a:pt x="847" y="688"/>
                  </a:lnTo>
                  <a:lnTo>
                    <a:pt x="844" y="688"/>
                  </a:lnTo>
                  <a:lnTo>
                    <a:pt x="837" y="693"/>
                  </a:lnTo>
                  <a:lnTo>
                    <a:pt x="835" y="693"/>
                  </a:lnTo>
                  <a:lnTo>
                    <a:pt x="835" y="693"/>
                  </a:lnTo>
                  <a:lnTo>
                    <a:pt x="839" y="693"/>
                  </a:lnTo>
                  <a:close/>
                  <a:moveTo>
                    <a:pt x="69" y="489"/>
                  </a:moveTo>
                  <a:lnTo>
                    <a:pt x="71" y="487"/>
                  </a:lnTo>
                  <a:lnTo>
                    <a:pt x="66" y="489"/>
                  </a:lnTo>
                  <a:lnTo>
                    <a:pt x="62" y="492"/>
                  </a:lnTo>
                  <a:lnTo>
                    <a:pt x="59" y="494"/>
                  </a:lnTo>
                  <a:lnTo>
                    <a:pt x="59" y="494"/>
                  </a:lnTo>
                  <a:lnTo>
                    <a:pt x="64" y="492"/>
                  </a:lnTo>
                  <a:lnTo>
                    <a:pt x="69" y="489"/>
                  </a:lnTo>
                  <a:close/>
                  <a:moveTo>
                    <a:pt x="616" y="260"/>
                  </a:moveTo>
                  <a:lnTo>
                    <a:pt x="618" y="260"/>
                  </a:lnTo>
                  <a:lnTo>
                    <a:pt x="620" y="257"/>
                  </a:lnTo>
                  <a:lnTo>
                    <a:pt x="618" y="257"/>
                  </a:lnTo>
                  <a:lnTo>
                    <a:pt x="616" y="257"/>
                  </a:lnTo>
                  <a:lnTo>
                    <a:pt x="616" y="260"/>
                  </a:lnTo>
                  <a:lnTo>
                    <a:pt x="616" y="260"/>
                  </a:lnTo>
                  <a:lnTo>
                    <a:pt x="616" y="262"/>
                  </a:lnTo>
                  <a:lnTo>
                    <a:pt x="616" y="260"/>
                  </a:lnTo>
                  <a:close/>
                  <a:moveTo>
                    <a:pt x="971" y="707"/>
                  </a:moveTo>
                  <a:lnTo>
                    <a:pt x="971" y="707"/>
                  </a:lnTo>
                  <a:lnTo>
                    <a:pt x="969" y="709"/>
                  </a:lnTo>
                  <a:lnTo>
                    <a:pt x="969" y="709"/>
                  </a:lnTo>
                  <a:lnTo>
                    <a:pt x="969" y="709"/>
                  </a:lnTo>
                  <a:lnTo>
                    <a:pt x="971" y="707"/>
                  </a:lnTo>
                  <a:close/>
                  <a:moveTo>
                    <a:pt x="858" y="678"/>
                  </a:moveTo>
                  <a:lnTo>
                    <a:pt x="856" y="678"/>
                  </a:lnTo>
                  <a:lnTo>
                    <a:pt x="854" y="681"/>
                  </a:lnTo>
                  <a:lnTo>
                    <a:pt x="854" y="681"/>
                  </a:lnTo>
                  <a:lnTo>
                    <a:pt x="856" y="681"/>
                  </a:lnTo>
                  <a:lnTo>
                    <a:pt x="858" y="678"/>
                  </a:lnTo>
                  <a:close/>
                  <a:moveTo>
                    <a:pt x="1089" y="669"/>
                  </a:moveTo>
                  <a:lnTo>
                    <a:pt x="1087" y="667"/>
                  </a:lnTo>
                  <a:lnTo>
                    <a:pt x="1085" y="669"/>
                  </a:lnTo>
                  <a:lnTo>
                    <a:pt x="1085" y="667"/>
                  </a:lnTo>
                  <a:lnTo>
                    <a:pt x="1085" y="667"/>
                  </a:lnTo>
                  <a:lnTo>
                    <a:pt x="1082" y="667"/>
                  </a:lnTo>
                  <a:lnTo>
                    <a:pt x="1082" y="667"/>
                  </a:lnTo>
                  <a:lnTo>
                    <a:pt x="1080" y="667"/>
                  </a:lnTo>
                  <a:lnTo>
                    <a:pt x="1077" y="669"/>
                  </a:lnTo>
                  <a:lnTo>
                    <a:pt x="1077" y="671"/>
                  </a:lnTo>
                  <a:lnTo>
                    <a:pt x="1073" y="674"/>
                  </a:lnTo>
                  <a:lnTo>
                    <a:pt x="1075" y="674"/>
                  </a:lnTo>
                  <a:lnTo>
                    <a:pt x="1077" y="671"/>
                  </a:lnTo>
                  <a:lnTo>
                    <a:pt x="1077" y="674"/>
                  </a:lnTo>
                  <a:lnTo>
                    <a:pt x="1073" y="676"/>
                  </a:lnTo>
                  <a:lnTo>
                    <a:pt x="1073" y="676"/>
                  </a:lnTo>
                  <a:lnTo>
                    <a:pt x="1070" y="676"/>
                  </a:lnTo>
                  <a:lnTo>
                    <a:pt x="1070" y="676"/>
                  </a:lnTo>
                  <a:lnTo>
                    <a:pt x="1068" y="676"/>
                  </a:lnTo>
                  <a:lnTo>
                    <a:pt x="1066" y="678"/>
                  </a:lnTo>
                  <a:lnTo>
                    <a:pt x="1066" y="676"/>
                  </a:lnTo>
                  <a:lnTo>
                    <a:pt x="1068" y="676"/>
                  </a:lnTo>
                  <a:lnTo>
                    <a:pt x="1068" y="676"/>
                  </a:lnTo>
                  <a:lnTo>
                    <a:pt x="1070" y="674"/>
                  </a:lnTo>
                  <a:lnTo>
                    <a:pt x="1068" y="674"/>
                  </a:lnTo>
                  <a:lnTo>
                    <a:pt x="1070" y="674"/>
                  </a:lnTo>
                  <a:lnTo>
                    <a:pt x="1073" y="674"/>
                  </a:lnTo>
                  <a:lnTo>
                    <a:pt x="1073" y="671"/>
                  </a:lnTo>
                  <a:lnTo>
                    <a:pt x="1070" y="671"/>
                  </a:lnTo>
                  <a:lnTo>
                    <a:pt x="1068" y="674"/>
                  </a:lnTo>
                  <a:lnTo>
                    <a:pt x="1068" y="674"/>
                  </a:lnTo>
                  <a:lnTo>
                    <a:pt x="1070" y="671"/>
                  </a:lnTo>
                  <a:lnTo>
                    <a:pt x="1073" y="671"/>
                  </a:lnTo>
                  <a:lnTo>
                    <a:pt x="1075" y="669"/>
                  </a:lnTo>
                  <a:lnTo>
                    <a:pt x="1077" y="669"/>
                  </a:lnTo>
                  <a:lnTo>
                    <a:pt x="1080" y="667"/>
                  </a:lnTo>
                  <a:lnTo>
                    <a:pt x="1080" y="667"/>
                  </a:lnTo>
                  <a:lnTo>
                    <a:pt x="1080" y="667"/>
                  </a:lnTo>
                  <a:lnTo>
                    <a:pt x="1082" y="664"/>
                  </a:lnTo>
                  <a:lnTo>
                    <a:pt x="1085" y="659"/>
                  </a:lnTo>
                  <a:lnTo>
                    <a:pt x="1087" y="657"/>
                  </a:lnTo>
                  <a:lnTo>
                    <a:pt x="1087" y="657"/>
                  </a:lnTo>
                  <a:lnTo>
                    <a:pt x="1087" y="652"/>
                  </a:lnTo>
                  <a:lnTo>
                    <a:pt x="1087" y="652"/>
                  </a:lnTo>
                  <a:lnTo>
                    <a:pt x="1087" y="650"/>
                  </a:lnTo>
                  <a:lnTo>
                    <a:pt x="1085" y="650"/>
                  </a:lnTo>
                  <a:lnTo>
                    <a:pt x="1085" y="652"/>
                  </a:lnTo>
                  <a:lnTo>
                    <a:pt x="1082" y="652"/>
                  </a:lnTo>
                  <a:lnTo>
                    <a:pt x="1080" y="655"/>
                  </a:lnTo>
                  <a:lnTo>
                    <a:pt x="1077" y="655"/>
                  </a:lnTo>
                  <a:lnTo>
                    <a:pt x="1075" y="657"/>
                  </a:lnTo>
                  <a:lnTo>
                    <a:pt x="1075" y="659"/>
                  </a:lnTo>
                  <a:lnTo>
                    <a:pt x="1068" y="667"/>
                  </a:lnTo>
                  <a:lnTo>
                    <a:pt x="1066" y="667"/>
                  </a:lnTo>
                  <a:lnTo>
                    <a:pt x="1063" y="669"/>
                  </a:lnTo>
                  <a:lnTo>
                    <a:pt x="1063" y="671"/>
                  </a:lnTo>
                  <a:lnTo>
                    <a:pt x="1061" y="674"/>
                  </a:lnTo>
                  <a:lnTo>
                    <a:pt x="1061" y="678"/>
                  </a:lnTo>
                  <a:lnTo>
                    <a:pt x="1061" y="678"/>
                  </a:lnTo>
                  <a:lnTo>
                    <a:pt x="1061" y="681"/>
                  </a:lnTo>
                  <a:lnTo>
                    <a:pt x="1061" y="681"/>
                  </a:lnTo>
                  <a:lnTo>
                    <a:pt x="1063" y="681"/>
                  </a:lnTo>
                  <a:lnTo>
                    <a:pt x="1063" y="681"/>
                  </a:lnTo>
                  <a:lnTo>
                    <a:pt x="1066" y="681"/>
                  </a:lnTo>
                  <a:lnTo>
                    <a:pt x="1068" y="681"/>
                  </a:lnTo>
                  <a:lnTo>
                    <a:pt x="1068" y="681"/>
                  </a:lnTo>
                  <a:lnTo>
                    <a:pt x="1070" y="681"/>
                  </a:lnTo>
                  <a:lnTo>
                    <a:pt x="1073" y="681"/>
                  </a:lnTo>
                  <a:lnTo>
                    <a:pt x="1077" y="678"/>
                  </a:lnTo>
                  <a:lnTo>
                    <a:pt x="1082" y="676"/>
                  </a:lnTo>
                  <a:lnTo>
                    <a:pt x="1082" y="676"/>
                  </a:lnTo>
                  <a:lnTo>
                    <a:pt x="1085" y="674"/>
                  </a:lnTo>
                  <a:lnTo>
                    <a:pt x="1089" y="674"/>
                  </a:lnTo>
                  <a:lnTo>
                    <a:pt x="1089" y="674"/>
                  </a:lnTo>
                  <a:lnTo>
                    <a:pt x="1087" y="671"/>
                  </a:lnTo>
                  <a:lnTo>
                    <a:pt x="1089" y="671"/>
                  </a:lnTo>
                  <a:lnTo>
                    <a:pt x="1089" y="669"/>
                  </a:lnTo>
                  <a:lnTo>
                    <a:pt x="1089" y="669"/>
                  </a:lnTo>
                  <a:lnTo>
                    <a:pt x="1089" y="669"/>
                  </a:lnTo>
                  <a:lnTo>
                    <a:pt x="1089" y="669"/>
                  </a:lnTo>
                  <a:close/>
                  <a:moveTo>
                    <a:pt x="1066" y="607"/>
                  </a:moveTo>
                  <a:lnTo>
                    <a:pt x="1068" y="607"/>
                  </a:lnTo>
                  <a:lnTo>
                    <a:pt x="1073" y="607"/>
                  </a:lnTo>
                  <a:lnTo>
                    <a:pt x="1080" y="607"/>
                  </a:lnTo>
                  <a:lnTo>
                    <a:pt x="1082" y="607"/>
                  </a:lnTo>
                  <a:lnTo>
                    <a:pt x="1082" y="607"/>
                  </a:lnTo>
                  <a:lnTo>
                    <a:pt x="1082" y="605"/>
                  </a:lnTo>
                  <a:lnTo>
                    <a:pt x="1082" y="605"/>
                  </a:lnTo>
                  <a:lnTo>
                    <a:pt x="1077" y="603"/>
                  </a:lnTo>
                  <a:lnTo>
                    <a:pt x="1077" y="600"/>
                  </a:lnTo>
                  <a:lnTo>
                    <a:pt x="1070" y="598"/>
                  </a:lnTo>
                  <a:lnTo>
                    <a:pt x="1068" y="596"/>
                  </a:lnTo>
                  <a:lnTo>
                    <a:pt x="1066" y="593"/>
                  </a:lnTo>
                  <a:lnTo>
                    <a:pt x="1061" y="593"/>
                  </a:lnTo>
                  <a:lnTo>
                    <a:pt x="1054" y="591"/>
                  </a:lnTo>
                  <a:lnTo>
                    <a:pt x="1049" y="591"/>
                  </a:lnTo>
                  <a:lnTo>
                    <a:pt x="1047" y="591"/>
                  </a:lnTo>
                  <a:lnTo>
                    <a:pt x="1044" y="591"/>
                  </a:lnTo>
                  <a:lnTo>
                    <a:pt x="1042" y="591"/>
                  </a:lnTo>
                  <a:lnTo>
                    <a:pt x="1044" y="593"/>
                  </a:lnTo>
                  <a:lnTo>
                    <a:pt x="1052" y="596"/>
                  </a:lnTo>
                  <a:lnTo>
                    <a:pt x="1052" y="598"/>
                  </a:lnTo>
                  <a:lnTo>
                    <a:pt x="1054" y="598"/>
                  </a:lnTo>
                  <a:lnTo>
                    <a:pt x="1054" y="600"/>
                  </a:lnTo>
                  <a:lnTo>
                    <a:pt x="1054" y="603"/>
                  </a:lnTo>
                  <a:lnTo>
                    <a:pt x="1061" y="605"/>
                  </a:lnTo>
                  <a:lnTo>
                    <a:pt x="1066" y="607"/>
                  </a:lnTo>
                  <a:close/>
                  <a:moveTo>
                    <a:pt x="964" y="700"/>
                  </a:moveTo>
                  <a:lnTo>
                    <a:pt x="962" y="702"/>
                  </a:lnTo>
                  <a:lnTo>
                    <a:pt x="964" y="700"/>
                  </a:lnTo>
                  <a:lnTo>
                    <a:pt x="964" y="700"/>
                  </a:lnTo>
                  <a:lnTo>
                    <a:pt x="964" y="697"/>
                  </a:lnTo>
                  <a:lnTo>
                    <a:pt x="964" y="697"/>
                  </a:lnTo>
                  <a:lnTo>
                    <a:pt x="964" y="700"/>
                  </a:lnTo>
                  <a:close/>
                  <a:moveTo>
                    <a:pt x="1044" y="669"/>
                  </a:moveTo>
                  <a:lnTo>
                    <a:pt x="1047" y="667"/>
                  </a:lnTo>
                  <a:lnTo>
                    <a:pt x="1049" y="667"/>
                  </a:lnTo>
                  <a:lnTo>
                    <a:pt x="1054" y="664"/>
                  </a:lnTo>
                  <a:lnTo>
                    <a:pt x="1056" y="664"/>
                  </a:lnTo>
                  <a:lnTo>
                    <a:pt x="1056" y="662"/>
                  </a:lnTo>
                  <a:lnTo>
                    <a:pt x="1056" y="662"/>
                  </a:lnTo>
                  <a:lnTo>
                    <a:pt x="1054" y="662"/>
                  </a:lnTo>
                  <a:lnTo>
                    <a:pt x="1049" y="662"/>
                  </a:lnTo>
                  <a:lnTo>
                    <a:pt x="1044" y="662"/>
                  </a:lnTo>
                  <a:lnTo>
                    <a:pt x="1044" y="662"/>
                  </a:lnTo>
                  <a:lnTo>
                    <a:pt x="1040" y="662"/>
                  </a:lnTo>
                  <a:lnTo>
                    <a:pt x="1037" y="664"/>
                  </a:lnTo>
                  <a:lnTo>
                    <a:pt x="1035" y="662"/>
                  </a:lnTo>
                  <a:lnTo>
                    <a:pt x="1035" y="662"/>
                  </a:lnTo>
                  <a:lnTo>
                    <a:pt x="1033" y="662"/>
                  </a:lnTo>
                  <a:lnTo>
                    <a:pt x="1033" y="662"/>
                  </a:lnTo>
                  <a:lnTo>
                    <a:pt x="1033" y="662"/>
                  </a:lnTo>
                  <a:lnTo>
                    <a:pt x="1030" y="659"/>
                  </a:lnTo>
                  <a:lnTo>
                    <a:pt x="1028" y="662"/>
                  </a:lnTo>
                  <a:lnTo>
                    <a:pt x="1028" y="662"/>
                  </a:lnTo>
                  <a:lnTo>
                    <a:pt x="1026" y="662"/>
                  </a:lnTo>
                  <a:lnTo>
                    <a:pt x="1026" y="662"/>
                  </a:lnTo>
                  <a:lnTo>
                    <a:pt x="1026" y="662"/>
                  </a:lnTo>
                  <a:lnTo>
                    <a:pt x="1026" y="662"/>
                  </a:lnTo>
                  <a:lnTo>
                    <a:pt x="1026" y="659"/>
                  </a:lnTo>
                  <a:lnTo>
                    <a:pt x="1026" y="659"/>
                  </a:lnTo>
                  <a:lnTo>
                    <a:pt x="1026" y="659"/>
                  </a:lnTo>
                  <a:lnTo>
                    <a:pt x="1026" y="655"/>
                  </a:lnTo>
                  <a:lnTo>
                    <a:pt x="1028" y="652"/>
                  </a:lnTo>
                  <a:lnTo>
                    <a:pt x="1028" y="652"/>
                  </a:lnTo>
                  <a:lnTo>
                    <a:pt x="1028" y="650"/>
                  </a:lnTo>
                  <a:lnTo>
                    <a:pt x="1026" y="652"/>
                  </a:lnTo>
                  <a:lnTo>
                    <a:pt x="1023" y="652"/>
                  </a:lnTo>
                  <a:lnTo>
                    <a:pt x="1021" y="655"/>
                  </a:lnTo>
                  <a:lnTo>
                    <a:pt x="1021" y="657"/>
                  </a:lnTo>
                  <a:lnTo>
                    <a:pt x="1019" y="657"/>
                  </a:lnTo>
                  <a:lnTo>
                    <a:pt x="1019" y="659"/>
                  </a:lnTo>
                  <a:lnTo>
                    <a:pt x="1021" y="659"/>
                  </a:lnTo>
                  <a:lnTo>
                    <a:pt x="1023" y="659"/>
                  </a:lnTo>
                  <a:lnTo>
                    <a:pt x="1023" y="659"/>
                  </a:lnTo>
                  <a:lnTo>
                    <a:pt x="1021" y="664"/>
                  </a:lnTo>
                  <a:lnTo>
                    <a:pt x="1023" y="664"/>
                  </a:lnTo>
                  <a:lnTo>
                    <a:pt x="1026" y="664"/>
                  </a:lnTo>
                  <a:lnTo>
                    <a:pt x="1028" y="664"/>
                  </a:lnTo>
                  <a:lnTo>
                    <a:pt x="1028" y="664"/>
                  </a:lnTo>
                  <a:lnTo>
                    <a:pt x="1028" y="664"/>
                  </a:lnTo>
                  <a:lnTo>
                    <a:pt x="1026" y="664"/>
                  </a:lnTo>
                  <a:lnTo>
                    <a:pt x="1026" y="667"/>
                  </a:lnTo>
                  <a:lnTo>
                    <a:pt x="1028" y="667"/>
                  </a:lnTo>
                  <a:lnTo>
                    <a:pt x="1028" y="667"/>
                  </a:lnTo>
                  <a:lnTo>
                    <a:pt x="1033" y="669"/>
                  </a:lnTo>
                  <a:lnTo>
                    <a:pt x="1035" y="669"/>
                  </a:lnTo>
                  <a:lnTo>
                    <a:pt x="1035" y="669"/>
                  </a:lnTo>
                  <a:lnTo>
                    <a:pt x="1033" y="667"/>
                  </a:lnTo>
                  <a:lnTo>
                    <a:pt x="1035" y="667"/>
                  </a:lnTo>
                  <a:lnTo>
                    <a:pt x="1037" y="667"/>
                  </a:lnTo>
                  <a:lnTo>
                    <a:pt x="1037" y="667"/>
                  </a:lnTo>
                  <a:lnTo>
                    <a:pt x="1040" y="664"/>
                  </a:lnTo>
                  <a:lnTo>
                    <a:pt x="1040" y="667"/>
                  </a:lnTo>
                  <a:lnTo>
                    <a:pt x="1037" y="667"/>
                  </a:lnTo>
                  <a:lnTo>
                    <a:pt x="1037" y="667"/>
                  </a:lnTo>
                  <a:lnTo>
                    <a:pt x="1037" y="669"/>
                  </a:lnTo>
                  <a:lnTo>
                    <a:pt x="1040" y="669"/>
                  </a:lnTo>
                  <a:lnTo>
                    <a:pt x="1040" y="669"/>
                  </a:lnTo>
                  <a:lnTo>
                    <a:pt x="1037" y="671"/>
                  </a:lnTo>
                  <a:lnTo>
                    <a:pt x="1037" y="671"/>
                  </a:lnTo>
                  <a:lnTo>
                    <a:pt x="1040" y="671"/>
                  </a:lnTo>
                  <a:lnTo>
                    <a:pt x="1040" y="671"/>
                  </a:lnTo>
                  <a:lnTo>
                    <a:pt x="1040" y="671"/>
                  </a:lnTo>
                  <a:lnTo>
                    <a:pt x="1040" y="674"/>
                  </a:lnTo>
                  <a:lnTo>
                    <a:pt x="1044" y="671"/>
                  </a:lnTo>
                  <a:lnTo>
                    <a:pt x="1044" y="671"/>
                  </a:lnTo>
                  <a:lnTo>
                    <a:pt x="1044" y="671"/>
                  </a:lnTo>
                  <a:lnTo>
                    <a:pt x="1044" y="671"/>
                  </a:lnTo>
                  <a:lnTo>
                    <a:pt x="1044" y="669"/>
                  </a:lnTo>
                  <a:lnTo>
                    <a:pt x="1044" y="669"/>
                  </a:lnTo>
                  <a:close/>
                  <a:moveTo>
                    <a:pt x="997" y="324"/>
                  </a:moveTo>
                  <a:lnTo>
                    <a:pt x="1000" y="326"/>
                  </a:lnTo>
                  <a:lnTo>
                    <a:pt x="1002" y="326"/>
                  </a:lnTo>
                  <a:lnTo>
                    <a:pt x="1002" y="326"/>
                  </a:lnTo>
                  <a:lnTo>
                    <a:pt x="1004" y="324"/>
                  </a:lnTo>
                  <a:lnTo>
                    <a:pt x="1004" y="321"/>
                  </a:lnTo>
                  <a:lnTo>
                    <a:pt x="1000" y="319"/>
                  </a:lnTo>
                  <a:lnTo>
                    <a:pt x="995" y="321"/>
                  </a:lnTo>
                  <a:lnTo>
                    <a:pt x="997" y="324"/>
                  </a:lnTo>
                  <a:close/>
                  <a:moveTo>
                    <a:pt x="870" y="461"/>
                  </a:moveTo>
                  <a:lnTo>
                    <a:pt x="868" y="461"/>
                  </a:lnTo>
                  <a:lnTo>
                    <a:pt x="868" y="461"/>
                  </a:lnTo>
                  <a:lnTo>
                    <a:pt x="868" y="461"/>
                  </a:lnTo>
                  <a:lnTo>
                    <a:pt x="865" y="463"/>
                  </a:lnTo>
                  <a:lnTo>
                    <a:pt x="863" y="463"/>
                  </a:lnTo>
                  <a:lnTo>
                    <a:pt x="863" y="463"/>
                  </a:lnTo>
                  <a:lnTo>
                    <a:pt x="863" y="466"/>
                  </a:lnTo>
                  <a:lnTo>
                    <a:pt x="865" y="466"/>
                  </a:lnTo>
                  <a:lnTo>
                    <a:pt x="870" y="463"/>
                  </a:lnTo>
                  <a:lnTo>
                    <a:pt x="872" y="461"/>
                  </a:lnTo>
                  <a:lnTo>
                    <a:pt x="872" y="458"/>
                  </a:lnTo>
                  <a:lnTo>
                    <a:pt x="872" y="458"/>
                  </a:lnTo>
                  <a:lnTo>
                    <a:pt x="870" y="461"/>
                  </a:lnTo>
                  <a:lnTo>
                    <a:pt x="870" y="461"/>
                  </a:lnTo>
                  <a:close/>
                  <a:moveTo>
                    <a:pt x="877" y="466"/>
                  </a:moveTo>
                  <a:lnTo>
                    <a:pt x="872" y="470"/>
                  </a:lnTo>
                  <a:lnTo>
                    <a:pt x="872" y="470"/>
                  </a:lnTo>
                  <a:lnTo>
                    <a:pt x="872" y="470"/>
                  </a:lnTo>
                  <a:lnTo>
                    <a:pt x="877" y="468"/>
                  </a:lnTo>
                  <a:lnTo>
                    <a:pt x="880" y="466"/>
                  </a:lnTo>
                  <a:lnTo>
                    <a:pt x="882" y="463"/>
                  </a:lnTo>
                  <a:lnTo>
                    <a:pt x="882" y="463"/>
                  </a:lnTo>
                  <a:lnTo>
                    <a:pt x="882" y="461"/>
                  </a:lnTo>
                  <a:lnTo>
                    <a:pt x="882" y="461"/>
                  </a:lnTo>
                  <a:lnTo>
                    <a:pt x="882" y="461"/>
                  </a:lnTo>
                  <a:lnTo>
                    <a:pt x="882" y="461"/>
                  </a:lnTo>
                  <a:lnTo>
                    <a:pt x="882" y="461"/>
                  </a:lnTo>
                  <a:lnTo>
                    <a:pt x="882" y="458"/>
                  </a:lnTo>
                  <a:lnTo>
                    <a:pt x="882" y="458"/>
                  </a:lnTo>
                  <a:lnTo>
                    <a:pt x="882" y="458"/>
                  </a:lnTo>
                  <a:lnTo>
                    <a:pt x="882" y="458"/>
                  </a:lnTo>
                  <a:lnTo>
                    <a:pt x="880" y="458"/>
                  </a:lnTo>
                  <a:lnTo>
                    <a:pt x="880" y="456"/>
                  </a:lnTo>
                  <a:lnTo>
                    <a:pt x="880" y="456"/>
                  </a:lnTo>
                  <a:lnTo>
                    <a:pt x="880" y="456"/>
                  </a:lnTo>
                  <a:lnTo>
                    <a:pt x="877" y="458"/>
                  </a:lnTo>
                  <a:lnTo>
                    <a:pt x="877" y="461"/>
                  </a:lnTo>
                  <a:lnTo>
                    <a:pt x="875" y="463"/>
                  </a:lnTo>
                  <a:lnTo>
                    <a:pt x="872" y="463"/>
                  </a:lnTo>
                  <a:lnTo>
                    <a:pt x="870" y="466"/>
                  </a:lnTo>
                  <a:lnTo>
                    <a:pt x="870" y="466"/>
                  </a:lnTo>
                  <a:lnTo>
                    <a:pt x="872" y="463"/>
                  </a:lnTo>
                  <a:lnTo>
                    <a:pt x="872" y="463"/>
                  </a:lnTo>
                  <a:lnTo>
                    <a:pt x="875" y="458"/>
                  </a:lnTo>
                  <a:lnTo>
                    <a:pt x="877" y="458"/>
                  </a:lnTo>
                  <a:lnTo>
                    <a:pt x="877" y="458"/>
                  </a:lnTo>
                  <a:lnTo>
                    <a:pt x="877" y="458"/>
                  </a:lnTo>
                  <a:lnTo>
                    <a:pt x="875" y="458"/>
                  </a:lnTo>
                  <a:lnTo>
                    <a:pt x="875" y="458"/>
                  </a:lnTo>
                  <a:lnTo>
                    <a:pt x="875" y="461"/>
                  </a:lnTo>
                  <a:lnTo>
                    <a:pt x="872" y="463"/>
                  </a:lnTo>
                  <a:lnTo>
                    <a:pt x="870" y="463"/>
                  </a:lnTo>
                  <a:lnTo>
                    <a:pt x="865" y="466"/>
                  </a:lnTo>
                  <a:lnTo>
                    <a:pt x="861" y="470"/>
                  </a:lnTo>
                  <a:lnTo>
                    <a:pt x="861" y="470"/>
                  </a:lnTo>
                  <a:lnTo>
                    <a:pt x="861" y="470"/>
                  </a:lnTo>
                  <a:lnTo>
                    <a:pt x="861" y="470"/>
                  </a:lnTo>
                  <a:lnTo>
                    <a:pt x="863" y="470"/>
                  </a:lnTo>
                  <a:lnTo>
                    <a:pt x="870" y="466"/>
                  </a:lnTo>
                  <a:lnTo>
                    <a:pt x="870" y="466"/>
                  </a:lnTo>
                  <a:lnTo>
                    <a:pt x="870" y="466"/>
                  </a:lnTo>
                  <a:lnTo>
                    <a:pt x="870" y="466"/>
                  </a:lnTo>
                  <a:lnTo>
                    <a:pt x="863" y="473"/>
                  </a:lnTo>
                  <a:lnTo>
                    <a:pt x="865" y="470"/>
                  </a:lnTo>
                  <a:lnTo>
                    <a:pt x="868" y="470"/>
                  </a:lnTo>
                  <a:lnTo>
                    <a:pt x="868" y="470"/>
                  </a:lnTo>
                  <a:lnTo>
                    <a:pt x="868" y="470"/>
                  </a:lnTo>
                  <a:lnTo>
                    <a:pt x="870" y="470"/>
                  </a:lnTo>
                  <a:lnTo>
                    <a:pt x="875" y="466"/>
                  </a:lnTo>
                  <a:lnTo>
                    <a:pt x="877" y="463"/>
                  </a:lnTo>
                  <a:lnTo>
                    <a:pt x="877" y="466"/>
                  </a:lnTo>
                  <a:lnTo>
                    <a:pt x="877" y="466"/>
                  </a:lnTo>
                  <a:lnTo>
                    <a:pt x="877" y="466"/>
                  </a:lnTo>
                  <a:close/>
                  <a:moveTo>
                    <a:pt x="875" y="451"/>
                  </a:moveTo>
                  <a:lnTo>
                    <a:pt x="875" y="451"/>
                  </a:lnTo>
                  <a:lnTo>
                    <a:pt x="875" y="451"/>
                  </a:lnTo>
                  <a:lnTo>
                    <a:pt x="872" y="451"/>
                  </a:lnTo>
                  <a:lnTo>
                    <a:pt x="872" y="451"/>
                  </a:lnTo>
                  <a:lnTo>
                    <a:pt x="872" y="454"/>
                  </a:lnTo>
                  <a:lnTo>
                    <a:pt x="872" y="454"/>
                  </a:lnTo>
                  <a:lnTo>
                    <a:pt x="872" y="454"/>
                  </a:lnTo>
                  <a:lnTo>
                    <a:pt x="875" y="451"/>
                  </a:lnTo>
                  <a:close/>
                  <a:moveTo>
                    <a:pt x="908" y="392"/>
                  </a:moveTo>
                  <a:lnTo>
                    <a:pt x="908" y="395"/>
                  </a:lnTo>
                  <a:lnTo>
                    <a:pt x="905" y="395"/>
                  </a:lnTo>
                  <a:lnTo>
                    <a:pt x="908" y="395"/>
                  </a:lnTo>
                  <a:lnTo>
                    <a:pt x="910" y="395"/>
                  </a:lnTo>
                  <a:lnTo>
                    <a:pt x="910" y="392"/>
                  </a:lnTo>
                  <a:lnTo>
                    <a:pt x="910" y="392"/>
                  </a:lnTo>
                  <a:lnTo>
                    <a:pt x="908" y="392"/>
                  </a:lnTo>
                  <a:lnTo>
                    <a:pt x="908" y="392"/>
                  </a:lnTo>
                  <a:close/>
                  <a:moveTo>
                    <a:pt x="894" y="217"/>
                  </a:moveTo>
                  <a:lnTo>
                    <a:pt x="894" y="220"/>
                  </a:lnTo>
                  <a:lnTo>
                    <a:pt x="894" y="220"/>
                  </a:lnTo>
                  <a:lnTo>
                    <a:pt x="894" y="217"/>
                  </a:lnTo>
                  <a:lnTo>
                    <a:pt x="894" y="217"/>
                  </a:lnTo>
                  <a:lnTo>
                    <a:pt x="896" y="217"/>
                  </a:lnTo>
                  <a:lnTo>
                    <a:pt x="894" y="215"/>
                  </a:lnTo>
                  <a:lnTo>
                    <a:pt x="894" y="215"/>
                  </a:lnTo>
                  <a:lnTo>
                    <a:pt x="894" y="215"/>
                  </a:lnTo>
                  <a:lnTo>
                    <a:pt x="891" y="217"/>
                  </a:lnTo>
                  <a:lnTo>
                    <a:pt x="891" y="217"/>
                  </a:lnTo>
                  <a:lnTo>
                    <a:pt x="891" y="217"/>
                  </a:lnTo>
                  <a:lnTo>
                    <a:pt x="891" y="217"/>
                  </a:lnTo>
                  <a:lnTo>
                    <a:pt x="894" y="217"/>
                  </a:lnTo>
                  <a:close/>
                  <a:moveTo>
                    <a:pt x="882" y="466"/>
                  </a:moveTo>
                  <a:lnTo>
                    <a:pt x="882" y="466"/>
                  </a:lnTo>
                  <a:lnTo>
                    <a:pt x="884" y="463"/>
                  </a:lnTo>
                  <a:lnTo>
                    <a:pt x="884" y="463"/>
                  </a:lnTo>
                  <a:lnTo>
                    <a:pt x="887" y="463"/>
                  </a:lnTo>
                  <a:lnTo>
                    <a:pt x="887" y="461"/>
                  </a:lnTo>
                  <a:lnTo>
                    <a:pt x="887" y="461"/>
                  </a:lnTo>
                  <a:lnTo>
                    <a:pt x="887" y="461"/>
                  </a:lnTo>
                  <a:lnTo>
                    <a:pt x="884" y="461"/>
                  </a:lnTo>
                  <a:lnTo>
                    <a:pt x="884" y="461"/>
                  </a:lnTo>
                  <a:lnTo>
                    <a:pt x="882" y="463"/>
                  </a:lnTo>
                  <a:lnTo>
                    <a:pt x="882" y="463"/>
                  </a:lnTo>
                  <a:lnTo>
                    <a:pt x="880" y="466"/>
                  </a:lnTo>
                  <a:lnTo>
                    <a:pt x="880" y="466"/>
                  </a:lnTo>
                  <a:lnTo>
                    <a:pt x="880" y="466"/>
                  </a:lnTo>
                  <a:lnTo>
                    <a:pt x="882" y="466"/>
                  </a:lnTo>
                  <a:close/>
                  <a:moveTo>
                    <a:pt x="884" y="440"/>
                  </a:moveTo>
                  <a:lnTo>
                    <a:pt x="884" y="440"/>
                  </a:lnTo>
                  <a:lnTo>
                    <a:pt x="884" y="440"/>
                  </a:lnTo>
                  <a:lnTo>
                    <a:pt x="884" y="437"/>
                  </a:lnTo>
                  <a:lnTo>
                    <a:pt x="884" y="437"/>
                  </a:lnTo>
                  <a:lnTo>
                    <a:pt x="884" y="437"/>
                  </a:lnTo>
                  <a:lnTo>
                    <a:pt x="884" y="437"/>
                  </a:lnTo>
                  <a:lnTo>
                    <a:pt x="884" y="437"/>
                  </a:lnTo>
                  <a:lnTo>
                    <a:pt x="882" y="437"/>
                  </a:lnTo>
                  <a:lnTo>
                    <a:pt x="882" y="440"/>
                  </a:lnTo>
                  <a:lnTo>
                    <a:pt x="882" y="440"/>
                  </a:lnTo>
                  <a:lnTo>
                    <a:pt x="882" y="440"/>
                  </a:lnTo>
                  <a:lnTo>
                    <a:pt x="882" y="440"/>
                  </a:lnTo>
                  <a:lnTo>
                    <a:pt x="884" y="440"/>
                  </a:lnTo>
                  <a:close/>
                  <a:moveTo>
                    <a:pt x="877" y="456"/>
                  </a:moveTo>
                  <a:lnTo>
                    <a:pt x="877" y="456"/>
                  </a:lnTo>
                  <a:lnTo>
                    <a:pt x="877" y="456"/>
                  </a:lnTo>
                  <a:lnTo>
                    <a:pt x="877" y="454"/>
                  </a:lnTo>
                  <a:lnTo>
                    <a:pt x="877" y="454"/>
                  </a:lnTo>
                  <a:lnTo>
                    <a:pt x="877" y="454"/>
                  </a:lnTo>
                  <a:lnTo>
                    <a:pt x="877" y="454"/>
                  </a:lnTo>
                  <a:lnTo>
                    <a:pt x="877" y="454"/>
                  </a:lnTo>
                  <a:lnTo>
                    <a:pt x="877" y="454"/>
                  </a:lnTo>
                  <a:lnTo>
                    <a:pt x="877" y="454"/>
                  </a:lnTo>
                  <a:lnTo>
                    <a:pt x="877" y="454"/>
                  </a:lnTo>
                  <a:lnTo>
                    <a:pt x="877" y="454"/>
                  </a:lnTo>
                  <a:lnTo>
                    <a:pt x="875" y="456"/>
                  </a:lnTo>
                  <a:lnTo>
                    <a:pt x="877" y="456"/>
                  </a:lnTo>
                  <a:close/>
                  <a:moveTo>
                    <a:pt x="903" y="397"/>
                  </a:moveTo>
                  <a:lnTo>
                    <a:pt x="901" y="397"/>
                  </a:lnTo>
                  <a:lnTo>
                    <a:pt x="901" y="397"/>
                  </a:lnTo>
                  <a:lnTo>
                    <a:pt x="903" y="397"/>
                  </a:lnTo>
                  <a:lnTo>
                    <a:pt x="903" y="397"/>
                  </a:lnTo>
                  <a:lnTo>
                    <a:pt x="905" y="397"/>
                  </a:lnTo>
                  <a:lnTo>
                    <a:pt x="905" y="395"/>
                  </a:lnTo>
                  <a:lnTo>
                    <a:pt x="905" y="395"/>
                  </a:lnTo>
                  <a:lnTo>
                    <a:pt x="903" y="397"/>
                  </a:lnTo>
                  <a:lnTo>
                    <a:pt x="903" y="397"/>
                  </a:lnTo>
                  <a:close/>
                  <a:moveTo>
                    <a:pt x="955" y="319"/>
                  </a:moveTo>
                  <a:lnTo>
                    <a:pt x="957" y="317"/>
                  </a:lnTo>
                  <a:lnTo>
                    <a:pt x="955" y="317"/>
                  </a:lnTo>
                  <a:lnTo>
                    <a:pt x="953" y="317"/>
                  </a:lnTo>
                  <a:lnTo>
                    <a:pt x="955" y="317"/>
                  </a:lnTo>
                  <a:lnTo>
                    <a:pt x="955" y="314"/>
                  </a:lnTo>
                  <a:lnTo>
                    <a:pt x="955" y="314"/>
                  </a:lnTo>
                  <a:lnTo>
                    <a:pt x="955" y="314"/>
                  </a:lnTo>
                  <a:lnTo>
                    <a:pt x="953" y="312"/>
                  </a:lnTo>
                  <a:lnTo>
                    <a:pt x="953" y="312"/>
                  </a:lnTo>
                  <a:lnTo>
                    <a:pt x="950" y="314"/>
                  </a:lnTo>
                  <a:lnTo>
                    <a:pt x="950" y="314"/>
                  </a:lnTo>
                  <a:lnTo>
                    <a:pt x="948" y="314"/>
                  </a:lnTo>
                  <a:lnTo>
                    <a:pt x="946" y="312"/>
                  </a:lnTo>
                  <a:lnTo>
                    <a:pt x="938" y="314"/>
                  </a:lnTo>
                  <a:lnTo>
                    <a:pt x="936" y="314"/>
                  </a:lnTo>
                  <a:lnTo>
                    <a:pt x="936" y="314"/>
                  </a:lnTo>
                  <a:lnTo>
                    <a:pt x="941" y="312"/>
                  </a:lnTo>
                  <a:lnTo>
                    <a:pt x="941" y="312"/>
                  </a:lnTo>
                  <a:lnTo>
                    <a:pt x="943" y="312"/>
                  </a:lnTo>
                  <a:lnTo>
                    <a:pt x="943" y="309"/>
                  </a:lnTo>
                  <a:lnTo>
                    <a:pt x="943" y="307"/>
                  </a:lnTo>
                  <a:lnTo>
                    <a:pt x="943" y="302"/>
                  </a:lnTo>
                  <a:lnTo>
                    <a:pt x="943" y="302"/>
                  </a:lnTo>
                  <a:lnTo>
                    <a:pt x="943" y="300"/>
                  </a:lnTo>
                  <a:lnTo>
                    <a:pt x="941" y="300"/>
                  </a:lnTo>
                  <a:lnTo>
                    <a:pt x="936" y="300"/>
                  </a:lnTo>
                  <a:lnTo>
                    <a:pt x="936" y="300"/>
                  </a:lnTo>
                  <a:lnTo>
                    <a:pt x="934" y="298"/>
                  </a:lnTo>
                  <a:lnTo>
                    <a:pt x="931" y="295"/>
                  </a:lnTo>
                  <a:lnTo>
                    <a:pt x="931" y="295"/>
                  </a:lnTo>
                  <a:lnTo>
                    <a:pt x="931" y="293"/>
                  </a:lnTo>
                  <a:lnTo>
                    <a:pt x="929" y="293"/>
                  </a:lnTo>
                  <a:lnTo>
                    <a:pt x="927" y="293"/>
                  </a:lnTo>
                  <a:lnTo>
                    <a:pt x="924" y="293"/>
                  </a:lnTo>
                  <a:lnTo>
                    <a:pt x="922" y="291"/>
                  </a:lnTo>
                  <a:lnTo>
                    <a:pt x="922" y="291"/>
                  </a:lnTo>
                  <a:lnTo>
                    <a:pt x="922" y="291"/>
                  </a:lnTo>
                  <a:lnTo>
                    <a:pt x="922" y="288"/>
                  </a:lnTo>
                  <a:lnTo>
                    <a:pt x="920" y="286"/>
                  </a:lnTo>
                  <a:lnTo>
                    <a:pt x="920" y="286"/>
                  </a:lnTo>
                  <a:lnTo>
                    <a:pt x="917" y="286"/>
                  </a:lnTo>
                  <a:lnTo>
                    <a:pt x="915" y="291"/>
                  </a:lnTo>
                  <a:lnTo>
                    <a:pt x="913" y="291"/>
                  </a:lnTo>
                  <a:lnTo>
                    <a:pt x="913" y="291"/>
                  </a:lnTo>
                  <a:lnTo>
                    <a:pt x="910" y="291"/>
                  </a:lnTo>
                  <a:lnTo>
                    <a:pt x="913" y="288"/>
                  </a:lnTo>
                  <a:lnTo>
                    <a:pt x="910" y="286"/>
                  </a:lnTo>
                  <a:lnTo>
                    <a:pt x="910" y="286"/>
                  </a:lnTo>
                  <a:lnTo>
                    <a:pt x="910" y="286"/>
                  </a:lnTo>
                  <a:lnTo>
                    <a:pt x="913" y="283"/>
                  </a:lnTo>
                  <a:lnTo>
                    <a:pt x="915" y="283"/>
                  </a:lnTo>
                  <a:lnTo>
                    <a:pt x="915" y="283"/>
                  </a:lnTo>
                  <a:lnTo>
                    <a:pt x="915" y="281"/>
                  </a:lnTo>
                  <a:lnTo>
                    <a:pt x="915" y="281"/>
                  </a:lnTo>
                  <a:lnTo>
                    <a:pt x="913" y="279"/>
                  </a:lnTo>
                  <a:lnTo>
                    <a:pt x="913" y="279"/>
                  </a:lnTo>
                  <a:lnTo>
                    <a:pt x="913" y="279"/>
                  </a:lnTo>
                  <a:lnTo>
                    <a:pt x="913" y="279"/>
                  </a:lnTo>
                  <a:lnTo>
                    <a:pt x="910" y="279"/>
                  </a:lnTo>
                  <a:lnTo>
                    <a:pt x="908" y="279"/>
                  </a:lnTo>
                  <a:lnTo>
                    <a:pt x="903" y="281"/>
                  </a:lnTo>
                  <a:lnTo>
                    <a:pt x="901" y="283"/>
                  </a:lnTo>
                  <a:lnTo>
                    <a:pt x="898" y="286"/>
                  </a:lnTo>
                  <a:lnTo>
                    <a:pt x="896" y="288"/>
                  </a:lnTo>
                  <a:lnTo>
                    <a:pt x="889" y="295"/>
                  </a:lnTo>
                  <a:lnTo>
                    <a:pt x="887" y="298"/>
                  </a:lnTo>
                  <a:lnTo>
                    <a:pt x="882" y="302"/>
                  </a:lnTo>
                  <a:lnTo>
                    <a:pt x="880" y="302"/>
                  </a:lnTo>
                  <a:lnTo>
                    <a:pt x="880" y="305"/>
                  </a:lnTo>
                  <a:lnTo>
                    <a:pt x="877" y="307"/>
                  </a:lnTo>
                  <a:lnTo>
                    <a:pt x="877" y="309"/>
                  </a:lnTo>
                  <a:lnTo>
                    <a:pt x="877" y="309"/>
                  </a:lnTo>
                  <a:lnTo>
                    <a:pt x="877" y="312"/>
                  </a:lnTo>
                  <a:lnTo>
                    <a:pt x="875" y="312"/>
                  </a:lnTo>
                  <a:lnTo>
                    <a:pt x="872" y="312"/>
                  </a:lnTo>
                  <a:lnTo>
                    <a:pt x="863" y="314"/>
                  </a:lnTo>
                  <a:lnTo>
                    <a:pt x="863" y="317"/>
                  </a:lnTo>
                  <a:lnTo>
                    <a:pt x="861" y="317"/>
                  </a:lnTo>
                  <a:lnTo>
                    <a:pt x="858" y="319"/>
                  </a:lnTo>
                  <a:lnTo>
                    <a:pt x="856" y="319"/>
                  </a:lnTo>
                  <a:lnTo>
                    <a:pt x="856" y="321"/>
                  </a:lnTo>
                  <a:lnTo>
                    <a:pt x="856" y="321"/>
                  </a:lnTo>
                  <a:lnTo>
                    <a:pt x="856" y="321"/>
                  </a:lnTo>
                  <a:lnTo>
                    <a:pt x="856" y="321"/>
                  </a:lnTo>
                  <a:lnTo>
                    <a:pt x="858" y="321"/>
                  </a:lnTo>
                  <a:lnTo>
                    <a:pt x="861" y="321"/>
                  </a:lnTo>
                  <a:lnTo>
                    <a:pt x="865" y="321"/>
                  </a:lnTo>
                  <a:lnTo>
                    <a:pt x="868" y="321"/>
                  </a:lnTo>
                  <a:lnTo>
                    <a:pt x="877" y="319"/>
                  </a:lnTo>
                  <a:lnTo>
                    <a:pt x="877" y="319"/>
                  </a:lnTo>
                  <a:lnTo>
                    <a:pt x="877" y="319"/>
                  </a:lnTo>
                  <a:lnTo>
                    <a:pt x="877" y="321"/>
                  </a:lnTo>
                  <a:lnTo>
                    <a:pt x="875" y="328"/>
                  </a:lnTo>
                  <a:lnTo>
                    <a:pt x="872" y="331"/>
                  </a:lnTo>
                  <a:lnTo>
                    <a:pt x="875" y="331"/>
                  </a:lnTo>
                  <a:lnTo>
                    <a:pt x="877" y="331"/>
                  </a:lnTo>
                  <a:lnTo>
                    <a:pt x="882" y="328"/>
                  </a:lnTo>
                  <a:lnTo>
                    <a:pt x="884" y="328"/>
                  </a:lnTo>
                  <a:lnTo>
                    <a:pt x="887" y="326"/>
                  </a:lnTo>
                  <a:lnTo>
                    <a:pt x="889" y="326"/>
                  </a:lnTo>
                  <a:lnTo>
                    <a:pt x="891" y="326"/>
                  </a:lnTo>
                  <a:lnTo>
                    <a:pt x="894" y="324"/>
                  </a:lnTo>
                  <a:lnTo>
                    <a:pt x="896" y="321"/>
                  </a:lnTo>
                  <a:lnTo>
                    <a:pt x="896" y="321"/>
                  </a:lnTo>
                  <a:lnTo>
                    <a:pt x="898" y="321"/>
                  </a:lnTo>
                  <a:lnTo>
                    <a:pt x="901" y="321"/>
                  </a:lnTo>
                  <a:lnTo>
                    <a:pt x="908" y="317"/>
                  </a:lnTo>
                  <a:lnTo>
                    <a:pt x="910" y="317"/>
                  </a:lnTo>
                  <a:lnTo>
                    <a:pt x="910" y="317"/>
                  </a:lnTo>
                  <a:lnTo>
                    <a:pt x="913" y="314"/>
                  </a:lnTo>
                  <a:lnTo>
                    <a:pt x="913" y="312"/>
                  </a:lnTo>
                  <a:lnTo>
                    <a:pt x="915" y="312"/>
                  </a:lnTo>
                  <a:lnTo>
                    <a:pt x="917" y="312"/>
                  </a:lnTo>
                  <a:lnTo>
                    <a:pt x="920" y="312"/>
                  </a:lnTo>
                  <a:lnTo>
                    <a:pt x="922" y="312"/>
                  </a:lnTo>
                  <a:lnTo>
                    <a:pt x="922" y="312"/>
                  </a:lnTo>
                  <a:lnTo>
                    <a:pt x="922" y="312"/>
                  </a:lnTo>
                  <a:lnTo>
                    <a:pt x="920" y="314"/>
                  </a:lnTo>
                  <a:lnTo>
                    <a:pt x="922" y="314"/>
                  </a:lnTo>
                  <a:lnTo>
                    <a:pt x="927" y="314"/>
                  </a:lnTo>
                  <a:lnTo>
                    <a:pt x="927" y="314"/>
                  </a:lnTo>
                  <a:lnTo>
                    <a:pt x="924" y="319"/>
                  </a:lnTo>
                  <a:lnTo>
                    <a:pt x="927" y="319"/>
                  </a:lnTo>
                  <a:lnTo>
                    <a:pt x="929" y="319"/>
                  </a:lnTo>
                  <a:lnTo>
                    <a:pt x="931" y="321"/>
                  </a:lnTo>
                  <a:lnTo>
                    <a:pt x="938" y="324"/>
                  </a:lnTo>
                  <a:lnTo>
                    <a:pt x="941" y="324"/>
                  </a:lnTo>
                  <a:lnTo>
                    <a:pt x="941" y="324"/>
                  </a:lnTo>
                  <a:lnTo>
                    <a:pt x="941" y="324"/>
                  </a:lnTo>
                  <a:lnTo>
                    <a:pt x="943" y="324"/>
                  </a:lnTo>
                  <a:lnTo>
                    <a:pt x="948" y="321"/>
                  </a:lnTo>
                  <a:lnTo>
                    <a:pt x="953" y="319"/>
                  </a:lnTo>
                  <a:lnTo>
                    <a:pt x="955" y="319"/>
                  </a:lnTo>
                  <a:close/>
                  <a:moveTo>
                    <a:pt x="953" y="205"/>
                  </a:moveTo>
                  <a:lnTo>
                    <a:pt x="953" y="205"/>
                  </a:lnTo>
                  <a:lnTo>
                    <a:pt x="955" y="205"/>
                  </a:lnTo>
                  <a:lnTo>
                    <a:pt x="957" y="205"/>
                  </a:lnTo>
                  <a:lnTo>
                    <a:pt x="960" y="205"/>
                  </a:lnTo>
                  <a:lnTo>
                    <a:pt x="960" y="205"/>
                  </a:lnTo>
                  <a:lnTo>
                    <a:pt x="960" y="203"/>
                  </a:lnTo>
                  <a:lnTo>
                    <a:pt x="960" y="203"/>
                  </a:lnTo>
                  <a:lnTo>
                    <a:pt x="960" y="203"/>
                  </a:lnTo>
                  <a:lnTo>
                    <a:pt x="960" y="203"/>
                  </a:lnTo>
                  <a:lnTo>
                    <a:pt x="957" y="203"/>
                  </a:lnTo>
                  <a:lnTo>
                    <a:pt x="955" y="203"/>
                  </a:lnTo>
                  <a:lnTo>
                    <a:pt x="955" y="203"/>
                  </a:lnTo>
                  <a:lnTo>
                    <a:pt x="953" y="203"/>
                  </a:lnTo>
                  <a:lnTo>
                    <a:pt x="950" y="203"/>
                  </a:lnTo>
                  <a:lnTo>
                    <a:pt x="950" y="203"/>
                  </a:lnTo>
                  <a:lnTo>
                    <a:pt x="950" y="203"/>
                  </a:lnTo>
                  <a:lnTo>
                    <a:pt x="950" y="205"/>
                  </a:lnTo>
                  <a:lnTo>
                    <a:pt x="953" y="205"/>
                  </a:lnTo>
                  <a:close/>
                  <a:moveTo>
                    <a:pt x="922" y="276"/>
                  </a:moveTo>
                  <a:lnTo>
                    <a:pt x="922" y="276"/>
                  </a:lnTo>
                  <a:lnTo>
                    <a:pt x="920" y="276"/>
                  </a:lnTo>
                  <a:lnTo>
                    <a:pt x="920" y="276"/>
                  </a:lnTo>
                  <a:lnTo>
                    <a:pt x="917" y="276"/>
                  </a:lnTo>
                  <a:lnTo>
                    <a:pt x="917" y="279"/>
                  </a:lnTo>
                  <a:lnTo>
                    <a:pt x="917" y="279"/>
                  </a:lnTo>
                  <a:lnTo>
                    <a:pt x="917" y="281"/>
                  </a:lnTo>
                  <a:lnTo>
                    <a:pt x="915" y="281"/>
                  </a:lnTo>
                  <a:lnTo>
                    <a:pt x="915" y="281"/>
                  </a:lnTo>
                  <a:lnTo>
                    <a:pt x="917" y="283"/>
                  </a:lnTo>
                  <a:lnTo>
                    <a:pt x="917" y="283"/>
                  </a:lnTo>
                  <a:lnTo>
                    <a:pt x="917" y="283"/>
                  </a:lnTo>
                  <a:lnTo>
                    <a:pt x="917" y="286"/>
                  </a:lnTo>
                  <a:lnTo>
                    <a:pt x="917" y="286"/>
                  </a:lnTo>
                  <a:lnTo>
                    <a:pt x="920" y="283"/>
                  </a:lnTo>
                  <a:lnTo>
                    <a:pt x="920" y="283"/>
                  </a:lnTo>
                  <a:lnTo>
                    <a:pt x="922" y="283"/>
                  </a:lnTo>
                  <a:lnTo>
                    <a:pt x="922" y="283"/>
                  </a:lnTo>
                  <a:lnTo>
                    <a:pt x="922" y="281"/>
                  </a:lnTo>
                  <a:lnTo>
                    <a:pt x="922" y="279"/>
                  </a:lnTo>
                  <a:lnTo>
                    <a:pt x="922" y="279"/>
                  </a:lnTo>
                  <a:lnTo>
                    <a:pt x="922" y="276"/>
                  </a:lnTo>
                  <a:lnTo>
                    <a:pt x="922" y="276"/>
                  </a:lnTo>
                  <a:close/>
                  <a:moveTo>
                    <a:pt x="988" y="324"/>
                  </a:moveTo>
                  <a:lnTo>
                    <a:pt x="988" y="324"/>
                  </a:lnTo>
                  <a:lnTo>
                    <a:pt x="986" y="324"/>
                  </a:lnTo>
                  <a:lnTo>
                    <a:pt x="981" y="324"/>
                  </a:lnTo>
                  <a:lnTo>
                    <a:pt x="979" y="324"/>
                  </a:lnTo>
                  <a:lnTo>
                    <a:pt x="979" y="324"/>
                  </a:lnTo>
                  <a:lnTo>
                    <a:pt x="976" y="324"/>
                  </a:lnTo>
                  <a:lnTo>
                    <a:pt x="976" y="326"/>
                  </a:lnTo>
                  <a:lnTo>
                    <a:pt x="979" y="328"/>
                  </a:lnTo>
                  <a:lnTo>
                    <a:pt x="981" y="331"/>
                  </a:lnTo>
                  <a:lnTo>
                    <a:pt x="981" y="331"/>
                  </a:lnTo>
                  <a:lnTo>
                    <a:pt x="983" y="331"/>
                  </a:lnTo>
                  <a:lnTo>
                    <a:pt x="986" y="331"/>
                  </a:lnTo>
                  <a:lnTo>
                    <a:pt x="988" y="328"/>
                  </a:lnTo>
                  <a:lnTo>
                    <a:pt x="988" y="328"/>
                  </a:lnTo>
                  <a:lnTo>
                    <a:pt x="990" y="328"/>
                  </a:lnTo>
                  <a:lnTo>
                    <a:pt x="990" y="328"/>
                  </a:lnTo>
                  <a:lnTo>
                    <a:pt x="988" y="326"/>
                  </a:lnTo>
                  <a:lnTo>
                    <a:pt x="988" y="324"/>
                  </a:lnTo>
                  <a:lnTo>
                    <a:pt x="988" y="324"/>
                  </a:lnTo>
                  <a:close/>
                  <a:moveTo>
                    <a:pt x="941" y="376"/>
                  </a:moveTo>
                  <a:lnTo>
                    <a:pt x="941" y="376"/>
                  </a:lnTo>
                  <a:lnTo>
                    <a:pt x="941" y="376"/>
                  </a:lnTo>
                  <a:lnTo>
                    <a:pt x="943" y="376"/>
                  </a:lnTo>
                  <a:lnTo>
                    <a:pt x="946" y="376"/>
                  </a:lnTo>
                  <a:lnTo>
                    <a:pt x="946" y="376"/>
                  </a:lnTo>
                  <a:lnTo>
                    <a:pt x="948" y="373"/>
                  </a:lnTo>
                  <a:lnTo>
                    <a:pt x="946" y="376"/>
                  </a:lnTo>
                  <a:lnTo>
                    <a:pt x="941" y="376"/>
                  </a:lnTo>
                  <a:close/>
                  <a:moveTo>
                    <a:pt x="950" y="347"/>
                  </a:moveTo>
                  <a:lnTo>
                    <a:pt x="950" y="347"/>
                  </a:lnTo>
                  <a:lnTo>
                    <a:pt x="950" y="347"/>
                  </a:lnTo>
                  <a:lnTo>
                    <a:pt x="950" y="345"/>
                  </a:lnTo>
                  <a:lnTo>
                    <a:pt x="948" y="345"/>
                  </a:lnTo>
                  <a:lnTo>
                    <a:pt x="948" y="345"/>
                  </a:lnTo>
                  <a:lnTo>
                    <a:pt x="948" y="345"/>
                  </a:lnTo>
                  <a:lnTo>
                    <a:pt x="946" y="345"/>
                  </a:lnTo>
                  <a:lnTo>
                    <a:pt x="943" y="345"/>
                  </a:lnTo>
                  <a:lnTo>
                    <a:pt x="943" y="345"/>
                  </a:lnTo>
                  <a:lnTo>
                    <a:pt x="941" y="345"/>
                  </a:lnTo>
                  <a:lnTo>
                    <a:pt x="936" y="347"/>
                  </a:lnTo>
                  <a:lnTo>
                    <a:pt x="936" y="350"/>
                  </a:lnTo>
                  <a:lnTo>
                    <a:pt x="934" y="350"/>
                  </a:lnTo>
                  <a:lnTo>
                    <a:pt x="934" y="350"/>
                  </a:lnTo>
                  <a:lnTo>
                    <a:pt x="934" y="352"/>
                  </a:lnTo>
                  <a:lnTo>
                    <a:pt x="931" y="354"/>
                  </a:lnTo>
                  <a:lnTo>
                    <a:pt x="931" y="354"/>
                  </a:lnTo>
                  <a:lnTo>
                    <a:pt x="931" y="357"/>
                  </a:lnTo>
                  <a:lnTo>
                    <a:pt x="931" y="357"/>
                  </a:lnTo>
                  <a:lnTo>
                    <a:pt x="934" y="357"/>
                  </a:lnTo>
                  <a:lnTo>
                    <a:pt x="934" y="359"/>
                  </a:lnTo>
                  <a:lnTo>
                    <a:pt x="934" y="359"/>
                  </a:lnTo>
                  <a:lnTo>
                    <a:pt x="936" y="359"/>
                  </a:lnTo>
                  <a:lnTo>
                    <a:pt x="936" y="359"/>
                  </a:lnTo>
                  <a:lnTo>
                    <a:pt x="936" y="359"/>
                  </a:lnTo>
                  <a:lnTo>
                    <a:pt x="938" y="357"/>
                  </a:lnTo>
                  <a:lnTo>
                    <a:pt x="941" y="354"/>
                  </a:lnTo>
                  <a:lnTo>
                    <a:pt x="943" y="354"/>
                  </a:lnTo>
                  <a:lnTo>
                    <a:pt x="946" y="352"/>
                  </a:lnTo>
                  <a:lnTo>
                    <a:pt x="948" y="352"/>
                  </a:lnTo>
                  <a:lnTo>
                    <a:pt x="948" y="350"/>
                  </a:lnTo>
                  <a:lnTo>
                    <a:pt x="950" y="34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5" name="Freeform 371"/>
            <p:cNvSpPr>
              <a:spLocks/>
            </p:cNvSpPr>
            <p:nvPr userDrawn="1"/>
          </p:nvSpPr>
          <p:spPr bwMode="auto">
            <a:xfrm>
              <a:off x="3811" y="2531"/>
              <a:ext cx="144" cy="241"/>
            </a:xfrm>
            <a:custGeom>
              <a:avLst/>
              <a:gdLst>
                <a:gd name="T0" fmla="*/ 141 w 144"/>
                <a:gd name="T1" fmla="*/ 220 h 241"/>
                <a:gd name="T2" fmla="*/ 139 w 144"/>
                <a:gd name="T3" fmla="*/ 213 h 241"/>
                <a:gd name="T4" fmla="*/ 129 w 144"/>
                <a:gd name="T5" fmla="*/ 203 h 241"/>
                <a:gd name="T6" fmla="*/ 122 w 144"/>
                <a:gd name="T7" fmla="*/ 192 h 241"/>
                <a:gd name="T8" fmla="*/ 120 w 144"/>
                <a:gd name="T9" fmla="*/ 184 h 241"/>
                <a:gd name="T10" fmla="*/ 113 w 144"/>
                <a:gd name="T11" fmla="*/ 168 h 241"/>
                <a:gd name="T12" fmla="*/ 113 w 144"/>
                <a:gd name="T13" fmla="*/ 161 h 241"/>
                <a:gd name="T14" fmla="*/ 111 w 144"/>
                <a:gd name="T15" fmla="*/ 151 h 241"/>
                <a:gd name="T16" fmla="*/ 113 w 144"/>
                <a:gd name="T17" fmla="*/ 147 h 241"/>
                <a:gd name="T18" fmla="*/ 120 w 144"/>
                <a:gd name="T19" fmla="*/ 135 h 241"/>
                <a:gd name="T20" fmla="*/ 125 w 144"/>
                <a:gd name="T21" fmla="*/ 123 h 241"/>
                <a:gd name="T22" fmla="*/ 132 w 144"/>
                <a:gd name="T23" fmla="*/ 111 h 241"/>
                <a:gd name="T24" fmla="*/ 120 w 144"/>
                <a:gd name="T25" fmla="*/ 92 h 241"/>
                <a:gd name="T26" fmla="*/ 108 w 144"/>
                <a:gd name="T27" fmla="*/ 83 h 241"/>
                <a:gd name="T28" fmla="*/ 104 w 144"/>
                <a:gd name="T29" fmla="*/ 71 h 241"/>
                <a:gd name="T30" fmla="*/ 122 w 144"/>
                <a:gd name="T31" fmla="*/ 66 h 241"/>
                <a:gd name="T32" fmla="*/ 129 w 144"/>
                <a:gd name="T33" fmla="*/ 64 h 241"/>
                <a:gd name="T34" fmla="*/ 120 w 144"/>
                <a:gd name="T35" fmla="*/ 43 h 241"/>
                <a:gd name="T36" fmla="*/ 122 w 144"/>
                <a:gd name="T37" fmla="*/ 26 h 241"/>
                <a:gd name="T38" fmla="*/ 115 w 144"/>
                <a:gd name="T39" fmla="*/ 9 h 241"/>
                <a:gd name="T40" fmla="*/ 104 w 144"/>
                <a:gd name="T41" fmla="*/ 0 h 241"/>
                <a:gd name="T42" fmla="*/ 106 w 144"/>
                <a:gd name="T43" fmla="*/ 17 h 241"/>
                <a:gd name="T44" fmla="*/ 113 w 144"/>
                <a:gd name="T45" fmla="*/ 21 h 241"/>
                <a:gd name="T46" fmla="*/ 113 w 144"/>
                <a:gd name="T47" fmla="*/ 33 h 241"/>
                <a:gd name="T48" fmla="*/ 101 w 144"/>
                <a:gd name="T49" fmla="*/ 40 h 241"/>
                <a:gd name="T50" fmla="*/ 89 w 144"/>
                <a:gd name="T51" fmla="*/ 64 h 241"/>
                <a:gd name="T52" fmla="*/ 87 w 144"/>
                <a:gd name="T53" fmla="*/ 76 h 241"/>
                <a:gd name="T54" fmla="*/ 80 w 144"/>
                <a:gd name="T55" fmla="*/ 90 h 241"/>
                <a:gd name="T56" fmla="*/ 71 w 144"/>
                <a:gd name="T57" fmla="*/ 99 h 241"/>
                <a:gd name="T58" fmla="*/ 66 w 144"/>
                <a:gd name="T59" fmla="*/ 116 h 241"/>
                <a:gd name="T60" fmla="*/ 61 w 144"/>
                <a:gd name="T61" fmla="*/ 125 h 241"/>
                <a:gd name="T62" fmla="*/ 56 w 144"/>
                <a:gd name="T63" fmla="*/ 137 h 241"/>
                <a:gd name="T64" fmla="*/ 49 w 144"/>
                <a:gd name="T65" fmla="*/ 140 h 241"/>
                <a:gd name="T66" fmla="*/ 42 w 144"/>
                <a:gd name="T67" fmla="*/ 130 h 241"/>
                <a:gd name="T68" fmla="*/ 35 w 144"/>
                <a:gd name="T69" fmla="*/ 132 h 241"/>
                <a:gd name="T70" fmla="*/ 28 w 144"/>
                <a:gd name="T71" fmla="*/ 130 h 241"/>
                <a:gd name="T72" fmla="*/ 19 w 144"/>
                <a:gd name="T73" fmla="*/ 140 h 241"/>
                <a:gd name="T74" fmla="*/ 9 w 144"/>
                <a:gd name="T75" fmla="*/ 151 h 241"/>
                <a:gd name="T76" fmla="*/ 2 w 144"/>
                <a:gd name="T77" fmla="*/ 173 h 241"/>
                <a:gd name="T78" fmla="*/ 2 w 144"/>
                <a:gd name="T79" fmla="*/ 182 h 241"/>
                <a:gd name="T80" fmla="*/ 5 w 144"/>
                <a:gd name="T81" fmla="*/ 180 h 241"/>
                <a:gd name="T82" fmla="*/ 7 w 144"/>
                <a:gd name="T83" fmla="*/ 187 h 241"/>
                <a:gd name="T84" fmla="*/ 14 w 144"/>
                <a:gd name="T85" fmla="*/ 194 h 241"/>
                <a:gd name="T86" fmla="*/ 19 w 144"/>
                <a:gd name="T87" fmla="*/ 192 h 241"/>
                <a:gd name="T88" fmla="*/ 21 w 144"/>
                <a:gd name="T89" fmla="*/ 194 h 241"/>
                <a:gd name="T90" fmla="*/ 21 w 144"/>
                <a:gd name="T91" fmla="*/ 199 h 241"/>
                <a:gd name="T92" fmla="*/ 26 w 144"/>
                <a:gd name="T93" fmla="*/ 213 h 241"/>
                <a:gd name="T94" fmla="*/ 23 w 144"/>
                <a:gd name="T95" fmla="*/ 229 h 241"/>
                <a:gd name="T96" fmla="*/ 42 w 144"/>
                <a:gd name="T97" fmla="*/ 232 h 241"/>
                <a:gd name="T98" fmla="*/ 56 w 144"/>
                <a:gd name="T99" fmla="*/ 227 h 241"/>
                <a:gd name="T100" fmla="*/ 75 w 144"/>
                <a:gd name="T101" fmla="*/ 229 h 241"/>
                <a:gd name="T102" fmla="*/ 89 w 144"/>
                <a:gd name="T103" fmla="*/ 232 h 241"/>
                <a:gd name="T104" fmla="*/ 113 w 144"/>
                <a:gd name="T105" fmla="*/ 229 h 241"/>
                <a:gd name="T106" fmla="*/ 118 w 144"/>
                <a:gd name="T107" fmla="*/ 234 h 241"/>
                <a:gd name="T108" fmla="*/ 125 w 144"/>
                <a:gd name="T109" fmla="*/ 234 h 241"/>
                <a:gd name="T110" fmla="*/ 137 w 144"/>
                <a:gd name="T111" fmla="*/ 239 h 241"/>
                <a:gd name="T112" fmla="*/ 141 w 144"/>
                <a:gd name="T113" fmla="*/ 239 h 241"/>
                <a:gd name="T114" fmla="*/ 144 w 144"/>
                <a:gd name="T115" fmla="*/ 2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41">
                  <a:moveTo>
                    <a:pt x="141" y="227"/>
                  </a:moveTo>
                  <a:lnTo>
                    <a:pt x="141" y="225"/>
                  </a:lnTo>
                  <a:lnTo>
                    <a:pt x="141" y="222"/>
                  </a:lnTo>
                  <a:lnTo>
                    <a:pt x="141" y="222"/>
                  </a:lnTo>
                  <a:lnTo>
                    <a:pt x="141" y="220"/>
                  </a:lnTo>
                  <a:lnTo>
                    <a:pt x="141" y="220"/>
                  </a:lnTo>
                  <a:lnTo>
                    <a:pt x="141" y="218"/>
                  </a:lnTo>
                  <a:lnTo>
                    <a:pt x="141" y="218"/>
                  </a:lnTo>
                  <a:lnTo>
                    <a:pt x="141" y="215"/>
                  </a:lnTo>
                  <a:lnTo>
                    <a:pt x="139" y="213"/>
                  </a:lnTo>
                  <a:lnTo>
                    <a:pt x="139" y="213"/>
                  </a:lnTo>
                  <a:lnTo>
                    <a:pt x="139" y="213"/>
                  </a:lnTo>
                  <a:lnTo>
                    <a:pt x="137" y="210"/>
                  </a:lnTo>
                  <a:lnTo>
                    <a:pt x="137" y="210"/>
                  </a:lnTo>
                  <a:lnTo>
                    <a:pt x="134" y="210"/>
                  </a:lnTo>
                  <a:lnTo>
                    <a:pt x="134" y="208"/>
                  </a:lnTo>
                  <a:lnTo>
                    <a:pt x="132" y="206"/>
                  </a:lnTo>
                  <a:lnTo>
                    <a:pt x="129" y="203"/>
                  </a:lnTo>
                  <a:lnTo>
                    <a:pt x="127" y="201"/>
                  </a:lnTo>
                  <a:lnTo>
                    <a:pt x="125" y="199"/>
                  </a:lnTo>
                  <a:lnTo>
                    <a:pt x="122" y="196"/>
                  </a:lnTo>
                  <a:lnTo>
                    <a:pt x="122" y="194"/>
                  </a:lnTo>
                  <a:lnTo>
                    <a:pt x="122" y="192"/>
                  </a:lnTo>
                  <a:lnTo>
                    <a:pt x="122" y="192"/>
                  </a:lnTo>
                  <a:lnTo>
                    <a:pt x="122" y="192"/>
                  </a:lnTo>
                  <a:lnTo>
                    <a:pt x="122" y="192"/>
                  </a:lnTo>
                  <a:lnTo>
                    <a:pt x="122" y="192"/>
                  </a:lnTo>
                  <a:lnTo>
                    <a:pt x="122" y="189"/>
                  </a:lnTo>
                  <a:lnTo>
                    <a:pt x="122" y="187"/>
                  </a:lnTo>
                  <a:lnTo>
                    <a:pt x="120" y="184"/>
                  </a:lnTo>
                  <a:lnTo>
                    <a:pt x="118" y="182"/>
                  </a:lnTo>
                  <a:lnTo>
                    <a:pt x="115" y="180"/>
                  </a:lnTo>
                  <a:lnTo>
                    <a:pt x="115" y="180"/>
                  </a:lnTo>
                  <a:lnTo>
                    <a:pt x="115" y="177"/>
                  </a:lnTo>
                  <a:lnTo>
                    <a:pt x="115" y="170"/>
                  </a:lnTo>
                  <a:lnTo>
                    <a:pt x="113" y="168"/>
                  </a:lnTo>
                  <a:lnTo>
                    <a:pt x="113" y="166"/>
                  </a:lnTo>
                  <a:lnTo>
                    <a:pt x="113" y="166"/>
                  </a:lnTo>
                  <a:lnTo>
                    <a:pt x="113" y="166"/>
                  </a:lnTo>
                  <a:lnTo>
                    <a:pt x="113" y="163"/>
                  </a:lnTo>
                  <a:lnTo>
                    <a:pt x="113" y="163"/>
                  </a:lnTo>
                  <a:lnTo>
                    <a:pt x="113" y="161"/>
                  </a:lnTo>
                  <a:lnTo>
                    <a:pt x="113" y="161"/>
                  </a:lnTo>
                  <a:lnTo>
                    <a:pt x="113" y="154"/>
                  </a:lnTo>
                  <a:lnTo>
                    <a:pt x="113" y="151"/>
                  </a:lnTo>
                  <a:lnTo>
                    <a:pt x="113" y="151"/>
                  </a:lnTo>
                  <a:lnTo>
                    <a:pt x="113" y="151"/>
                  </a:lnTo>
                  <a:lnTo>
                    <a:pt x="111" y="151"/>
                  </a:lnTo>
                  <a:lnTo>
                    <a:pt x="111" y="151"/>
                  </a:lnTo>
                  <a:lnTo>
                    <a:pt x="111" y="149"/>
                  </a:lnTo>
                  <a:lnTo>
                    <a:pt x="111" y="149"/>
                  </a:lnTo>
                  <a:lnTo>
                    <a:pt x="111" y="147"/>
                  </a:lnTo>
                  <a:lnTo>
                    <a:pt x="111" y="147"/>
                  </a:lnTo>
                  <a:lnTo>
                    <a:pt x="113" y="147"/>
                  </a:lnTo>
                  <a:lnTo>
                    <a:pt x="115" y="144"/>
                  </a:lnTo>
                  <a:lnTo>
                    <a:pt x="115" y="144"/>
                  </a:lnTo>
                  <a:lnTo>
                    <a:pt x="115" y="144"/>
                  </a:lnTo>
                  <a:lnTo>
                    <a:pt x="115" y="142"/>
                  </a:lnTo>
                  <a:lnTo>
                    <a:pt x="118" y="137"/>
                  </a:lnTo>
                  <a:lnTo>
                    <a:pt x="120" y="135"/>
                  </a:lnTo>
                  <a:lnTo>
                    <a:pt x="120" y="132"/>
                  </a:lnTo>
                  <a:lnTo>
                    <a:pt x="122" y="130"/>
                  </a:lnTo>
                  <a:lnTo>
                    <a:pt x="122" y="128"/>
                  </a:lnTo>
                  <a:lnTo>
                    <a:pt x="125" y="125"/>
                  </a:lnTo>
                  <a:lnTo>
                    <a:pt x="125" y="125"/>
                  </a:lnTo>
                  <a:lnTo>
                    <a:pt x="125" y="123"/>
                  </a:lnTo>
                  <a:lnTo>
                    <a:pt x="127" y="121"/>
                  </a:lnTo>
                  <a:lnTo>
                    <a:pt x="129" y="118"/>
                  </a:lnTo>
                  <a:lnTo>
                    <a:pt x="129" y="116"/>
                  </a:lnTo>
                  <a:lnTo>
                    <a:pt x="132" y="116"/>
                  </a:lnTo>
                  <a:lnTo>
                    <a:pt x="132" y="114"/>
                  </a:lnTo>
                  <a:lnTo>
                    <a:pt x="132" y="111"/>
                  </a:lnTo>
                  <a:lnTo>
                    <a:pt x="129" y="111"/>
                  </a:lnTo>
                  <a:lnTo>
                    <a:pt x="129" y="111"/>
                  </a:lnTo>
                  <a:lnTo>
                    <a:pt x="127" y="106"/>
                  </a:lnTo>
                  <a:lnTo>
                    <a:pt x="125" y="102"/>
                  </a:lnTo>
                  <a:lnTo>
                    <a:pt x="122" y="97"/>
                  </a:lnTo>
                  <a:lnTo>
                    <a:pt x="120" y="92"/>
                  </a:lnTo>
                  <a:lnTo>
                    <a:pt x="118" y="90"/>
                  </a:lnTo>
                  <a:lnTo>
                    <a:pt x="118" y="90"/>
                  </a:lnTo>
                  <a:lnTo>
                    <a:pt x="115" y="90"/>
                  </a:lnTo>
                  <a:lnTo>
                    <a:pt x="115" y="90"/>
                  </a:lnTo>
                  <a:lnTo>
                    <a:pt x="113" y="85"/>
                  </a:lnTo>
                  <a:lnTo>
                    <a:pt x="108" y="83"/>
                  </a:lnTo>
                  <a:lnTo>
                    <a:pt x="106" y="80"/>
                  </a:lnTo>
                  <a:lnTo>
                    <a:pt x="106" y="78"/>
                  </a:lnTo>
                  <a:lnTo>
                    <a:pt x="104" y="76"/>
                  </a:lnTo>
                  <a:lnTo>
                    <a:pt x="101" y="73"/>
                  </a:lnTo>
                  <a:lnTo>
                    <a:pt x="101" y="73"/>
                  </a:lnTo>
                  <a:lnTo>
                    <a:pt x="104" y="71"/>
                  </a:lnTo>
                  <a:lnTo>
                    <a:pt x="104" y="69"/>
                  </a:lnTo>
                  <a:lnTo>
                    <a:pt x="106" y="66"/>
                  </a:lnTo>
                  <a:lnTo>
                    <a:pt x="108" y="66"/>
                  </a:lnTo>
                  <a:lnTo>
                    <a:pt x="113" y="66"/>
                  </a:lnTo>
                  <a:lnTo>
                    <a:pt x="118" y="66"/>
                  </a:lnTo>
                  <a:lnTo>
                    <a:pt x="122" y="66"/>
                  </a:lnTo>
                  <a:lnTo>
                    <a:pt x="122" y="66"/>
                  </a:lnTo>
                  <a:lnTo>
                    <a:pt x="125" y="66"/>
                  </a:lnTo>
                  <a:lnTo>
                    <a:pt x="127" y="66"/>
                  </a:lnTo>
                  <a:lnTo>
                    <a:pt x="129" y="66"/>
                  </a:lnTo>
                  <a:lnTo>
                    <a:pt x="132" y="66"/>
                  </a:lnTo>
                  <a:lnTo>
                    <a:pt x="129" y="64"/>
                  </a:lnTo>
                  <a:lnTo>
                    <a:pt x="127" y="62"/>
                  </a:lnTo>
                  <a:lnTo>
                    <a:pt x="125" y="59"/>
                  </a:lnTo>
                  <a:lnTo>
                    <a:pt x="125" y="54"/>
                  </a:lnTo>
                  <a:lnTo>
                    <a:pt x="122" y="52"/>
                  </a:lnTo>
                  <a:lnTo>
                    <a:pt x="122" y="47"/>
                  </a:lnTo>
                  <a:lnTo>
                    <a:pt x="120" y="43"/>
                  </a:lnTo>
                  <a:lnTo>
                    <a:pt x="120" y="38"/>
                  </a:lnTo>
                  <a:lnTo>
                    <a:pt x="122" y="38"/>
                  </a:lnTo>
                  <a:lnTo>
                    <a:pt x="122" y="33"/>
                  </a:lnTo>
                  <a:lnTo>
                    <a:pt x="122" y="31"/>
                  </a:lnTo>
                  <a:lnTo>
                    <a:pt x="122" y="28"/>
                  </a:lnTo>
                  <a:lnTo>
                    <a:pt x="122" y="26"/>
                  </a:lnTo>
                  <a:lnTo>
                    <a:pt x="122" y="26"/>
                  </a:lnTo>
                  <a:lnTo>
                    <a:pt x="120" y="21"/>
                  </a:lnTo>
                  <a:lnTo>
                    <a:pt x="120" y="21"/>
                  </a:lnTo>
                  <a:lnTo>
                    <a:pt x="118" y="17"/>
                  </a:lnTo>
                  <a:lnTo>
                    <a:pt x="118" y="12"/>
                  </a:lnTo>
                  <a:lnTo>
                    <a:pt x="115" y="9"/>
                  </a:lnTo>
                  <a:lnTo>
                    <a:pt x="113" y="7"/>
                  </a:lnTo>
                  <a:lnTo>
                    <a:pt x="111" y="7"/>
                  </a:lnTo>
                  <a:lnTo>
                    <a:pt x="111" y="2"/>
                  </a:lnTo>
                  <a:lnTo>
                    <a:pt x="111" y="2"/>
                  </a:lnTo>
                  <a:lnTo>
                    <a:pt x="106" y="0"/>
                  </a:lnTo>
                  <a:lnTo>
                    <a:pt x="104" y="0"/>
                  </a:lnTo>
                  <a:lnTo>
                    <a:pt x="104" y="9"/>
                  </a:lnTo>
                  <a:lnTo>
                    <a:pt x="106" y="12"/>
                  </a:lnTo>
                  <a:lnTo>
                    <a:pt x="106" y="14"/>
                  </a:lnTo>
                  <a:lnTo>
                    <a:pt x="106" y="14"/>
                  </a:lnTo>
                  <a:lnTo>
                    <a:pt x="106" y="14"/>
                  </a:lnTo>
                  <a:lnTo>
                    <a:pt x="106" y="17"/>
                  </a:lnTo>
                  <a:lnTo>
                    <a:pt x="108" y="17"/>
                  </a:lnTo>
                  <a:lnTo>
                    <a:pt x="111" y="17"/>
                  </a:lnTo>
                  <a:lnTo>
                    <a:pt x="113" y="19"/>
                  </a:lnTo>
                  <a:lnTo>
                    <a:pt x="113" y="19"/>
                  </a:lnTo>
                  <a:lnTo>
                    <a:pt x="113" y="21"/>
                  </a:lnTo>
                  <a:lnTo>
                    <a:pt x="113" y="21"/>
                  </a:lnTo>
                  <a:lnTo>
                    <a:pt x="113" y="24"/>
                  </a:lnTo>
                  <a:lnTo>
                    <a:pt x="113" y="26"/>
                  </a:lnTo>
                  <a:lnTo>
                    <a:pt x="113" y="28"/>
                  </a:lnTo>
                  <a:lnTo>
                    <a:pt x="113" y="33"/>
                  </a:lnTo>
                  <a:lnTo>
                    <a:pt x="113" y="33"/>
                  </a:lnTo>
                  <a:lnTo>
                    <a:pt x="113" y="33"/>
                  </a:lnTo>
                  <a:lnTo>
                    <a:pt x="111" y="35"/>
                  </a:lnTo>
                  <a:lnTo>
                    <a:pt x="108" y="35"/>
                  </a:lnTo>
                  <a:lnTo>
                    <a:pt x="106" y="38"/>
                  </a:lnTo>
                  <a:lnTo>
                    <a:pt x="104" y="40"/>
                  </a:lnTo>
                  <a:lnTo>
                    <a:pt x="104" y="40"/>
                  </a:lnTo>
                  <a:lnTo>
                    <a:pt x="101" y="40"/>
                  </a:lnTo>
                  <a:lnTo>
                    <a:pt x="99" y="43"/>
                  </a:lnTo>
                  <a:lnTo>
                    <a:pt x="96" y="47"/>
                  </a:lnTo>
                  <a:lnTo>
                    <a:pt x="94" y="52"/>
                  </a:lnTo>
                  <a:lnTo>
                    <a:pt x="92" y="57"/>
                  </a:lnTo>
                  <a:lnTo>
                    <a:pt x="92" y="62"/>
                  </a:lnTo>
                  <a:lnTo>
                    <a:pt x="89" y="64"/>
                  </a:lnTo>
                  <a:lnTo>
                    <a:pt x="87" y="66"/>
                  </a:lnTo>
                  <a:lnTo>
                    <a:pt x="87" y="66"/>
                  </a:lnTo>
                  <a:lnTo>
                    <a:pt x="87" y="69"/>
                  </a:lnTo>
                  <a:lnTo>
                    <a:pt x="87" y="73"/>
                  </a:lnTo>
                  <a:lnTo>
                    <a:pt x="87" y="76"/>
                  </a:lnTo>
                  <a:lnTo>
                    <a:pt x="87" y="76"/>
                  </a:lnTo>
                  <a:lnTo>
                    <a:pt x="85" y="76"/>
                  </a:lnTo>
                  <a:lnTo>
                    <a:pt x="82" y="78"/>
                  </a:lnTo>
                  <a:lnTo>
                    <a:pt x="80" y="80"/>
                  </a:lnTo>
                  <a:lnTo>
                    <a:pt x="80" y="83"/>
                  </a:lnTo>
                  <a:lnTo>
                    <a:pt x="80" y="88"/>
                  </a:lnTo>
                  <a:lnTo>
                    <a:pt x="80" y="90"/>
                  </a:lnTo>
                  <a:lnTo>
                    <a:pt x="80" y="90"/>
                  </a:lnTo>
                  <a:lnTo>
                    <a:pt x="78" y="92"/>
                  </a:lnTo>
                  <a:lnTo>
                    <a:pt x="78" y="95"/>
                  </a:lnTo>
                  <a:lnTo>
                    <a:pt x="75" y="95"/>
                  </a:lnTo>
                  <a:lnTo>
                    <a:pt x="73" y="95"/>
                  </a:lnTo>
                  <a:lnTo>
                    <a:pt x="71" y="99"/>
                  </a:lnTo>
                  <a:lnTo>
                    <a:pt x="68" y="102"/>
                  </a:lnTo>
                  <a:lnTo>
                    <a:pt x="68" y="104"/>
                  </a:lnTo>
                  <a:lnTo>
                    <a:pt x="68" y="109"/>
                  </a:lnTo>
                  <a:lnTo>
                    <a:pt x="66" y="114"/>
                  </a:lnTo>
                  <a:lnTo>
                    <a:pt x="66" y="116"/>
                  </a:lnTo>
                  <a:lnTo>
                    <a:pt x="66" y="116"/>
                  </a:lnTo>
                  <a:lnTo>
                    <a:pt x="61" y="121"/>
                  </a:lnTo>
                  <a:lnTo>
                    <a:pt x="61" y="121"/>
                  </a:lnTo>
                  <a:lnTo>
                    <a:pt x="61" y="123"/>
                  </a:lnTo>
                  <a:lnTo>
                    <a:pt x="61" y="125"/>
                  </a:lnTo>
                  <a:lnTo>
                    <a:pt x="61" y="125"/>
                  </a:lnTo>
                  <a:lnTo>
                    <a:pt x="61" y="125"/>
                  </a:lnTo>
                  <a:lnTo>
                    <a:pt x="61" y="128"/>
                  </a:lnTo>
                  <a:lnTo>
                    <a:pt x="59" y="130"/>
                  </a:lnTo>
                  <a:lnTo>
                    <a:pt x="56" y="132"/>
                  </a:lnTo>
                  <a:lnTo>
                    <a:pt x="56" y="132"/>
                  </a:lnTo>
                  <a:lnTo>
                    <a:pt x="56" y="135"/>
                  </a:lnTo>
                  <a:lnTo>
                    <a:pt x="56" y="137"/>
                  </a:lnTo>
                  <a:lnTo>
                    <a:pt x="54" y="137"/>
                  </a:lnTo>
                  <a:lnTo>
                    <a:pt x="54" y="140"/>
                  </a:lnTo>
                  <a:lnTo>
                    <a:pt x="52" y="140"/>
                  </a:lnTo>
                  <a:lnTo>
                    <a:pt x="52" y="140"/>
                  </a:lnTo>
                  <a:lnTo>
                    <a:pt x="49" y="142"/>
                  </a:lnTo>
                  <a:lnTo>
                    <a:pt x="49" y="140"/>
                  </a:lnTo>
                  <a:lnTo>
                    <a:pt x="47" y="140"/>
                  </a:lnTo>
                  <a:lnTo>
                    <a:pt x="47" y="135"/>
                  </a:lnTo>
                  <a:lnTo>
                    <a:pt x="47" y="135"/>
                  </a:lnTo>
                  <a:lnTo>
                    <a:pt x="45" y="135"/>
                  </a:lnTo>
                  <a:lnTo>
                    <a:pt x="45" y="132"/>
                  </a:lnTo>
                  <a:lnTo>
                    <a:pt x="42" y="130"/>
                  </a:lnTo>
                  <a:lnTo>
                    <a:pt x="40" y="128"/>
                  </a:lnTo>
                  <a:lnTo>
                    <a:pt x="38" y="128"/>
                  </a:lnTo>
                  <a:lnTo>
                    <a:pt x="38" y="128"/>
                  </a:lnTo>
                  <a:lnTo>
                    <a:pt x="38" y="130"/>
                  </a:lnTo>
                  <a:lnTo>
                    <a:pt x="38" y="132"/>
                  </a:lnTo>
                  <a:lnTo>
                    <a:pt x="35" y="132"/>
                  </a:lnTo>
                  <a:lnTo>
                    <a:pt x="33" y="132"/>
                  </a:lnTo>
                  <a:lnTo>
                    <a:pt x="30" y="130"/>
                  </a:lnTo>
                  <a:lnTo>
                    <a:pt x="30" y="130"/>
                  </a:lnTo>
                  <a:lnTo>
                    <a:pt x="30" y="130"/>
                  </a:lnTo>
                  <a:lnTo>
                    <a:pt x="30" y="130"/>
                  </a:lnTo>
                  <a:lnTo>
                    <a:pt x="28" y="130"/>
                  </a:lnTo>
                  <a:lnTo>
                    <a:pt x="26" y="132"/>
                  </a:lnTo>
                  <a:lnTo>
                    <a:pt x="23" y="132"/>
                  </a:lnTo>
                  <a:lnTo>
                    <a:pt x="23" y="135"/>
                  </a:lnTo>
                  <a:lnTo>
                    <a:pt x="23" y="137"/>
                  </a:lnTo>
                  <a:lnTo>
                    <a:pt x="21" y="140"/>
                  </a:lnTo>
                  <a:lnTo>
                    <a:pt x="19" y="140"/>
                  </a:lnTo>
                  <a:lnTo>
                    <a:pt x="19" y="142"/>
                  </a:lnTo>
                  <a:lnTo>
                    <a:pt x="16" y="142"/>
                  </a:lnTo>
                  <a:lnTo>
                    <a:pt x="16" y="144"/>
                  </a:lnTo>
                  <a:lnTo>
                    <a:pt x="14" y="147"/>
                  </a:lnTo>
                  <a:lnTo>
                    <a:pt x="9" y="149"/>
                  </a:lnTo>
                  <a:lnTo>
                    <a:pt x="9" y="151"/>
                  </a:lnTo>
                  <a:lnTo>
                    <a:pt x="7" y="154"/>
                  </a:lnTo>
                  <a:lnTo>
                    <a:pt x="7" y="158"/>
                  </a:lnTo>
                  <a:lnTo>
                    <a:pt x="7" y="161"/>
                  </a:lnTo>
                  <a:lnTo>
                    <a:pt x="5" y="168"/>
                  </a:lnTo>
                  <a:lnTo>
                    <a:pt x="5" y="170"/>
                  </a:lnTo>
                  <a:lnTo>
                    <a:pt x="2" y="173"/>
                  </a:lnTo>
                  <a:lnTo>
                    <a:pt x="2" y="175"/>
                  </a:lnTo>
                  <a:lnTo>
                    <a:pt x="0" y="177"/>
                  </a:lnTo>
                  <a:lnTo>
                    <a:pt x="2" y="177"/>
                  </a:lnTo>
                  <a:lnTo>
                    <a:pt x="0" y="180"/>
                  </a:lnTo>
                  <a:lnTo>
                    <a:pt x="0" y="180"/>
                  </a:lnTo>
                  <a:lnTo>
                    <a:pt x="2" y="182"/>
                  </a:lnTo>
                  <a:lnTo>
                    <a:pt x="2" y="182"/>
                  </a:lnTo>
                  <a:lnTo>
                    <a:pt x="5" y="180"/>
                  </a:lnTo>
                  <a:lnTo>
                    <a:pt x="2" y="177"/>
                  </a:lnTo>
                  <a:lnTo>
                    <a:pt x="5" y="180"/>
                  </a:lnTo>
                  <a:lnTo>
                    <a:pt x="5" y="180"/>
                  </a:lnTo>
                  <a:lnTo>
                    <a:pt x="5" y="180"/>
                  </a:lnTo>
                  <a:lnTo>
                    <a:pt x="7" y="180"/>
                  </a:lnTo>
                  <a:lnTo>
                    <a:pt x="7" y="180"/>
                  </a:lnTo>
                  <a:lnTo>
                    <a:pt x="7" y="180"/>
                  </a:lnTo>
                  <a:lnTo>
                    <a:pt x="7" y="182"/>
                  </a:lnTo>
                  <a:lnTo>
                    <a:pt x="7" y="184"/>
                  </a:lnTo>
                  <a:lnTo>
                    <a:pt x="7" y="187"/>
                  </a:lnTo>
                  <a:lnTo>
                    <a:pt x="9" y="187"/>
                  </a:lnTo>
                  <a:lnTo>
                    <a:pt x="9" y="189"/>
                  </a:lnTo>
                  <a:lnTo>
                    <a:pt x="12" y="192"/>
                  </a:lnTo>
                  <a:lnTo>
                    <a:pt x="14" y="192"/>
                  </a:lnTo>
                  <a:lnTo>
                    <a:pt x="14" y="194"/>
                  </a:lnTo>
                  <a:lnTo>
                    <a:pt x="14" y="194"/>
                  </a:lnTo>
                  <a:lnTo>
                    <a:pt x="16" y="194"/>
                  </a:lnTo>
                  <a:lnTo>
                    <a:pt x="16" y="194"/>
                  </a:lnTo>
                  <a:lnTo>
                    <a:pt x="19" y="194"/>
                  </a:lnTo>
                  <a:lnTo>
                    <a:pt x="19" y="192"/>
                  </a:lnTo>
                  <a:lnTo>
                    <a:pt x="19" y="192"/>
                  </a:lnTo>
                  <a:lnTo>
                    <a:pt x="19" y="192"/>
                  </a:lnTo>
                  <a:lnTo>
                    <a:pt x="19" y="192"/>
                  </a:lnTo>
                  <a:lnTo>
                    <a:pt x="21" y="192"/>
                  </a:lnTo>
                  <a:lnTo>
                    <a:pt x="21" y="192"/>
                  </a:lnTo>
                  <a:lnTo>
                    <a:pt x="21" y="192"/>
                  </a:lnTo>
                  <a:lnTo>
                    <a:pt x="21" y="192"/>
                  </a:lnTo>
                  <a:lnTo>
                    <a:pt x="21" y="194"/>
                  </a:lnTo>
                  <a:lnTo>
                    <a:pt x="23" y="194"/>
                  </a:lnTo>
                  <a:lnTo>
                    <a:pt x="23" y="196"/>
                  </a:lnTo>
                  <a:lnTo>
                    <a:pt x="21" y="194"/>
                  </a:lnTo>
                  <a:lnTo>
                    <a:pt x="21" y="196"/>
                  </a:lnTo>
                  <a:lnTo>
                    <a:pt x="19" y="196"/>
                  </a:lnTo>
                  <a:lnTo>
                    <a:pt x="21" y="199"/>
                  </a:lnTo>
                  <a:lnTo>
                    <a:pt x="21" y="201"/>
                  </a:lnTo>
                  <a:lnTo>
                    <a:pt x="23" y="201"/>
                  </a:lnTo>
                  <a:lnTo>
                    <a:pt x="21" y="201"/>
                  </a:lnTo>
                  <a:lnTo>
                    <a:pt x="26" y="206"/>
                  </a:lnTo>
                  <a:lnTo>
                    <a:pt x="26" y="208"/>
                  </a:lnTo>
                  <a:lnTo>
                    <a:pt x="26" y="213"/>
                  </a:lnTo>
                  <a:lnTo>
                    <a:pt x="26" y="215"/>
                  </a:lnTo>
                  <a:lnTo>
                    <a:pt x="26" y="220"/>
                  </a:lnTo>
                  <a:lnTo>
                    <a:pt x="23" y="222"/>
                  </a:lnTo>
                  <a:lnTo>
                    <a:pt x="23" y="227"/>
                  </a:lnTo>
                  <a:lnTo>
                    <a:pt x="23" y="229"/>
                  </a:lnTo>
                  <a:lnTo>
                    <a:pt x="23" y="229"/>
                  </a:lnTo>
                  <a:lnTo>
                    <a:pt x="26" y="229"/>
                  </a:lnTo>
                  <a:lnTo>
                    <a:pt x="26" y="229"/>
                  </a:lnTo>
                  <a:lnTo>
                    <a:pt x="28" y="232"/>
                  </a:lnTo>
                  <a:lnTo>
                    <a:pt x="33" y="232"/>
                  </a:lnTo>
                  <a:lnTo>
                    <a:pt x="38" y="232"/>
                  </a:lnTo>
                  <a:lnTo>
                    <a:pt x="42" y="232"/>
                  </a:lnTo>
                  <a:lnTo>
                    <a:pt x="47" y="232"/>
                  </a:lnTo>
                  <a:lnTo>
                    <a:pt x="52" y="232"/>
                  </a:lnTo>
                  <a:lnTo>
                    <a:pt x="52" y="229"/>
                  </a:lnTo>
                  <a:lnTo>
                    <a:pt x="54" y="229"/>
                  </a:lnTo>
                  <a:lnTo>
                    <a:pt x="52" y="227"/>
                  </a:lnTo>
                  <a:lnTo>
                    <a:pt x="56" y="227"/>
                  </a:lnTo>
                  <a:lnTo>
                    <a:pt x="63" y="229"/>
                  </a:lnTo>
                  <a:lnTo>
                    <a:pt x="66" y="229"/>
                  </a:lnTo>
                  <a:lnTo>
                    <a:pt x="68" y="229"/>
                  </a:lnTo>
                  <a:lnTo>
                    <a:pt x="71" y="229"/>
                  </a:lnTo>
                  <a:lnTo>
                    <a:pt x="75" y="229"/>
                  </a:lnTo>
                  <a:lnTo>
                    <a:pt x="75" y="229"/>
                  </a:lnTo>
                  <a:lnTo>
                    <a:pt x="78" y="229"/>
                  </a:lnTo>
                  <a:lnTo>
                    <a:pt x="80" y="229"/>
                  </a:lnTo>
                  <a:lnTo>
                    <a:pt x="87" y="229"/>
                  </a:lnTo>
                  <a:lnTo>
                    <a:pt x="87" y="229"/>
                  </a:lnTo>
                  <a:lnTo>
                    <a:pt x="89" y="229"/>
                  </a:lnTo>
                  <a:lnTo>
                    <a:pt x="89" y="232"/>
                  </a:lnTo>
                  <a:lnTo>
                    <a:pt x="94" y="232"/>
                  </a:lnTo>
                  <a:lnTo>
                    <a:pt x="99" y="232"/>
                  </a:lnTo>
                  <a:lnTo>
                    <a:pt x="104" y="232"/>
                  </a:lnTo>
                  <a:lnTo>
                    <a:pt x="108" y="232"/>
                  </a:lnTo>
                  <a:lnTo>
                    <a:pt x="111" y="232"/>
                  </a:lnTo>
                  <a:lnTo>
                    <a:pt x="113" y="229"/>
                  </a:lnTo>
                  <a:lnTo>
                    <a:pt x="115" y="232"/>
                  </a:lnTo>
                  <a:lnTo>
                    <a:pt x="115" y="232"/>
                  </a:lnTo>
                  <a:lnTo>
                    <a:pt x="115" y="232"/>
                  </a:lnTo>
                  <a:lnTo>
                    <a:pt x="115" y="234"/>
                  </a:lnTo>
                  <a:lnTo>
                    <a:pt x="118" y="232"/>
                  </a:lnTo>
                  <a:lnTo>
                    <a:pt x="118" y="234"/>
                  </a:lnTo>
                  <a:lnTo>
                    <a:pt x="118" y="234"/>
                  </a:lnTo>
                  <a:lnTo>
                    <a:pt x="120" y="234"/>
                  </a:lnTo>
                  <a:lnTo>
                    <a:pt x="122" y="234"/>
                  </a:lnTo>
                  <a:lnTo>
                    <a:pt x="122" y="234"/>
                  </a:lnTo>
                  <a:lnTo>
                    <a:pt x="125" y="234"/>
                  </a:lnTo>
                  <a:lnTo>
                    <a:pt x="125" y="234"/>
                  </a:lnTo>
                  <a:lnTo>
                    <a:pt x="125" y="234"/>
                  </a:lnTo>
                  <a:lnTo>
                    <a:pt x="127" y="236"/>
                  </a:lnTo>
                  <a:lnTo>
                    <a:pt x="129" y="236"/>
                  </a:lnTo>
                  <a:lnTo>
                    <a:pt x="132" y="236"/>
                  </a:lnTo>
                  <a:lnTo>
                    <a:pt x="134" y="236"/>
                  </a:lnTo>
                  <a:lnTo>
                    <a:pt x="137" y="239"/>
                  </a:lnTo>
                  <a:lnTo>
                    <a:pt x="139" y="239"/>
                  </a:lnTo>
                  <a:lnTo>
                    <a:pt x="141" y="241"/>
                  </a:lnTo>
                  <a:lnTo>
                    <a:pt x="141" y="241"/>
                  </a:lnTo>
                  <a:lnTo>
                    <a:pt x="141" y="241"/>
                  </a:lnTo>
                  <a:lnTo>
                    <a:pt x="141" y="241"/>
                  </a:lnTo>
                  <a:lnTo>
                    <a:pt x="141" y="239"/>
                  </a:lnTo>
                  <a:lnTo>
                    <a:pt x="141" y="236"/>
                  </a:lnTo>
                  <a:lnTo>
                    <a:pt x="141" y="234"/>
                  </a:lnTo>
                  <a:lnTo>
                    <a:pt x="141" y="232"/>
                  </a:lnTo>
                  <a:lnTo>
                    <a:pt x="141" y="232"/>
                  </a:lnTo>
                  <a:lnTo>
                    <a:pt x="144" y="229"/>
                  </a:lnTo>
                  <a:lnTo>
                    <a:pt x="144" y="229"/>
                  </a:lnTo>
                  <a:lnTo>
                    <a:pt x="144" y="229"/>
                  </a:lnTo>
                  <a:lnTo>
                    <a:pt x="141" y="22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6" name="Freeform 372"/>
            <p:cNvSpPr>
              <a:spLocks/>
            </p:cNvSpPr>
            <p:nvPr userDrawn="1"/>
          </p:nvSpPr>
          <p:spPr bwMode="auto">
            <a:xfrm>
              <a:off x="5541" y="2498"/>
              <a:ext cx="99" cy="90"/>
            </a:xfrm>
            <a:custGeom>
              <a:avLst/>
              <a:gdLst>
                <a:gd name="T0" fmla="*/ 96 w 99"/>
                <a:gd name="T1" fmla="*/ 35 h 90"/>
                <a:gd name="T2" fmla="*/ 96 w 99"/>
                <a:gd name="T3" fmla="*/ 21 h 90"/>
                <a:gd name="T4" fmla="*/ 92 w 99"/>
                <a:gd name="T5" fmla="*/ 12 h 90"/>
                <a:gd name="T6" fmla="*/ 94 w 99"/>
                <a:gd name="T7" fmla="*/ 5 h 90"/>
                <a:gd name="T8" fmla="*/ 92 w 99"/>
                <a:gd name="T9" fmla="*/ 0 h 90"/>
                <a:gd name="T10" fmla="*/ 89 w 99"/>
                <a:gd name="T11" fmla="*/ 2 h 90"/>
                <a:gd name="T12" fmla="*/ 85 w 99"/>
                <a:gd name="T13" fmla="*/ 5 h 90"/>
                <a:gd name="T14" fmla="*/ 82 w 99"/>
                <a:gd name="T15" fmla="*/ 7 h 90"/>
                <a:gd name="T16" fmla="*/ 78 w 99"/>
                <a:gd name="T17" fmla="*/ 5 h 90"/>
                <a:gd name="T18" fmla="*/ 75 w 99"/>
                <a:gd name="T19" fmla="*/ 2 h 90"/>
                <a:gd name="T20" fmla="*/ 70 w 99"/>
                <a:gd name="T21" fmla="*/ 7 h 90"/>
                <a:gd name="T22" fmla="*/ 66 w 99"/>
                <a:gd name="T23" fmla="*/ 9 h 90"/>
                <a:gd name="T24" fmla="*/ 66 w 99"/>
                <a:gd name="T25" fmla="*/ 16 h 90"/>
                <a:gd name="T26" fmla="*/ 59 w 99"/>
                <a:gd name="T27" fmla="*/ 12 h 90"/>
                <a:gd name="T28" fmla="*/ 54 w 99"/>
                <a:gd name="T29" fmla="*/ 9 h 90"/>
                <a:gd name="T30" fmla="*/ 52 w 99"/>
                <a:gd name="T31" fmla="*/ 7 h 90"/>
                <a:gd name="T32" fmla="*/ 49 w 99"/>
                <a:gd name="T33" fmla="*/ 9 h 90"/>
                <a:gd name="T34" fmla="*/ 45 w 99"/>
                <a:gd name="T35" fmla="*/ 5 h 90"/>
                <a:gd name="T36" fmla="*/ 30 w 99"/>
                <a:gd name="T37" fmla="*/ 7 h 90"/>
                <a:gd name="T38" fmla="*/ 26 w 99"/>
                <a:gd name="T39" fmla="*/ 7 h 90"/>
                <a:gd name="T40" fmla="*/ 16 w 99"/>
                <a:gd name="T41" fmla="*/ 7 h 90"/>
                <a:gd name="T42" fmla="*/ 9 w 99"/>
                <a:gd name="T43" fmla="*/ 14 h 90"/>
                <a:gd name="T44" fmla="*/ 4 w 99"/>
                <a:gd name="T45" fmla="*/ 21 h 90"/>
                <a:gd name="T46" fmla="*/ 0 w 99"/>
                <a:gd name="T47" fmla="*/ 24 h 90"/>
                <a:gd name="T48" fmla="*/ 2 w 99"/>
                <a:gd name="T49" fmla="*/ 33 h 90"/>
                <a:gd name="T50" fmla="*/ 7 w 99"/>
                <a:gd name="T51" fmla="*/ 45 h 90"/>
                <a:gd name="T52" fmla="*/ 9 w 99"/>
                <a:gd name="T53" fmla="*/ 52 h 90"/>
                <a:gd name="T54" fmla="*/ 14 w 99"/>
                <a:gd name="T55" fmla="*/ 61 h 90"/>
                <a:gd name="T56" fmla="*/ 19 w 99"/>
                <a:gd name="T57" fmla="*/ 68 h 90"/>
                <a:gd name="T58" fmla="*/ 21 w 99"/>
                <a:gd name="T59" fmla="*/ 80 h 90"/>
                <a:gd name="T60" fmla="*/ 26 w 99"/>
                <a:gd name="T61" fmla="*/ 76 h 90"/>
                <a:gd name="T62" fmla="*/ 30 w 99"/>
                <a:gd name="T63" fmla="*/ 80 h 90"/>
                <a:gd name="T64" fmla="*/ 28 w 99"/>
                <a:gd name="T65" fmla="*/ 85 h 90"/>
                <a:gd name="T66" fmla="*/ 35 w 99"/>
                <a:gd name="T67" fmla="*/ 85 h 90"/>
                <a:gd name="T68" fmla="*/ 45 w 99"/>
                <a:gd name="T69" fmla="*/ 90 h 90"/>
                <a:gd name="T70" fmla="*/ 49 w 99"/>
                <a:gd name="T71" fmla="*/ 87 h 90"/>
                <a:gd name="T72" fmla="*/ 54 w 99"/>
                <a:gd name="T73" fmla="*/ 85 h 90"/>
                <a:gd name="T74" fmla="*/ 54 w 99"/>
                <a:gd name="T75" fmla="*/ 80 h 90"/>
                <a:gd name="T76" fmla="*/ 61 w 99"/>
                <a:gd name="T77" fmla="*/ 80 h 90"/>
                <a:gd name="T78" fmla="*/ 66 w 99"/>
                <a:gd name="T79" fmla="*/ 78 h 90"/>
                <a:gd name="T80" fmla="*/ 70 w 99"/>
                <a:gd name="T81" fmla="*/ 80 h 90"/>
                <a:gd name="T82" fmla="*/ 75 w 99"/>
                <a:gd name="T83" fmla="*/ 83 h 90"/>
                <a:gd name="T84" fmla="*/ 75 w 99"/>
                <a:gd name="T85" fmla="*/ 76 h 90"/>
                <a:gd name="T86" fmla="*/ 70 w 99"/>
                <a:gd name="T87" fmla="*/ 68 h 90"/>
                <a:gd name="T88" fmla="*/ 68 w 99"/>
                <a:gd name="T89" fmla="*/ 64 h 90"/>
                <a:gd name="T90" fmla="*/ 73 w 99"/>
                <a:gd name="T91" fmla="*/ 61 h 90"/>
                <a:gd name="T92" fmla="*/ 80 w 99"/>
                <a:gd name="T93" fmla="*/ 64 h 90"/>
                <a:gd name="T94" fmla="*/ 80 w 99"/>
                <a:gd name="T95" fmla="*/ 57 h 90"/>
                <a:gd name="T96" fmla="*/ 85 w 99"/>
                <a:gd name="T97" fmla="*/ 54 h 90"/>
                <a:gd name="T98" fmla="*/ 94 w 99"/>
                <a:gd name="T99" fmla="*/ 50 h 90"/>
                <a:gd name="T100" fmla="*/ 96 w 99"/>
                <a:gd name="T101" fmla="*/ 50 h 90"/>
                <a:gd name="T102" fmla="*/ 99 w 99"/>
                <a:gd name="T103"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 h="90">
                  <a:moveTo>
                    <a:pt x="99" y="42"/>
                  </a:moveTo>
                  <a:lnTo>
                    <a:pt x="99" y="38"/>
                  </a:lnTo>
                  <a:lnTo>
                    <a:pt x="96" y="38"/>
                  </a:lnTo>
                  <a:lnTo>
                    <a:pt x="96" y="35"/>
                  </a:lnTo>
                  <a:lnTo>
                    <a:pt x="96" y="31"/>
                  </a:lnTo>
                  <a:lnTo>
                    <a:pt x="99" y="26"/>
                  </a:lnTo>
                  <a:lnTo>
                    <a:pt x="99" y="24"/>
                  </a:lnTo>
                  <a:lnTo>
                    <a:pt x="96" y="21"/>
                  </a:lnTo>
                  <a:lnTo>
                    <a:pt x="94" y="19"/>
                  </a:lnTo>
                  <a:lnTo>
                    <a:pt x="94" y="14"/>
                  </a:lnTo>
                  <a:lnTo>
                    <a:pt x="92" y="14"/>
                  </a:lnTo>
                  <a:lnTo>
                    <a:pt x="92" y="12"/>
                  </a:lnTo>
                  <a:lnTo>
                    <a:pt x="92" y="12"/>
                  </a:lnTo>
                  <a:lnTo>
                    <a:pt x="92" y="7"/>
                  </a:lnTo>
                  <a:lnTo>
                    <a:pt x="92" y="7"/>
                  </a:lnTo>
                  <a:lnTo>
                    <a:pt x="94" y="5"/>
                  </a:lnTo>
                  <a:lnTo>
                    <a:pt x="94" y="2"/>
                  </a:lnTo>
                  <a:lnTo>
                    <a:pt x="94" y="0"/>
                  </a:lnTo>
                  <a:lnTo>
                    <a:pt x="94" y="0"/>
                  </a:lnTo>
                  <a:lnTo>
                    <a:pt x="92" y="0"/>
                  </a:lnTo>
                  <a:lnTo>
                    <a:pt x="92" y="2"/>
                  </a:lnTo>
                  <a:lnTo>
                    <a:pt x="92" y="2"/>
                  </a:lnTo>
                  <a:lnTo>
                    <a:pt x="89" y="2"/>
                  </a:lnTo>
                  <a:lnTo>
                    <a:pt x="89" y="2"/>
                  </a:lnTo>
                  <a:lnTo>
                    <a:pt x="89" y="5"/>
                  </a:lnTo>
                  <a:lnTo>
                    <a:pt x="87" y="5"/>
                  </a:lnTo>
                  <a:lnTo>
                    <a:pt x="87" y="5"/>
                  </a:lnTo>
                  <a:lnTo>
                    <a:pt x="85" y="5"/>
                  </a:lnTo>
                  <a:lnTo>
                    <a:pt x="85" y="7"/>
                  </a:lnTo>
                  <a:lnTo>
                    <a:pt x="85" y="7"/>
                  </a:lnTo>
                  <a:lnTo>
                    <a:pt x="82" y="7"/>
                  </a:lnTo>
                  <a:lnTo>
                    <a:pt x="82" y="7"/>
                  </a:lnTo>
                  <a:lnTo>
                    <a:pt x="80" y="7"/>
                  </a:lnTo>
                  <a:lnTo>
                    <a:pt x="80" y="7"/>
                  </a:lnTo>
                  <a:lnTo>
                    <a:pt x="78" y="5"/>
                  </a:lnTo>
                  <a:lnTo>
                    <a:pt x="78" y="5"/>
                  </a:lnTo>
                  <a:lnTo>
                    <a:pt x="78" y="5"/>
                  </a:lnTo>
                  <a:lnTo>
                    <a:pt x="75" y="2"/>
                  </a:lnTo>
                  <a:lnTo>
                    <a:pt x="75" y="2"/>
                  </a:lnTo>
                  <a:lnTo>
                    <a:pt x="75" y="2"/>
                  </a:lnTo>
                  <a:lnTo>
                    <a:pt x="73" y="5"/>
                  </a:lnTo>
                  <a:lnTo>
                    <a:pt x="70" y="5"/>
                  </a:lnTo>
                  <a:lnTo>
                    <a:pt x="70" y="5"/>
                  </a:lnTo>
                  <a:lnTo>
                    <a:pt x="70" y="7"/>
                  </a:lnTo>
                  <a:lnTo>
                    <a:pt x="70" y="7"/>
                  </a:lnTo>
                  <a:lnTo>
                    <a:pt x="66" y="7"/>
                  </a:lnTo>
                  <a:lnTo>
                    <a:pt x="66" y="7"/>
                  </a:lnTo>
                  <a:lnTo>
                    <a:pt x="66" y="9"/>
                  </a:lnTo>
                  <a:lnTo>
                    <a:pt x="68" y="12"/>
                  </a:lnTo>
                  <a:lnTo>
                    <a:pt x="70" y="14"/>
                  </a:lnTo>
                  <a:lnTo>
                    <a:pt x="68" y="16"/>
                  </a:lnTo>
                  <a:lnTo>
                    <a:pt x="66" y="16"/>
                  </a:lnTo>
                  <a:lnTo>
                    <a:pt x="63" y="14"/>
                  </a:lnTo>
                  <a:lnTo>
                    <a:pt x="63" y="14"/>
                  </a:lnTo>
                  <a:lnTo>
                    <a:pt x="63" y="12"/>
                  </a:lnTo>
                  <a:lnTo>
                    <a:pt x="59" y="12"/>
                  </a:lnTo>
                  <a:lnTo>
                    <a:pt x="56" y="12"/>
                  </a:lnTo>
                  <a:lnTo>
                    <a:pt x="54" y="12"/>
                  </a:lnTo>
                  <a:lnTo>
                    <a:pt x="54" y="12"/>
                  </a:lnTo>
                  <a:lnTo>
                    <a:pt x="54" y="9"/>
                  </a:lnTo>
                  <a:lnTo>
                    <a:pt x="52" y="9"/>
                  </a:lnTo>
                  <a:lnTo>
                    <a:pt x="52" y="7"/>
                  </a:lnTo>
                  <a:lnTo>
                    <a:pt x="52" y="7"/>
                  </a:lnTo>
                  <a:lnTo>
                    <a:pt x="52" y="7"/>
                  </a:lnTo>
                  <a:lnTo>
                    <a:pt x="52" y="9"/>
                  </a:lnTo>
                  <a:lnTo>
                    <a:pt x="49" y="9"/>
                  </a:lnTo>
                  <a:lnTo>
                    <a:pt x="49" y="9"/>
                  </a:lnTo>
                  <a:lnTo>
                    <a:pt x="49" y="9"/>
                  </a:lnTo>
                  <a:lnTo>
                    <a:pt x="47" y="7"/>
                  </a:lnTo>
                  <a:lnTo>
                    <a:pt x="47" y="7"/>
                  </a:lnTo>
                  <a:lnTo>
                    <a:pt x="45" y="5"/>
                  </a:lnTo>
                  <a:lnTo>
                    <a:pt x="45" y="5"/>
                  </a:lnTo>
                  <a:lnTo>
                    <a:pt x="40" y="7"/>
                  </a:lnTo>
                  <a:lnTo>
                    <a:pt x="37" y="7"/>
                  </a:lnTo>
                  <a:lnTo>
                    <a:pt x="33" y="7"/>
                  </a:lnTo>
                  <a:lnTo>
                    <a:pt x="30" y="7"/>
                  </a:lnTo>
                  <a:lnTo>
                    <a:pt x="30" y="7"/>
                  </a:lnTo>
                  <a:lnTo>
                    <a:pt x="28" y="7"/>
                  </a:lnTo>
                  <a:lnTo>
                    <a:pt x="26" y="7"/>
                  </a:lnTo>
                  <a:lnTo>
                    <a:pt x="26" y="7"/>
                  </a:lnTo>
                  <a:lnTo>
                    <a:pt x="21" y="5"/>
                  </a:lnTo>
                  <a:lnTo>
                    <a:pt x="21" y="5"/>
                  </a:lnTo>
                  <a:lnTo>
                    <a:pt x="19" y="7"/>
                  </a:lnTo>
                  <a:lnTo>
                    <a:pt x="16" y="7"/>
                  </a:lnTo>
                  <a:lnTo>
                    <a:pt x="14" y="7"/>
                  </a:lnTo>
                  <a:lnTo>
                    <a:pt x="12" y="9"/>
                  </a:lnTo>
                  <a:lnTo>
                    <a:pt x="9" y="12"/>
                  </a:lnTo>
                  <a:lnTo>
                    <a:pt x="9" y="14"/>
                  </a:lnTo>
                  <a:lnTo>
                    <a:pt x="9" y="14"/>
                  </a:lnTo>
                  <a:lnTo>
                    <a:pt x="7" y="16"/>
                  </a:lnTo>
                  <a:lnTo>
                    <a:pt x="4" y="21"/>
                  </a:lnTo>
                  <a:lnTo>
                    <a:pt x="4" y="21"/>
                  </a:lnTo>
                  <a:lnTo>
                    <a:pt x="4" y="21"/>
                  </a:lnTo>
                  <a:lnTo>
                    <a:pt x="4" y="24"/>
                  </a:lnTo>
                  <a:lnTo>
                    <a:pt x="2" y="24"/>
                  </a:lnTo>
                  <a:lnTo>
                    <a:pt x="0" y="24"/>
                  </a:lnTo>
                  <a:lnTo>
                    <a:pt x="0" y="24"/>
                  </a:lnTo>
                  <a:lnTo>
                    <a:pt x="2" y="28"/>
                  </a:lnTo>
                  <a:lnTo>
                    <a:pt x="2" y="31"/>
                  </a:lnTo>
                  <a:lnTo>
                    <a:pt x="2" y="33"/>
                  </a:lnTo>
                  <a:lnTo>
                    <a:pt x="4" y="35"/>
                  </a:lnTo>
                  <a:lnTo>
                    <a:pt x="4" y="38"/>
                  </a:lnTo>
                  <a:lnTo>
                    <a:pt x="4" y="42"/>
                  </a:lnTo>
                  <a:lnTo>
                    <a:pt x="7" y="45"/>
                  </a:lnTo>
                  <a:lnTo>
                    <a:pt x="9" y="45"/>
                  </a:lnTo>
                  <a:lnTo>
                    <a:pt x="12" y="47"/>
                  </a:lnTo>
                  <a:lnTo>
                    <a:pt x="9" y="47"/>
                  </a:lnTo>
                  <a:lnTo>
                    <a:pt x="9" y="52"/>
                  </a:lnTo>
                  <a:lnTo>
                    <a:pt x="12" y="54"/>
                  </a:lnTo>
                  <a:lnTo>
                    <a:pt x="14" y="61"/>
                  </a:lnTo>
                  <a:lnTo>
                    <a:pt x="16" y="64"/>
                  </a:lnTo>
                  <a:lnTo>
                    <a:pt x="14" y="61"/>
                  </a:lnTo>
                  <a:lnTo>
                    <a:pt x="16" y="61"/>
                  </a:lnTo>
                  <a:lnTo>
                    <a:pt x="16" y="61"/>
                  </a:lnTo>
                  <a:lnTo>
                    <a:pt x="16" y="66"/>
                  </a:lnTo>
                  <a:lnTo>
                    <a:pt x="19" y="68"/>
                  </a:lnTo>
                  <a:lnTo>
                    <a:pt x="19" y="71"/>
                  </a:lnTo>
                  <a:lnTo>
                    <a:pt x="19" y="73"/>
                  </a:lnTo>
                  <a:lnTo>
                    <a:pt x="19" y="76"/>
                  </a:lnTo>
                  <a:lnTo>
                    <a:pt x="21" y="80"/>
                  </a:lnTo>
                  <a:lnTo>
                    <a:pt x="23" y="80"/>
                  </a:lnTo>
                  <a:lnTo>
                    <a:pt x="23" y="80"/>
                  </a:lnTo>
                  <a:lnTo>
                    <a:pt x="26" y="78"/>
                  </a:lnTo>
                  <a:lnTo>
                    <a:pt x="26" y="76"/>
                  </a:lnTo>
                  <a:lnTo>
                    <a:pt x="28" y="76"/>
                  </a:lnTo>
                  <a:lnTo>
                    <a:pt x="28" y="76"/>
                  </a:lnTo>
                  <a:lnTo>
                    <a:pt x="30" y="76"/>
                  </a:lnTo>
                  <a:lnTo>
                    <a:pt x="30" y="80"/>
                  </a:lnTo>
                  <a:lnTo>
                    <a:pt x="30" y="83"/>
                  </a:lnTo>
                  <a:lnTo>
                    <a:pt x="28" y="83"/>
                  </a:lnTo>
                  <a:lnTo>
                    <a:pt x="28" y="85"/>
                  </a:lnTo>
                  <a:lnTo>
                    <a:pt x="28" y="85"/>
                  </a:lnTo>
                  <a:lnTo>
                    <a:pt x="28" y="87"/>
                  </a:lnTo>
                  <a:lnTo>
                    <a:pt x="30" y="87"/>
                  </a:lnTo>
                  <a:lnTo>
                    <a:pt x="33" y="87"/>
                  </a:lnTo>
                  <a:lnTo>
                    <a:pt x="35" y="85"/>
                  </a:lnTo>
                  <a:lnTo>
                    <a:pt x="35" y="85"/>
                  </a:lnTo>
                  <a:lnTo>
                    <a:pt x="35" y="87"/>
                  </a:lnTo>
                  <a:lnTo>
                    <a:pt x="42" y="87"/>
                  </a:lnTo>
                  <a:lnTo>
                    <a:pt x="45" y="90"/>
                  </a:lnTo>
                  <a:lnTo>
                    <a:pt x="45" y="90"/>
                  </a:lnTo>
                  <a:lnTo>
                    <a:pt x="47" y="90"/>
                  </a:lnTo>
                  <a:lnTo>
                    <a:pt x="47" y="87"/>
                  </a:lnTo>
                  <a:lnTo>
                    <a:pt x="49" y="87"/>
                  </a:lnTo>
                  <a:lnTo>
                    <a:pt x="52" y="87"/>
                  </a:lnTo>
                  <a:lnTo>
                    <a:pt x="52" y="87"/>
                  </a:lnTo>
                  <a:lnTo>
                    <a:pt x="54" y="85"/>
                  </a:lnTo>
                  <a:lnTo>
                    <a:pt x="54" y="85"/>
                  </a:lnTo>
                  <a:lnTo>
                    <a:pt x="56" y="83"/>
                  </a:lnTo>
                  <a:lnTo>
                    <a:pt x="56" y="83"/>
                  </a:lnTo>
                  <a:lnTo>
                    <a:pt x="56" y="83"/>
                  </a:lnTo>
                  <a:lnTo>
                    <a:pt x="54" y="80"/>
                  </a:lnTo>
                  <a:lnTo>
                    <a:pt x="56" y="80"/>
                  </a:lnTo>
                  <a:lnTo>
                    <a:pt x="59" y="80"/>
                  </a:lnTo>
                  <a:lnTo>
                    <a:pt x="61" y="80"/>
                  </a:lnTo>
                  <a:lnTo>
                    <a:pt x="61" y="80"/>
                  </a:lnTo>
                  <a:lnTo>
                    <a:pt x="61" y="78"/>
                  </a:lnTo>
                  <a:lnTo>
                    <a:pt x="61" y="78"/>
                  </a:lnTo>
                  <a:lnTo>
                    <a:pt x="63" y="78"/>
                  </a:lnTo>
                  <a:lnTo>
                    <a:pt x="66" y="78"/>
                  </a:lnTo>
                  <a:lnTo>
                    <a:pt x="68" y="78"/>
                  </a:lnTo>
                  <a:lnTo>
                    <a:pt x="68" y="78"/>
                  </a:lnTo>
                  <a:lnTo>
                    <a:pt x="70" y="78"/>
                  </a:lnTo>
                  <a:lnTo>
                    <a:pt x="70" y="80"/>
                  </a:lnTo>
                  <a:lnTo>
                    <a:pt x="70" y="80"/>
                  </a:lnTo>
                  <a:lnTo>
                    <a:pt x="73" y="80"/>
                  </a:lnTo>
                  <a:lnTo>
                    <a:pt x="73" y="80"/>
                  </a:lnTo>
                  <a:lnTo>
                    <a:pt x="75" y="83"/>
                  </a:lnTo>
                  <a:lnTo>
                    <a:pt x="75" y="83"/>
                  </a:lnTo>
                  <a:lnTo>
                    <a:pt x="75" y="80"/>
                  </a:lnTo>
                  <a:lnTo>
                    <a:pt x="75" y="78"/>
                  </a:lnTo>
                  <a:lnTo>
                    <a:pt x="75" y="76"/>
                  </a:lnTo>
                  <a:lnTo>
                    <a:pt x="75" y="76"/>
                  </a:lnTo>
                  <a:lnTo>
                    <a:pt x="70" y="73"/>
                  </a:lnTo>
                  <a:lnTo>
                    <a:pt x="70" y="71"/>
                  </a:lnTo>
                  <a:lnTo>
                    <a:pt x="70" y="68"/>
                  </a:lnTo>
                  <a:lnTo>
                    <a:pt x="70" y="66"/>
                  </a:lnTo>
                  <a:lnTo>
                    <a:pt x="68" y="66"/>
                  </a:lnTo>
                  <a:lnTo>
                    <a:pt x="68" y="64"/>
                  </a:lnTo>
                  <a:lnTo>
                    <a:pt x="68" y="64"/>
                  </a:lnTo>
                  <a:lnTo>
                    <a:pt x="70" y="64"/>
                  </a:lnTo>
                  <a:lnTo>
                    <a:pt x="70" y="64"/>
                  </a:lnTo>
                  <a:lnTo>
                    <a:pt x="70" y="64"/>
                  </a:lnTo>
                  <a:lnTo>
                    <a:pt x="73" y="61"/>
                  </a:lnTo>
                  <a:lnTo>
                    <a:pt x="73" y="61"/>
                  </a:lnTo>
                  <a:lnTo>
                    <a:pt x="75" y="61"/>
                  </a:lnTo>
                  <a:lnTo>
                    <a:pt x="78" y="64"/>
                  </a:lnTo>
                  <a:lnTo>
                    <a:pt x="80" y="64"/>
                  </a:lnTo>
                  <a:lnTo>
                    <a:pt x="80" y="64"/>
                  </a:lnTo>
                  <a:lnTo>
                    <a:pt x="80" y="61"/>
                  </a:lnTo>
                  <a:lnTo>
                    <a:pt x="80" y="59"/>
                  </a:lnTo>
                  <a:lnTo>
                    <a:pt x="80" y="57"/>
                  </a:lnTo>
                  <a:lnTo>
                    <a:pt x="80" y="57"/>
                  </a:lnTo>
                  <a:lnTo>
                    <a:pt x="82" y="57"/>
                  </a:lnTo>
                  <a:lnTo>
                    <a:pt x="85" y="57"/>
                  </a:lnTo>
                  <a:lnTo>
                    <a:pt x="85" y="54"/>
                  </a:lnTo>
                  <a:lnTo>
                    <a:pt x="89" y="54"/>
                  </a:lnTo>
                  <a:lnTo>
                    <a:pt x="89" y="52"/>
                  </a:lnTo>
                  <a:lnTo>
                    <a:pt x="92" y="50"/>
                  </a:lnTo>
                  <a:lnTo>
                    <a:pt x="94" y="50"/>
                  </a:lnTo>
                  <a:lnTo>
                    <a:pt x="94" y="50"/>
                  </a:lnTo>
                  <a:lnTo>
                    <a:pt x="96" y="50"/>
                  </a:lnTo>
                  <a:lnTo>
                    <a:pt x="96" y="52"/>
                  </a:lnTo>
                  <a:lnTo>
                    <a:pt x="96" y="50"/>
                  </a:lnTo>
                  <a:lnTo>
                    <a:pt x="99" y="50"/>
                  </a:lnTo>
                  <a:lnTo>
                    <a:pt x="99" y="47"/>
                  </a:lnTo>
                  <a:lnTo>
                    <a:pt x="99" y="45"/>
                  </a:lnTo>
                  <a:lnTo>
                    <a:pt x="99" y="4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7" name="Freeform 373"/>
            <p:cNvSpPr>
              <a:spLocks/>
            </p:cNvSpPr>
            <p:nvPr userDrawn="1"/>
          </p:nvSpPr>
          <p:spPr bwMode="auto">
            <a:xfrm>
              <a:off x="4193" y="2857"/>
              <a:ext cx="33" cy="45"/>
            </a:xfrm>
            <a:custGeom>
              <a:avLst/>
              <a:gdLst>
                <a:gd name="T0" fmla="*/ 33 w 33"/>
                <a:gd name="T1" fmla="*/ 15 h 45"/>
                <a:gd name="T2" fmla="*/ 30 w 33"/>
                <a:gd name="T3" fmla="*/ 15 h 45"/>
                <a:gd name="T4" fmla="*/ 28 w 33"/>
                <a:gd name="T5" fmla="*/ 12 h 45"/>
                <a:gd name="T6" fmla="*/ 26 w 33"/>
                <a:gd name="T7" fmla="*/ 12 h 45"/>
                <a:gd name="T8" fmla="*/ 26 w 33"/>
                <a:gd name="T9" fmla="*/ 10 h 45"/>
                <a:gd name="T10" fmla="*/ 26 w 33"/>
                <a:gd name="T11" fmla="*/ 7 h 45"/>
                <a:gd name="T12" fmla="*/ 26 w 33"/>
                <a:gd name="T13" fmla="*/ 7 h 45"/>
                <a:gd name="T14" fmla="*/ 28 w 33"/>
                <a:gd name="T15" fmla="*/ 3 h 45"/>
                <a:gd name="T16" fmla="*/ 28 w 33"/>
                <a:gd name="T17" fmla="*/ 0 h 45"/>
                <a:gd name="T18" fmla="*/ 26 w 33"/>
                <a:gd name="T19" fmla="*/ 0 h 45"/>
                <a:gd name="T20" fmla="*/ 21 w 33"/>
                <a:gd name="T21" fmla="*/ 0 h 45"/>
                <a:gd name="T22" fmla="*/ 21 w 33"/>
                <a:gd name="T23" fmla="*/ 3 h 45"/>
                <a:gd name="T24" fmla="*/ 18 w 33"/>
                <a:gd name="T25" fmla="*/ 3 h 45"/>
                <a:gd name="T26" fmla="*/ 16 w 33"/>
                <a:gd name="T27" fmla="*/ 0 h 45"/>
                <a:gd name="T28" fmla="*/ 16 w 33"/>
                <a:gd name="T29" fmla="*/ 7 h 45"/>
                <a:gd name="T30" fmla="*/ 14 w 33"/>
                <a:gd name="T31" fmla="*/ 10 h 45"/>
                <a:gd name="T32" fmla="*/ 11 w 33"/>
                <a:gd name="T33" fmla="*/ 10 h 45"/>
                <a:gd name="T34" fmla="*/ 7 w 33"/>
                <a:gd name="T35" fmla="*/ 10 h 45"/>
                <a:gd name="T36" fmla="*/ 4 w 33"/>
                <a:gd name="T37" fmla="*/ 7 h 45"/>
                <a:gd name="T38" fmla="*/ 0 w 33"/>
                <a:gd name="T39" fmla="*/ 5 h 45"/>
                <a:gd name="T40" fmla="*/ 0 w 33"/>
                <a:gd name="T41" fmla="*/ 7 h 45"/>
                <a:gd name="T42" fmla="*/ 0 w 33"/>
                <a:gd name="T43" fmla="*/ 10 h 45"/>
                <a:gd name="T44" fmla="*/ 0 w 33"/>
                <a:gd name="T45" fmla="*/ 10 h 45"/>
                <a:gd name="T46" fmla="*/ 2 w 33"/>
                <a:gd name="T47" fmla="*/ 15 h 45"/>
                <a:gd name="T48" fmla="*/ 2 w 33"/>
                <a:gd name="T49" fmla="*/ 19 h 45"/>
                <a:gd name="T50" fmla="*/ 2 w 33"/>
                <a:gd name="T51" fmla="*/ 24 h 45"/>
                <a:gd name="T52" fmla="*/ 2 w 33"/>
                <a:gd name="T53" fmla="*/ 31 h 45"/>
                <a:gd name="T54" fmla="*/ 4 w 33"/>
                <a:gd name="T55" fmla="*/ 38 h 45"/>
                <a:gd name="T56" fmla="*/ 7 w 33"/>
                <a:gd name="T57" fmla="*/ 45 h 45"/>
                <a:gd name="T58" fmla="*/ 14 w 33"/>
                <a:gd name="T59" fmla="*/ 43 h 45"/>
                <a:gd name="T60" fmla="*/ 21 w 33"/>
                <a:gd name="T61" fmla="*/ 38 h 45"/>
                <a:gd name="T62" fmla="*/ 23 w 33"/>
                <a:gd name="T63" fmla="*/ 31 h 45"/>
                <a:gd name="T64" fmla="*/ 23 w 33"/>
                <a:gd name="T65" fmla="*/ 29 h 45"/>
                <a:gd name="T66" fmla="*/ 26 w 33"/>
                <a:gd name="T67" fmla="*/ 26 h 45"/>
                <a:gd name="T68" fmla="*/ 28 w 33"/>
                <a:gd name="T69" fmla="*/ 24 h 45"/>
                <a:gd name="T70" fmla="*/ 28 w 33"/>
                <a:gd name="T71" fmla="*/ 22 h 45"/>
                <a:gd name="T72" fmla="*/ 30 w 33"/>
                <a:gd name="T73" fmla="*/ 22 h 45"/>
                <a:gd name="T74" fmla="*/ 33 w 33"/>
                <a:gd name="T75" fmla="*/ 19 h 45"/>
                <a:gd name="T76" fmla="*/ 33 w 33"/>
                <a:gd name="T77" fmla="*/ 1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45">
                  <a:moveTo>
                    <a:pt x="33" y="15"/>
                  </a:moveTo>
                  <a:lnTo>
                    <a:pt x="33" y="15"/>
                  </a:lnTo>
                  <a:lnTo>
                    <a:pt x="33" y="15"/>
                  </a:lnTo>
                  <a:lnTo>
                    <a:pt x="30" y="15"/>
                  </a:lnTo>
                  <a:lnTo>
                    <a:pt x="28" y="12"/>
                  </a:lnTo>
                  <a:lnTo>
                    <a:pt x="28" y="12"/>
                  </a:lnTo>
                  <a:lnTo>
                    <a:pt x="26" y="12"/>
                  </a:lnTo>
                  <a:lnTo>
                    <a:pt x="26" y="12"/>
                  </a:lnTo>
                  <a:lnTo>
                    <a:pt x="26" y="10"/>
                  </a:lnTo>
                  <a:lnTo>
                    <a:pt x="26" y="10"/>
                  </a:lnTo>
                  <a:lnTo>
                    <a:pt x="26" y="10"/>
                  </a:lnTo>
                  <a:lnTo>
                    <a:pt x="26" y="7"/>
                  </a:lnTo>
                  <a:lnTo>
                    <a:pt x="26" y="7"/>
                  </a:lnTo>
                  <a:lnTo>
                    <a:pt x="26" y="7"/>
                  </a:lnTo>
                  <a:lnTo>
                    <a:pt x="26" y="5"/>
                  </a:lnTo>
                  <a:lnTo>
                    <a:pt x="28" y="3"/>
                  </a:lnTo>
                  <a:lnTo>
                    <a:pt x="28" y="0"/>
                  </a:lnTo>
                  <a:lnTo>
                    <a:pt x="28" y="0"/>
                  </a:lnTo>
                  <a:lnTo>
                    <a:pt x="26" y="0"/>
                  </a:lnTo>
                  <a:lnTo>
                    <a:pt x="26" y="0"/>
                  </a:lnTo>
                  <a:lnTo>
                    <a:pt x="23" y="0"/>
                  </a:lnTo>
                  <a:lnTo>
                    <a:pt x="21" y="0"/>
                  </a:lnTo>
                  <a:lnTo>
                    <a:pt x="21" y="0"/>
                  </a:lnTo>
                  <a:lnTo>
                    <a:pt x="21" y="3"/>
                  </a:lnTo>
                  <a:lnTo>
                    <a:pt x="18" y="3"/>
                  </a:lnTo>
                  <a:lnTo>
                    <a:pt x="18" y="3"/>
                  </a:lnTo>
                  <a:lnTo>
                    <a:pt x="16" y="0"/>
                  </a:lnTo>
                  <a:lnTo>
                    <a:pt x="16" y="0"/>
                  </a:lnTo>
                  <a:lnTo>
                    <a:pt x="16" y="5"/>
                  </a:lnTo>
                  <a:lnTo>
                    <a:pt x="16" y="7"/>
                  </a:lnTo>
                  <a:lnTo>
                    <a:pt x="14" y="7"/>
                  </a:lnTo>
                  <a:lnTo>
                    <a:pt x="14" y="10"/>
                  </a:lnTo>
                  <a:lnTo>
                    <a:pt x="11" y="10"/>
                  </a:lnTo>
                  <a:lnTo>
                    <a:pt x="11" y="10"/>
                  </a:lnTo>
                  <a:lnTo>
                    <a:pt x="7" y="10"/>
                  </a:lnTo>
                  <a:lnTo>
                    <a:pt x="7" y="10"/>
                  </a:lnTo>
                  <a:lnTo>
                    <a:pt x="4" y="10"/>
                  </a:lnTo>
                  <a:lnTo>
                    <a:pt x="4" y="7"/>
                  </a:lnTo>
                  <a:lnTo>
                    <a:pt x="2" y="5"/>
                  </a:lnTo>
                  <a:lnTo>
                    <a:pt x="0" y="5"/>
                  </a:lnTo>
                  <a:lnTo>
                    <a:pt x="0" y="5"/>
                  </a:lnTo>
                  <a:lnTo>
                    <a:pt x="0" y="7"/>
                  </a:lnTo>
                  <a:lnTo>
                    <a:pt x="0" y="7"/>
                  </a:lnTo>
                  <a:lnTo>
                    <a:pt x="0" y="10"/>
                  </a:lnTo>
                  <a:lnTo>
                    <a:pt x="0" y="10"/>
                  </a:lnTo>
                  <a:lnTo>
                    <a:pt x="0" y="10"/>
                  </a:lnTo>
                  <a:lnTo>
                    <a:pt x="2" y="12"/>
                  </a:lnTo>
                  <a:lnTo>
                    <a:pt x="2" y="15"/>
                  </a:lnTo>
                  <a:lnTo>
                    <a:pt x="2" y="17"/>
                  </a:lnTo>
                  <a:lnTo>
                    <a:pt x="2" y="19"/>
                  </a:lnTo>
                  <a:lnTo>
                    <a:pt x="2" y="22"/>
                  </a:lnTo>
                  <a:lnTo>
                    <a:pt x="2" y="24"/>
                  </a:lnTo>
                  <a:lnTo>
                    <a:pt x="2" y="29"/>
                  </a:lnTo>
                  <a:lnTo>
                    <a:pt x="2" y="31"/>
                  </a:lnTo>
                  <a:lnTo>
                    <a:pt x="2" y="33"/>
                  </a:lnTo>
                  <a:lnTo>
                    <a:pt x="4" y="38"/>
                  </a:lnTo>
                  <a:lnTo>
                    <a:pt x="7" y="41"/>
                  </a:lnTo>
                  <a:lnTo>
                    <a:pt x="7" y="45"/>
                  </a:lnTo>
                  <a:lnTo>
                    <a:pt x="11" y="45"/>
                  </a:lnTo>
                  <a:lnTo>
                    <a:pt x="14" y="43"/>
                  </a:lnTo>
                  <a:lnTo>
                    <a:pt x="16" y="41"/>
                  </a:lnTo>
                  <a:lnTo>
                    <a:pt x="21" y="38"/>
                  </a:lnTo>
                  <a:lnTo>
                    <a:pt x="21" y="36"/>
                  </a:lnTo>
                  <a:lnTo>
                    <a:pt x="23" y="31"/>
                  </a:lnTo>
                  <a:lnTo>
                    <a:pt x="23" y="31"/>
                  </a:lnTo>
                  <a:lnTo>
                    <a:pt x="23" y="29"/>
                  </a:lnTo>
                  <a:lnTo>
                    <a:pt x="26" y="29"/>
                  </a:lnTo>
                  <a:lnTo>
                    <a:pt x="26" y="26"/>
                  </a:lnTo>
                  <a:lnTo>
                    <a:pt x="28" y="24"/>
                  </a:lnTo>
                  <a:lnTo>
                    <a:pt x="28" y="24"/>
                  </a:lnTo>
                  <a:lnTo>
                    <a:pt x="28" y="22"/>
                  </a:lnTo>
                  <a:lnTo>
                    <a:pt x="28" y="22"/>
                  </a:lnTo>
                  <a:lnTo>
                    <a:pt x="28" y="22"/>
                  </a:lnTo>
                  <a:lnTo>
                    <a:pt x="30" y="22"/>
                  </a:lnTo>
                  <a:lnTo>
                    <a:pt x="33" y="19"/>
                  </a:lnTo>
                  <a:lnTo>
                    <a:pt x="33" y="19"/>
                  </a:lnTo>
                  <a:lnTo>
                    <a:pt x="33" y="17"/>
                  </a:lnTo>
                  <a:lnTo>
                    <a:pt x="33" y="1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8" name="Freeform 374"/>
            <p:cNvSpPr>
              <a:spLocks/>
            </p:cNvSpPr>
            <p:nvPr userDrawn="1"/>
          </p:nvSpPr>
          <p:spPr bwMode="auto">
            <a:xfrm>
              <a:off x="3552" y="2488"/>
              <a:ext cx="146" cy="121"/>
            </a:xfrm>
            <a:custGeom>
              <a:avLst/>
              <a:gdLst>
                <a:gd name="T0" fmla="*/ 141 w 146"/>
                <a:gd name="T1" fmla="*/ 60 h 121"/>
                <a:gd name="T2" fmla="*/ 143 w 146"/>
                <a:gd name="T3" fmla="*/ 57 h 121"/>
                <a:gd name="T4" fmla="*/ 141 w 146"/>
                <a:gd name="T5" fmla="*/ 52 h 121"/>
                <a:gd name="T6" fmla="*/ 139 w 146"/>
                <a:gd name="T7" fmla="*/ 52 h 121"/>
                <a:gd name="T8" fmla="*/ 132 w 146"/>
                <a:gd name="T9" fmla="*/ 52 h 121"/>
                <a:gd name="T10" fmla="*/ 120 w 146"/>
                <a:gd name="T11" fmla="*/ 45 h 121"/>
                <a:gd name="T12" fmla="*/ 120 w 146"/>
                <a:gd name="T13" fmla="*/ 38 h 121"/>
                <a:gd name="T14" fmla="*/ 122 w 146"/>
                <a:gd name="T15" fmla="*/ 36 h 121"/>
                <a:gd name="T16" fmla="*/ 120 w 146"/>
                <a:gd name="T17" fmla="*/ 34 h 121"/>
                <a:gd name="T18" fmla="*/ 115 w 146"/>
                <a:gd name="T19" fmla="*/ 31 h 121"/>
                <a:gd name="T20" fmla="*/ 110 w 146"/>
                <a:gd name="T21" fmla="*/ 22 h 121"/>
                <a:gd name="T22" fmla="*/ 108 w 146"/>
                <a:gd name="T23" fmla="*/ 15 h 121"/>
                <a:gd name="T24" fmla="*/ 106 w 146"/>
                <a:gd name="T25" fmla="*/ 5 h 121"/>
                <a:gd name="T26" fmla="*/ 96 w 146"/>
                <a:gd name="T27" fmla="*/ 3 h 121"/>
                <a:gd name="T28" fmla="*/ 91 w 146"/>
                <a:gd name="T29" fmla="*/ 0 h 121"/>
                <a:gd name="T30" fmla="*/ 84 w 146"/>
                <a:gd name="T31" fmla="*/ 8 h 121"/>
                <a:gd name="T32" fmla="*/ 73 w 146"/>
                <a:gd name="T33" fmla="*/ 12 h 121"/>
                <a:gd name="T34" fmla="*/ 66 w 146"/>
                <a:gd name="T35" fmla="*/ 19 h 121"/>
                <a:gd name="T36" fmla="*/ 54 w 146"/>
                <a:gd name="T37" fmla="*/ 19 h 121"/>
                <a:gd name="T38" fmla="*/ 49 w 146"/>
                <a:gd name="T39" fmla="*/ 29 h 121"/>
                <a:gd name="T40" fmla="*/ 47 w 146"/>
                <a:gd name="T41" fmla="*/ 31 h 121"/>
                <a:gd name="T42" fmla="*/ 42 w 146"/>
                <a:gd name="T43" fmla="*/ 36 h 121"/>
                <a:gd name="T44" fmla="*/ 37 w 146"/>
                <a:gd name="T45" fmla="*/ 41 h 121"/>
                <a:gd name="T46" fmla="*/ 28 w 146"/>
                <a:gd name="T47" fmla="*/ 38 h 121"/>
                <a:gd name="T48" fmla="*/ 23 w 146"/>
                <a:gd name="T49" fmla="*/ 43 h 121"/>
                <a:gd name="T50" fmla="*/ 23 w 146"/>
                <a:gd name="T51" fmla="*/ 50 h 121"/>
                <a:gd name="T52" fmla="*/ 21 w 146"/>
                <a:gd name="T53" fmla="*/ 55 h 121"/>
                <a:gd name="T54" fmla="*/ 18 w 146"/>
                <a:gd name="T55" fmla="*/ 64 h 121"/>
                <a:gd name="T56" fmla="*/ 11 w 146"/>
                <a:gd name="T57" fmla="*/ 67 h 121"/>
                <a:gd name="T58" fmla="*/ 4 w 146"/>
                <a:gd name="T59" fmla="*/ 69 h 121"/>
                <a:gd name="T60" fmla="*/ 4 w 146"/>
                <a:gd name="T61" fmla="*/ 76 h 121"/>
                <a:gd name="T62" fmla="*/ 2 w 146"/>
                <a:gd name="T63" fmla="*/ 86 h 121"/>
                <a:gd name="T64" fmla="*/ 2 w 146"/>
                <a:gd name="T65" fmla="*/ 93 h 121"/>
                <a:gd name="T66" fmla="*/ 0 w 146"/>
                <a:gd name="T67" fmla="*/ 100 h 121"/>
                <a:gd name="T68" fmla="*/ 7 w 146"/>
                <a:gd name="T69" fmla="*/ 102 h 121"/>
                <a:gd name="T70" fmla="*/ 9 w 146"/>
                <a:gd name="T71" fmla="*/ 109 h 121"/>
                <a:gd name="T72" fmla="*/ 16 w 146"/>
                <a:gd name="T73" fmla="*/ 114 h 121"/>
                <a:gd name="T74" fmla="*/ 21 w 146"/>
                <a:gd name="T75" fmla="*/ 116 h 121"/>
                <a:gd name="T76" fmla="*/ 30 w 146"/>
                <a:gd name="T77" fmla="*/ 112 h 121"/>
                <a:gd name="T78" fmla="*/ 40 w 146"/>
                <a:gd name="T79" fmla="*/ 112 h 121"/>
                <a:gd name="T80" fmla="*/ 44 w 146"/>
                <a:gd name="T81" fmla="*/ 114 h 121"/>
                <a:gd name="T82" fmla="*/ 49 w 146"/>
                <a:gd name="T83" fmla="*/ 119 h 121"/>
                <a:gd name="T84" fmla="*/ 51 w 146"/>
                <a:gd name="T85" fmla="*/ 119 h 121"/>
                <a:gd name="T86" fmla="*/ 51 w 146"/>
                <a:gd name="T87" fmla="*/ 114 h 121"/>
                <a:gd name="T88" fmla="*/ 51 w 146"/>
                <a:gd name="T89" fmla="*/ 105 h 121"/>
                <a:gd name="T90" fmla="*/ 49 w 146"/>
                <a:gd name="T91" fmla="*/ 100 h 121"/>
                <a:gd name="T92" fmla="*/ 49 w 146"/>
                <a:gd name="T93" fmla="*/ 95 h 121"/>
                <a:gd name="T94" fmla="*/ 51 w 146"/>
                <a:gd name="T95" fmla="*/ 88 h 121"/>
                <a:gd name="T96" fmla="*/ 68 w 146"/>
                <a:gd name="T97" fmla="*/ 88 h 121"/>
                <a:gd name="T98" fmla="*/ 80 w 146"/>
                <a:gd name="T99" fmla="*/ 88 h 121"/>
                <a:gd name="T100" fmla="*/ 87 w 146"/>
                <a:gd name="T101" fmla="*/ 88 h 121"/>
                <a:gd name="T102" fmla="*/ 91 w 146"/>
                <a:gd name="T103" fmla="*/ 88 h 121"/>
                <a:gd name="T104" fmla="*/ 94 w 146"/>
                <a:gd name="T105" fmla="*/ 86 h 121"/>
                <a:gd name="T106" fmla="*/ 96 w 146"/>
                <a:gd name="T107" fmla="*/ 83 h 121"/>
                <a:gd name="T108" fmla="*/ 110 w 146"/>
                <a:gd name="T109" fmla="*/ 88 h 121"/>
                <a:gd name="T110" fmla="*/ 117 w 146"/>
                <a:gd name="T111" fmla="*/ 88 h 121"/>
                <a:gd name="T112" fmla="*/ 120 w 146"/>
                <a:gd name="T113" fmla="*/ 86 h 121"/>
                <a:gd name="T114" fmla="*/ 122 w 146"/>
                <a:gd name="T115" fmla="*/ 83 h 121"/>
                <a:gd name="T116" fmla="*/ 124 w 146"/>
                <a:gd name="T117" fmla="*/ 81 h 121"/>
                <a:gd name="T118" fmla="*/ 127 w 146"/>
                <a:gd name="T119" fmla="*/ 78 h 121"/>
                <a:gd name="T120" fmla="*/ 129 w 146"/>
                <a:gd name="T121" fmla="*/ 78 h 121"/>
                <a:gd name="T122" fmla="*/ 139 w 146"/>
                <a:gd name="T123" fmla="*/ 78 h 121"/>
                <a:gd name="T124" fmla="*/ 146 w 146"/>
                <a:gd name="T125" fmla="*/ 6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 h="121">
                  <a:moveTo>
                    <a:pt x="146" y="67"/>
                  </a:moveTo>
                  <a:lnTo>
                    <a:pt x="143" y="64"/>
                  </a:lnTo>
                  <a:lnTo>
                    <a:pt x="141" y="60"/>
                  </a:lnTo>
                  <a:lnTo>
                    <a:pt x="141" y="60"/>
                  </a:lnTo>
                  <a:lnTo>
                    <a:pt x="141" y="60"/>
                  </a:lnTo>
                  <a:lnTo>
                    <a:pt x="141" y="60"/>
                  </a:lnTo>
                  <a:lnTo>
                    <a:pt x="141" y="57"/>
                  </a:lnTo>
                  <a:lnTo>
                    <a:pt x="143" y="57"/>
                  </a:lnTo>
                  <a:lnTo>
                    <a:pt x="143" y="57"/>
                  </a:lnTo>
                  <a:lnTo>
                    <a:pt x="143" y="57"/>
                  </a:lnTo>
                  <a:lnTo>
                    <a:pt x="143" y="55"/>
                  </a:lnTo>
                  <a:lnTo>
                    <a:pt x="141" y="52"/>
                  </a:lnTo>
                  <a:lnTo>
                    <a:pt x="141" y="52"/>
                  </a:lnTo>
                  <a:lnTo>
                    <a:pt x="141" y="52"/>
                  </a:lnTo>
                  <a:lnTo>
                    <a:pt x="139" y="50"/>
                  </a:lnTo>
                  <a:lnTo>
                    <a:pt x="139" y="52"/>
                  </a:lnTo>
                  <a:lnTo>
                    <a:pt x="136" y="52"/>
                  </a:lnTo>
                  <a:lnTo>
                    <a:pt x="136" y="52"/>
                  </a:lnTo>
                  <a:lnTo>
                    <a:pt x="134" y="52"/>
                  </a:lnTo>
                  <a:lnTo>
                    <a:pt x="132" y="52"/>
                  </a:lnTo>
                  <a:lnTo>
                    <a:pt x="129" y="52"/>
                  </a:lnTo>
                  <a:lnTo>
                    <a:pt x="127" y="48"/>
                  </a:lnTo>
                  <a:lnTo>
                    <a:pt x="122" y="45"/>
                  </a:lnTo>
                  <a:lnTo>
                    <a:pt x="120" y="45"/>
                  </a:lnTo>
                  <a:lnTo>
                    <a:pt x="120" y="45"/>
                  </a:lnTo>
                  <a:lnTo>
                    <a:pt x="120" y="41"/>
                  </a:lnTo>
                  <a:lnTo>
                    <a:pt x="120" y="38"/>
                  </a:lnTo>
                  <a:lnTo>
                    <a:pt x="120" y="38"/>
                  </a:lnTo>
                  <a:lnTo>
                    <a:pt x="122" y="38"/>
                  </a:lnTo>
                  <a:lnTo>
                    <a:pt x="124" y="38"/>
                  </a:lnTo>
                  <a:lnTo>
                    <a:pt x="124" y="38"/>
                  </a:lnTo>
                  <a:lnTo>
                    <a:pt x="122" y="36"/>
                  </a:lnTo>
                  <a:lnTo>
                    <a:pt x="122" y="36"/>
                  </a:lnTo>
                  <a:lnTo>
                    <a:pt x="120" y="34"/>
                  </a:lnTo>
                  <a:lnTo>
                    <a:pt x="120" y="34"/>
                  </a:lnTo>
                  <a:lnTo>
                    <a:pt x="120" y="34"/>
                  </a:lnTo>
                  <a:lnTo>
                    <a:pt x="117" y="31"/>
                  </a:lnTo>
                  <a:lnTo>
                    <a:pt x="117" y="31"/>
                  </a:lnTo>
                  <a:lnTo>
                    <a:pt x="117" y="31"/>
                  </a:lnTo>
                  <a:lnTo>
                    <a:pt x="115" y="31"/>
                  </a:lnTo>
                  <a:lnTo>
                    <a:pt x="113" y="31"/>
                  </a:lnTo>
                  <a:lnTo>
                    <a:pt x="113" y="26"/>
                  </a:lnTo>
                  <a:lnTo>
                    <a:pt x="110" y="24"/>
                  </a:lnTo>
                  <a:lnTo>
                    <a:pt x="110" y="22"/>
                  </a:lnTo>
                  <a:lnTo>
                    <a:pt x="108" y="22"/>
                  </a:lnTo>
                  <a:lnTo>
                    <a:pt x="110" y="19"/>
                  </a:lnTo>
                  <a:lnTo>
                    <a:pt x="108" y="17"/>
                  </a:lnTo>
                  <a:lnTo>
                    <a:pt x="108" y="15"/>
                  </a:lnTo>
                  <a:lnTo>
                    <a:pt x="106" y="15"/>
                  </a:lnTo>
                  <a:lnTo>
                    <a:pt x="106" y="10"/>
                  </a:lnTo>
                  <a:lnTo>
                    <a:pt x="106" y="8"/>
                  </a:lnTo>
                  <a:lnTo>
                    <a:pt x="106" y="5"/>
                  </a:lnTo>
                  <a:lnTo>
                    <a:pt x="106" y="5"/>
                  </a:lnTo>
                  <a:lnTo>
                    <a:pt x="103" y="3"/>
                  </a:lnTo>
                  <a:lnTo>
                    <a:pt x="99" y="3"/>
                  </a:lnTo>
                  <a:lnTo>
                    <a:pt x="96" y="3"/>
                  </a:lnTo>
                  <a:lnTo>
                    <a:pt x="94" y="3"/>
                  </a:lnTo>
                  <a:lnTo>
                    <a:pt x="94" y="3"/>
                  </a:lnTo>
                  <a:lnTo>
                    <a:pt x="94" y="0"/>
                  </a:lnTo>
                  <a:lnTo>
                    <a:pt x="91" y="0"/>
                  </a:lnTo>
                  <a:lnTo>
                    <a:pt x="89" y="3"/>
                  </a:lnTo>
                  <a:lnTo>
                    <a:pt x="87" y="5"/>
                  </a:lnTo>
                  <a:lnTo>
                    <a:pt x="84" y="8"/>
                  </a:lnTo>
                  <a:lnTo>
                    <a:pt x="84" y="8"/>
                  </a:lnTo>
                  <a:lnTo>
                    <a:pt x="80" y="8"/>
                  </a:lnTo>
                  <a:lnTo>
                    <a:pt x="75" y="10"/>
                  </a:lnTo>
                  <a:lnTo>
                    <a:pt x="73" y="12"/>
                  </a:lnTo>
                  <a:lnTo>
                    <a:pt x="73" y="12"/>
                  </a:lnTo>
                  <a:lnTo>
                    <a:pt x="70" y="15"/>
                  </a:lnTo>
                  <a:lnTo>
                    <a:pt x="68" y="15"/>
                  </a:lnTo>
                  <a:lnTo>
                    <a:pt x="66" y="15"/>
                  </a:lnTo>
                  <a:lnTo>
                    <a:pt x="66" y="19"/>
                  </a:lnTo>
                  <a:lnTo>
                    <a:pt x="63" y="22"/>
                  </a:lnTo>
                  <a:lnTo>
                    <a:pt x="59" y="19"/>
                  </a:lnTo>
                  <a:lnTo>
                    <a:pt x="56" y="19"/>
                  </a:lnTo>
                  <a:lnTo>
                    <a:pt x="54" y="19"/>
                  </a:lnTo>
                  <a:lnTo>
                    <a:pt x="51" y="22"/>
                  </a:lnTo>
                  <a:lnTo>
                    <a:pt x="49" y="24"/>
                  </a:lnTo>
                  <a:lnTo>
                    <a:pt x="49" y="29"/>
                  </a:lnTo>
                  <a:lnTo>
                    <a:pt x="49" y="29"/>
                  </a:lnTo>
                  <a:lnTo>
                    <a:pt x="49" y="31"/>
                  </a:lnTo>
                  <a:lnTo>
                    <a:pt x="49" y="31"/>
                  </a:lnTo>
                  <a:lnTo>
                    <a:pt x="47" y="31"/>
                  </a:lnTo>
                  <a:lnTo>
                    <a:pt x="47" y="31"/>
                  </a:lnTo>
                  <a:lnTo>
                    <a:pt x="44" y="31"/>
                  </a:lnTo>
                  <a:lnTo>
                    <a:pt x="42" y="31"/>
                  </a:lnTo>
                  <a:lnTo>
                    <a:pt x="42" y="34"/>
                  </a:lnTo>
                  <a:lnTo>
                    <a:pt x="42" y="36"/>
                  </a:lnTo>
                  <a:lnTo>
                    <a:pt x="42" y="38"/>
                  </a:lnTo>
                  <a:lnTo>
                    <a:pt x="40" y="41"/>
                  </a:lnTo>
                  <a:lnTo>
                    <a:pt x="37" y="41"/>
                  </a:lnTo>
                  <a:lnTo>
                    <a:pt x="37" y="41"/>
                  </a:lnTo>
                  <a:lnTo>
                    <a:pt x="37" y="41"/>
                  </a:lnTo>
                  <a:lnTo>
                    <a:pt x="30" y="38"/>
                  </a:lnTo>
                  <a:lnTo>
                    <a:pt x="30" y="36"/>
                  </a:lnTo>
                  <a:lnTo>
                    <a:pt x="28" y="38"/>
                  </a:lnTo>
                  <a:lnTo>
                    <a:pt x="26" y="38"/>
                  </a:lnTo>
                  <a:lnTo>
                    <a:pt x="26" y="41"/>
                  </a:lnTo>
                  <a:lnTo>
                    <a:pt x="23" y="41"/>
                  </a:lnTo>
                  <a:lnTo>
                    <a:pt x="23" y="43"/>
                  </a:lnTo>
                  <a:lnTo>
                    <a:pt x="23" y="43"/>
                  </a:lnTo>
                  <a:lnTo>
                    <a:pt x="23" y="45"/>
                  </a:lnTo>
                  <a:lnTo>
                    <a:pt x="23" y="48"/>
                  </a:lnTo>
                  <a:lnTo>
                    <a:pt x="23" y="50"/>
                  </a:lnTo>
                  <a:lnTo>
                    <a:pt x="18" y="52"/>
                  </a:lnTo>
                  <a:lnTo>
                    <a:pt x="21" y="52"/>
                  </a:lnTo>
                  <a:lnTo>
                    <a:pt x="21" y="55"/>
                  </a:lnTo>
                  <a:lnTo>
                    <a:pt x="21" y="55"/>
                  </a:lnTo>
                  <a:lnTo>
                    <a:pt x="21" y="60"/>
                  </a:lnTo>
                  <a:lnTo>
                    <a:pt x="18" y="60"/>
                  </a:lnTo>
                  <a:lnTo>
                    <a:pt x="18" y="62"/>
                  </a:lnTo>
                  <a:lnTo>
                    <a:pt x="18" y="64"/>
                  </a:lnTo>
                  <a:lnTo>
                    <a:pt x="16" y="64"/>
                  </a:lnTo>
                  <a:lnTo>
                    <a:pt x="16" y="64"/>
                  </a:lnTo>
                  <a:lnTo>
                    <a:pt x="14" y="67"/>
                  </a:lnTo>
                  <a:lnTo>
                    <a:pt x="11" y="67"/>
                  </a:lnTo>
                  <a:lnTo>
                    <a:pt x="7" y="67"/>
                  </a:lnTo>
                  <a:lnTo>
                    <a:pt x="7" y="67"/>
                  </a:lnTo>
                  <a:lnTo>
                    <a:pt x="4" y="69"/>
                  </a:lnTo>
                  <a:lnTo>
                    <a:pt x="4" y="69"/>
                  </a:lnTo>
                  <a:lnTo>
                    <a:pt x="4" y="71"/>
                  </a:lnTo>
                  <a:lnTo>
                    <a:pt x="4" y="74"/>
                  </a:lnTo>
                  <a:lnTo>
                    <a:pt x="4" y="74"/>
                  </a:lnTo>
                  <a:lnTo>
                    <a:pt x="4" y="76"/>
                  </a:lnTo>
                  <a:lnTo>
                    <a:pt x="4" y="76"/>
                  </a:lnTo>
                  <a:lnTo>
                    <a:pt x="4" y="78"/>
                  </a:lnTo>
                  <a:lnTo>
                    <a:pt x="4" y="83"/>
                  </a:lnTo>
                  <a:lnTo>
                    <a:pt x="2" y="86"/>
                  </a:lnTo>
                  <a:lnTo>
                    <a:pt x="2" y="86"/>
                  </a:lnTo>
                  <a:lnTo>
                    <a:pt x="0" y="86"/>
                  </a:lnTo>
                  <a:lnTo>
                    <a:pt x="2" y="88"/>
                  </a:lnTo>
                  <a:lnTo>
                    <a:pt x="2" y="93"/>
                  </a:lnTo>
                  <a:lnTo>
                    <a:pt x="0" y="95"/>
                  </a:lnTo>
                  <a:lnTo>
                    <a:pt x="0" y="97"/>
                  </a:lnTo>
                  <a:lnTo>
                    <a:pt x="0" y="97"/>
                  </a:lnTo>
                  <a:lnTo>
                    <a:pt x="0" y="100"/>
                  </a:lnTo>
                  <a:lnTo>
                    <a:pt x="0" y="102"/>
                  </a:lnTo>
                  <a:lnTo>
                    <a:pt x="2" y="102"/>
                  </a:lnTo>
                  <a:lnTo>
                    <a:pt x="4" y="102"/>
                  </a:lnTo>
                  <a:lnTo>
                    <a:pt x="7" y="102"/>
                  </a:lnTo>
                  <a:lnTo>
                    <a:pt x="7" y="105"/>
                  </a:lnTo>
                  <a:lnTo>
                    <a:pt x="9" y="107"/>
                  </a:lnTo>
                  <a:lnTo>
                    <a:pt x="9" y="107"/>
                  </a:lnTo>
                  <a:lnTo>
                    <a:pt x="9" y="109"/>
                  </a:lnTo>
                  <a:lnTo>
                    <a:pt x="11" y="112"/>
                  </a:lnTo>
                  <a:lnTo>
                    <a:pt x="14" y="112"/>
                  </a:lnTo>
                  <a:lnTo>
                    <a:pt x="14" y="114"/>
                  </a:lnTo>
                  <a:lnTo>
                    <a:pt x="16" y="114"/>
                  </a:lnTo>
                  <a:lnTo>
                    <a:pt x="18" y="114"/>
                  </a:lnTo>
                  <a:lnTo>
                    <a:pt x="18" y="116"/>
                  </a:lnTo>
                  <a:lnTo>
                    <a:pt x="21" y="116"/>
                  </a:lnTo>
                  <a:lnTo>
                    <a:pt x="21" y="116"/>
                  </a:lnTo>
                  <a:lnTo>
                    <a:pt x="23" y="114"/>
                  </a:lnTo>
                  <a:lnTo>
                    <a:pt x="23" y="114"/>
                  </a:lnTo>
                  <a:lnTo>
                    <a:pt x="28" y="112"/>
                  </a:lnTo>
                  <a:lnTo>
                    <a:pt x="30" y="112"/>
                  </a:lnTo>
                  <a:lnTo>
                    <a:pt x="33" y="109"/>
                  </a:lnTo>
                  <a:lnTo>
                    <a:pt x="35" y="109"/>
                  </a:lnTo>
                  <a:lnTo>
                    <a:pt x="40" y="112"/>
                  </a:lnTo>
                  <a:lnTo>
                    <a:pt x="40" y="112"/>
                  </a:lnTo>
                  <a:lnTo>
                    <a:pt x="42" y="112"/>
                  </a:lnTo>
                  <a:lnTo>
                    <a:pt x="44" y="112"/>
                  </a:lnTo>
                  <a:lnTo>
                    <a:pt x="44" y="114"/>
                  </a:lnTo>
                  <a:lnTo>
                    <a:pt x="44" y="114"/>
                  </a:lnTo>
                  <a:lnTo>
                    <a:pt x="47" y="116"/>
                  </a:lnTo>
                  <a:lnTo>
                    <a:pt x="47" y="116"/>
                  </a:lnTo>
                  <a:lnTo>
                    <a:pt x="49" y="119"/>
                  </a:lnTo>
                  <a:lnTo>
                    <a:pt x="49" y="119"/>
                  </a:lnTo>
                  <a:lnTo>
                    <a:pt x="49" y="121"/>
                  </a:lnTo>
                  <a:lnTo>
                    <a:pt x="51" y="121"/>
                  </a:lnTo>
                  <a:lnTo>
                    <a:pt x="51" y="121"/>
                  </a:lnTo>
                  <a:lnTo>
                    <a:pt x="51" y="119"/>
                  </a:lnTo>
                  <a:lnTo>
                    <a:pt x="51" y="119"/>
                  </a:lnTo>
                  <a:lnTo>
                    <a:pt x="51" y="116"/>
                  </a:lnTo>
                  <a:lnTo>
                    <a:pt x="49" y="114"/>
                  </a:lnTo>
                  <a:lnTo>
                    <a:pt x="51" y="114"/>
                  </a:lnTo>
                  <a:lnTo>
                    <a:pt x="51" y="112"/>
                  </a:lnTo>
                  <a:lnTo>
                    <a:pt x="49" y="107"/>
                  </a:lnTo>
                  <a:lnTo>
                    <a:pt x="49" y="105"/>
                  </a:lnTo>
                  <a:lnTo>
                    <a:pt x="51" y="105"/>
                  </a:lnTo>
                  <a:lnTo>
                    <a:pt x="51" y="102"/>
                  </a:lnTo>
                  <a:lnTo>
                    <a:pt x="49" y="102"/>
                  </a:lnTo>
                  <a:lnTo>
                    <a:pt x="49" y="102"/>
                  </a:lnTo>
                  <a:lnTo>
                    <a:pt x="49" y="100"/>
                  </a:lnTo>
                  <a:lnTo>
                    <a:pt x="49" y="100"/>
                  </a:lnTo>
                  <a:lnTo>
                    <a:pt x="49" y="100"/>
                  </a:lnTo>
                  <a:lnTo>
                    <a:pt x="49" y="97"/>
                  </a:lnTo>
                  <a:lnTo>
                    <a:pt x="49" y="95"/>
                  </a:lnTo>
                  <a:lnTo>
                    <a:pt x="49" y="93"/>
                  </a:lnTo>
                  <a:lnTo>
                    <a:pt x="49" y="88"/>
                  </a:lnTo>
                  <a:lnTo>
                    <a:pt x="49" y="88"/>
                  </a:lnTo>
                  <a:lnTo>
                    <a:pt x="51" y="88"/>
                  </a:lnTo>
                  <a:lnTo>
                    <a:pt x="51" y="88"/>
                  </a:lnTo>
                  <a:lnTo>
                    <a:pt x="56" y="88"/>
                  </a:lnTo>
                  <a:lnTo>
                    <a:pt x="61" y="88"/>
                  </a:lnTo>
                  <a:lnTo>
                    <a:pt x="68" y="88"/>
                  </a:lnTo>
                  <a:lnTo>
                    <a:pt x="73" y="88"/>
                  </a:lnTo>
                  <a:lnTo>
                    <a:pt x="73" y="88"/>
                  </a:lnTo>
                  <a:lnTo>
                    <a:pt x="73" y="88"/>
                  </a:lnTo>
                  <a:lnTo>
                    <a:pt x="80" y="88"/>
                  </a:lnTo>
                  <a:lnTo>
                    <a:pt x="82" y="88"/>
                  </a:lnTo>
                  <a:lnTo>
                    <a:pt x="84" y="88"/>
                  </a:lnTo>
                  <a:lnTo>
                    <a:pt x="84" y="88"/>
                  </a:lnTo>
                  <a:lnTo>
                    <a:pt x="87" y="88"/>
                  </a:lnTo>
                  <a:lnTo>
                    <a:pt x="89" y="88"/>
                  </a:lnTo>
                  <a:lnTo>
                    <a:pt x="89" y="88"/>
                  </a:lnTo>
                  <a:lnTo>
                    <a:pt x="89" y="88"/>
                  </a:lnTo>
                  <a:lnTo>
                    <a:pt x="91" y="88"/>
                  </a:lnTo>
                  <a:lnTo>
                    <a:pt x="91" y="88"/>
                  </a:lnTo>
                  <a:lnTo>
                    <a:pt x="94" y="88"/>
                  </a:lnTo>
                  <a:lnTo>
                    <a:pt x="94" y="86"/>
                  </a:lnTo>
                  <a:lnTo>
                    <a:pt x="94" y="86"/>
                  </a:lnTo>
                  <a:lnTo>
                    <a:pt x="94" y="86"/>
                  </a:lnTo>
                  <a:lnTo>
                    <a:pt x="96" y="86"/>
                  </a:lnTo>
                  <a:lnTo>
                    <a:pt x="96" y="86"/>
                  </a:lnTo>
                  <a:lnTo>
                    <a:pt x="96" y="83"/>
                  </a:lnTo>
                  <a:lnTo>
                    <a:pt x="101" y="86"/>
                  </a:lnTo>
                  <a:lnTo>
                    <a:pt x="106" y="86"/>
                  </a:lnTo>
                  <a:lnTo>
                    <a:pt x="110" y="88"/>
                  </a:lnTo>
                  <a:lnTo>
                    <a:pt x="110" y="88"/>
                  </a:lnTo>
                  <a:lnTo>
                    <a:pt x="110" y="88"/>
                  </a:lnTo>
                  <a:lnTo>
                    <a:pt x="113" y="88"/>
                  </a:lnTo>
                  <a:lnTo>
                    <a:pt x="113" y="88"/>
                  </a:lnTo>
                  <a:lnTo>
                    <a:pt x="117" y="88"/>
                  </a:lnTo>
                  <a:lnTo>
                    <a:pt x="120" y="88"/>
                  </a:lnTo>
                  <a:lnTo>
                    <a:pt x="120" y="88"/>
                  </a:lnTo>
                  <a:lnTo>
                    <a:pt x="120" y="86"/>
                  </a:lnTo>
                  <a:lnTo>
                    <a:pt x="120" y="86"/>
                  </a:lnTo>
                  <a:lnTo>
                    <a:pt x="122" y="86"/>
                  </a:lnTo>
                  <a:lnTo>
                    <a:pt x="122" y="86"/>
                  </a:lnTo>
                  <a:lnTo>
                    <a:pt x="122" y="86"/>
                  </a:lnTo>
                  <a:lnTo>
                    <a:pt x="122" y="83"/>
                  </a:lnTo>
                  <a:lnTo>
                    <a:pt x="122" y="83"/>
                  </a:lnTo>
                  <a:lnTo>
                    <a:pt x="122" y="83"/>
                  </a:lnTo>
                  <a:lnTo>
                    <a:pt x="122" y="83"/>
                  </a:lnTo>
                  <a:lnTo>
                    <a:pt x="124" y="81"/>
                  </a:lnTo>
                  <a:lnTo>
                    <a:pt x="124" y="81"/>
                  </a:lnTo>
                  <a:lnTo>
                    <a:pt x="124" y="81"/>
                  </a:lnTo>
                  <a:lnTo>
                    <a:pt x="127" y="81"/>
                  </a:lnTo>
                  <a:lnTo>
                    <a:pt x="127" y="78"/>
                  </a:lnTo>
                  <a:lnTo>
                    <a:pt x="127" y="78"/>
                  </a:lnTo>
                  <a:lnTo>
                    <a:pt x="127" y="78"/>
                  </a:lnTo>
                  <a:lnTo>
                    <a:pt x="129" y="78"/>
                  </a:lnTo>
                  <a:lnTo>
                    <a:pt x="129" y="78"/>
                  </a:lnTo>
                  <a:lnTo>
                    <a:pt x="132" y="78"/>
                  </a:lnTo>
                  <a:lnTo>
                    <a:pt x="132" y="78"/>
                  </a:lnTo>
                  <a:lnTo>
                    <a:pt x="136" y="78"/>
                  </a:lnTo>
                  <a:lnTo>
                    <a:pt x="139" y="78"/>
                  </a:lnTo>
                  <a:lnTo>
                    <a:pt x="143" y="74"/>
                  </a:lnTo>
                  <a:lnTo>
                    <a:pt x="143" y="74"/>
                  </a:lnTo>
                  <a:lnTo>
                    <a:pt x="146" y="69"/>
                  </a:lnTo>
                  <a:lnTo>
                    <a:pt x="146" y="69"/>
                  </a:lnTo>
                  <a:lnTo>
                    <a:pt x="146" y="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9" name="Freeform 375"/>
            <p:cNvSpPr>
              <a:spLocks/>
            </p:cNvSpPr>
            <p:nvPr userDrawn="1"/>
          </p:nvSpPr>
          <p:spPr bwMode="auto">
            <a:xfrm>
              <a:off x="4049" y="1876"/>
              <a:ext cx="104" cy="62"/>
            </a:xfrm>
            <a:custGeom>
              <a:avLst/>
              <a:gdLst>
                <a:gd name="T0" fmla="*/ 99 w 104"/>
                <a:gd name="T1" fmla="*/ 10 h 62"/>
                <a:gd name="T2" fmla="*/ 92 w 104"/>
                <a:gd name="T3" fmla="*/ 7 h 62"/>
                <a:gd name="T4" fmla="*/ 89 w 104"/>
                <a:gd name="T5" fmla="*/ 7 h 62"/>
                <a:gd name="T6" fmla="*/ 85 w 104"/>
                <a:gd name="T7" fmla="*/ 5 h 62"/>
                <a:gd name="T8" fmla="*/ 73 w 104"/>
                <a:gd name="T9" fmla="*/ 2 h 62"/>
                <a:gd name="T10" fmla="*/ 59 w 104"/>
                <a:gd name="T11" fmla="*/ 7 h 62"/>
                <a:gd name="T12" fmla="*/ 52 w 104"/>
                <a:gd name="T13" fmla="*/ 12 h 62"/>
                <a:gd name="T14" fmla="*/ 33 w 104"/>
                <a:gd name="T15" fmla="*/ 10 h 62"/>
                <a:gd name="T16" fmla="*/ 19 w 104"/>
                <a:gd name="T17" fmla="*/ 10 h 62"/>
                <a:gd name="T18" fmla="*/ 7 w 104"/>
                <a:gd name="T19" fmla="*/ 7 h 62"/>
                <a:gd name="T20" fmla="*/ 7 w 104"/>
                <a:gd name="T21" fmla="*/ 5 h 62"/>
                <a:gd name="T22" fmla="*/ 9 w 104"/>
                <a:gd name="T23" fmla="*/ 5 h 62"/>
                <a:gd name="T24" fmla="*/ 5 w 104"/>
                <a:gd name="T25" fmla="*/ 0 h 62"/>
                <a:gd name="T26" fmla="*/ 2 w 104"/>
                <a:gd name="T27" fmla="*/ 2 h 62"/>
                <a:gd name="T28" fmla="*/ 0 w 104"/>
                <a:gd name="T29" fmla="*/ 5 h 62"/>
                <a:gd name="T30" fmla="*/ 0 w 104"/>
                <a:gd name="T31" fmla="*/ 10 h 62"/>
                <a:gd name="T32" fmla="*/ 0 w 104"/>
                <a:gd name="T33" fmla="*/ 12 h 62"/>
                <a:gd name="T34" fmla="*/ 2 w 104"/>
                <a:gd name="T35" fmla="*/ 17 h 62"/>
                <a:gd name="T36" fmla="*/ 7 w 104"/>
                <a:gd name="T37" fmla="*/ 19 h 62"/>
                <a:gd name="T38" fmla="*/ 9 w 104"/>
                <a:gd name="T39" fmla="*/ 24 h 62"/>
                <a:gd name="T40" fmla="*/ 9 w 104"/>
                <a:gd name="T41" fmla="*/ 26 h 62"/>
                <a:gd name="T42" fmla="*/ 2 w 104"/>
                <a:gd name="T43" fmla="*/ 28 h 62"/>
                <a:gd name="T44" fmla="*/ 2 w 104"/>
                <a:gd name="T45" fmla="*/ 31 h 62"/>
                <a:gd name="T46" fmla="*/ 2 w 104"/>
                <a:gd name="T47" fmla="*/ 33 h 62"/>
                <a:gd name="T48" fmla="*/ 2 w 104"/>
                <a:gd name="T49" fmla="*/ 36 h 62"/>
                <a:gd name="T50" fmla="*/ 2 w 104"/>
                <a:gd name="T51" fmla="*/ 40 h 62"/>
                <a:gd name="T52" fmla="*/ 5 w 104"/>
                <a:gd name="T53" fmla="*/ 45 h 62"/>
                <a:gd name="T54" fmla="*/ 9 w 104"/>
                <a:gd name="T55" fmla="*/ 47 h 62"/>
                <a:gd name="T56" fmla="*/ 12 w 104"/>
                <a:gd name="T57" fmla="*/ 52 h 62"/>
                <a:gd name="T58" fmla="*/ 12 w 104"/>
                <a:gd name="T59" fmla="*/ 54 h 62"/>
                <a:gd name="T60" fmla="*/ 14 w 104"/>
                <a:gd name="T61" fmla="*/ 59 h 62"/>
                <a:gd name="T62" fmla="*/ 19 w 104"/>
                <a:gd name="T63" fmla="*/ 59 h 62"/>
                <a:gd name="T64" fmla="*/ 23 w 104"/>
                <a:gd name="T65" fmla="*/ 59 h 62"/>
                <a:gd name="T66" fmla="*/ 28 w 104"/>
                <a:gd name="T67" fmla="*/ 57 h 62"/>
                <a:gd name="T68" fmla="*/ 31 w 104"/>
                <a:gd name="T69" fmla="*/ 57 h 62"/>
                <a:gd name="T70" fmla="*/ 35 w 104"/>
                <a:gd name="T71" fmla="*/ 57 h 62"/>
                <a:gd name="T72" fmla="*/ 40 w 104"/>
                <a:gd name="T73" fmla="*/ 57 h 62"/>
                <a:gd name="T74" fmla="*/ 42 w 104"/>
                <a:gd name="T75" fmla="*/ 59 h 62"/>
                <a:gd name="T76" fmla="*/ 47 w 104"/>
                <a:gd name="T77" fmla="*/ 59 h 62"/>
                <a:gd name="T78" fmla="*/ 54 w 104"/>
                <a:gd name="T79" fmla="*/ 62 h 62"/>
                <a:gd name="T80" fmla="*/ 59 w 104"/>
                <a:gd name="T81" fmla="*/ 59 h 62"/>
                <a:gd name="T82" fmla="*/ 64 w 104"/>
                <a:gd name="T83" fmla="*/ 59 h 62"/>
                <a:gd name="T84" fmla="*/ 66 w 104"/>
                <a:gd name="T85" fmla="*/ 57 h 62"/>
                <a:gd name="T86" fmla="*/ 64 w 104"/>
                <a:gd name="T87" fmla="*/ 52 h 62"/>
                <a:gd name="T88" fmla="*/ 66 w 104"/>
                <a:gd name="T89" fmla="*/ 52 h 62"/>
                <a:gd name="T90" fmla="*/ 68 w 104"/>
                <a:gd name="T91" fmla="*/ 52 h 62"/>
                <a:gd name="T92" fmla="*/ 73 w 104"/>
                <a:gd name="T93" fmla="*/ 50 h 62"/>
                <a:gd name="T94" fmla="*/ 73 w 104"/>
                <a:gd name="T95" fmla="*/ 47 h 62"/>
                <a:gd name="T96" fmla="*/ 78 w 104"/>
                <a:gd name="T97" fmla="*/ 47 h 62"/>
                <a:gd name="T98" fmla="*/ 82 w 104"/>
                <a:gd name="T99" fmla="*/ 45 h 62"/>
                <a:gd name="T100" fmla="*/ 85 w 104"/>
                <a:gd name="T101" fmla="*/ 45 h 62"/>
                <a:gd name="T102" fmla="*/ 89 w 104"/>
                <a:gd name="T103" fmla="*/ 47 h 62"/>
                <a:gd name="T104" fmla="*/ 94 w 104"/>
                <a:gd name="T105" fmla="*/ 47 h 62"/>
                <a:gd name="T106" fmla="*/ 96 w 104"/>
                <a:gd name="T107" fmla="*/ 47 h 62"/>
                <a:gd name="T108" fmla="*/ 92 w 104"/>
                <a:gd name="T109" fmla="*/ 38 h 62"/>
                <a:gd name="T110" fmla="*/ 92 w 104"/>
                <a:gd name="T111" fmla="*/ 31 h 62"/>
                <a:gd name="T112" fmla="*/ 94 w 104"/>
                <a:gd name="T113" fmla="*/ 26 h 62"/>
                <a:gd name="T114" fmla="*/ 94 w 104"/>
                <a:gd name="T115" fmla="*/ 21 h 62"/>
                <a:gd name="T116" fmla="*/ 101 w 104"/>
                <a:gd name="T117"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62">
                  <a:moveTo>
                    <a:pt x="104" y="10"/>
                  </a:moveTo>
                  <a:lnTo>
                    <a:pt x="101" y="12"/>
                  </a:lnTo>
                  <a:lnTo>
                    <a:pt x="99" y="10"/>
                  </a:lnTo>
                  <a:lnTo>
                    <a:pt x="96" y="10"/>
                  </a:lnTo>
                  <a:lnTo>
                    <a:pt x="94" y="10"/>
                  </a:lnTo>
                  <a:lnTo>
                    <a:pt x="92" y="7"/>
                  </a:lnTo>
                  <a:lnTo>
                    <a:pt x="92" y="5"/>
                  </a:lnTo>
                  <a:lnTo>
                    <a:pt x="89" y="7"/>
                  </a:lnTo>
                  <a:lnTo>
                    <a:pt x="89" y="7"/>
                  </a:lnTo>
                  <a:lnTo>
                    <a:pt x="87" y="5"/>
                  </a:lnTo>
                  <a:lnTo>
                    <a:pt x="85" y="5"/>
                  </a:lnTo>
                  <a:lnTo>
                    <a:pt x="85" y="5"/>
                  </a:lnTo>
                  <a:lnTo>
                    <a:pt x="78" y="2"/>
                  </a:lnTo>
                  <a:lnTo>
                    <a:pt x="78" y="2"/>
                  </a:lnTo>
                  <a:lnTo>
                    <a:pt x="73" y="2"/>
                  </a:lnTo>
                  <a:lnTo>
                    <a:pt x="68" y="5"/>
                  </a:lnTo>
                  <a:lnTo>
                    <a:pt x="64" y="5"/>
                  </a:lnTo>
                  <a:lnTo>
                    <a:pt x="59" y="7"/>
                  </a:lnTo>
                  <a:lnTo>
                    <a:pt x="56" y="10"/>
                  </a:lnTo>
                  <a:lnTo>
                    <a:pt x="54" y="12"/>
                  </a:lnTo>
                  <a:lnTo>
                    <a:pt x="52" y="12"/>
                  </a:lnTo>
                  <a:lnTo>
                    <a:pt x="47" y="12"/>
                  </a:lnTo>
                  <a:lnTo>
                    <a:pt x="40" y="12"/>
                  </a:lnTo>
                  <a:lnTo>
                    <a:pt x="33" y="10"/>
                  </a:lnTo>
                  <a:lnTo>
                    <a:pt x="31" y="10"/>
                  </a:lnTo>
                  <a:lnTo>
                    <a:pt x="26" y="10"/>
                  </a:lnTo>
                  <a:lnTo>
                    <a:pt x="19" y="10"/>
                  </a:lnTo>
                  <a:lnTo>
                    <a:pt x="14" y="7"/>
                  </a:lnTo>
                  <a:lnTo>
                    <a:pt x="9" y="10"/>
                  </a:lnTo>
                  <a:lnTo>
                    <a:pt x="7" y="7"/>
                  </a:lnTo>
                  <a:lnTo>
                    <a:pt x="7" y="7"/>
                  </a:lnTo>
                  <a:lnTo>
                    <a:pt x="7" y="7"/>
                  </a:lnTo>
                  <a:lnTo>
                    <a:pt x="7" y="5"/>
                  </a:lnTo>
                  <a:lnTo>
                    <a:pt x="9" y="5"/>
                  </a:lnTo>
                  <a:lnTo>
                    <a:pt x="9" y="5"/>
                  </a:lnTo>
                  <a:lnTo>
                    <a:pt x="9" y="5"/>
                  </a:lnTo>
                  <a:lnTo>
                    <a:pt x="9" y="2"/>
                  </a:lnTo>
                  <a:lnTo>
                    <a:pt x="5" y="2"/>
                  </a:lnTo>
                  <a:lnTo>
                    <a:pt x="5" y="0"/>
                  </a:lnTo>
                  <a:lnTo>
                    <a:pt x="5" y="0"/>
                  </a:lnTo>
                  <a:lnTo>
                    <a:pt x="2" y="2"/>
                  </a:lnTo>
                  <a:lnTo>
                    <a:pt x="2" y="2"/>
                  </a:lnTo>
                  <a:lnTo>
                    <a:pt x="2" y="5"/>
                  </a:lnTo>
                  <a:lnTo>
                    <a:pt x="0" y="5"/>
                  </a:lnTo>
                  <a:lnTo>
                    <a:pt x="0" y="5"/>
                  </a:lnTo>
                  <a:lnTo>
                    <a:pt x="0" y="7"/>
                  </a:lnTo>
                  <a:lnTo>
                    <a:pt x="0" y="7"/>
                  </a:lnTo>
                  <a:lnTo>
                    <a:pt x="0" y="10"/>
                  </a:lnTo>
                  <a:lnTo>
                    <a:pt x="0" y="12"/>
                  </a:lnTo>
                  <a:lnTo>
                    <a:pt x="0" y="12"/>
                  </a:lnTo>
                  <a:lnTo>
                    <a:pt x="0" y="12"/>
                  </a:lnTo>
                  <a:lnTo>
                    <a:pt x="2" y="14"/>
                  </a:lnTo>
                  <a:lnTo>
                    <a:pt x="2" y="14"/>
                  </a:lnTo>
                  <a:lnTo>
                    <a:pt x="2" y="17"/>
                  </a:lnTo>
                  <a:lnTo>
                    <a:pt x="5" y="19"/>
                  </a:lnTo>
                  <a:lnTo>
                    <a:pt x="7" y="19"/>
                  </a:lnTo>
                  <a:lnTo>
                    <a:pt x="7" y="19"/>
                  </a:lnTo>
                  <a:lnTo>
                    <a:pt x="7" y="21"/>
                  </a:lnTo>
                  <a:lnTo>
                    <a:pt x="9" y="21"/>
                  </a:lnTo>
                  <a:lnTo>
                    <a:pt x="9" y="24"/>
                  </a:lnTo>
                  <a:lnTo>
                    <a:pt x="9" y="24"/>
                  </a:lnTo>
                  <a:lnTo>
                    <a:pt x="9" y="24"/>
                  </a:lnTo>
                  <a:lnTo>
                    <a:pt x="9" y="26"/>
                  </a:lnTo>
                  <a:lnTo>
                    <a:pt x="7" y="26"/>
                  </a:lnTo>
                  <a:lnTo>
                    <a:pt x="7" y="28"/>
                  </a:lnTo>
                  <a:lnTo>
                    <a:pt x="2" y="28"/>
                  </a:lnTo>
                  <a:lnTo>
                    <a:pt x="2" y="28"/>
                  </a:lnTo>
                  <a:lnTo>
                    <a:pt x="2" y="28"/>
                  </a:lnTo>
                  <a:lnTo>
                    <a:pt x="2" y="31"/>
                  </a:lnTo>
                  <a:lnTo>
                    <a:pt x="2" y="31"/>
                  </a:lnTo>
                  <a:lnTo>
                    <a:pt x="2" y="31"/>
                  </a:lnTo>
                  <a:lnTo>
                    <a:pt x="2" y="33"/>
                  </a:lnTo>
                  <a:lnTo>
                    <a:pt x="2" y="36"/>
                  </a:lnTo>
                  <a:lnTo>
                    <a:pt x="2" y="36"/>
                  </a:lnTo>
                  <a:lnTo>
                    <a:pt x="2" y="36"/>
                  </a:lnTo>
                  <a:lnTo>
                    <a:pt x="2" y="38"/>
                  </a:lnTo>
                  <a:lnTo>
                    <a:pt x="2" y="38"/>
                  </a:lnTo>
                  <a:lnTo>
                    <a:pt x="2" y="40"/>
                  </a:lnTo>
                  <a:lnTo>
                    <a:pt x="0" y="40"/>
                  </a:lnTo>
                  <a:lnTo>
                    <a:pt x="2" y="43"/>
                  </a:lnTo>
                  <a:lnTo>
                    <a:pt x="5" y="45"/>
                  </a:lnTo>
                  <a:lnTo>
                    <a:pt x="7" y="45"/>
                  </a:lnTo>
                  <a:lnTo>
                    <a:pt x="9" y="45"/>
                  </a:lnTo>
                  <a:lnTo>
                    <a:pt x="9" y="47"/>
                  </a:lnTo>
                  <a:lnTo>
                    <a:pt x="9" y="50"/>
                  </a:lnTo>
                  <a:lnTo>
                    <a:pt x="12" y="50"/>
                  </a:lnTo>
                  <a:lnTo>
                    <a:pt x="12" y="52"/>
                  </a:lnTo>
                  <a:lnTo>
                    <a:pt x="12" y="52"/>
                  </a:lnTo>
                  <a:lnTo>
                    <a:pt x="12" y="52"/>
                  </a:lnTo>
                  <a:lnTo>
                    <a:pt x="12" y="54"/>
                  </a:lnTo>
                  <a:lnTo>
                    <a:pt x="12" y="59"/>
                  </a:lnTo>
                  <a:lnTo>
                    <a:pt x="12" y="59"/>
                  </a:lnTo>
                  <a:lnTo>
                    <a:pt x="14" y="59"/>
                  </a:lnTo>
                  <a:lnTo>
                    <a:pt x="14" y="59"/>
                  </a:lnTo>
                  <a:lnTo>
                    <a:pt x="16" y="59"/>
                  </a:lnTo>
                  <a:lnTo>
                    <a:pt x="19" y="59"/>
                  </a:lnTo>
                  <a:lnTo>
                    <a:pt x="19" y="59"/>
                  </a:lnTo>
                  <a:lnTo>
                    <a:pt x="21" y="59"/>
                  </a:lnTo>
                  <a:lnTo>
                    <a:pt x="23" y="59"/>
                  </a:lnTo>
                  <a:lnTo>
                    <a:pt x="26" y="59"/>
                  </a:lnTo>
                  <a:lnTo>
                    <a:pt x="28" y="57"/>
                  </a:lnTo>
                  <a:lnTo>
                    <a:pt x="28" y="57"/>
                  </a:lnTo>
                  <a:lnTo>
                    <a:pt x="31" y="57"/>
                  </a:lnTo>
                  <a:lnTo>
                    <a:pt x="31" y="57"/>
                  </a:lnTo>
                  <a:lnTo>
                    <a:pt x="31" y="57"/>
                  </a:lnTo>
                  <a:lnTo>
                    <a:pt x="33" y="57"/>
                  </a:lnTo>
                  <a:lnTo>
                    <a:pt x="35" y="57"/>
                  </a:lnTo>
                  <a:lnTo>
                    <a:pt x="35" y="57"/>
                  </a:lnTo>
                  <a:lnTo>
                    <a:pt x="38" y="54"/>
                  </a:lnTo>
                  <a:lnTo>
                    <a:pt x="38" y="54"/>
                  </a:lnTo>
                  <a:lnTo>
                    <a:pt x="40" y="57"/>
                  </a:lnTo>
                  <a:lnTo>
                    <a:pt x="40" y="57"/>
                  </a:lnTo>
                  <a:lnTo>
                    <a:pt x="40" y="59"/>
                  </a:lnTo>
                  <a:lnTo>
                    <a:pt x="42" y="59"/>
                  </a:lnTo>
                  <a:lnTo>
                    <a:pt x="42" y="59"/>
                  </a:lnTo>
                  <a:lnTo>
                    <a:pt x="45" y="59"/>
                  </a:lnTo>
                  <a:lnTo>
                    <a:pt x="47" y="59"/>
                  </a:lnTo>
                  <a:lnTo>
                    <a:pt x="49" y="59"/>
                  </a:lnTo>
                  <a:lnTo>
                    <a:pt x="52" y="62"/>
                  </a:lnTo>
                  <a:lnTo>
                    <a:pt x="54" y="62"/>
                  </a:lnTo>
                  <a:lnTo>
                    <a:pt x="56" y="62"/>
                  </a:lnTo>
                  <a:lnTo>
                    <a:pt x="56" y="62"/>
                  </a:lnTo>
                  <a:lnTo>
                    <a:pt x="59" y="59"/>
                  </a:lnTo>
                  <a:lnTo>
                    <a:pt x="59" y="59"/>
                  </a:lnTo>
                  <a:lnTo>
                    <a:pt x="61" y="62"/>
                  </a:lnTo>
                  <a:lnTo>
                    <a:pt x="64" y="59"/>
                  </a:lnTo>
                  <a:lnTo>
                    <a:pt x="66" y="59"/>
                  </a:lnTo>
                  <a:lnTo>
                    <a:pt x="66" y="57"/>
                  </a:lnTo>
                  <a:lnTo>
                    <a:pt x="66" y="57"/>
                  </a:lnTo>
                  <a:lnTo>
                    <a:pt x="66" y="54"/>
                  </a:lnTo>
                  <a:lnTo>
                    <a:pt x="64" y="54"/>
                  </a:lnTo>
                  <a:lnTo>
                    <a:pt x="64" y="52"/>
                  </a:lnTo>
                  <a:lnTo>
                    <a:pt x="64" y="52"/>
                  </a:lnTo>
                  <a:lnTo>
                    <a:pt x="66" y="52"/>
                  </a:lnTo>
                  <a:lnTo>
                    <a:pt x="66" y="52"/>
                  </a:lnTo>
                  <a:lnTo>
                    <a:pt x="68" y="52"/>
                  </a:lnTo>
                  <a:lnTo>
                    <a:pt x="68" y="52"/>
                  </a:lnTo>
                  <a:lnTo>
                    <a:pt x="68" y="52"/>
                  </a:lnTo>
                  <a:lnTo>
                    <a:pt x="68" y="50"/>
                  </a:lnTo>
                  <a:lnTo>
                    <a:pt x="71" y="50"/>
                  </a:lnTo>
                  <a:lnTo>
                    <a:pt x="73" y="50"/>
                  </a:lnTo>
                  <a:lnTo>
                    <a:pt x="73" y="47"/>
                  </a:lnTo>
                  <a:lnTo>
                    <a:pt x="73" y="47"/>
                  </a:lnTo>
                  <a:lnTo>
                    <a:pt x="73" y="47"/>
                  </a:lnTo>
                  <a:lnTo>
                    <a:pt x="75" y="47"/>
                  </a:lnTo>
                  <a:lnTo>
                    <a:pt x="75" y="47"/>
                  </a:lnTo>
                  <a:lnTo>
                    <a:pt x="78" y="47"/>
                  </a:lnTo>
                  <a:lnTo>
                    <a:pt x="80" y="45"/>
                  </a:lnTo>
                  <a:lnTo>
                    <a:pt x="80" y="45"/>
                  </a:lnTo>
                  <a:lnTo>
                    <a:pt x="82" y="45"/>
                  </a:lnTo>
                  <a:lnTo>
                    <a:pt x="85" y="45"/>
                  </a:lnTo>
                  <a:lnTo>
                    <a:pt x="85" y="45"/>
                  </a:lnTo>
                  <a:lnTo>
                    <a:pt x="85" y="45"/>
                  </a:lnTo>
                  <a:lnTo>
                    <a:pt x="87" y="47"/>
                  </a:lnTo>
                  <a:lnTo>
                    <a:pt x="89" y="47"/>
                  </a:lnTo>
                  <a:lnTo>
                    <a:pt x="89" y="47"/>
                  </a:lnTo>
                  <a:lnTo>
                    <a:pt x="92" y="47"/>
                  </a:lnTo>
                  <a:lnTo>
                    <a:pt x="92" y="47"/>
                  </a:lnTo>
                  <a:lnTo>
                    <a:pt x="94" y="47"/>
                  </a:lnTo>
                  <a:lnTo>
                    <a:pt x="94" y="47"/>
                  </a:lnTo>
                  <a:lnTo>
                    <a:pt x="94" y="47"/>
                  </a:lnTo>
                  <a:lnTo>
                    <a:pt x="96" y="47"/>
                  </a:lnTo>
                  <a:lnTo>
                    <a:pt x="96" y="45"/>
                  </a:lnTo>
                  <a:lnTo>
                    <a:pt x="94" y="43"/>
                  </a:lnTo>
                  <a:lnTo>
                    <a:pt x="92" y="38"/>
                  </a:lnTo>
                  <a:lnTo>
                    <a:pt x="89" y="38"/>
                  </a:lnTo>
                  <a:lnTo>
                    <a:pt x="87" y="36"/>
                  </a:lnTo>
                  <a:lnTo>
                    <a:pt x="92" y="31"/>
                  </a:lnTo>
                  <a:lnTo>
                    <a:pt x="92" y="31"/>
                  </a:lnTo>
                  <a:lnTo>
                    <a:pt x="94" y="31"/>
                  </a:lnTo>
                  <a:lnTo>
                    <a:pt x="94" y="26"/>
                  </a:lnTo>
                  <a:lnTo>
                    <a:pt x="94" y="21"/>
                  </a:lnTo>
                  <a:lnTo>
                    <a:pt x="94" y="21"/>
                  </a:lnTo>
                  <a:lnTo>
                    <a:pt x="94" y="21"/>
                  </a:lnTo>
                  <a:lnTo>
                    <a:pt x="96" y="17"/>
                  </a:lnTo>
                  <a:lnTo>
                    <a:pt x="99" y="17"/>
                  </a:lnTo>
                  <a:lnTo>
                    <a:pt x="101" y="19"/>
                  </a:lnTo>
                  <a:lnTo>
                    <a:pt x="104" y="17"/>
                  </a:lnTo>
                  <a:lnTo>
                    <a:pt x="104" y="1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0" name="Freeform 376"/>
            <p:cNvSpPr>
              <a:spLocks noEditPoints="1"/>
            </p:cNvSpPr>
            <p:nvPr userDrawn="1"/>
          </p:nvSpPr>
          <p:spPr bwMode="auto">
            <a:xfrm>
              <a:off x="5772" y="2701"/>
              <a:ext cx="23" cy="22"/>
            </a:xfrm>
            <a:custGeom>
              <a:avLst/>
              <a:gdLst>
                <a:gd name="T0" fmla="*/ 21 w 23"/>
                <a:gd name="T1" fmla="*/ 12 h 22"/>
                <a:gd name="T2" fmla="*/ 21 w 23"/>
                <a:gd name="T3" fmla="*/ 10 h 22"/>
                <a:gd name="T4" fmla="*/ 21 w 23"/>
                <a:gd name="T5" fmla="*/ 7 h 22"/>
                <a:gd name="T6" fmla="*/ 19 w 23"/>
                <a:gd name="T7" fmla="*/ 5 h 22"/>
                <a:gd name="T8" fmla="*/ 19 w 23"/>
                <a:gd name="T9" fmla="*/ 3 h 22"/>
                <a:gd name="T10" fmla="*/ 16 w 23"/>
                <a:gd name="T11" fmla="*/ 3 h 22"/>
                <a:gd name="T12" fmla="*/ 16 w 23"/>
                <a:gd name="T13" fmla="*/ 5 h 22"/>
                <a:gd name="T14" fmla="*/ 16 w 23"/>
                <a:gd name="T15" fmla="*/ 7 h 22"/>
                <a:gd name="T16" fmla="*/ 19 w 23"/>
                <a:gd name="T17" fmla="*/ 10 h 22"/>
                <a:gd name="T18" fmla="*/ 19 w 23"/>
                <a:gd name="T19" fmla="*/ 14 h 22"/>
                <a:gd name="T20" fmla="*/ 21 w 23"/>
                <a:gd name="T21" fmla="*/ 14 h 22"/>
                <a:gd name="T22" fmla="*/ 21 w 23"/>
                <a:gd name="T23" fmla="*/ 14 h 22"/>
                <a:gd name="T24" fmla="*/ 23 w 23"/>
                <a:gd name="T25" fmla="*/ 14 h 22"/>
                <a:gd name="T26" fmla="*/ 23 w 23"/>
                <a:gd name="T27" fmla="*/ 14 h 22"/>
                <a:gd name="T28" fmla="*/ 23 w 23"/>
                <a:gd name="T29" fmla="*/ 14 h 22"/>
                <a:gd name="T30" fmla="*/ 21 w 23"/>
                <a:gd name="T31" fmla="*/ 12 h 22"/>
                <a:gd name="T32" fmla="*/ 16 w 23"/>
                <a:gd name="T33" fmla="*/ 0 h 22"/>
                <a:gd name="T34" fmla="*/ 16 w 23"/>
                <a:gd name="T35" fmla="*/ 0 h 22"/>
                <a:gd name="T36" fmla="*/ 14 w 23"/>
                <a:gd name="T37" fmla="*/ 3 h 22"/>
                <a:gd name="T38" fmla="*/ 11 w 23"/>
                <a:gd name="T39" fmla="*/ 3 h 22"/>
                <a:gd name="T40" fmla="*/ 9 w 23"/>
                <a:gd name="T41" fmla="*/ 5 h 22"/>
                <a:gd name="T42" fmla="*/ 9 w 23"/>
                <a:gd name="T43" fmla="*/ 7 h 22"/>
                <a:gd name="T44" fmla="*/ 7 w 23"/>
                <a:gd name="T45" fmla="*/ 7 h 22"/>
                <a:gd name="T46" fmla="*/ 4 w 23"/>
                <a:gd name="T47" fmla="*/ 10 h 22"/>
                <a:gd name="T48" fmla="*/ 2 w 23"/>
                <a:gd name="T49" fmla="*/ 10 h 22"/>
                <a:gd name="T50" fmla="*/ 0 w 23"/>
                <a:gd name="T51" fmla="*/ 10 h 22"/>
                <a:gd name="T52" fmla="*/ 0 w 23"/>
                <a:gd name="T53" fmla="*/ 10 h 22"/>
                <a:gd name="T54" fmla="*/ 2 w 23"/>
                <a:gd name="T55" fmla="*/ 12 h 22"/>
                <a:gd name="T56" fmla="*/ 2 w 23"/>
                <a:gd name="T57" fmla="*/ 12 h 22"/>
                <a:gd name="T58" fmla="*/ 2 w 23"/>
                <a:gd name="T59" fmla="*/ 14 h 22"/>
                <a:gd name="T60" fmla="*/ 4 w 23"/>
                <a:gd name="T61" fmla="*/ 14 h 22"/>
                <a:gd name="T62" fmla="*/ 4 w 23"/>
                <a:gd name="T63" fmla="*/ 17 h 22"/>
                <a:gd name="T64" fmla="*/ 4 w 23"/>
                <a:gd name="T65" fmla="*/ 17 h 22"/>
                <a:gd name="T66" fmla="*/ 7 w 23"/>
                <a:gd name="T67" fmla="*/ 17 h 22"/>
                <a:gd name="T68" fmla="*/ 7 w 23"/>
                <a:gd name="T69" fmla="*/ 17 h 22"/>
                <a:gd name="T70" fmla="*/ 9 w 23"/>
                <a:gd name="T71" fmla="*/ 19 h 22"/>
                <a:gd name="T72" fmla="*/ 9 w 23"/>
                <a:gd name="T73" fmla="*/ 22 h 22"/>
                <a:gd name="T74" fmla="*/ 9 w 23"/>
                <a:gd name="T75" fmla="*/ 22 h 22"/>
                <a:gd name="T76" fmla="*/ 11 w 23"/>
                <a:gd name="T77" fmla="*/ 22 h 22"/>
                <a:gd name="T78" fmla="*/ 11 w 23"/>
                <a:gd name="T79" fmla="*/ 19 h 22"/>
                <a:gd name="T80" fmla="*/ 14 w 23"/>
                <a:gd name="T81" fmla="*/ 19 h 22"/>
                <a:gd name="T82" fmla="*/ 14 w 23"/>
                <a:gd name="T83" fmla="*/ 17 h 22"/>
                <a:gd name="T84" fmla="*/ 14 w 23"/>
                <a:gd name="T85" fmla="*/ 17 h 22"/>
                <a:gd name="T86" fmla="*/ 14 w 23"/>
                <a:gd name="T87" fmla="*/ 14 h 22"/>
                <a:gd name="T88" fmla="*/ 14 w 23"/>
                <a:gd name="T89" fmla="*/ 14 h 22"/>
                <a:gd name="T90" fmla="*/ 14 w 23"/>
                <a:gd name="T91" fmla="*/ 12 h 22"/>
                <a:gd name="T92" fmla="*/ 14 w 23"/>
                <a:gd name="T93" fmla="*/ 12 h 22"/>
                <a:gd name="T94" fmla="*/ 11 w 23"/>
                <a:gd name="T95" fmla="*/ 10 h 22"/>
                <a:gd name="T96" fmla="*/ 11 w 23"/>
                <a:gd name="T97" fmla="*/ 7 h 22"/>
                <a:gd name="T98" fmla="*/ 11 w 23"/>
                <a:gd name="T99" fmla="*/ 7 h 22"/>
                <a:gd name="T100" fmla="*/ 11 w 23"/>
                <a:gd name="T101" fmla="*/ 7 h 22"/>
                <a:gd name="T102" fmla="*/ 14 w 23"/>
                <a:gd name="T103" fmla="*/ 5 h 22"/>
                <a:gd name="T104" fmla="*/ 16 w 23"/>
                <a:gd name="T105" fmla="*/ 5 h 22"/>
                <a:gd name="T106" fmla="*/ 16 w 23"/>
                <a:gd name="T107" fmla="*/ 3 h 22"/>
                <a:gd name="T108" fmla="*/ 16 w 23"/>
                <a:gd name="T109" fmla="*/ 3 h 22"/>
                <a:gd name="T110" fmla="*/ 16 w 23"/>
                <a:gd name="T11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 h="22">
                  <a:moveTo>
                    <a:pt x="21" y="12"/>
                  </a:moveTo>
                  <a:lnTo>
                    <a:pt x="21" y="10"/>
                  </a:lnTo>
                  <a:lnTo>
                    <a:pt x="21" y="7"/>
                  </a:lnTo>
                  <a:lnTo>
                    <a:pt x="19" y="5"/>
                  </a:lnTo>
                  <a:lnTo>
                    <a:pt x="19" y="3"/>
                  </a:lnTo>
                  <a:lnTo>
                    <a:pt x="16" y="3"/>
                  </a:lnTo>
                  <a:lnTo>
                    <a:pt x="16" y="5"/>
                  </a:lnTo>
                  <a:lnTo>
                    <a:pt x="16" y="7"/>
                  </a:lnTo>
                  <a:lnTo>
                    <a:pt x="19" y="10"/>
                  </a:lnTo>
                  <a:lnTo>
                    <a:pt x="19" y="14"/>
                  </a:lnTo>
                  <a:lnTo>
                    <a:pt x="21" y="14"/>
                  </a:lnTo>
                  <a:lnTo>
                    <a:pt x="21" y="14"/>
                  </a:lnTo>
                  <a:lnTo>
                    <a:pt x="23" y="14"/>
                  </a:lnTo>
                  <a:lnTo>
                    <a:pt x="23" y="14"/>
                  </a:lnTo>
                  <a:lnTo>
                    <a:pt x="23" y="14"/>
                  </a:lnTo>
                  <a:lnTo>
                    <a:pt x="21" y="12"/>
                  </a:lnTo>
                  <a:close/>
                  <a:moveTo>
                    <a:pt x="16" y="0"/>
                  </a:moveTo>
                  <a:lnTo>
                    <a:pt x="16" y="0"/>
                  </a:lnTo>
                  <a:lnTo>
                    <a:pt x="14" y="3"/>
                  </a:lnTo>
                  <a:lnTo>
                    <a:pt x="11" y="3"/>
                  </a:lnTo>
                  <a:lnTo>
                    <a:pt x="9" y="5"/>
                  </a:lnTo>
                  <a:lnTo>
                    <a:pt x="9" y="7"/>
                  </a:lnTo>
                  <a:lnTo>
                    <a:pt x="7" y="7"/>
                  </a:lnTo>
                  <a:lnTo>
                    <a:pt x="4" y="10"/>
                  </a:lnTo>
                  <a:lnTo>
                    <a:pt x="2" y="10"/>
                  </a:lnTo>
                  <a:lnTo>
                    <a:pt x="0" y="10"/>
                  </a:lnTo>
                  <a:lnTo>
                    <a:pt x="0" y="10"/>
                  </a:lnTo>
                  <a:lnTo>
                    <a:pt x="2" y="12"/>
                  </a:lnTo>
                  <a:lnTo>
                    <a:pt x="2" y="12"/>
                  </a:lnTo>
                  <a:lnTo>
                    <a:pt x="2" y="14"/>
                  </a:lnTo>
                  <a:lnTo>
                    <a:pt x="4" y="14"/>
                  </a:lnTo>
                  <a:lnTo>
                    <a:pt x="4" y="17"/>
                  </a:lnTo>
                  <a:lnTo>
                    <a:pt x="4" y="17"/>
                  </a:lnTo>
                  <a:lnTo>
                    <a:pt x="7" y="17"/>
                  </a:lnTo>
                  <a:lnTo>
                    <a:pt x="7" y="17"/>
                  </a:lnTo>
                  <a:lnTo>
                    <a:pt x="9" y="19"/>
                  </a:lnTo>
                  <a:lnTo>
                    <a:pt x="9" y="22"/>
                  </a:lnTo>
                  <a:lnTo>
                    <a:pt x="9" y="22"/>
                  </a:lnTo>
                  <a:lnTo>
                    <a:pt x="11" y="22"/>
                  </a:lnTo>
                  <a:lnTo>
                    <a:pt x="11" y="19"/>
                  </a:lnTo>
                  <a:lnTo>
                    <a:pt x="14" y="19"/>
                  </a:lnTo>
                  <a:lnTo>
                    <a:pt x="14" y="17"/>
                  </a:lnTo>
                  <a:lnTo>
                    <a:pt x="14" y="17"/>
                  </a:lnTo>
                  <a:lnTo>
                    <a:pt x="14" y="14"/>
                  </a:lnTo>
                  <a:lnTo>
                    <a:pt x="14" y="14"/>
                  </a:lnTo>
                  <a:lnTo>
                    <a:pt x="14" y="12"/>
                  </a:lnTo>
                  <a:lnTo>
                    <a:pt x="14" y="12"/>
                  </a:lnTo>
                  <a:lnTo>
                    <a:pt x="11" y="10"/>
                  </a:lnTo>
                  <a:lnTo>
                    <a:pt x="11" y="7"/>
                  </a:lnTo>
                  <a:lnTo>
                    <a:pt x="11" y="7"/>
                  </a:lnTo>
                  <a:lnTo>
                    <a:pt x="11" y="7"/>
                  </a:lnTo>
                  <a:lnTo>
                    <a:pt x="14" y="5"/>
                  </a:lnTo>
                  <a:lnTo>
                    <a:pt x="16" y="5"/>
                  </a:lnTo>
                  <a:lnTo>
                    <a:pt x="16" y="3"/>
                  </a:lnTo>
                  <a:lnTo>
                    <a:pt x="16" y="3"/>
                  </a:lnTo>
                  <a:lnTo>
                    <a:pt x="16"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1" name="Freeform 377"/>
            <p:cNvSpPr>
              <a:spLocks noEditPoints="1"/>
            </p:cNvSpPr>
            <p:nvPr userDrawn="1"/>
          </p:nvSpPr>
          <p:spPr bwMode="auto">
            <a:xfrm>
              <a:off x="2281" y="2697"/>
              <a:ext cx="726" cy="822"/>
            </a:xfrm>
            <a:custGeom>
              <a:avLst/>
              <a:gdLst>
                <a:gd name="T0" fmla="*/ 655 w 726"/>
                <a:gd name="T1" fmla="*/ 394 h 822"/>
                <a:gd name="T2" fmla="*/ 406 w 726"/>
                <a:gd name="T3" fmla="*/ 141 h 822"/>
                <a:gd name="T4" fmla="*/ 432 w 726"/>
                <a:gd name="T5" fmla="*/ 134 h 822"/>
                <a:gd name="T6" fmla="*/ 462 w 726"/>
                <a:gd name="T7" fmla="*/ 141 h 822"/>
                <a:gd name="T8" fmla="*/ 424 w 726"/>
                <a:gd name="T9" fmla="*/ 118 h 822"/>
                <a:gd name="T10" fmla="*/ 446 w 726"/>
                <a:gd name="T11" fmla="*/ 111 h 822"/>
                <a:gd name="T12" fmla="*/ 434 w 726"/>
                <a:gd name="T13" fmla="*/ 70 h 822"/>
                <a:gd name="T14" fmla="*/ 681 w 726"/>
                <a:gd name="T15" fmla="*/ 215 h 822"/>
                <a:gd name="T16" fmla="*/ 573 w 726"/>
                <a:gd name="T17" fmla="*/ 163 h 822"/>
                <a:gd name="T18" fmla="*/ 547 w 726"/>
                <a:gd name="T19" fmla="*/ 158 h 822"/>
                <a:gd name="T20" fmla="*/ 523 w 726"/>
                <a:gd name="T21" fmla="*/ 139 h 822"/>
                <a:gd name="T22" fmla="*/ 483 w 726"/>
                <a:gd name="T23" fmla="*/ 125 h 822"/>
                <a:gd name="T24" fmla="*/ 450 w 726"/>
                <a:gd name="T25" fmla="*/ 167 h 822"/>
                <a:gd name="T26" fmla="*/ 422 w 726"/>
                <a:gd name="T27" fmla="*/ 132 h 822"/>
                <a:gd name="T28" fmla="*/ 434 w 726"/>
                <a:gd name="T29" fmla="*/ 96 h 822"/>
                <a:gd name="T30" fmla="*/ 415 w 726"/>
                <a:gd name="T31" fmla="*/ 21 h 822"/>
                <a:gd name="T32" fmla="*/ 389 w 726"/>
                <a:gd name="T33" fmla="*/ 63 h 822"/>
                <a:gd name="T34" fmla="*/ 356 w 726"/>
                <a:gd name="T35" fmla="*/ 61 h 822"/>
                <a:gd name="T36" fmla="*/ 328 w 726"/>
                <a:gd name="T37" fmla="*/ 63 h 822"/>
                <a:gd name="T38" fmla="*/ 302 w 726"/>
                <a:gd name="T39" fmla="*/ 75 h 822"/>
                <a:gd name="T40" fmla="*/ 278 w 726"/>
                <a:gd name="T41" fmla="*/ 85 h 822"/>
                <a:gd name="T42" fmla="*/ 260 w 726"/>
                <a:gd name="T43" fmla="*/ 37 h 822"/>
                <a:gd name="T44" fmla="*/ 257 w 726"/>
                <a:gd name="T45" fmla="*/ 4 h 822"/>
                <a:gd name="T46" fmla="*/ 231 w 726"/>
                <a:gd name="T47" fmla="*/ 18 h 822"/>
                <a:gd name="T48" fmla="*/ 179 w 726"/>
                <a:gd name="T49" fmla="*/ 23 h 822"/>
                <a:gd name="T50" fmla="*/ 191 w 726"/>
                <a:gd name="T51" fmla="*/ 66 h 822"/>
                <a:gd name="T52" fmla="*/ 153 w 726"/>
                <a:gd name="T53" fmla="*/ 92 h 822"/>
                <a:gd name="T54" fmla="*/ 111 w 726"/>
                <a:gd name="T55" fmla="*/ 73 h 822"/>
                <a:gd name="T56" fmla="*/ 76 w 726"/>
                <a:gd name="T57" fmla="*/ 87 h 822"/>
                <a:gd name="T58" fmla="*/ 78 w 726"/>
                <a:gd name="T59" fmla="*/ 96 h 822"/>
                <a:gd name="T60" fmla="*/ 78 w 726"/>
                <a:gd name="T61" fmla="*/ 130 h 822"/>
                <a:gd name="T62" fmla="*/ 66 w 726"/>
                <a:gd name="T63" fmla="*/ 198 h 822"/>
                <a:gd name="T64" fmla="*/ 17 w 726"/>
                <a:gd name="T65" fmla="*/ 229 h 822"/>
                <a:gd name="T66" fmla="*/ 0 w 726"/>
                <a:gd name="T67" fmla="*/ 269 h 822"/>
                <a:gd name="T68" fmla="*/ 19 w 726"/>
                <a:gd name="T69" fmla="*/ 297 h 822"/>
                <a:gd name="T70" fmla="*/ 64 w 726"/>
                <a:gd name="T71" fmla="*/ 312 h 822"/>
                <a:gd name="T72" fmla="*/ 99 w 726"/>
                <a:gd name="T73" fmla="*/ 342 h 822"/>
                <a:gd name="T74" fmla="*/ 158 w 726"/>
                <a:gd name="T75" fmla="*/ 319 h 822"/>
                <a:gd name="T76" fmla="*/ 170 w 726"/>
                <a:gd name="T77" fmla="*/ 359 h 822"/>
                <a:gd name="T78" fmla="*/ 210 w 726"/>
                <a:gd name="T79" fmla="*/ 380 h 822"/>
                <a:gd name="T80" fmla="*/ 262 w 726"/>
                <a:gd name="T81" fmla="*/ 413 h 822"/>
                <a:gd name="T82" fmla="*/ 304 w 726"/>
                <a:gd name="T83" fmla="*/ 475 h 822"/>
                <a:gd name="T84" fmla="*/ 316 w 726"/>
                <a:gd name="T85" fmla="*/ 534 h 822"/>
                <a:gd name="T86" fmla="*/ 321 w 726"/>
                <a:gd name="T87" fmla="*/ 565 h 822"/>
                <a:gd name="T88" fmla="*/ 347 w 726"/>
                <a:gd name="T89" fmla="*/ 579 h 822"/>
                <a:gd name="T90" fmla="*/ 368 w 726"/>
                <a:gd name="T91" fmla="*/ 607 h 822"/>
                <a:gd name="T92" fmla="*/ 391 w 726"/>
                <a:gd name="T93" fmla="*/ 647 h 822"/>
                <a:gd name="T94" fmla="*/ 406 w 726"/>
                <a:gd name="T95" fmla="*/ 685 h 822"/>
                <a:gd name="T96" fmla="*/ 380 w 726"/>
                <a:gd name="T97" fmla="*/ 709 h 822"/>
                <a:gd name="T98" fmla="*/ 356 w 726"/>
                <a:gd name="T99" fmla="*/ 749 h 822"/>
                <a:gd name="T100" fmla="*/ 399 w 726"/>
                <a:gd name="T101" fmla="*/ 768 h 822"/>
                <a:gd name="T102" fmla="*/ 436 w 726"/>
                <a:gd name="T103" fmla="*/ 811 h 822"/>
                <a:gd name="T104" fmla="*/ 467 w 726"/>
                <a:gd name="T105" fmla="*/ 761 h 822"/>
                <a:gd name="T106" fmla="*/ 472 w 726"/>
                <a:gd name="T107" fmla="*/ 766 h 822"/>
                <a:gd name="T108" fmla="*/ 505 w 726"/>
                <a:gd name="T109" fmla="*/ 711 h 822"/>
                <a:gd name="T110" fmla="*/ 498 w 726"/>
                <a:gd name="T111" fmla="*/ 647 h 822"/>
                <a:gd name="T112" fmla="*/ 554 w 726"/>
                <a:gd name="T113" fmla="*/ 610 h 822"/>
                <a:gd name="T114" fmla="*/ 594 w 726"/>
                <a:gd name="T115" fmla="*/ 591 h 822"/>
                <a:gd name="T116" fmla="*/ 639 w 726"/>
                <a:gd name="T117" fmla="*/ 539 h 822"/>
                <a:gd name="T118" fmla="*/ 655 w 726"/>
                <a:gd name="T119" fmla="*/ 409 h 822"/>
                <a:gd name="T120" fmla="*/ 681 w 726"/>
                <a:gd name="T121" fmla="*/ 354 h 822"/>
                <a:gd name="T122" fmla="*/ 726 w 726"/>
                <a:gd name="T123" fmla="*/ 279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822">
                  <a:moveTo>
                    <a:pt x="556" y="612"/>
                  </a:moveTo>
                  <a:lnTo>
                    <a:pt x="554" y="612"/>
                  </a:lnTo>
                  <a:lnTo>
                    <a:pt x="552" y="614"/>
                  </a:lnTo>
                  <a:lnTo>
                    <a:pt x="554" y="617"/>
                  </a:lnTo>
                  <a:lnTo>
                    <a:pt x="556" y="617"/>
                  </a:lnTo>
                  <a:lnTo>
                    <a:pt x="556" y="617"/>
                  </a:lnTo>
                  <a:lnTo>
                    <a:pt x="556" y="614"/>
                  </a:lnTo>
                  <a:lnTo>
                    <a:pt x="556" y="614"/>
                  </a:lnTo>
                  <a:lnTo>
                    <a:pt x="556" y="614"/>
                  </a:lnTo>
                  <a:lnTo>
                    <a:pt x="556" y="612"/>
                  </a:lnTo>
                  <a:lnTo>
                    <a:pt x="556" y="612"/>
                  </a:lnTo>
                  <a:close/>
                  <a:moveTo>
                    <a:pt x="573" y="598"/>
                  </a:moveTo>
                  <a:lnTo>
                    <a:pt x="573" y="598"/>
                  </a:lnTo>
                  <a:lnTo>
                    <a:pt x="573" y="598"/>
                  </a:lnTo>
                  <a:lnTo>
                    <a:pt x="573" y="598"/>
                  </a:lnTo>
                  <a:lnTo>
                    <a:pt x="571" y="600"/>
                  </a:lnTo>
                  <a:lnTo>
                    <a:pt x="573" y="600"/>
                  </a:lnTo>
                  <a:lnTo>
                    <a:pt x="573" y="600"/>
                  </a:lnTo>
                  <a:lnTo>
                    <a:pt x="575" y="600"/>
                  </a:lnTo>
                  <a:lnTo>
                    <a:pt x="575" y="600"/>
                  </a:lnTo>
                  <a:lnTo>
                    <a:pt x="575" y="600"/>
                  </a:lnTo>
                  <a:lnTo>
                    <a:pt x="573" y="598"/>
                  </a:lnTo>
                  <a:close/>
                  <a:moveTo>
                    <a:pt x="653" y="394"/>
                  </a:moveTo>
                  <a:lnTo>
                    <a:pt x="653" y="394"/>
                  </a:lnTo>
                  <a:lnTo>
                    <a:pt x="655" y="394"/>
                  </a:lnTo>
                  <a:lnTo>
                    <a:pt x="655" y="397"/>
                  </a:lnTo>
                  <a:lnTo>
                    <a:pt x="655" y="397"/>
                  </a:lnTo>
                  <a:lnTo>
                    <a:pt x="655" y="394"/>
                  </a:lnTo>
                  <a:lnTo>
                    <a:pt x="655" y="394"/>
                  </a:lnTo>
                  <a:lnTo>
                    <a:pt x="655" y="394"/>
                  </a:lnTo>
                  <a:lnTo>
                    <a:pt x="653" y="394"/>
                  </a:lnTo>
                  <a:close/>
                  <a:moveTo>
                    <a:pt x="660" y="383"/>
                  </a:moveTo>
                  <a:lnTo>
                    <a:pt x="660" y="385"/>
                  </a:lnTo>
                  <a:lnTo>
                    <a:pt x="658" y="387"/>
                  </a:lnTo>
                  <a:lnTo>
                    <a:pt x="658" y="387"/>
                  </a:lnTo>
                  <a:lnTo>
                    <a:pt x="658" y="387"/>
                  </a:lnTo>
                  <a:lnTo>
                    <a:pt x="660" y="385"/>
                  </a:lnTo>
                  <a:lnTo>
                    <a:pt x="660" y="385"/>
                  </a:lnTo>
                  <a:lnTo>
                    <a:pt x="660" y="383"/>
                  </a:lnTo>
                  <a:lnTo>
                    <a:pt x="660" y="383"/>
                  </a:lnTo>
                  <a:close/>
                  <a:moveTo>
                    <a:pt x="545" y="172"/>
                  </a:moveTo>
                  <a:lnTo>
                    <a:pt x="545" y="170"/>
                  </a:lnTo>
                  <a:lnTo>
                    <a:pt x="545" y="170"/>
                  </a:lnTo>
                  <a:lnTo>
                    <a:pt x="545" y="167"/>
                  </a:lnTo>
                  <a:lnTo>
                    <a:pt x="545" y="167"/>
                  </a:lnTo>
                  <a:lnTo>
                    <a:pt x="545" y="170"/>
                  </a:lnTo>
                  <a:lnTo>
                    <a:pt x="542" y="170"/>
                  </a:lnTo>
                  <a:lnTo>
                    <a:pt x="545" y="172"/>
                  </a:lnTo>
                  <a:lnTo>
                    <a:pt x="542" y="175"/>
                  </a:lnTo>
                  <a:lnTo>
                    <a:pt x="545" y="172"/>
                  </a:lnTo>
                  <a:close/>
                  <a:moveTo>
                    <a:pt x="535" y="139"/>
                  </a:moveTo>
                  <a:lnTo>
                    <a:pt x="538" y="139"/>
                  </a:lnTo>
                  <a:lnTo>
                    <a:pt x="538" y="137"/>
                  </a:lnTo>
                  <a:lnTo>
                    <a:pt x="535" y="137"/>
                  </a:lnTo>
                  <a:lnTo>
                    <a:pt x="535" y="139"/>
                  </a:lnTo>
                  <a:lnTo>
                    <a:pt x="535" y="139"/>
                  </a:lnTo>
                  <a:lnTo>
                    <a:pt x="535" y="139"/>
                  </a:lnTo>
                  <a:lnTo>
                    <a:pt x="535" y="139"/>
                  </a:lnTo>
                  <a:lnTo>
                    <a:pt x="535" y="139"/>
                  </a:lnTo>
                  <a:close/>
                  <a:moveTo>
                    <a:pt x="406" y="141"/>
                  </a:moveTo>
                  <a:lnTo>
                    <a:pt x="408" y="141"/>
                  </a:lnTo>
                  <a:lnTo>
                    <a:pt x="413" y="139"/>
                  </a:lnTo>
                  <a:lnTo>
                    <a:pt x="415" y="137"/>
                  </a:lnTo>
                  <a:lnTo>
                    <a:pt x="417" y="132"/>
                  </a:lnTo>
                  <a:lnTo>
                    <a:pt x="417" y="132"/>
                  </a:lnTo>
                  <a:lnTo>
                    <a:pt x="420" y="125"/>
                  </a:lnTo>
                  <a:lnTo>
                    <a:pt x="420" y="122"/>
                  </a:lnTo>
                  <a:lnTo>
                    <a:pt x="415" y="122"/>
                  </a:lnTo>
                  <a:lnTo>
                    <a:pt x="413" y="125"/>
                  </a:lnTo>
                  <a:lnTo>
                    <a:pt x="410" y="130"/>
                  </a:lnTo>
                  <a:lnTo>
                    <a:pt x="410" y="134"/>
                  </a:lnTo>
                  <a:lnTo>
                    <a:pt x="408" y="137"/>
                  </a:lnTo>
                  <a:lnTo>
                    <a:pt x="406" y="141"/>
                  </a:lnTo>
                  <a:close/>
                  <a:moveTo>
                    <a:pt x="450" y="115"/>
                  </a:moveTo>
                  <a:lnTo>
                    <a:pt x="448" y="115"/>
                  </a:lnTo>
                  <a:lnTo>
                    <a:pt x="439" y="113"/>
                  </a:lnTo>
                  <a:lnTo>
                    <a:pt x="434" y="113"/>
                  </a:lnTo>
                  <a:lnTo>
                    <a:pt x="429" y="115"/>
                  </a:lnTo>
                  <a:lnTo>
                    <a:pt x="429" y="118"/>
                  </a:lnTo>
                  <a:lnTo>
                    <a:pt x="429" y="120"/>
                  </a:lnTo>
                  <a:lnTo>
                    <a:pt x="429" y="122"/>
                  </a:lnTo>
                  <a:lnTo>
                    <a:pt x="429" y="122"/>
                  </a:lnTo>
                  <a:lnTo>
                    <a:pt x="427" y="125"/>
                  </a:lnTo>
                  <a:lnTo>
                    <a:pt x="427" y="125"/>
                  </a:lnTo>
                  <a:lnTo>
                    <a:pt x="427" y="130"/>
                  </a:lnTo>
                  <a:lnTo>
                    <a:pt x="427" y="132"/>
                  </a:lnTo>
                  <a:lnTo>
                    <a:pt x="429" y="134"/>
                  </a:lnTo>
                  <a:lnTo>
                    <a:pt x="432" y="134"/>
                  </a:lnTo>
                  <a:lnTo>
                    <a:pt x="432" y="134"/>
                  </a:lnTo>
                  <a:lnTo>
                    <a:pt x="432" y="134"/>
                  </a:lnTo>
                  <a:lnTo>
                    <a:pt x="432" y="134"/>
                  </a:lnTo>
                  <a:lnTo>
                    <a:pt x="429" y="134"/>
                  </a:lnTo>
                  <a:lnTo>
                    <a:pt x="429" y="134"/>
                  </a:lnTo>
                  <a:lnTo>
                    <a:pt x="429" y="137"/>
                  </a:lnTo>
                  <a:lnTo>
                    <a:pt x="429" y="139"/>
                  </a:lnTo>
                  <a:lnTo>
                    <a:pt x="429" y="144"/>
                  </a:lnTo>
                  <a:lnTo>
                    <a:pt x="432" y="146"/>
                  </a:lnTo>
                  <a:lnTo>
                    <a:pt x="432" y="146"/>
                  </a:lnTo>
                  <a:lnTo>
                    <a:pt x="434" y="149"/>
                  </a:lnTo>
                  <a:lnTo>
                    <a:pt x="434" y="149"/>
                  </a:lnTo>
                  <a:lnTo>
                    <a:pt x="436" y="149"/>
                  </a:lnTo>
                  <a:lnTo>
                    <a:pt x="441" y="149"/>
                  </a:lnTo>
                  <a:lnTo>
                    <a:pt x="441" y="146"/>
                  </a:lnTo>
                  <a:lnTo>
                    <a:pt x="443" y="146"/>
                  </a:lnTo>
                  <a:lnTo>
                    <a:pt x="443" y="149"/>
                  </a:lnTo>
                  <a:lnTo>
                    <a:pt x="446" y="149"/>
                  </a:lnTo>
                  <a:lnTo>
                    <a:pt x="448" y="149"/>
                  </a:lnTo>
                  <a:lnTo>
                    <a:pt x="448" y="149"/>
                  </a:lnTo>
                  <a:lnTo>
                    <a:pt x="450" y="146"/>
                  </a:lnTo>
                  <a:lnTo>
                    <a:pt x="450" y="146"/>
                  </a:lnTo>
                  <a:lnTo>
                    <a:pt x="450" y="144"/>
                  </a:lnTo>
                  <a:lnTo>
                    <a:pt x="453" y="144"/>
                  </a:lnTo>
                  <a:lnTo>
                    <a:pt x="455" y="144"/>
                  </a:lnTo>
                  <a:lnTo>
                    <a:pt x="457" y="144"/>
                  </a:lnTo>
                  <a:lnTo>
                    <a:pt x="457" y="144"/>
                  </a:lnTo>
                  <a:lnTo>
                    <a:pt x="457" y="141"/>
                  </a:lnTo>
                  <a:lnTo>
                    <a:pt x="457" y="141"/>
                  </a:lnTo>
                  <a:lnTo>
                    <a:pt x="460" y="141"/>
                  </a:lnTo>
                  <a:lnTo>
                    <a:pt x="460" y="144"/>
                  </a:lnTo>
                  <a:lnTo>
                    <a:pt x="462" y="141"/>
                  </a:lnTo>
                  <a:lnTo>
                    <a:pt x="462" y="141"/>
                  </a:lnTo>
                  <a:lnTo>
                    <a:pt x="465" y="139"/>
                  </a:lnTo>
                  <a:lnTo>
                    <a:pt x="465" y="139"/>
                  </a:lnTo>
                  <a:lnTo>
                    <a:pt x="465" y="137"/>
                  </a:lnTo>
                  <a:lnTo>
                    <a:pt x="465" y="137"/>
                  </a:lnTo>
                  <a:lnTo>
                    <a:pt x="465" y="137"/>
                  </a:lnTo>
                  <a:lnTo>
                    <a:pt x="467" y="134"/>
                  </a:lnTo>
                  <a:lnTo>
                    <a:pt x="467" y="134"/>
                  </a:lnTo>
                  <a:lnTo>
                    <a:pt x="467" y="132"/>
                  </a:lnTo>
                  <a:lnTo>
                    <a:pt x="469" y="130"/>
                  </a:lnTo>
                  <a:lnTo>
                    <a:pt x="469" y="130"/>
                  </a:lnTo>
                  <a:lnTo>
                    <a:pt x="469" y="127"/>
                  </a:lnTo>
                  <a:lnTo>
                    <a:pt x="469" y="125"/>
                  </a:lnTo>
                  <a:lnTo>
                    <a:pt x="469" y="125"/>
                  </a:lnTo>
                  <a:lnTo>
                    <a:pt x="469" y="125"/>
                  </a:lnTo>
                  <a:lnTo>
                    <a:pt x="472" y="122"/>
                  </a:lnTo>
                  <a:lnTo>
                    <a:pt x="472" y="120"/>
                  </a:lnTo>
                  <a:lnTo>
                    <a:pt x="472" y="118"/>
                  </a:lnTo>
                  <a:lnTo>
                    <a:pt x="472" y="118"/>
                  </a:lnTo>
                  <a:lnTo>
                    <a:pt x="472" y="115"/>
                  </a:lnTo>
                  <a:lnTo>
                    <a:pt x="469" y="115"/>
                  </a:lnTo>
                  <a:lnTo>
                    <a:pt x="469" y="115"/>
                  </a:lnTo>
                  <a:lnTo>
                    <a:pt x="465" y="115"/>
                  </a:lnTo>
                  <a:lnTo>
                    <a:pt x="457" y="113"/>
                  </a:lnTo>
                  <a:lnTo>
                    <a:pt x="457" y="113"/>
                  </a:lnTo>
                  <a:lnTo>
                    <a:pt x="455" y="115"/>
                  </a:lnTo>
                  <a:lnTo>
                    <a:pt x="453" y="115"/>
                  </a:lnTo>
                  <a:lnTo>
                    <a:pt x="450" y="115"/>
                  </a:lnTo>
                  <a:close/>
                  <a:moveTo>
                    <a:pt x="422" y="115"/>
                  </a:moveTo>
                  <a:lnTo>
                    <a:pt x="424" y="118"/>
                  </a:lnTo>
                  <a:lnTo>
                    <a:pt x="429" y="113"/>
                  </a:lnTo>
                  <a:lnTo>
                    <a:pt x="429" y="113"/>
                  </a:lnTo>
                  <a:lnTo>
                    <a:pt x="429" y="113"/>
                  </a:lnTo>
                  <a:lnTo>
                    <a:pt x="427" y="111"/>
                  </a:lnTo>
                  <a:lnTo>
                    <a:pt x="427" y="111"/>
                  </a:lnTo>
                  <a:lnTo>
                    <a:pt x="424" y="113"/>
                  </a:lnTo>
                  <a:lnTo>
                    <a:pt x="422" y="115"/>
                  </a:lnTo>
                  <a:lnTo>
                    <a:pt x="422" y="115"/>
                  </a:lnTo>
                  <a:lnTo>
                    <a:pt x="422" y="115"/>
                  </a:lnTo>
                  <a:lnTo>
                    <a:pt x="422" y="115"/>
                  </a:lnTo>
                  <a:close/>
                  <a:moveTo>
                    <a:pt x="446" y="111"/>
                  </a:moveTo>
                  <a:lnTo>
                    <a:pt x="446" y="113"/>
                  </a:lnTo>
                  <a:lnTo>
                    <a:pt x="448" y="113"/>
                  </a:lnTo>
                  <a:lnTo>
                    <a:pt x="453" y="113"/>
                  </a:lnTo>
                  <a:lnTo>
                    <a:pt x="453" y="113"/>
                  </a:lnTo>
                  <a:lnTo>
                    <a:pt x="453" y="111"/>
                  </a:lnTo>
                  <a:lnTo>
                    <a:pt x="453" y="111"/>
                  </a:lnTo>
                  <a:lnTo>
                    <a:pt x="450" y="108"/>
                  </a:lnTo>
                  <a:lnTo>
                    <a:pt x="450" y="108"/>
                  </a:lnTo>
                  <a:lnTo>
                    <a:pt x="448" y="111"/>
                  </a:lnTo>
                  <a:lnTo>
                    <a:pt x="446" y="111"/>
                  </a:lnTo>
                  <a:close/>
                  <a:moveTo>
                    <a:pt x="439" y="106"/>
                  </a:moveTo>
                  <a:lnTo>
                    <a:pt x="436" y="106"/>
                  </a:lnTo>
                  <a:lnTo>
                    <a:pt x="436" y="108"/>
                  </a:lnTo>
                  <a:lnTo>
                    <a:pt x="436" y="111"/>
                  </a:lnTo>
                  <a:lnTo>
                    <a:pt x="436" y="111"/>
                  </a:lnTo>
                  <a:lnTo>
                    <a:pt x="441" y="111"/>
                  </a:lnTo>
                  <a:lnTo>
                    <a:pt x="441" y="111"/>
                  </a:lnTo>
                  <a:lnTo>
                    <a:pt x="443" y="111"/>
                  </a:lnTo>
                  <a:lnTo>
                    <a:pt x="446" y="111"/>
                  </a:lnTo>
                  <a:lnTo>
                    <a:pt x="448" y="106"/>
                  </a:lnTo>
                  <a:lnTo>
                    <a:pt x="448" y="106"/>
                  </a:lnTo>
                  <a:lnTo>
                    <a:pt x="443" y="104"/>
                  </a:lnTo>
                  <a:lnTo>
                    <a:pt x="439" y="106"/>
                  </a:lnTo>
                  <a:close/>
                  <a:moveTo>
                    <a:pt x="434" y="108"/>
                  </a:moveTo>
                  <a:lnTo>
                    <a:pt x="436" y="106"/>
                  </a:lnTo>
                  <a:lnTo>
                    <a:pt x="436" y="104"/>
                  </a:lnTo>
                  <a:lnTo>
                    <a:pt x="436" y="99"/>
                  </a:lnTo>
                  <a:lnTo>
                    <a:pt x="436" y="99"/>
                  </a:lnTo>
                  <a:lnTo>
                    <a:pt x="434" y="99"/>
                  </a:lnTo>
                  <a:lnTo>
                    <a:pt x="434" y="99"/>
                  </a:lnTo>
                  <a:lnTo>
                    <a:pt x="434" y="101"/>
                  </a:lnTo>
                  <a:lnTo>
                    <a:pt x="434" y="104"/>
                  </a:lnTo>
                  <a:lnTo>
                    <a:pt x="432" y="106"/>
                  </a:lnTo>
                  <a:lnTo>
                    <a:pt x="432" y="106"/>
                  </a:lnTo>
                  <a:lnTo>
                    <a:pt x="432" y="111"/>
                  </a:lnTo>
                  <a:lnTo>
                    <a:pt x="434" y="111"/>
                  </a:lnTo>
                  <a:lnTo>
                    <a:pt x="434" y="108"/>
                  </a:lnTo>
                  <a:close/>
                  <a:moveTo>
                    <a:pt x="439" y="104"/>
                  </a:moveTo>
                  <a:lnTo>
                    <a:pt x="441" y="99"/>
                  </a:lnTo>
                  <a:lnTo>
                    <a:pt x="441" y="99"/>
                  </a:lnTo>
                  <a:lnTo>
                    <a:pt x="441" y="96"/>
                  </a:lnTo>
                  <a:lnTo>
                    <a:pt x="441" y="96"/>
                  </a:lnTo>
                  <a:lnTo>
                    <a:pt x="441" y="99"/>
                  </a:lnTo>
                  <a:lnTo>
                    <a:pt x="439" y="99"/>
                  </a:lnTo>
                  <a:lnTo>
                    <a:pt x="436" y="99"/>
                  </a:lnTo>
                  <a:lnTo>
                    <a:pt x="436" y="104"/>
                  </a:lnTo>
                  <a:lnTo>
                    <a:pt x="436" y="104"/>
                  </a:lnTo>
                  <a:lnTo>
                    <a:pt x="439" y="104"/>
                  </a:lnTo>
                  <a:close/>
                  <a:moveTo>
                    <a:pt x="434" y="70"/>
                  </a:moveTo>
                  <a:lnTo>
                    <a:pt x="436" y="70"/>
                  </a:lnTo>
                  <a:lnTo>
                    <a:pt x="436" y="68"/>
                  </a:lnTo>
                  <a:lnTo>
                    <a:pt x="436" y="66"/>
                  </a:lnTo>
                  <a:lnTo>
                    <a:pt x="436" y="66"/>
                  </a:lnTo>
                  <a:lnTo>
                    <a:pt x="434" y="66"/>
                  </a:lnTo>
                  <a:lnTo>
                    <a:pt x="434" y="66"/>
                  </a:lnTo>
                  <a:lnTo>
                    <a:pt x="434" y="68"/>
                  </a:lnTo>
                  <a:lnTo>
                    <a:pt x="434" y="70"/>
                  </a:lnTo>
                  <a:lnTo>
                    <a:pt x="434" y="70"/>
                  </a:lnTo>
                  <a:close/>
                  <a:moveTo>
                    <a:pt x="726" y="267"/>
                  </a:moveTo>
                  <a:lnTo>
                    <a:pt x="726" y="264"/>
                  </a:lnTo>
                  <a:lnTo>
                    <a:pt x="726" y="260"/>
                  </a:lnTo>
                  <a:lnTo>
                    <a:pt x="726" y="260"/>
                  </a:lnTo>
                  <a:lnTo>
                    <a:pt x="726" y="257"/>
                  </a:lnTo>
                  <a:lnTo>
                    <a:pt x="724" y="255"/>
                  </a:lnTo>
                  <a:lnTo>
                    <a:pt x="724" y="245"/>
                  </a:lnTo>
                  <a:lnTo>
                    <a:pt x="721" y="241"/>
                  </a:lnTo>
                  <a:lnTo>
                    <a:pt x="719" y="236"/>
                  </a:lnTo>
                  <a:lnTo>
                    <a:pt x="719" y="229"/>
                  </a:lnTo>
                  <a:lnTo>
                    <a:pt x="714" y="222"/>
                  </a:lnTo>
                  <a:lnTo>
                    <a:pt x="714" y="219"/>
                  </a:lnTo>
                  <a:lnTo>
                    <a:pt x="712" y="219"/>
                  </a:lnTo>
                  <a:lnTo>
                    <a:pt x="705" y="217"/>
                  </a:lnTo>
                  <a:lnTo>
                    <a:pt x="700" y="219"/>
                  </a:lnTo>
                  <a:lnTo>
                    <a:pt x="696" y="217"/>
                  </a:lnTo>
                  <a:lnTo>
                    <a:pt x="693" y="219"/>
                  </a:lnTo>
                  <a:lnTo>
                    <a:pt x="691" y="217"/>
                  </a:lnTo>
                  <a:lnTo>
                    <a:pt x="688" y="215"/>
                  </a:lnTo>
                  <a:lnTo>
                    <a:pt x="686" y="215"/>
                  </a:lnTo>
                  <a:lnTo>
                    <a:pt x="681" y="215"/>
                  </a:lnTo>
                  <a:lnTo>
                    <a:pt x="679" y="210"/>
                  </a:lnTo>
                  <a:lnTo>
                    <a:pt x="674" y="208"/>
                  </a:lnTo>
                  <a:lnTo>
                    <a:pt x="670" y="203"/>
                  </a:lnTo>
                  <a:lnTo>
                    <a:pt x="665" y="201"/>
                  </a:lnTo>
                  <a:lnTo>
                    <a:pt x="660" y="193"/>
                  </a:lnTo>
                  <a:lnTo>
                    <a:pt x="660" y="193"/>
                  </a:lnTo>
                  <a:lnTo>
                    <a:pt x="658" y="189"/>
                  </a:lnTo>
                  <a:lnTo>
                    <a:pt x="653" y="189"/>
                  </a:lnTo>
                  <a:lnTo>
                    <a:pt x="648" y="184"/>
                  </a:lnTo>
                  <a:lnTo>
                    <a:pt x="646" y="182"/>
                  </a:lnTo>
                  <a:lnTo>
                    <a:pt x="641" y="179"/>
                  </a:lnTo>
                  <a:lnTo>
                    <a:pt x="637" y="177"/>
                  </a:lnTo>
                  <a:lnTo>
                    <a:pt x="637" y="175"/>
                  </a:lnTo>
                  <a:lnTo>
                    <a:pt x="632" y="175"/>
                  </a:lnTo>
                  <a:lnTo>
                    <a:pt x="630" y="172"/>
                  </a:lnTo>
                  <a:lnTo>
                    <a:pt x="625" y="170"/>
                  </a:lnTo>
                  <a:lnTo>
                    <a:pt x="620" y="170"/>
                  </a:lnTo>
                  <a:lnTo>
                    <a:pt x="613" y="172"/>
                  </a:lnTo>
                  <a:lnTo>
                    <a:pt x="606" y="172"/>
                  </a:lnTo>
                  <a:lnTo>
                    <a:pt x="604" y="172"/>
                  </a:lnTo>
                  <a:lnTo>
                    <a:pt x="601" y="172"/>
                  </a:lnTo>
                  <a:lnTo>
                    <a:pt x="599" y="172"/>
                  </a:lnTo>
                  <a:lnTo>
                    <a:pt x="597" y="170"/>
                  </a:lnTo>
                  <a:lnTo>
                    <a:pt x="594" y="170"/>
                  </a:lnTo>
                  <a:lnTo>
                    <a:pt x="592" y="170"/>
                  </a:lnTo>
                  <a:lnTo>
                    <a:pt x="587" y="170"/>
                  </a:lnTo>
                  <a:lnTo>
                    <a:pt x="580" y="167"/>
                  </a:lnTo>
                  <a:lnTo>
                    <a:pt x="578" y="165"/>
                  </a:lnTo>
                  <a:lnTo>
                    <a:pt x="575" y="165"/>
                  </a:lnTo>
                  <a:lnTo>
                    <a:pt x="573" y="163"/>
                  </a:lnTo>
                  <a:lnTo>
                    <a:pt x="568" y="160"/>
                  </a:lnTo>
                  <a:lnTo>
                    <a:pt x="566" y="160"/>
                  </a:lnTo>
                  <a:lnTo>
                    <a:pt x="564" y="163"/>
                  </a:lnTo>
                  <a:lnTo>
                    <a:pt x="564" y="163"/>
                  </a:lnTo>
                  <a:lnTo>
                    <a:pt x="559" y="165"/>
                  </a:lnTo>
                  <a:lnTo>
                    <a:pt x="556" y="165"/>
                  </a:lnTo>
                  <a:lnTo>
                    <a:pt x="556" y="165"/>
                  </a:lnTo>
                  <a:lnTo>
                    <a:pt x="554" y="167"/>
                  </a:lnTo>
                  <a:lnTo>
                    <a:pt x="552" y="170"/>
                  </a:lnTo>
                  <a:lnTo>
                    <a:pt x="549" y="170"/>
                  </a:lnTo>
                  <a:lnTo>
                    <a:pt x="552" y="167"/>
                  </a:lnTo>
                  <a:lnTo>
                    <a:pt x="552" y="165"/>
                  </a:lnTo>
                  <a:lnTo>
                    <a:pt x="552" y="165"/>
                  </a:lnTo>
                  <a:lnTo>
                    <a:pt x="552" y="163"/>
                  </a:lnTo>
                  <a:lnTo>
                    <a:pt x="552" y="163"/>
                  </a:lnTo>
                  <a:lnTo>
                    <a:pt x="549" y="163"/>
                  </a:lnTo>
                  <a:lnTo>
                    <a:pt x="549" y="165"/>
                  </a:lnTo>
                  <a:lnTo>
                    <a:pt x="547" y="167"/>
                  </a:lnTo>
                  <a:lnTo>
                    <a:pt x="547" y="172"/>
                  </a:lnTo>
                  <a:lnTo>
                    <a:pt x="542" y="177"/>
                  </a:lnTo>
                  <a:lnTo>
                    <a:pt x="540" y="179"/>
                  </a:lnTo>
                  <a:lnTo>
                    <a:pt x="540" y="177"/>
                  </a:lnTo>
                  <a:lnTo>
                    <a:pt x="542" y="170"/>
                  </a:lnTo>
                  <a:lnTo>
                    <a:pt x="542" y="167"/>
                  </a:lnTo>
                  <a:lnTo>
                    <a:pt x="542" y="165"/>
                  </a:lnTo>
                  <a:lnTo>
                    <a:pt x="545" y="165"/>
                  </a:lnTo>
                  <a:lnTo>
                    <a:pt x="545" y="163"/>
                  </a:lnTo>
                  <a:lnTo>
                    <a:pt x="545" y="163"/>
                  </a:lnTo>
                  <a:lnTo>
                    <a:pt x="547" y="160"/>
                  </a:lnTo>
                  <a:lnTo>
                    <a:pt x="547" y="158"/>
                  </a:lnTo>
                  <a:lnTo>
                    <a:pt x="547" y="156"/>
                  </a:lnTo>
                  <a:lnTo>
                    <a:pt x="545" y="158"/>
                  </a:lnTo>
                  <a:lnTo>
                    <a:pt x="542" y="158"/>
                  </a:lnTo>
                  <a:lnTo>
                    <a:pt x="542" y="160"/>
                  </a:lnTo>
                  <a:lnTo>
                    <a:pt x="540" y="160"/>
                  </a:lnTo>
                  <a:lnTo>
                    <a:pt x="540" y="158"/>
                  </a:lnTo>
                  <a:lnTo>
                    <a:pt x="540" y="158"/>
                  </a:lnTo>
                  <a:lnTo>
                    <a:pt x="542" y="158"/>
                  </a:lnTo>
                  <a:lnTo>
                    <a:pt x="542" y="156"/>
                  </a:lnTo>
                  <a:lnTo>
                    <a:pt x="542" y="156"/>
                  </a:lnTo>
                  <a:lnTo>
                    <a:pt x="545" y="153"/>
                  </a:lnTo>
                  <a:lnTo>
                    <a:pt x="545" y="151"/>
                  </a:lnTo>
                  <a:lnTo>
                    <a:pt x="542" y="149"/>
                  </a:lnTo>
                  <a:lnTo>
                    <a:pt x="542" y="149"/>
                  </a:lnTo>
                  <a:lnTo>
                    <a:pt x="540" y="149"/>
                  </a:lnTo>
                  <a:lnTo>
                    <a:pt x="540" y="149"/>
                  </a:lnTo>
                  <a:lnTo>
                    <a:pt x="540" y="149"/>
                  </a:lnTo>
                  <a:lnTo>
                    <a:pt x="540" y="146"/>
                  </a:lnTo>
                  <a:lnTo>
                    <a:pt x="538" y="146"/>
                  </a:lnTo>
                  <a:lnTo>
                    <a:pt x="538" y="144"/>
                  </a:lnTo>
                  <a:lnTo>
                    <a:pt x="535" y="144"/>
                  </a:lnTo>
                  <a:lnTo>
                    <a:pt x="533" y="141"/>
                  </a:lnTo>
                  <a:lnTo>
                    <a:pt x="533" y="141"/>
                  </a:lnTo>
                  <a:lnTo>
                    <a:pt x="531" y="146"/>
                  </a:lnTo>
                  <a:lnTo>
                    <a:pt x="531" y="146"/>
                  </a:lnTo>
                  <a:lnTo>
                    <a:pt x="528" y="146"/>
                  </a:lnTo>
                  <a:lnTo>
                    <a:pt x="528" y="144"/>
                  </a:lnTo>
                  <a:lnTo>
                    <a:pt x="526" y="139"/>
                  </a:lnTo>
                  <a:lnTo>
                    <a:pt x="526" y="139"/>
                  </a:lnTo>
                  <a:lnTo>
                    <a:pt x="523" y="139"/>
                  </a:lnTo>
                  <a:lnTo>
                    <a:pt x="521" y="137"/>
                  </a:lnTo>
                  <a:lnTo>
                    <a:pt x="516" y="137"/>
                  </a:lnTo>
                  <a:lnTo>
                    <a:pt x="516" y="134"/>
                  </a:lnTo>
                  <a:lnTo>
                    <a:pt x="514" y="134"/>
                  </a:lnTo>
                  <a:lnTo>
                    <a:pt x="512" y="134"/>
                  </a:lnTo>
                  <a:lnTo>
                    <a:pt x="512" y="132"/>
                  </a:lnTo>
                  <a:lnTo>
                    <a:pt x="512" y="132"/>
                  </a:lnTo>
                  <a:lnTo>
                    <a:pt x="509" y="132"/>
                  </a:lnTo>
                  <a:lnTo>
                    <a:pt x="507" y="132"/>
                  </a:lnTo>
                  <a:lnTo>
                    <a:pt x="505" y="132"/>
                  </a:lnTo>
                  <a:lnTo>
                    <a:pt x="505" y="130"/>
                  </a:lnTo>
                  <a:lnTo>
                    <a:pt x="502" y="127"/>
                  </a:lnTo>
                  <a:lnTo>
                    <a:pt x="502" y="127"/>
                  </a:lnTo>
                  <a:lnTo>
                    <a:pt x="500" y="127"/>
                  </a:lnTo>
                  <a:lnTo>
                    <a:pt x="500" y="127"/>
                  </a:lnTo>
                  <a:lnTo>
                    <a:pt x="498" y="127"/>
                  </a:lnTo>
                  <a:lnTo>
                    <a:pt x="495" y="127"/>
                  </a:lnTo>
                  <a:lnTo>
                    <a:pt x="495" y="125"/>
                  </a:lnTo>
                  <a:lnTo>
                    <a:pt x="493" y="125"/>
                  </a:lnTo>
                  <a:lnTo>
                    <a:pt x="490" y="125"/>
                  </a:lnTo>
                  <a:lnTo>
                    <a:pt x="490" y="125"/>
                  </a:lnTo>
                  <a:lnTo>
                    <a:pt x="490" y="125"/>
                  </a:lnTo>
                  <a:lnTo>
                    <a:pt x="490" y="125"/>
                  </a:lnTo>
                  <a:lnTo>
                    <a:pt x="490" y="127"/>
                  </a:lnTo>
                  <a:lnTo>
                    <a:pt x="488" y="127"/>
                  </a:lnTo>
                  <a:lnTo>
                    <a:pt x="488" y="125"/>
                  </a:lnTo>
                  <a:lnTo>
                    <a:pt x="486" y="125"/>
                  </a:lnTo>
                  <a:lnTo>
                    <a:pt x="486" y="127"/>
                  </a:lnTo>
                  <a:lnTo>
                    <a:pt x="483" y="125"/>
                  </a:lnTo>
                  <a:lnTo>
                    <a:pt x="483" y="125"/>
                  </a:lnTo>
                  <a:lnTo>
                    <a:pt x="483" y="125"/>
                  </a:lnTo>
                  <a:lnTo>
                    <a:pt x="481" y="125"/>
                  </a:lnTo>
                  <a:lnTo>
                    <a:pt x="481" y="127"/>
                  </a:lnTo>
                  <a:lnTo>
                    <a:pt x="479" y="125"/>
                  </a:lnTo>
                  <a:lnTo>
                    <a:pt x="479" y="125"/>
                  </a:lnTo>
                  <a:lnTo>
                    <a:pt x="476" y="127"/>
                  </a:lnTo>
                  <a:lnTo>
                    <a:pt x="476" y="127"/>
                  </a:lnTo>
                  <a:lnTo>
                    <a:pt x="476" y="127"/>
                  </a:lnTo>
                  <a:lnTo>
                    <a:pt x="474" y="130"/>
                  </a:lnTo>
                  <a:lnTo>
                    <a:pt x="474" y="132"/>
                  </a:lnTo>
                  <a:lnTo>
                    <a:pt x="474" y="132"/>
                  </a:lnTo>
                  <a:lnTo>
                    <a:pt x="472" y="134"/>
                  </a:lnTo>
                  <a:lnTo>
                    <a:pt x="472" y="137"/>
                  </a:lnTo>
                  <a:lnTo>
                    <a:pt x="472" y="139"/>
                  </a:lnTo>
                  <a:lnTo>
                    <a:pt x="472" y="139"/>
                  </a:lnTo>
                  <a:lnTo>
                    <a:pt x="472" y="141"/>
                  </a:lnTo>
                  <a:lnTo>
                    <a:pt x="474" y="141"/>
                  </a:lnTo>
                  <a:lnTo>
                    <a:pt x="472" y="144"/>
                  </a:lnTo>
                  <a:lnTo>
                    <a:pt x="472" y="144"/>
                  </a:lnTo>
                  <a:lnTo>
                    <a:pt x="469" y="144"/>
                  </a:lnTo>
                  <a:lnTo>
                    <a:pt x="469" y="141"/>
                  </a:lnTo>
                  <a:lnTo>
                    <a:pt x="467" y="141"/>
                  </a:lnTo>
                  <a:lnTo>
                    <a:pt x="462" y="149"/>
                  </a:lnTo>
                  <a:lnTo>
                    <a:pt x="457" y="151"/>
                  </a:lnTo>
                  <a:lnTo>
                    <a:pt x="457" y="151"/>
                  </a:lnTo>
                  <a:lnTo>
                    <a:pt x="453" y="160"/>
                  </a:lnTo>
                  <a:lnTo>
                    <a:pt x="453" y="163"/>
                  </a:lnTo>
                  <a:lnTo>
                    <a:pt x="450" y="165"/>
                  </a:lnTo>
                  <a:lnTo>
                    <a:pt x="450" y="167"/>
                  </a:lnTo>
                  <a:lnTo>
                    <a:pt x="450" y="167"/>
                  </a:lnTo>
                  <a:lnTo>
                    <a:pt x="450" y="165"/>
                  </a:lnTo>
                  <a:lnTo>
                    <a:pt x="450" y="165"/>
                  </a:lnTo>
                  <a:lnTo>
                    <a:pt x="453" y="158"/>
                  </a:lnTo>
                  <a:lnTo>
                    <a:pt x="453" y="158"/>
                  </a:lnTo>
                  <a:lnTo>
                    <a:pt x="453" y="153"/>
                  </a:lnTo>
                  <a:lnTo>
                    <a:pt x="455" y="146"/>
                  </a:lnTo>
                  <a:lnTo>
                    <a:pt x="450" y="151"/>
                  </a:lnTo>
                  <a:lnTo>
                    <a:pt x="448" y="151"/>
                  </a:lnTo>
                  <a:lnTo>
                    <a:pt x="443" y="151"/>
                  </a:lnTo>
                  <a:lnTo>
                    <a:pt x="443" y="149"/>
                  </a:lnTo>
                  <a:lnTo>
                    <a:pt x="441" y="151"/>
                  </a:lnTo>
                  <a:lnTo>
                    <a:pt x="439" y="151"/>
                  </a:lnTo>
                  <a:lnTo>
                    <a:pt x="439" y="151"/>
                  </a:lnTo>
                  <a:lnTo>
                    <a:pt x="434" y="153"/>
                  </a:lnTo>
                  <a:lnTo>
                    <a:pt x="432" y="151"/>
                  </a:lnTo>
                  <a:lnTo>
                    <a:pt x="432" y="149"/>
                  </a:lnTo>
                  <a:lnTo>
                    <a:pt x="429" y="149"/>
                  </a:lnTo>
                  <a:lnTo>
                    <a:pt x="429" y="146"/>
                  </a:lnTo>
                  <a:lnTo>
                    <a:pt x="429" y="146"/>
                  </a:lnTo>
                  <a:lnTo>
                    <a:pt x="427" y="141"/>
                  </a:lnTo>
                  <a:lnTo>
                    <a:pt x="427" y="139"/>
                  </a:lnTo>
                  <a:lnTo>
                    <a:pt x="427" y="139"/>
                  </a:lnTo>
                  <a:lnTo>
                    <a:pt x="427" y="137"/>
                  </a:lnTo>
                  <a:lnTo>
                    <a:pt x="424" y="134"/>
                  </a:lnTo>
                  <a:lnTo>
                    <a:pt x="424" y="134"/>
                  </a:lnTo>
                  <a:lnTo>
                    <a:pt x="427" y="132"/>
                  </a:lnTo>
                  <a:lnTo>
                    <a:pt x="427" y="132"/>
                  </a:lnTo>
                  <a:lnTo>
                    <a:pt x="424" y="130"/>
                  </a:lnTo>
                  <a:lnTo>
                    <a:pt x="424" y="132"/>
                  </a:lnTo>
                  <a:lnTo>
                    <a:pt x="422" y="132"/>
                  </a:lnTo>
                  <a:lnTo>
                    <a:pt x="420" y="134"/>
                  </a:lnTo>
                  <a:lnTo>
                    <a:pt x="417" y="137"/>
                  </a:lnTo>
                  <a:lnTo>
                    <a:pt x="413" y="139"/>
                  </a:lnTo>
                  <a:lnTo>
                    <a:pt x="413" y="139"/>
                  </a:lnTo>
                  <a:lnTo>
                    <a:pt x="406" y="144"/>
                  </a:lnTo>
                  <a:lnTo>
                    <a:pt x="401" y="146"/>
                  </a:lnTo>
                  <a:lnTo>
                    <a:pt x="399" y="144"/>
                  </a:lnTo>
                  <a:lnTo>
                    <a:pt x="394" y="144"/>
                  </a:lnTo>
                  <a:lnTo>
                    <a:pt x="394" y="144"/>
                  </a:lnTo>
                  <a:lnTo>
                    <a:pt x="401" y="139"/>
                  </a:lnTo>
                  <a:lnTo>
                    <a:pt x="406" y="141"/>
                  </a:lnTo>
                  <a:lnTo>
                    <a:pt x="406" y="139"/>
                  </a:lnTo>
                  <a:lnTo>
                    <a:pt x="406" y="139"/>
                  </a:lnTo>
                  <a:lnTo>
                    <a:pt x="406" y="137"/>
                  </a:lnTo>
                  <a:lnTo>
                    <a:pt x="408" y="134"/>
                  </a:lnTo>
                  <a:lnTo>
                    <a:pt x="410" y="132"/>
                  </a:lnTo>
                  <a:lnTo>
                    <a:pt x="410" y="130"/>
                  </a:lnTo>
                  <a:lnTo>
                    <a:pt x="410" y="127"/>
                  </a:lnTo>
                  <a:lnTo>
                    <a:pt x="413" y="122"/>
                  </a:lnTo>
                  <a:lnTo>
                    <a:pt x="415" y="122"/>
                  </a:lnTo>
                  <a:lnTo>
                    <a:pt x="415" y="120"/>
                  </a:lnTo>
                  <a:lnTo>
                    <a:pt x="417" y="115"/>
                  </a:lnTo>
                  <a:lnTo>
                    <a:pt x="417" y="113"/>
                  </a:lnTo>
                  <a:lnTo>
                    <a:pt x="422" y="111"/>
                  </a:lnTo>
                  <a:lnTo>
                    <a:pt x="424" y="108"/>
                  </a:lnTo>
                  <a:lnTo>
                    <a:pt x="424" y="108"/>
                  </a:lnTo>
                  <a:lnTo>
                    <a:pt x="427" y="106"/>
                  </a:lnTo>
                  <a:lnTo>
                    <a:pt x="429" y="106"/>
                  </a:lnTo>
                  <a:lnTo>
                    <a:pt x="432" y="101"/>
                  </a:lnTo>
                  <a:lnTo>
                    <a:pt x="434" y="96"/>
                  </a:lnTo>
                  <a:lnTo>
                    <a:pt x="436" y="94"/>
                  </a:lnTo>
                  <a:lnTo>
                    <a:pt x="436" y="94"/>
                  </a:lnTo>
                  <a:lnTo>
                    <a:pt x="441" y="89"/>
                  </a:lnTo>
                  <a:lnTo>
                    <a:pt x="441" y="89"/>
                  </a:lnTo>
                  <a:lnTo>
                    <a:pt x="443" y="87"/>
                  </a:lnTo>
                  <a:lnTo>
                    <a:pt x="443" y="87"/>
                  </a:lnTo>
                  <a:lnTo>
                    <a:pt x="443" y="85"/>
                  </a:lnTo>
                  <a:lnTo>
                    <a:pt x="443" y="80"/>
                  </a:lnTo>
                  <a:lnTo>
                    <a:pt x="443" y="75"/>
                  </a:lnTo>
                  <a:lnTo>
                    <a:pt x="441" y="75"/>
                  </a:lnTo>
                  <a:lnTo>
                    <a:pt x="439" y="73"/>
                  </a:lnTo>
                  <a:lnTo>
                    <a:pt x="436" y="73"/>
                  </a:lnTo>
                  <a:lnTo>
                    <a:pt x="434" y="73"/>
                  </a:lnTo>
                  <a:lnTo>
                    <a:pt x="432" y="70"/>
                  </a:lnTo>
                  <a:lnTo>
                    <a:pt x="432" y="68"/>
                  </a:lnTo>
                  <a:lnTo>
                    <a:pt x="432" y="66"/>
                  </a:lnTo>
                  <a:lnTo>
                    <a:pt x="429" y="66"/>
                  </a:lnTo>
                  <a:lnTo>
                    <a:pt x="429" y="66"/>
                  </a:lnTo>
                  <a:lnTo>
                    <a:pt x="429" y="66"/>
                  </a:lnTo>
                  <a:lnTo>
                    <a:pt x="429" y="63"/>
                  </a:lnTo>
                  <a:lnTo>
                    <a:pt x="429" y="61"/>
                  </a:lnTo>
                  <a:lnTo>
                    <a:pt x="427" y="59"/>
                  </a:lnTo>
                  <a:lnTo>
                    <a:pt x="427" y="56"/>
                  </a:lnTo>
                  <a:lnTo>
                    <a:pt x="427" y="54"/>
                  </a:lnTo>
                  <a:lnTo>
                    <a:pt x="424" y="47"/>
                  </a:lnTo>
                  <a:lnTo>
                    <a:pt x="424" y="42"/>
                  </a:lnTo>
                  <a:lnTo>
                    <a:pt x="422" y="33"/>
                  </a:lnTo>
                  <a:lnTo>
                    <a:pt x="420" y="23"/>
                  </a:lnTo>
                  <a:lnTo>
                    <a:pt x="420" y="21"/>
                  </a:lnTo>
                  <a:lnTo>
                    <a:pt x="415" y="21"/>
                  </a:lnTo>
                  <a:lnTo>
                    <a:pt x="415" y="21"/>
                  </a:lnTo>
                  <a:lnTo>
                    <a:pt x="415" y="21"/>
                  </a:lnTo>
                  <a:lnTo>
                    <a:pt x="413" y="26"/>
                  </a:lnTo>
                  <a:lnTo>
                    <a:pt x="413" y="26"/>
                  </a:lnTo>
                  <a:lnTo>
                    <a:pt x="410" y="26"/>
                  </a:lnTo>
                  <a:lnTo>
                    <a:pt x="410" y="28"/>
                  </a:lnTo>
                  <a:lnTo>
                    <a:pt x="410" y="28"/>
                  </a:lnTo>
                  <a:lnTo>
                    <a:pt x="408" y="30"/>
                  </a:lnTo>
                  <a:lnTo>
                    <a:pt x="408" y="30"/>
                  </a:lnTo>
                  <a:lnTo>
                    <a:pt x="408" y="33"/>
                  </a:lnTo>
                  <a:lnTo>
                    <a:pt x="406" y="33"/>
                  </a:lnTo>
                  <a:lnTo>
                    <a:pt x="406" y="33"/>
                  </a:lnTo>
                  <a:lnTo>
                    <a:pt x="403" y="37"/>
                  </a:lnTo>
                  <a:lnTo>
                    <a:pt x="403" y="40"/>
                  </a:lnTo>
                  <a:lnTo>
                    <a:pt x="401" y="42"/>
                  </a:lnTo>
                  <a:lnTo>
                    <a:pt x="401" y="42"/>
                  </a:lnTo>
                  <a:lnTo>
                    <a:pt x="399" y="44"/>
                  </a:lnTo>
                  <a:lnTo>
                    <a:pt x="399" y="44"/>
                  </a:lnTo>
                  <a:lnTo>
                    <a:pt x="399" y="47"/>
                  </a:lnTo>
                  <a:lnTo>
                    <a:pt x="399" y="47"/>
                  </a:lnTo>
                  <a:lnTo>
                    <a:pt x="399" y="49"/>
                  </a:lnTo>
                  <a:lnTo>
                    <a:pt x="396" y="49"/>
                  </a:lnTo>
                  <a:lnTo>
                    <a:pt x="396" y="54"/>
                  </a:lnTo>
                  <a:lnTo>
                    <a:pt x="396" y="56"/>
                  </a:lnTo>
                  <a:lnTo>
                    <a:pt x="394" y="56"/>
                  </a:lnTo>
                  <a:lnTo>
                    <a:pt x="394" y="59"/>
                  </a:lnTo>
                  <a:lnTo>
                    <a:pt x="391" y="61"/>
                  </a:lnTo>
                  <a:lnTo>
                    <a:pt x="391" y="61"/>
                  </a:lnTo>
                  <a:lnTo>
                    <a:pt x="389" y="63"/>
                  </a:lnTo>
                  <a:lnTo>
                    <a:pt x="389" y="63"/>
                  </a:lnTo>
                  <a:lnTo>
                    <a:pt x="387" y="66"/>
                  </a:lnTo>
                  <a:lnTo>
                    <a:pt x="387" y="66"/>
                  </a:lnTo>
                  <a:lnTo>
                    <a:pt x="384" y="63"/>
                  </a:lnTo>
                  <a:lnTo>
                    <a:pt x="384" y="63"/>
                  </a:lnTo>
                  <a:lnTo>
                    <a:pt x="382" y="63"/>
                  </a:lnTo>
                  <a:lnTo>
                    <a:pt x="382" y="63"/>
                  </a:lnTo>
                  <a:lnTo>
                    <a:pt x="382" y="63"/>
                  </a:lnTo>
                  <a:lnTo>
                    <a:pt x="380" y="61"/>
                  </a:lnTo>
                  <a:lnTo>
                    <a:pt x="380" y="61"/>
                  </a:lnTo>
                  <a:lnTo>
                    <a:pt x="380" y="63"/>
                  </a:lnTo>
                  <a:lnTo>
                    <a:pt x="377" y="63"/>
                  </a:lnTo>
                  <a:lnTo>
                    <a:pt x="377" y="63"/>
                  </a:lnTo>
                  <a:lnTo>
                    <a:pt x="375" y="63"/>
                  </a:lnTo>
                  <a:lnTo>
                    <a:pt x="373" y="61"/>
                  </a:lnTo>
                  <a:lnTo>
                    <a:pt x="373" y="61"/>
                  </a:lnTo>
                  <a:lnTo>
                    <a:pt x="373" y="61"/>
                  </a:lnTo>
                  <a:lnTo>
                    <a:pt x="373" y="61"/>
                  </a:lnTo>
                  <a:lnTo>
                    <a:pt x="370" y="61"/>
                  </a:lnTo>
                  <a:lnTo>
                    <a:pt x="370" y="63"/>
                  </a:lnTo>
                  <a:lnTo>
                    <a:pt x="370" y="63"/>
                  </a:lnTo>
                  <a:lnTo>
                    <a:pt x="366" y="66"/>
                  </a:lnTo>
                  <a:lnTo>
                    <a:pt x="366" y="66"/>
                  </a:lnTo>
                  <a:lnTo>
                    <a:pt x="366" y="66"/>
                  </a:lnTo>
                  <a:lnTo>
                    <a:pt x="363" y="66"/>
                  </a:lnTo>
                  <a:lnTo>
                    <a:pt x="363" y="66"/>
                  </a:lnTo>
                  <a:lnTo>
                    <a:pt x="361" y="63"/>
                  </a:lnTo>
                  <a:lnTo>
                    <a:pt x="358" y="63"/>
                  </a:lnTo>
                  <a:lnTo>
                    <a:pt x="358" y="63"/>
                  </a:lnTo>
                  <a:lnTo>
                    <a:pt x="356" y="61"/>
                  </a:lnTo>
                  <a:lnTo>
                    <a:pt x="356" y="61"/>
                  </a:lnTo>
                  <a:lnTo>
                    <a:pt x="356" y="61"/>
                  </a:lnTo>
                  <a:lnTo>
                    <a:pt x="356" y="61"/>
                  </a:lnTo>
                  <a:lnTo>
                    <a:pt x="356" y="61"/>
                  </a:lnTo>
                  <a:lnTo>
                    <a:pt x="354" y="59"/>
                  </a:lnTo>
                  <a:lnTo>
                    <a:pt x="354" y="59"/>
                  </a:lnTo>
                  <a:lnTo>
                    <a:pt x="351" y="59"/>
                  </a:lnTo>
                  <a:lnTo>
                    <a:pt x="351" y="59"/>
                  </a:lnTo>
                  <a:lnTo>
                    <a:pt x="351" y="59"/>
                  </a:lnTo>
                  <a:lnTo>
                    <a:pt x="351" y="56"/>
                  </a:lnTo>
                  <a:lnTo>
                    <a:pt x="349" y="56"/>
                  </a:lnTo>
                  <a:lnTo>
                    <a:pt x="349" y="56"/>
                  </a:lnTo>
                  <a:lnTo>
                    <a:pt x="349" y="56"/>
                  </a:lnTo>
                  <a:lnTo>
                    <a:pt x="347" y="56"/>
                  </a:lnTo>
                  <a:lnTo>
                    <a:pt x="347" y="56"/>
                  </a:lnTo>
                  <a:lnTo>
                    <a:pt x="347" y="56"/>
                  </a:lnTo>
                  <a:lnTo>
                    <a:pt x="344" y="59"/>
                  </a:lnTo>
                  <a:lnTo>
                    <a:pt x="344" y="59"/>
                  </a:lnTo>
                  <a:lnTo>
                    <a:pt x="342" y="59"/>
                  </a:lnTo>
                  <a:lnTo>
                    <a:pt x="337" y="59"/>
                  </a:lnTo>
                  <a:lnTo>
                    <a:pt x="335" y="61"/>
                  </a:lnTo>
                  <a:lnTo>
                    <a:pt x="333" y="59"/>
                  </a:lnTo>
                  <a:lnTo>
                    <a:pt x="333" y="59"/>
                  </a:lnTo>
                  <a:lnTo>
                    <a:pt x="333" y="59"/>
                  </a:lnTo>
                  <a:lnTo>
                    <a:pt x="333" y="59"/>
                  </a:lnTo>
                  <a:lnTo>
                    <a:pt x="330" y="59"/>
                  </a:lnTo>
                  <a:lnTo>
                    <a:pt x="330" y="61"/>
                  </a:lnTo>
                  <a:lnTo>
                    <a:pt x="330" y="61"/>
                  </a:lnTo>
                  <a:lnTo>
                    <a:pt x="330" y="61"/>
                  </a:lnTo>
                  <a:lnTo>
                    <a:pt x="328" y="61"/>
                  </a:lnTo>
                  <a:lnTo>
                    <a:pt x="328" y="63"/>
                  </a:lnTo>
                  <a:lnTo>
                    <a:pt x="330" y="63"/>
                  </a:lnTo>
                  <a:lnTo>
                    <a:pt x="330" y="66"/>
                  </a:lnTo>
                  <a:lnTo>
                    <a:pt x="333" y="66"/>
                  </a:lnTo>
                  <a:lnTo>
                    <a:pt x="333" y="68"/>
                  </a:lnTo>
                  <a:lnTo>
                    <a:pt x="333" y="68"/>
                  </a:lnTo>
                  <a:lnTo>
                    <a:pt x="333" y="70"/>
                  </a:lnTo>
                  <a:lnTo>
                    <a:pt x="333" y="70"/>
                  </a:lnTo>
                  <a:lnTo>
                    <a:pt x="330" y="73"/>
                  </a:lnTo>
                  <a:lnTo>
                    <a:pt x="326" y="70"/>
                  </a:lnTo>
                  <a:lnTo>
                    <a:pt x="323" y="70"/>
                  </a:lnTo>
                  <a:lnTo>
                    <a:pt x="323" y="70"/>
                  </a:lnTo>
                  <a:lnTo>
                    <a:pt x="321" y="70"/>
                  </a:lnTo>
                  <a:lnTo>
                    <a:pt x="321" y="70"/>
                  </a:lnTo>
                  <a:lnTo>
                    <a:pt x="321" y="70"/>
                  </a:lnTo>
                  <a:lnTo>
                    <a:pt x="318" y="70"/>
                  </a:lnTo>
                  <a:lnTo>
                    <a:pt x="318" y="70"/>
                  </a:lnTo>
                  <a:lnTo>
                    <a:pt x="316" y="70"/>
                  </a:lnTo>
                  <a:lnTo>
                    <a:pt x="316" y="70"/>
                  </a:lnTo>
                  <a:lnTo>
                    <a:pt x="314" y="70"/>
                  </a:lnTo>
                  <a:lnTo>
                    <a:pt x="311" y="70"/>
                  </a:lnTo>
                  <a:lnTo>
                    <a:pt x="311" y="70"/>
                  </a:lnTo>
                  <a:lnTo>
                    <a:pt x="311" y="68"/>
                  </a:lnTo>
                  <a:lnTo>
                    <a:pt x="309" y="68"/>
                  </a:lnTo>
                  <a:lnTo>
                    <a:pt x="309" y="68"/>
                  </a:lnTo>
                  <a:lnTo>
                    <a:pt x="307" y="70"/>
                  </a:lnTo>
                  <a:lnTo>
                    <a:pt x="307" y="68"/>
                  </a:lnTo>
                  <a:lnTo>
                    <a:pt x="307" y="70"/>
                  </a:lnTo>
                  <a:lnTo>
                    <a:pt x="304" y="70"/>
                  </a:lnTo>
                  <a:lnTo>
                    <a:pt x="302" y="73"/>
                  </a:lnTo>
                  <a:lnTo>
                    <a:pt x="302" y="75"/>
                  </a:lnTo>
                  <a:lnTo>
                    <a:pt x="302" y="75"/>
                  </a:lnTo>
                  <a:lnTo>
                    <a:pt x="300" y="75"/>
                  </a:lnTo>
                  <a:lnTo>
                    <a:pt x="297" y="75"/>
                  </a:lnTo>
                  <a:lnTo>
                    <a:pt x="295" y="75"/>
                  </a:lnTo>
                  <a:lnTo>
                    <a:pt x="295" y="75"/>
                  </a:lnTo>
                  <a:lnTo>
                    <a:pt x="295" y="75"/>
                  </a:lnTo>
                  <a:lnTo>
                    <a:pt x="295" y="78"/>
                  </a:lnTo>
                  <a:lnTo>
                    <a:pt x="293" y="78"/>
                  </a:lnTo>
                  <a:lnTo>
                    <a:pt x="293" y="78"/>
                  </a:lnTo>
                  <a:lnTo>
                    <a:pt x="293" y="80"/>
                  </a:lnTo>
                  <a:lnTo>
                    <a:pt x="290" y="78"/>
                  </a:lnTo>
                  <a:lnTo>
                    <a:pt x="290" y="78"/>
                  </a:lnTo>
                  <a:lnTo>
                    <a:pt x="290" y="78"/>
                  </a:lnTo>
                  <a:lnTo>
                    <a:pt x="288" y="78"/>
                  </a:lnTo>
                  <a:lnTo>
                    <a:pt x="288" y="78"/>
                  </a:lnTo>
                  <a:lnTo>
                    <a:pt x="288" y="78"/>
                  </a:lnTo>
                  <a:lnTo>
                    <a:pt x="288" y="78"/>
                  </a:lnTo>
                  <a:lnTo>
                    <a:pt x="285" y="78"/>
                  </a:lnTo>
                  <a:lnTo>
                    <a:pt x="285" y="80"/>
                  </a:lnTo>
                  <a:lnTo>
                    <a:pt x="285" y="80"/>
                  </a:lnTo>
                  <a:lnTo>
                    <a:pt x="283" y="80"/>
                  </a:lnTo>
                  <a:lnTo>
                    <a:pt x="285" y="82"/>
                  </a:lnTo>
                  <a:lnTo>
                    <a:pt x="285" y="82"/>
                  </a:lnTo>
                  <a:lnTo>
                    <a:pt x="283" y="85"/>
                  </a:lnTo>
                  <a:lnTo>
                    <a:pt x="283" y="85"/>
                  </a:lnTo>
                  <a:lnTo>
                    <a:pt x="281" y="85"/>
                  </a:lnTo>
                  <a:lnTo>
                    <a:pt x="281" y="85"/>
                  </a:lnTo>
                  <a:lnTo>
                    <a:pt x="278" y="85"/>
                  </a:lnTo>
                  <a:lnTo>
                    <a:pt x="278" y="85"/>
                  </a:lnTo>
                  <a:lnTo>
                    <a:pt x="278" y="85"/>
                  </a:lnTo>
                  <a:lnTo>
                    <a:pt x="276" y="85"/>
                  </a:lnTo>
                  <a:lnTo>
                    <a:pt x="276" y="82"/>
                  </a:lnTo>
                  <a:lnTo>
                    <a:pt x="274" y="82"/>
                  </a:lnTo>
                  <a:lnTo>
                    <a:pt x="271" y="82"/>
                  </a:lnTo>
                  <a:lnTo>
                    <a:pt x="269" y="80"/>
                  </a:lnTo>
                  <a:lnTo>
                    <a:pt x="269" y="80"/>
                  </a:lnTo>
                  <a:lnTo>
                    <a:pt x="269" y="78"/>
                  </a:lnTo>
                  <a:lnTo>
                    <a:pt x="267" y="75"/>
                  </a:lnTo>
                  <a:lnTo>
                    <a:pt x="264" y="75"/>
                  </a:lnTo>
                  <a:lnTo>
                    <a:pt x="264" y="75"/>
                  </a:lnTo>
                  <a:lnTo>
                    <a:pt x="262" y="73"/>
                  </a:lnTo>
                  <a:lnTo>
                    <a:pt x="262" y="73"/>
                  </a:lnTo>
                  <a:lnTo>
                    <a:pt x="262" y="73"/>
                  </a:lnTo>
                  <a:lnTo>
                    <a:pt x="262" y="70"/>
                  </a:lnTo>
                  <a:lnTo>
                    <a:pt x="262" y="70"/>
                  </a:lnTo>
                  <a:lnTo>
                    <a:pt x="262" y="70"/>
                  </a:lnTo>
                  <a:lnTo>
                    <a:pt x="262" y="70"/>
                  </a:lnTo>
                  <a:lnTo>
                    <a:pt x="262" y="66"/>
                  </a:lnTo>
                  <a:lnTo>
                    <a:pt x="262" y="63"/>
                  </a:lnTo>
                  <a:lnTo>
                    <a:pt x="260" y="61"/>
                  </a:lnTo>
                  <a:lnTo>
                    <a:pt x="260" y="61"/>
                  </a:lnTo>
                  <a:lnTo>
                    <a:pt x="257" y="56"/>
                  </a:lnTo>
                  <a:lnTo>
                    <a:pt x="257" y="54"/>
                  </a:lnTo>
                  <a:lnTo>
                    <a:pt x="257" y="52"/>
                  </a:lnTo>
                  <a:lnTo>
                    <a:pt x="257" y="47"/>
                  </a:lnTo>
                  <a:lnTo>
                    <a:pt x="257" y="44"/>
                  </a:lnTo>
                  <a:lnTo>
                    <a:pt x="260" y="42"/>
                  </a:lnTo>
                  <a:lnTo>
                    <a:pt x="260" y="40"/>
                  </a:lnTo>
                  <a:lnTo>
                    <a:pt x="260" y="40"/>
                  </a:lnTo>
                  <a:lnTo>
                    <a:pt x="260" y="37"/>
                  </a:lnTo>
                  <a:lnTo>
                    <a:pt x="260" y="35"/>
                  </a:lnTo>
                  <a:lnTo>
                    <a:pt x="262" y="33"/>
                  </a:lnTo>
                  <a:lnTo>
                    <a:pt x="264" y="33"/>
                  </a:lnTo>
                  <a:lnTo>
                    <a:pt x="264" y="33"/>
                  </a:lnTo>
                  <a:lnTo>
                    <a:pt x="264" y="30"/>
                  </a:lnTo>
                  <a:lnTo>
                    <a:pt x="264" y="28"/>
                  </a:lnTo>
                  <a:lnTo>
                    <a:pt x="267" y="28"/>
                  </a:lnTo>
                  <a:lnTo>
                    <a:pt x="267" y="28"/>
                  </a:lnTo>
                  <a:lnTo>
                    <a:pt x="264" y="28"/>
                  </a:lnTo>
                  <a:lnTo>
                    <a:pt x="264" y="26"/>
                  </a:lnTo>
                  <a:lnTo>
                    <a:pt x="264" y="23"/>
                  </a:lnTo>
                  <a:lnTo>
                    <a:pt x="262" y="23"/>
                  </a:lnTo>
                  <a:lnTo>
                    <a:pt x="262" y="21"/>
                  </a:lnTo>
                  <a:lnTo>
                    <a:pt x="262" y="21"/>
                  </a:lnTo>
                  <a:lnTo>
                    <a:pt x="264" y="18"/>
                  </a:lnTo>
                  <a:lnTo>
                    <a:pt x="264" y="18"/>
                  </a:lnTo>
                  <a:lnTo>
                    <a:pt x="262" y="18"/>
                  </a:lnTo>
                  <a:lnTo>
                    <a:pt x="262" y="16"/>
                  </a:lnTo>
                  <a:lnTo>
                    <a:pt x="260" y="16"/>
                  </a:lnTo>
                  <a:lnTo>
                    <a:pt x="260" y="16"/>
                  </a:lnTo>
                  <a:lnTo>
                    <a:pt x="257" y="16"/>
                  </a:lnTo>
                  <a:lnTo>
                    <a:pt x="255" y="16"/>
                  </a:lnTo>
                  <a:lnTo>
                    <a:pt x="255" y="16"/>
                  </a:lnTo>
                  <a:lnTo>
                    <a:pt x="255" y="14"/>
                  </a:lnTo>
                  <a:lnTo>
                    <a:pt x="255" y="14"/>
                  </a:lnTo>
                  <a:lnTo>
                    <a:pt x="257" y="11"/>
                  </a:lnTo>
                  <a:lnTo>
                    <a:pt x="257" y="11"/>
                  </a:lnTo>
                  <a:lnTo>
                    <a:pt x="257" y="9"/>
                  </a:lnTo>
                  <a:lnTo>
                    <a:pt x="257" y="7"/>
                  </a:lnTo>
                  <a:lnTo>
                    <a:pt x="257" y="4"/>
                  </a:lnTo>
                  <a:lnTo>
                    <a:pt x="257" y="4"/>
                  </a:lnTo>
                  <a:lnTo>
                    <a:pt x="257" y="2"/>
                  </a:lnTo>
                  <a:lnTo>
                    <a:pt x="257" y="2"/>
                  </a:lnTo>
                  <a:lnTo>
                    <a:pt x="255" y="0"/>
                  </a:lnTo>
                  <a:lnTo>
                    <a:pt x="255" y="0"/>
                  </a:lnTo>
                  <a:lnTo>
                    <a:pt x="255" y="0"/>
                  </a:lnTo>
                  <a:lnTo>
                    <a:pt x="252" y="2"/>
                  </a:lnTo>
                  <a:lnTo>
                    <a:pt x="250" y="2"/>
                  </a:lnTo>
                  <a:lnTo>
                    <a:pt x="250" y="2"/>
                  </a:lnTo>
                  <a:lnTo>
                    <a:pt x="248" y="2"/>
                  </a:lnTo>
                  <a:lnTo>
                    <a:pt x="245" y="0"/>
                  </a:lnTo>
                  <a:lnTo>
                    <a:pt x="245" y="2"/>
                  </a:lnTo>
                  <a:lnTo>
                    <a:pt x="245" y="2"/>
                  </a:lnTo>
                  <a:lnTo>
                    <a:pt x="245" y="2"/>
                  </a:lnTo>
                  <a:lnTo>
                    <a:pt x="245" y="4"/>
                  </a:lnTo>
                  <a:lnTo>
                    <a:pt x="248" y="4"/>
                  </a:lnTo>
                  <a:lnTo>
                    <a:pt x="248" y="7"/>
                  </a:lnTo>
                  <a:lnTo>
                    <a:pt x="245" y="7"/>
                  </a:lnTo>
                  <a:lnTo>
                    <a:pt x="245" y="9"/>
                  </a:lnTo>
                  <a:lnTo>
                    <a:pt x="243" y="9"/>
                  </a:lnTo>
                  <a:lnTo>
                    <a:pt x="243" y="11"/>
                  </a:lnTo>
                  <a:lnTo>
                    <a:pt x="241" y="11"/>
                  </a:lnTo>
                  <a:lnTo>
                    <a:pt x="241" y="14"/>
                  </a:lnTo>
                  <a:lnTo>
                    <a:pt x="238" y="16"/>
                  </a:lnTo>
                  <a:lnTo>
                    <a:pt x="238" y="16"/>
                  </a:lnTo>
                  <a:lnTo>
                    <a:pt x="238" y="16"/>
                  </a:lnTo>
                  <a:lnTo>
                    <a:pt x="236" y="16"/>
                  </a:lnTo>
                  <a:lnTo>
                    <a:pt x="234" y="16"/>
                  </a:lnTo>
                  <a:lnTo>
                    <a:pt x="231" y="16"/>
                  </a:lnTo>
                  <a:lnTo>
                    <a:pt x="231" y="18"/>
                  </a:lnTo>
                  <a:lnTo>
                    <a:pt x="229" y="21"/>
                  </a:lnTo>
                  <a:lnTo>
                    <a:pt x="224" y="23"/>
                  </a:lnTo>
                  <a:lnTo>
                    <a:pt x="219" y="23"/>
                  </a:lnTo>
                  <a:lnTo>
                    <a:pt x="217" y="23"/>
                  </a:lnTo>
                  <a:lnTo>
                    <a:pt x="212" y="23"/>
                  </a:lnTo>
                  <a:lnTo>
                    <a:pt x="212" y="23"/>
                  </a:lnTo>
                  <a:lnTo>
                    <a:pt x="210" y="26"/>
                  </a:lnTo>
                  <a:lnTo>
                    <a:pt x="210" y="26"/>
                  </a:lnTo>
                  <a:lnTo>
                    <a:pt x="208" y="26"/>
                  </a:lnTo>
                  <a:lnTo>
                    <a:pt x="208" y="26"/>
                  </a:lnTo>
                  <a:lnTo>
                    <a:pt x="208" y="28"/>
                  </a:lnTo>
                  <a:lnTo>
                    <a:pt x="205" y="33"/>
                  </a:lnTo>
                  <a:lnTo>
                    <a:pt x="205" y="35"/>
                  </a:lnTo>
                  <a:lnTo>
                    <a:pt x="203" y="35"/>
                  </a:lnTo>
                  <a:lnTo>
                    <a:pt x="201" y="33"/>
                  </a:lnTo>
                  <a:lnTo>
                    <a:pt x="198" y="30"/>
                  </a:lnTo>
                  <a:lnTo>
                    <a:pt x="196" y="28"/>
                  </a:lnTo>
                  <a:lnTo>
                    <a:pt x="196" y="28"/>
                  </a:lnTo>
                  <a:lnTo>
                    <a:pt x="194" y="28"/>
                  </a:lnTo>
                  <a:lnTo>
                    <a:pt x="191" y="28"/>
                  </a:lnTo>
                  <a:lnTo>
                    <a:pt x="191" y="28"/>
                  </a:lnTo>
                  <a:lnTo>
                    <a:pt x="189" y="28"/>
                  </a:lnTo>
                  <a:lnTo>
                    <a:pt x="189" y="28"/>
                  </a:lnTo>
                  <a:lnTo>
                    <a:pt x="184" y="28"/>
                  </a:lnTo>
                  <a:lnTo>
                    <a:pt x="182" y="28"/>
                  </a:lnTo>
                  <a:lnTo>
                    <a:pt x="182" y="28"/>
                  </a:lnTo>
                  <a:lnTo>
                    <a:pt x="182" y="26"/>
                  </a:lnTo>
                  <a:lnTo>
                    <a:pt x="179" y="23"/>
                  </a:lnTo>
                  <a:lnTo>
                    <a:pt x="179" y="23"/>
                  </a:lnTo>
                  <a:lnTo>
                    <a:pt x="179" y="23"/>
                  </a:lnTo>
                  <a:lnTo>
                    <a:pt x="172" y="23"/>
                  </a:lnTo>
                  <a:lnTo>
                    <a:pt x="172" y="23"/>
                  </a:lnTo>
                  <a:lnTo>
                    <a:pt x="172" y="23"/>
                  </a:lnTo>
                  <a:lnTo>
                    <a:pt x="170" y="21"/>
                  </a:lnTo>
                  <a:lnTo>
                    <a:pt x="170" y="21"/>
                  </a:lnTo>
                  <a:lnTo>
                    <a:pt x="168" y="21"/>
                  </a:lnTo>
                  <a:lnTo>
                    <a:pt x="168" y="21"/>
                  </a:lnTo>
                  <a:lnTo>
                    <a:pt x="170" y="26"/>
                  </a:lnTo>
                  <a:lnTo>
                    <a:pt x="170" y="26"/>
                  </a:lnTo>
                  <a:lnTo>
                    <a:pt x="172" y="28"/>
                  </a:lnTo>
                  <a:lnTo>
                    <a:pt x="177" y="33"/>
                  </a:lnTo>
                  <a:lnTo>
                    <a:pt x="179" y="35"/>
                  </a:lnTo>
                  <a:lnTo>
                    <a:pt x="179" y="37"/>
                  </a:lnTo>
                  <a:lnTo>
                    <a:pt x="179" y="40"/>
                  </a:lnTo>
                  <a:lnTo>
                    <a:pt x="179" y="42"/>
                  </a:lnTo>
                  <a:lnTo>
                    <a:pt x="179" y="47"/>
                  </a:lnTo>
                  <a:lnTo>
                    <a:pt x="182" y="52"/>
                  </a:lnTo>
                  <a:lnTo>
                    <a:pt x="182" y="54"/>
                  </a:lnTo>
                  <a:lnTo>
                    <a:pt x="182" y="56"/>
                  </a:lnTo>
                  <a:lnTo>
                    <a:pt x="182" y="56"/>
                  </a:lnTo>
                  <a:lnTo>
                    <a:pt x="182" y="59"/>
                  </a:lnTo>
                  <a:lnTo>
                    <a:pt x="182" y="59"/>
                  </a:lnTo>
                  <a:lnTo>
                    <a:pt x="184" y="59"/>
                  </a:lnTo>
                  <a:lnTo>
                    <a:pt x="189" y="59"/>
                  </a:lnTo>
                  <a:lnTo>
                    <a:pt x="191" y="59"/>
                  </a:lnTo>
                  <a:lnTo>
                    <a:pt x="194" y="59"/>
                  </a:lnTo>
                  <a:lnTo>
                    <a:pt x="194" y="61"/>
                  </a:lnTo>
                  <a:lnTo>
                    <a:pt x="194" y="63"/>
                  </a:lnTo>
                  <a:lnTo>
                    <a:pt x="194" y="66"/>
                  </a:lnTo>
                  <a:lnTo>
                    <a:pt x="191" y="66"/>
                  </a:lnTo>
                  <a:lnTo>
                    <a:pt x="191" y="66"/>
                  </a:lnTo>
                  <a:lnTo>
                    <a:pt x="189" y="68"/>
                  </a:lnTo>
                  <a:lnTo>
                    <a:pt x="184" y="68"/>
                  </a:lnTo>
                  <a:lnTo>
                    <a:pt x="184" y="68"/>
                  </a:lnTo>
                  <a:lnTo>
                    <a:pt x="182" y="70"/>
                  </a:lnTo>
                  <a:lnTo>
                    <a:pt x="182" y="70"/>
                  </a:lnTo>
                  <a:lnTo>
                    <a:pt x="182" y="70"/>
                  </a:lnTo>
                  <a:lnTo>
                    <a:pt x="182" y="73"/>
                  </a:lnTo>
                  <a:lnTo>
                    <a:pt x="179" y="78"/>
                  </a:lnTo>
                  <a:lnTo>
                    <a:pt x="179" y="78"/>
                  </a:lnTo>
                  <a:lnTo>
                    <a:pt x="177" y="80"/>
                  </a:lnTo>
                  <a:lnTo>
                    <a:pt x="175" y="80"/>
                  </a:lnTo>
                  <a:lnTo>
                    <a:pt x="172" y="80"/>
                  </a:lnTo>
                  <a:lnTo>
                    <a:pt x="172" y="80"/>
                  </a:lnTo>
                  <a:lnTo>
                    <a:pt x="172" y="82"/>
                  </a:lnTo>
                  <a:lnTo>
                    <a:pt x="170" y="82"/>
                  </a:lnTo>
                  <a:lnTo>
                    <a:pt x="168" y="85"/>
                  </a:lnTo>
                  <a:lnTo>
                    <a:pt x="168" y="85"/>
                  </a:lnTo>
                  <a:lnTo>
                    <a:pt x="165" y="85"/>
                  </a:lnTo>
                  <a:lnTo>
                    <a:pt x="163" y="87"/>
                  </a:lnTo>
                  <a:lnTo>
                    <a:pt x="161" y="87"/>
                  </a:lnTo>
                  <a:lnTo>
                    <a:pt x="161" y="89"/>
                  </a:lnTo>
                  <a:lnTo>
                    <a:pt x="158" y="92"/>
                  </a:lnTo>
                  <a:lnTo>
                    <a:pt x="156" y="92"/>
                  </a:lnTo>
                  <a:lnTo>
                    <a:pt x="156" y="94"/>
                  </a:lnTo>
                  <a:lnTo>
                    <a:pt x="153" y="96"/>
                  </a:lnTo>
                  <a:lnTo>
                    <a:pt x="153" y="96"/>
                  </a:lnTo>
                  <a:lnTo>
                    <a:pt x="153" y="94"/>
                  </a:lnTo>
                  <a:lnTo>
                    <a:pt x="153" y="94"/>
                  </a:lnTo>
                  <a:lnTo>
                    <a:pt x="153" y="92"/>
                  </a:lnTo>
                  <a:lnTo>
                    <a:pt x="151" y="89"/>
                  </a:lnTo>
                  <a:lnTo>
                    <a:pt x="151" y="89"/>
                  </a:lnTo>
                  <a:lnTo>
                    <a:pt x="151" y="89"/>
                  </a:lnTo>
                  <a:lnTo>
                    <a:pt x="149" y="92"/>
                  </a:lnTo>
                  <a:lnTo>
                    <a:pt x="146" y="92"/>
                  </a:lnTo>
                  <a:lnTo>
                    <a:pt x="144" y="94"/>
                  </a:lnTo>
                  <a:lnTo>
                    <a:pt x="144" y="94"/>
                  </a:lnTo>
                  <a:lnTo>
                    <a:pt x="142" y="94"/>
                  </a:lnTo>
                  <a:lnTo>
                    <a:pt x="139" y="94"/>
                  </a:lnTo>
                  <a:lnTo>
                    <a:pt x="139" y="94"/>
                  </a:lnTo>
                  <a:lnTo>
                    <a:pt x="137" y="94"/>
                  </a:lnTo>
                  <a:lnTo>
                    <a:pt x="132" y="89"/>
                  </a:lnTo>
                  <a:lnTo>
                    <a:pt x="128" y="85"/>
                  </a:lnTo>
                  <a:lnTo>
                    <a:pt x="125" y="87"/>
                  </a:lnTo>
                  <a:lnTo>
                    <a:pt x="125" y="85"/>
                  </a:lnTo>
                  <a:lnTo>
                    <a:pt x="125" y="85"/>
                  </a:lnTo>
                  <a:lnTo>
                    <a:pt x="125" y="82"/>
                  </a:lnTo>
                  <a:lnTo>
                    <a:pt x="125" y="78"/>
                  </a:lnTo>
                  <a:lnTo>
                    <a:pt x="125" y="75"/>
                  </a:lnTo>
                  <a:lnTo>
                    <a:pt x="123" y="73"/>
                  </a:lnTo>
                  <a:lnTo>
                    <a:pt x="120" y="68"/>
                  </a:lnTo>
                  <a:lnTo>
                    <a:pt x="120" y="66"/>
                  </a:lnTo>
                  <a:lnTo>
                    <a:pt x="118" y="66"/>
                  </a:lnTo>
                  <a:lnTo>
                    <a:pt x="118" y="66"/>
                  </a:lnTo>
                  <a:lnTo>
                    <a:pt x="118" y="66"/>
                  </a:lnTo>
                  <a:lnTo>
                    <a:pt x="116" y="68"/>
                  </a:lnTo>
                  <a:lnTo>
                    <a:pt x="116" y="68"/>
                  </a:lnTo>
                  <a:lnTo>
                    <a:pt x="113" y="70"/>
                  </a:lnTo>
                  <a:lnTo>
                    <a:pt x="111" y="73"/>
                  </a:lnTo>
                  <a:lnTo>
                    <a:pt x="111" y="73"/>
                  </a:lnTo>
                  <a:lnTo>
                    <a:pt x="109" y="73"/>
                  </a:lnTo>
                  <a:lnTo>
                    <a:pt x="109" y="73"/>
                  </a:lnTo>
                  <a:lnTo>
                    <a:pt x="106" y="73"/>
                  </a:lnTo>
                  <a:lnTo>
                    <a:pt x="106" y="70"/>
                  </a:lnTo>
                  <a:lnTo>
                    <a:pt x="106" y="70"/>
                  </a:lnTo>
                  <a:lnTo>
                    <a:pt x="104" y="68"/>
                  </a:lnTo>
                  <a:lnTo>
                    <a:pt x="104" y="70"/>
                  </a:lnTo>
                  <a:lnTo>
                    <a:pt x="104" y="70"/>
                  </a:lnTo>
                  <a:lnTo>
                    <a:pt x="104" y="73"/>
                  </a:lnTo>
                  <a:lnTo>
                    <a:pt x="104" y="73"/>
                  </a:lnTo>
                  <a:lnTo>
                    <a:pt x="104" y="75"/>
                  </a:lnTo>
                  <a:lnTo>
                    <a:pt x="104" y="75"/>
                  </a:lnTo>
                  <a:lnTo>
                    <a:pt x="99" y="75"/>
                  </a:lnTo>
                  <a:lnTo>
                    <a:pt x="95" y="75"/>
                  </a:lnTo>
                  <a:lnTo>
                    <a:pt x="90" y="75"/>
                  </a:lnTo>
                  <a:lnTo>
                    <a:pt x="87" y="75"/>
                  </a:lnTo>
                  <a:lnTo>
                    <a:pt x="83" y="75"/>
                  </a:lnTo>
                  <a:lnTo>
                    <a:pt x="83" y="75"/>
                  </a:lnTo>
                  <a:lnTo>
                    <a:pt x="80" y="73"/>
                  </a:lnTo>
                  <a:lnTo>
                    <a:pt x="78" y="73"/>
                  </a:lnTo>
                  <a:lnTo>
                    <a:pt x="78" y="73"/>
                  </a:lnTo>
                  <a:lnTo>
                    <a:pt x="78" y="75"/>
                  </a:lnTo>
                  <a:lnTo>
                    <a:pt x="76" y="75"/>
                  </a:lnTo>
                  <a:lnTo>
                    <a:pt x="73" y="75"/>
                  </a:lnTo>
                  <a:lnTo>
                    <a:pt x="73" y="75"/>
                  </a:lnTo>
                  <a:lnTo>
                    <a:pt x="73" y="78"/>
                  </a:lnTo>
                  <a:lnTo>
                    <a:pt x="73" y="82"/>
                  </a:lnTo>
                  <a:lnTo>
                    <a:pt x="73" y="89"/>
                  </a:lnTo>
                  <a:lnTo>
                    <a:pt x="73" y="87"/>
                  </a:lnTo>
                  <a:lnTo>
                    <a:pt x="76" y="87"/>
                  </a:lnTo>
                  <a:lnTo>
                    <a:pt x="76" y="89"/>
                  </a:lnTo>
                  <a:lnTo>
                    <a:pt x="78" y="87"/>
                  </a:lnTo>
                  <a:lnTo>
                    <a:pt x="78" y="89"/>
                  </a:lnTo>
                  <a:lnTo>
                    <a:pt x="80" y="89"/>
                  </a:lnTo>
                  <a:lnTo>
                    <a:pt x="80" y="89"/>
                  </a:lnTo>
                  <a:lnTo>
                    <a:pt x="80" y="89"/>
                  </a:lnTo>
                  <a:lnTo>
                    <a:pt x="80" y="89"/>
                  </a:lnTo>
                  <a:lnTo>
                    <a:pt x="83" y="89"/>
                  </a:lnTo>
                  <a:lnTo>
                    <a:pt x="83" y="89"/>
                  </a:lnTo>
                  <a:lnTo>
                    <a:pt x="85" y="89"/>
                  </a:lnTo>
                  <a:lnTo>
                    <a:pt x="85" y="89"/>
                  </a:lnTo>
                  <a:lnTo>
                    <a:pt x="85" y="92"/>
                  </a:lnTo>
                  <a:lnTo>
                    <a:pt x="85" y="92"/>
                  </a:lnTo>
                  <a:lnTo>
                    <a:pt x="85" y="94"/>
                  </a:lnTo>
                  <a:lnTo>
                    <a:pt x="85" y="94"/>
                  </a:lnTo>
                  <a:lnTo>
                    <a:pt x="85" y="96"/>
                  </a:lnTo>
                  <a:lnTo>
                    <a:pt x="85" y="96"/>
                  </a:lnTo>
                  <a:lnTo>
                    <a:pt x="85" y="96"/>
                  </a:lnTo>
                  <a:lnTo>
                    <a:pt x="85" y="96"/>
                  </a:lnTo>
                  <a:lnTo>
                    <a:pt x="85" y="96"/>
                  </a:lnTo>
                  <a:lnTo>
                    <a:pt x="85" y="96"/>
                  </a:lnTo>
                  <a:lnTo>
                    <a:pt x="85" y="96"/>
                  </a:lnTo>
                  <a:lnTo>
                    <a:pt x="83" y="96"/>
                  </a:lnTo>
                  <a:lnTo>
                    <a:pt x="83" y="96"/>
                  </a:lnTo>
                  <a:lnTo>
                    <a:pt x="83" y="96"/>
                  </a:lnTo>
                  <a:lnTo>
                    <a:pt x="83" y="96"/>
                  </a:lnTo>
                  <a:lnTo>
                    <a:pt x="83" y="96"/>
                  </a:lnTo>
                  <a:lnTo>
                    <a:pt x="80" y="96"/>
                  </a:lnTo>
                  <a:lnTo>
                    <a:pt x="80" y="96"/>
                  </a:lnTo>
                  <a:lnTo>
                    <a:pt x="78" y="96"/>
                  </a:lnTo>
                  <a:lnTo>
                    <a:pt x="78" y="96"/>
                  </a:lnTo>
                  <a:lnTo>
                    <a:pt x="78" y="96"/>
                  </a:lnTo>
                  <a:lnTo>
                    <a:pt x="78" y="96"/>
                  </a:lnTo>
                  <a:lnTo>
                    <a:pt x="76" y="96"/>
                  </a:lnTo>
                  <a:lnTo>
                    <a:pt x="76" y="96"/>
                  </a:lnTo>
                  <a:lnTo>
                    <a:pt x="76" y="96"/>
                  </a:lnTo>
                  <a:lnTo>
                    <a:pt x="73" y="99"/>
                  </a:lnTo>
                  <a:lnTo>
                    <a:pt x="73" y="99"/>
                  </a:lnTo>
                  <a:lnTo>
                    <a:pt x="71" y="99"/>
                  </a:lnTo>
                  <a:lnTo>
                    <a:pt x="71" y="99"/>
                  </a:lnTo>
                  <a:lnTo>
                    <a:pt x="69" y="99"/>
                  </a:lnTo>
                  <a:lnTo>
                    <a:pt x="69" y="101"/>
                  </a:lnTo>
                  <a:lnTo>
                    <a:pt x="69" y="106"/>
                  </a:lnTo>
                  <a:lnTo>
                    <a:pt x="69" y="111"/>
                  </a:lnTo>
                  <a:lnTo>
                    <a:pt x="69" y="113"/>
                  </a:lnTo>
                  <a:lnTo>
                    <a:pt x="69" y="115"/>
                  </a:lnTo>
                  <a:lnTo>
                    <a:pt x="71" y="118"/>
                  </a:lnTo>
                  <a:lnTo>
                    <a:pt x="73" y="118"/>
                  </a:lnTo>
                  <a:lnTo>
                    <a:pt x="76" y="120"/>
                  </a:lnTo>
                  <a:lnTo>
                    <a:pt x="76" y="120"/>
                  </a:lnTo>
                  <a:lnTo>
                    <a:pt x="78" y="122"/>
                  </a:lnTo>
                  <a:lnTo>
                    <a:pt x="78" y="122"/>
                  </a:lnTo>
                  <a:lnTo>
                    <a:pt x="78" y="122"/>
                  </a:lnTo>
                  <a:lnTo>
                    <a:pt x="78" y="125"/>
                  </a:lnTo>
                  <a:lnTo>
                    <a:pt x="78" y="125"/>
                  </a:lnTo>
                  <a:lnTo>
                    <a:pt x="78" y="125"/>
                  </a:lnTo>
                  <a:lnTo>
                    <a:pt x="78" y="127"/>
                  </a:lnTo>
                  <a:lnTo>
                    <a:pt x="78" y="127"/>
                  </a:lnTo>
                  <a:lnTo>
                    <a:pt x="78" y="130"/>
                  </a:lnTo>
                  <a:lnTo>
                    <a:pt x="78" y="130"/>
                  </a:lnTo>
                  <a:lnTo>
                    <a:pt x="78" y="130"/>
                  </a:lnTo>
                  <a:lnTo>
                    <a:pt x="80" y="130"/>
                  </a:lnTo>
                  <a:lnTo>
                    <a:pt x="80" y="132"/>
                  </a:lnTo>
                  <a:lnTo>
                    <a:pt x="80" y="132"/>
                  </a:lnTo>
                  <a:lnTo>
                    <a:pt x="80" y="132"/>
                  </a:lnTo>
                  <a:lnTo>
                    <a:pt x="80" y="134"/>
                  </a:lnTo>
                  <a:lnTo>
                    <a:pt x="80" y="134"/>
                  </a:lnTo>
                  <a:lnTo>
                    <a:pt x="80" y="134"/>
                  </a:lnTo>
                  <a:lnTo>
                    <a:pt x="83" y="137"/>
                  </a:lnTo>
                  <a:lnTo>
                    <a:pt x="80" y="137"/>
                  </a:lnTo>
                  <a:lnTo>
                    <a:pt x="80" y="141"/>
                  </a:lnTo>
                  <a:lnTo>
                    <a:pt x="80" y="146"/>
                  </a:lnTo>
                  <a:lnTo>
                    <a:pt x="80" y="149"/>
                  </a:lnTo>
                  <a:lnTo>
                    <a:pt x="78" y="153"/>
                  </a:lnTo>
                  <a:lnTo>
                    <a:pt x="78" y="160"/>
                  </a:lnTo>
                  <a:lnTo>
                    <a:pt x="78" y="167"/>
                  </a:lnTo>
                  <a:lnTo>
                    <a:pt x="76" y="175"/>
                  </a:lnTo>
                  <a:lnTo>
                    <a:pt x="76" y="182"/>
                  </a:lnTo>
                  <a:lnTo>
                    <a:pt x="73" y="189"/>
                  </a:lnTo>
                  <a:lnTo>
                    <a:pt x="73" y="196"/>
                  </a:lnTo>
                  <a:lnTo>
                    <a:pt x="73" y="201"/>
                  </a:lnTo>
                  <a:lnTo>
                    <a:pt x="73" y="201"/>
                  </a:lnTo>
                  <a:lnTo>
                    <a:pt x="73" y="201"/>
                  </a:lnTo>
                  <a:lnTo>
                    <a:pt x="71" y="203"/>
                  </a:lnTo>
                  <a:lnTo>
                    <a:pt x="71" y="203"/>
                  </a:lnTo>
                  <a:lnTo>
                    <a:pt x="69" y="201"/>
                  </a:lnTo>
                  <a:lnTo>
                    <a:pt x="69" y="201"/>
                  </a:lnTo>
                  <a:lnTo>
                    <a:pt x="69" y="201"/>
                  </a:lnTo>
                  <a:lnTo>
                    <a:pt x="66" y="201"/>
                  </a:lnTo>
                  <a:lnTo>
                    <a:pt x="66" y="198"/>
                  </a:lnTo>
                  <a:lnTo>
                    <a:pt x="64" y="198"/>
                  </a:lnTo>
                  <a:lnTo>
                    <a:pt x="62" y="198"/>
                  </a:lnTo>
                  <a:lnTo>
                    <a:pt x="59" y="198"/>
                  </a:lnTo>
                  <a:lnTo>
                    <a:pt x="59" y="198"/>
                  </a:lnTo>
                  <a:lnTo>
                    <a:pt x="57" y="198"/>
                  </a:lnTo>
                  <a:lnTo>
                    <a:pt x="57" y="201"/>
                  </a:lnTo>
                  <a:lnTo>
                    <a:pt x="54" y="201"/>
                  </a:lnTo>
                  <a:lnTo>
                    <a:pt x="54" y="203"/>
                  </a:lnTo>
                  <a:lnTo>
                    <a:pt x="50" y="203"/>
                  </a:lnTo>
                  <a:lnTo>
                    <a:pt x="50" y="203"/>
                  </a:lnTo>
                  <a:lnTo>
                    <a:pt x="47" y="205"/>
                  </a:lnTo>
                  <a:lnTo>
                    <a:pt x="45" y="205"/>
                  </a:lnTo>
                  <a:lnTo>
                    <a:pt x="43" y="205"/>
                  </a:lnTo>
                  <a:lnTo>
                    <a:pt x="40" y="205"/>
                  </a:lnTo>
                  <a:lnTo>
                    <a:pt x="38" y="205"/>
                  </a:lnTo>
                  <a:lnTo>
                    <a:pt x="36" y="208"/>
                  </a:lnTo>
                  <a:lnTo>
                    <a:pt x="36" y="208"/>
                  </a:lnTo>
                  <a:lnTo>
                    <a:pt x="33" y="208"/>
                  </a:lnTo>
                  <a:lnTo>
                    <a:pt x="31" y="210"/>
                  </a:lnTo>
                  <a:lnTo>
                    <a:pt x="29" y="212"/>
                  </a:lnTo>
                  <a:lnTo>
                    <a:pt x="26" y="215"/>
                  </a:lnTo>
                  <a:lnTo>
                    <a:pt x="24" y="217"/>
                  </a:lnTo>
                  <a:lnTo>
                    <a:pt x="21" y="217"/>
                  </a:lnTo>
                  <a:lnTo>
                    <a:pt x="19" y="219"/>
                  </a:lnTo>
                  <a:lnTo>
                    <a:pt x="19" y="219"/>
                  </a:lnTo>
                  <a:lnTo>
                    <a:pt x="19" y="219"/>
                  </a:lnTo>
                  <a:lnTo>
                    <a:pt x="19" y="219"/>
                  </a:lnTo>
                  <a:lnTo>
                    <a:pt x="19" y="222"/>
                  </a:lnTo>
                  <a:lnTo>
                    <a:pt x="17" y="227"/>
                  </a:lnTo>
                  <a:lnTo>
                    <a:pt x="17" y="229"/>
                  </a:lnTo>
                  <a:lnTo>
                    <a:pt x="17" y="229"/>
                  </a:lnTo>
                  <a:lnTo>
                    <a:pt x="17" y="234"/>
                  </a:lnTo>
                  <a:lnTo>
                    <a:pt x="14" y="236"/>
                  </a:lnTo>
                  <a:lnTo>
                    <a:pt x="14" y="238"/>
                  </a:lnTo>
                  <a:lnTo>
                    <a:pt x="12" y="238"/>
                  </a:lnTo>
                  <a:lnTo>
                    <a:pt x="14" y="241"/>
                  </a:lnTo>
                  <a:lnTo>
                    <a:pt x="14" y="243"/>
                  </a:lnTo>
                  <a:lnTo>
                    <a:pt x="14" y="245"/>
                  </a:lnTo>
                  <a:lnTo>
                    <a:pt x="14" y="245"/>
                  </a:lnTo>
                  <a:lnTo>
                    <a:pt x="14" y="248"/>
                  </a:lnTo>
                  <a:lnTo>
                    <a:pt x="14" y="248"/>
                  </a:lnTo>
                  <a:lnTo>
                    <a:pt x="14" y="250"/>
                  </a:lnTo>
                  <a:lnTo>
                    <a:pt x="12" y="250"/>
                  </a:lnTo>
                  <a:lnTo>
                    <a:pt x="10" y="253"/>
                  </a:lnTo>
                  <a:lnTo>
                    <a:pt x="5" y="255"/>
                  </a:lnTo>
                  <a:lnTo>
                    <a:pt x="5" y="257"/>
                  </a:lnTo>
                  <a:lnTo>
                    <a:pt x="5" y="257"/>
                  </a:lnTo>
                  <a:lnTo>
                    <a:pt x="3" y="260"/>
                  </a:lnTo>
                  <a:lnTo>
                    <a:pt x="3" y="262"/>
                  </a:lnTo>
                  <a:lnTo>
                    <a:pt x="5" y="262"/>
                  </a:lnTo>
                  <a:lnTo>
                    <a:pt x="5" y="264"/>
                  </a:lnTo>
                  <a:lnTo>
                    <a:pt x="5" y="264"/>
                  </a:lnTo>
                  <a:lnTo>
                    <a:pt x="5" y="267"/>
                  </a:lnTo>
                  <a:lnTo>
                    <a:pt x="3" y="267"/>
                  </a:lnTo>
                  <a:lnTo>
                    <a:pt x="3" y="267"/>
                  </a:lnTo>
                  <a:lnTo>
                    <a:pt x="3" y="267"/>
                  </a:lnTo>
                  <a:lnTo>
                    <a:pt x="3" y="267"/>
                  </a:lnTo>
                  <a:lnTo>
                    <a:pt x="0" y="267"/>
                  </a:lnTo>
                  <a:lnTo>
                    <a:pt x="0" y="267"/>
                  </a:lnTo>
                  <a:lnTo>
                    <a:pt x="0" y="269"/>
                  </a:lnTo>
                  <a:lnTo>
                    <a:pt x="0" y="269"/>
                  </a:lnTo>
                  <a:lnTo>
                    <a:pt x="0" y="269"/>
                  </a:lnTo>
                  <a:lnTo>
                    <a:pt x="0" y="269"/>
                  </a:lnTo>
                  <a:lnTo>
                    <a:pt x="0" y="271"/>
                  </a:lnTo>
                  <a:lnTo>
                    <a:pt x="0" y="271"/>
                  </a:lnTo>
                  <a:lnTo>
                    <a:pt x="3" y="271"/>
                  </a:lnTo>
                  <a:lnTo>
                    <a:pt x="5" y="274"/>
                  </a:lnTo>
                  <a:lnTo>
                    <a:pt x="5" y="274"/>
                  </a:lnTo>
                  <a:lnTo>
                    <a:pt x="5" y="276"/>
                  </a:lnTo>
                  <a:lnTo>
                    <a:pt x="5" y="276"/>
                  </a:lnTo>
                  <a:lnTo>
                    <a:pt x="5" y="276"/>
                  </a:lnTo>
                  <a:lnTo>
                    <a:pt x="5" y="279"/>
                  </a:lnTo>
                  <a:lnTo>
                    <a:pt x="5" y="279"/>
                  </a:lnTo>
                  <a:lnTo>
                    <a:pt x="5" y="279"/>
                  </a:lnTo>
                  <a:lnTo>
                    <a:pt x="7" y="281"/>
                  </a:lnTo>
                  <a:lnTo>
                    <a:pt x="7" y="281"/>
                  </a:lnTo>
                  <a:lnTo>
                    <a:pt x="7" y="283"/>
                  </a:lnTo>
                  <a:lnTo>
                    <a:pt x="7" y="283"/>
                  </a:lnTo>
                  <a:lnTo>
                    <a:pt x="10" y="286"/>
                  </a:lnTo>
                  <a:lnTo>
                    <a:pt x="10" y="286"/>
                  </a:lnTo>
                  <a:lnTo>
                    <a:pt x="10" y="288"/>
                  </a:lnTo>
                  <a:lnTo>
                    <a:pt x="10" y="288"/>
                  </a:lnTo>
                  <a:lnTo>
                    <a:pt x="12" y="288"/>
                  </a:lnTo>
                  <a:lnTo>
                    <a:pt x="12" y="290"/>
                  </a:lnTo>
                  <a:lnTo>
                    <a:pt x="12" y="290"/>
                  </a:lnTo>
                  <a:lnTo>
                    <a:pt x="14" y="290"/>
                  </a:lnTo>
                  <a:lnTo>
                    <a:pt x="14" y="293"/>
                  </a:lnTo>
                  <a:lnTo>
                    <a:pt x="14" y="293"/>
                  </a:lnTo>
                  <a:lnTo>
                    <a:pt x="17" y="295"/>
                  </a:lnTo>
                  <a:lnTo>
                    <a:pt x="19" y="297"/>
                  </a:lnTo>
                  <a:lnTo>
                    <a:pt x="19" y="297"/>
                  </a:lnTo>
                  <a:lnTo>
                    <a:pt x="21" y="300"/>
                  </a:lnTo>
                  <a:lnTo>
                    <a:pt x="21" y="302"/>
                  </a:lnTo>
                  <a:lnTo>
                    <a:pt x="19" y="307"/>
                  </a:lnTo>
                  <a:lnTo>
                    <a:pt x="17" y="309"/>
                  </a:lnTo>
                  <a:lnTo>
                    <a:pt x="21" y="309"/>
                  </a:lnTo>
                  <a:lnTo>
                    <a:pt x="24" y="309"/>
                  </a:lnTo>
                  <a:lnTo>
                    <a:pt x="29" y="309"/>
                  </a:lnTo>
                  <a:lnTo>
                    <a:pt x="31" y="312"/>
                  </a:lnTo>
                  <a:lnTo>
                    <a:pt x="33" y="312"/>
                  </a:lnTo>
                  <a:lnTo>
                    <a:pt x="33" y="312"/>
                  </a:lnTo>
                  <a:lnTo>
                    <a:pt x="33" y="314"/>
                  </a:lnTo>
                  <a:lnTo>
                    <a:pt x="36" y="316"/>
                  </a:lnTo>
                  <a:lnTo>
                    <a:pt x="36" y="316"/>
                  </a:lnTo>
                  <a:lnTo>
                    <a:pt x="38" y="319"/>
                  </a:lnTo>
                  <a:lnTo>
                    <a:pt x="36" y="321"/>
                  </a:lnTo>
                  <a:lnTo>
                    <a:pt x="38" y="321"/>
                  </a:lnTo>
                  <a:lnTo>
                    <a:pt x="38" y="321"/>
                  </a:lnTo>
                  <a:lnTo>
                    <a:pt x="43" y="321"/>
                  </a:lnTo>
                  <a:lnTo>
                    <a:pt x="47" y="321"/>
                  </a:lnTo>
                  <a:lnTo>
                    <a:pt x="52" y="321"/>
                  </a:lnTo>
                  <a:lnTo>
                    <a:pt x="54" y="321"/>
                  </a:lnTo>
                  <a:lnTo>
                    <a:pt x="57" y="319"/>
                  </a:lnTo>
                  <a:lnTo>
                    <a:pt x="57" y="319"/>
                  </a:lnTo>
                  <a:lnTo>
                    <a:pt x="59" y="316"/>
                  </a:lnTo>
                  <a:lnTo>
                    <a:pt x="62" y="314"/>
                  </a:lnTo>
                  <a:lnTo>
                    <a:pt x="62" y="314"/>
                  </a:lnTo>
                  <a:lnTo>
                    <a:pt x="62" y="312"/>
                  </a:lnTo>
                  <a:lnTo>
                    <a:pt x="64" y="312"/>
                  </a:lnTo>
                  <a:lnTo>
                    <a:pt x="64" y="312"/>
                  </a:lnTo>
                  <a:lnTo>
                    <a:pt x="66" y="312"/>
                  </a:lnTo>
                  <a:lnTo>
                    <a:pt x="66" y="309"/>
                  </a:lnTo>
                  <a:lnTo>
                    <a:pt x="66" y="312"/>
                  </a:lnTo>
                  <a:lnTo>
                    <a:pt x="66" y="312"/>
                  </a:lnTo>
                  <a:lnTo>
                    <a:pt x="66" y="314"/>
                  </a:lnTo>
                  <a:lnTo>
                    <a:pt x="66" y="316"/>
                  </a:lnTo>
                  <a:lnTo>
                    <a:pt x="66" y="316"/>
                  </a:lnTo>
                  <a:lnTo>
                    <a:pt x="66" y="319"/>
                  </a:lnTo>
                  <a:lnTo>
                    <a:pt x="66" y="321"/>
                  </a:lnTo>
                  <a:lnTo>
                    <a:pt x="66" y="326"/>
                  </a:lnTo>
                  <a:lnTo>
                    <a:pt x="66" y="331"/>
                  </a:lnTo>
                  <a:lnTo>
                    <a:pt x="66" y="335"/>
                  </a:lnTo>
                  <a:lnTo>
                    <a:pt x="66" y="340"/>
                  </a:lnTo>
                  <a:lnTo>
                    <a:pt x="66" y="342"/>
                  </a:lnTo>
                  <a:lnTo>
                    <a:pt x="69" y="342"/>
                  </a:lnTo>
                  <a:lnTo>
                    <a:pt x="69" y="342"/>
                  </a:lnTo>
                  <a:lnTo>
                    <a:pt x="71" y="342"/>
                  </a:lnTo>
                  <a:lnTo>
                    <a:pt x="71" y="345"/>
                  </a:lnTo>
                  <a:lnTo>
                    <a:pt x="73" y="345"/>
                  </a:lnTo>
                  <a:lnTo>
                    <a:pt x="73" y="345"/>
                  </a:lnTo>
                  <a:lnTo>
                    <a:pt x="76" y="345"/>
                  </a:lnTo>
                  <a:lnTo>
                    <a:pt x="78" y="342"/>
                  </a:lnTo>
                  <a:lnTo>
                    <a:pt x="78" y="342"/>
                  </a:lnTo>
                  <a:lnTo>
                    <a:pt x="80" y="342"/>
                  </a:lnTo>
                  <a:lnTo>
                    <a:pt x="85" y="342"/>
                  </a:lnTo>
                  <a:lnTo>
                    <a:pt x="85" y="342"/>
                  </a:lnTo>
                  <a:lnTo>
                    <a:pt x="87" y="342"/>
                  </a:lnTo>
                  <a:lnTo>
                    <a:pt x="92" y="342"/>
                  </a:lnTo>
                  <a:lnTo>
                    <a:pt x="97" y="342"/>
                  </a:lnTo>
                  <a:lnTo>
                    <a:pt x="99" y="342"/>
                  </a:lnTo>
                  <a:lnTo>
                    <a:pt x="102" y="345"/>
                  </a:lnTo>
                  <a:lnTo>
                    <a:pt x="102" y="345"/>
                  </a:lnTo>
                  <a:lnTo>
                    <a:pt x="102" y="345"/>
                  </a:lnTo>
                  <a:lnTo>
                    <a:pt x="104" y="345"/>
                  </a:lnTo>
                  <a:lnTo>
                    <a:pt x="104" y="345"/>
                  </a:lnTo>
                  <a:lnTo>
                    <a:pt x="106" y="345"/>
                  </a:lnTo>
                  <a:lnTo>
                    <a:pt x="109" y="342"/>
                  </a:lnTo>
                  <a:lnTo>
                    <a:pt x="109" y="342"/>
                  </a:lnTo>
                  <a:lnTo>
                    <a:pt x="111" y="342"/>
                  </a:lnTo>
                  <a:lnTo>
                    <a:pt x="113" y="338"/>
                  </a:lnTo>
                  <a:lnTo>
                    <a:pt x="113" y="338"/>
                  </a:lnTo>
                  <a:lnTo>
                    <a:pt x="116" y="335"/>
                  </a:lnTo>
                  <a:lnTo>
                    <a:pt x="118" y="335"/>
                  </a:lnTo>
                  <a:lnTo>
                    <a:pt x="118" y="335"/>
                  </a:lnTo>
                  <a:lnTo>
                    <a:pt x="120" y="335"/>
                  </a:lnTo>
                  <a:lnTo>
                    <a:pt x="120" y="335"/>
                  </a:lnTo>
                  <a:lnTo>
                    <a:pt x="123" y="333"/>
                  </a:lnTo>
                  <a:lnTo>
                    <a:pt x="125" y="331"/>
                  </a:lnTo>
                  <a:lnTo>
                    <a:pt x="128" y="331"/>
                  </a:lnTo>
                  <a:lnTo>
                    <a:pt x="128" y="328"/>
                  </a:lnTo>
                  <a:lnTo>
                    <a:pt x="130" y="328"/>
                  </a:lnTo>
                  <a:lnTo>
                    <a:pt x="130" y="328"/>
                  </a:lnTo>
                  <a:lnTo>
                    <a:pt x="137" y="321"/>
                  </a:lnTo>
                  <a:lnTo>
                    <a:pt x="139" y="319"/>
                  </a:lnTo>
                  <a:lnTo>
                    <a:pt x="142" y="319"/>
                  </a:lnTo>
                  <a:lnTo>
                    <a:pt x="144" y="319"/>
                  </a:lnTo>
                  <a:lnTo>
                    <a:pt x="146" y="319"/>
                  </a:lnTo>
                  <a:lnTo>
                    <a:pt x="153" y="316"/>
                  </a:lnTo>
                  <a:lnTo>
                    <a:pt x="156" y="316"/>
                  </a:lnTo>
                  <a:lnTo>
                    <a:pt x="158" y="319"/>
                  </a:lnTo>
                  <a:lnTo>
                    <a:pt x="158" y="319"/>
                  </a:lnTo>
                  <a:lnTo>
                    <a:pt x="161" y="316"/>
                  </a:lnTo>
                  <a:lnTo>
                    <a:pt x="161" y="316"/>
                  </a:lnTo>
                  <a:lnTo>
                    <a:pt x="163" y="316"/>
                  </a:lnTo>
                  <a:lnTo>
                    <a:pt x="163" y="316"/>
                  </a:lnTo>
                  <a:lnTo>
                    <a:pt x="163" y="319"/>
                  </a:lnTo>
                  <a:lnTo>
                    <a:pt x="163" y="321"/>
                  </a:lnTo>
                  <a:lnTo>
                    <a:pt x="163" y="323"/>
                  </a:lnTo>
                  <a:lnTo>
                    <a:pt x="165" y="326"/>
                  </a:lnTo>
                  <a:lnTo>
                    <a:pt x="165" y="328"/>
                  </a:lnTo>
                  <a:lnTo>
                    <a:pt x="163" y="331"/>
                  </a:lnTo>
                  <a:lnTo>
                    <a:pt x="163" y="331"/>
                  </a:lnTo>
                  <a:lnTo>
                    <a:pt x="163" y="333"/>
                  </a:lnTo>
                  <a:lnTo>
                    <a:pt x="163" y="335"/>
                  </a:lnTo>
                  <a:lnTo>
                    <a:pt x="163" y="338"/>
                  </a:lnTo>
                  <a:lnTo>
                    <a:pt x="165" y="340"/>
                  </a:lnTo>
                  <a:lnTo>
                    <a:pt x="165" y="342"/>
                  </a:lnTo>
                  <a:lnTo>
                    <a:pt x="165" y="345"/>
                  </a:lnTo>
                  <a:lnTo>
                    <a:pt x="163" y="347"/>
                  </a:lnTo>
                  <a:lnTo>
                    <a:pt x="165" y="347"/>
                  </a:lnTo>
                  <a:lnTo>
                    <a:pt x="165" y="349"/>
                  </a:lnTo>
                  <a:lnTo>
                    <a:pt x="165" y="349"/>
                  </a:lnTo>
                  <a:lnTo>
                    <a:pt x="165" y="349"/>
                  </a:lnTo>
                  <a:lnTo>
                    <a:pt x="165" y="352"/>
                  </a:lnTo>
                  <a:lnTo>
                    <a:pt x="168" y="354"/>
                  </a:lnTo>
                  <a:lnTo>
                    <a:pt x="168" y="354"/>
                  </a:lnTo>
                  <a:lnTo>
                    <a:pt x="168" y="357"/>
                  </a:lnTo>
                  <a:lnTo>
                    <a:pt x="168" y="359"/>
                  </a:lnTo>
                  <a:lnTo>
                    <a:pt x="168" y="359"/>
                  </a:lnTo>
                  <a:lnTo>
                    <a:pt x="170" y="359"/>
                  </a:lnTo>
                  <a:lnTo>
                    <a:pt x="170" y="359"/>
                  </a:lnTo>
                  <a:lnTo>
                    <a:pt x="170" y="359"/>
                  </a:lnTo>
                  <a:lnTo>
                    <a:pt x="170" y="359"/>
                  </a:lnTo>
                  <a:lnTo>
                    <a:pt x="172" y="361"/>
                  </a:lnTo>
                  <a:lnTo>
                    <a:pt x="172" y="361"/>
                  </a:lnTo>
                  <a:lnTo>
                    <a:pt x="172" y="361"/>
                  </a:lnTo>
                  <a:lnTo>
                    <a:pt x="172" y="364"/>
                  </a:lnTo>
                  <a:lnTo>
                    <a:pt x="175" y="364"/>
                  </a:lnTo>
                  <a:lnTo>
                    <a:pt x="175" y="364"/>
                  </a:lnTo>
                  <a:lnTo>
                    <a:pt x="177" y="366"/>
                  </a:lnTo>
                  <a:lnTo>
                    <a:pt x="179" y="366"/>
                  </a:lnTo>
                  <a:lnTo>
                    <a:pt x="179" y="368"/>
                  </a:lnTo>
                  <a:lnTo>
                    <a:pt x="182" y="368"/>
                  </a:lnTo>
                  <a:lnTo>
                    <a:pt x="182" y="371"/>
                  </a:lnTo>
                  <a:lnTo>
                    <a:pt x="184" y="373"/>
                  </a:lnTo>
                  <a:lnTo>
                    <a:pt x="186" y="373"/>
                  </a:lnTo>
                  <a:lnTo>
                    <a:pt x="191" y="375"/>
                  </a:lnTo>
                  <a:lnTo>
                    <a:pt x="194" y="375"/>
                  </a:lnTo>
                  <a:lnTo>
                    <a:pt x="196" y="373"/>
                  </a:lnTo>
                  <a:lnTo>
                    <a:pt x="198" y="373"/>
                  </a:lnTo>
                  <a:lnTo>
                    <a:pt x="198" y="375"/>
                  </a:lnTo>
                  <a:lnTo>
                    <a:pt x="201" y="375"/>
                  </a:lnTo>
                  <a:lnTo>
                    <a:pt x="201" y="378"/>
                  </a:lnTo>
                  <a:lnTo>
                    <a:pt x="203" y="378"/>
                  </a:lnTo>
                  <a:lnTo>
                    <a:pt x="205" y="378"/>
                  </a:lnTo>
                  <a:lnTo>
                    <a:pt x="208" y="378"/>
                  </a:lnTo>
                  <a:lnTo>
                    <a:pt x="208" y="378"/>
                  </a:lnTo>
                  <a:lnTo>
                    <a:pt x="210" y="378"/>
                  </a:lnTo>
                  <a:lnTo>
                    <a:pt x="210" y="380"/>
                  </a:lnTo>
                  <a:lnTo>
                    <a:pt x="210" y="380"/>
                  </a:lnTo>
                  <a:lnTo>
                    <a:pt x="212" y="383"/>
                  </a:lnTo>
                  <a:lnTo>
                    <a:pt x="215" y="385"/>
                  </a:lnTo>
                  <a:lnTo>
                    <a:pt x="215" y="385"/>
                  </a:lnTo>
                  <a:lnTo>
                    <a:pt x="217" y="385"/>
                  </a:lnTo>
                  <a:lnTo>
                    <a:pt x="219" y="387"/>
                  </a:lnTo>
                  <a:lnTo>
                    <a:pt x="222" y="387"/>
                  </a:lnTo>
                  <a:lnTo>
                    <a:pt x="224" y="387"/>
                  </a:lnTo>
                  <a:lnTo>
                    <a:pt x="227" y="387"/>
                  </a:lnTo>
                  <a:lnTo>
                    <a:pt x="227" y="390"/>
                  </a:lnTo>
                  <a:lnTo>
                    <a:pt x="229" y="390"/>
                  </a:lnTo>
                  <a:lnTo>
                    <a:pt x="231" y="394"/>
                  </a:lnTo>
                  <a:lnTo>
                    <a:pt x="231" y="394"/>
                  </a:lnTo>
                  <a:lnTo>
                    <a:pt x="234" y="397"/>
                  </a:lnTo>
                  <a:lnTo>
                    <a:pt x="238" y="397"/>
                  </a:lnTo>
                  <a:lnTo>
                    <a:pt x="238" y="397"/>
                  </a:lnTo>
                  <a:lnTo>
                    <a:pt x="241" y="397"/>
                  </a:lnTo>
                  <a:lnTo>
                    <a:pt x="245" y="397"/>
                  </a:lnTo>
                  <a:lnTo>
                    <a:pt x="248" y="394"/>
                  </a:lnTo>
                  <a:lnTo>
                    <a:pt x="250" y="397"/>
                  </a:lnTo>
                  <a:lnTo>
                    <a:pt x="255" y="399"/>
                  </a:lnTo>
                  <a:lnTo>
                    <a:pt x="257" y="402"/>
                  </a:lnTo>
                  <a:lnTo>
                    <a:pt x="257" y="402"/>
                  </a:lnTo>
                  <a:lnTo>
                    <a:pt x="260" y="404"/>
                  </a:lnTo>
                  <a:lnTo>
                    <a:pt x="260" y="404"/>
                  </a:lnTo>
                  <a:lnTo>
                    <a:pt x="260" y="406"/>
                  </a:lnTo>
                  <a:lnTo>
                    <a:pt x="260" y="409"/>
                  </a:lnTo>
                  <a:lnTo>
                    <a:pt x="260" y="409"/>
                  </a:lnTo>
                  <a:lnTo>
                    <a:pt x="260" y="411"/>
                  </a:lnTo>
                  <a:lnTo>
                    <a:pt x="260" y="411"/>
                  </a:lnTo>
                  <a:lnTo>
                    <a:pt x="262" y="413"/>
                  </a:lnTo>
                  <a:lnTo>
                    <a:pt x="262" y="416"/>
                  </a:lnTo>
                  <a:lnTo>
                    <a:pt x="262" y="418"/>
                  </a:lnTo>
                  <a:lnTo>
                    <a:pt x="264" y="420"/>
                  </a:lnTo>
                  <a:lnTo>
                    <a:pt x="264" y="430"/>
                  </a:lnTo>
                  <a:lnTo>
                    <a:pt x="262" y="430"/>
                  </a:lnTo>
                  <a:lnTo>
                    <a:pt x="260" y="430"/>
                  </a:lnTo>
                  <a:lnTo>
                    <a:pt x="260" y="430"/>
                  </a:lnTo>
                  <a:lnTo>
                    <a:pt x="262" y="435"/>
                  </a:lnTo>
                  <a:lnTo>
                    <a:pt x="267" y="437"/>
                  </a:lnTo>
                  <a:lnTo>
                    <a:pt x="267" y="444"/>
                  </a:lnTo>
                  <a:lnTo>
                    <a:pt x="267" y="446"/>
                  </a:lnTo>
                  <a:lnTo>
                    <a:pt x="269" y="451"/>
                  </a:lnTo>
                  <a:lnTo>
                    <a:pt x="269" y="454"/>
                  </a:lnTo>
                  <a:lnTo>
                    <a:pt x="276" y="454"/>
                  </a:lnTo>
                  <a:lnTo>
                    <a:pt x="283" y="456"/>
                  </a:lnTo>
                  <a:lnTo>
                    <a:pt x="290" y="456"/>
                  </a:lnTo>
                  <a:lnTo>
                    <a:pt x="300" y="456"/>
                  </a:lnTo>
                  <a:lnTo>
                    <a:pt x="300" y="456"/>
                  </a:lnTo>
                  <a:lnTo>
                    <a:pt x="302" y="456"/>
                  </a:lnTo>
                  <a:lnTo>
                    <a:pt x="302" y="454"/>
                  </a:lnTo>
                  <a:lnTo>
                    <a:pt x="302" y="454"/>
                  </a:lnTo>
                  <a:lnTo>
                    <a:pt x="302" y="456"/>
                  </a:lnTo>
                  <a:lnTo>
                    <a:pt x="302" y="458"/>
                  </a:lnTo>
                  <a:lnTo>
                    <a:pt x="302" y="458"/>
                  </a:lnTo>
                  <a:lnTo>
                    <a:pt x="300" y="463"/>
                  </a:lnTo>
                  <a:lnTo>
                    <a:pt x="300" y="463"/>
                  </a:lnTo>
                  <a:lnTo>
                    <a:pt x="302" y="468"/>
                  </a:lnTo>
                  <a:lnTo>
                    <a:pt x="302" y="472"/>
                  </a:lnTo>
                  <a:lnTo>
                    <a:pt x="304" y="475"/>
                  </a:lnTo>
                  <a:lnTo>
                    <a:pt x="304" y="475"/>
                  </a:lnTo>
                  <a:lnTo>
                    <a:pt x="307" y="477"/>
                  </a:lnTo>
                  <a:lnTo>
                    <a:pt x="311" y="480"/>
                  </a:lnTo>
                  <a:lnTo>
                    <a:pt x="314" y="482"/>
                  </a:lnTo>
                  <a:lnTo>
                    <a:pt x="314" y="480"/>
                  </a:lnTo>
                  <a:lnTo>
                    <a:pt x="316" y="482"/>
                  </a:lnTo>
                  <a:lnTo>
                    <a:pt x="316" y="484"/>
                  </a:lnTo>
                  <a:lnTo>
                    <a:pt x="318" y="489"/>
                  </a:lnTo>
                  <a:lnTo>
                    <a:pt x="321" y="494"/>
                  </a:lnTo>
                  <a:lnTo>
                    <a:pt x="321" y="494"/>
                  </a:lnTo>
                  <a:lnTo>
                    <a:pt x="321" y="496"/>
                  </a:lnTo>
                  <a:lnTo>
                    <a:pt x="321" y="496"/>
                  </a:lnTo>
                  <a:lnTo>
                    <a:pt x="321" y="496"/>
                  </a:lnTo>
                  <a:lnTo>
                    <a:pt x="321" y="496"/>
                  </a:lnTo>
                  <a:lnTo>
                    <a:pt x="318" y="501"/>
                  </a:lnTo>
                  <a:lnTo>
                    <a:pt x="318" y="506"/>
                  </a:lnTo>
                  <a:lnTo>
                    <a:pt x="318" y="510"/>
                  </a:lnTo>
                  <a:lnTo>
                    <a:pt x="318" y="510"/>
                  </a:lnTo>
                  <a:lnTo>
                    <a:pt x="318" y="510"/>
                  </a:lnTo>
                  <a:lnTo>
                    <a:pt x="318" y="513"/>
                  </a:lnTo>
                  <a:lnTo>
                    <a:pt x="318" y="513"/>
                  </a:lnTo>
                  <a:lnTo>
                    <a:pt x="318" y="513"/>
                  </a:lnTo>
                  <a:lnTo>
                    <a:pt x="316" y="517"/>
                  </a:lnTo>
                  <a:lnTo>
                    <a:pt x="316" y="520"/>
                  </a:lnTo>
                  <a:lnTo>
                    <a:pt x="314" y="524"/>
                  </a:lnTo>
                  <a:lnTo>
                    <a:pt x="314" y="527"/>
                  </a:lnTo>
                  <a:lnTo>
                    <a:pt x="316" y="529"/>
                  </a:lnTo>
                  <a:lnTo>
                    <a:pt x="318" y="532"/>
                  </a:lnTo>
                  <a:lnTo>
                    <a:pt x="318" y="534"/>
                  </a:lnTo>
                  <a:lnTo>
                    <a:pt x="316" y="534"/>
                  </a:lnTo>
                  <a:lnTo>
                    <a:pt x="316" y="534"/>
                  </a:lnTo>
                  <a:lnTo>
                    <a:pt x="316" y="536"/>
                  </a:lnTo>
                  <a:lnTo>
                    <a:pt x="314" y="536"/>
                  </a:lnTo>
                  <a:lnTo>
                    <a:pt x="314" y="536"/>
                  </a:lnTo>
                  <a:lnTo>
                    <a:pt x="314" y="539"/>
                  </a:lnTo>
                  <a:lnTo>
                    <a:pt x="314" y="539"/>
                  </a:lnTo>
                  <a:lnTo>
                    <a:pt x="316" y="541"/>
                  </a:lnTo>
                  <a:lnTo>
                    <a:pt x="316" y="541"/>
                  </a:lnTo>
                  <a:lnTo>
                    <a:pt x="316" y="541"/>
                  </a:lnTo>
                  <a:lnTo>
                    <a:pt x="316" y="543"/>
                  </a:lnTo>
                  <a:lnTo>
                    <a:pt x="316" y="543"/>
                  </a:lnTo>
                  <a:lnTo>
                    <a:pt x="318" y="546"/>
                  </a:lnTo>
                  <a:lnTo>
                    <a:pt x="318" y="546"/>
                  </a:lnTo>
                  <a:lnTo>
                    <a:pt x="318" y="548"/>
                  </a:lnTo>
                  <a:lnTo>
                    <a:pt x="318" y="548"/>
                  </a:lnTo>
                  <a:lnTo>
                    <a:pt x="321" y="548"/>
                  </a:lnTo>
                  <a:lnTo>
                    <a:pt x="318" y="550"/>
                  </a:lnTo>
                  <a:lnTo>
                    <a:pt x="321" y="550"/>
                  </a:lnTo>
                  <a:lnTo>
                    <a:pt x="321" y="550"/>
                  </a:lnTo>
                  <a:lnTo>
                    <a:pt x="321" y="550"/>
                  </a:lnTo>
                  <a:lnTo>
                    <a:pt x="321" y="553"/>
                  </a:lnTo>
                  <a:lnTo>
                    <a:pt x="321" y="553"/>
                  </a:lnTo>
                  <a:lnTo>
                    <a:pt x="321" y="555"/>
                  </a:lnTo>
                  <a:lnTo>
                    <a:pt x="321" y="558"/>
                  </a:lnTo>
                  <a:lnTo>
                    <a:pt x="321" y="558"/>
                  </a:lnTo>
                  <a:lnTo>
                    <a:pt x="321" y="560"/>
                  </a:lnTo>
                  <a:lnTo>
                    <a:pt x="321" y="560"/>
                  </a:lnTo>
                  <a:lnTo>
                    <a:pt x="321" y="562"/>
                  </a:lnTo>
                  <a:lnTo>
                    <a:pt x="321" y="562"/>
                  </a:lnTo>
                  <a:lnTo>
                    <a:pt x="321" y="565"/>
                  </a:lnTo>
                  <a:lnTo>
                    <a:pt x="321" y="565"/>
                  </a:lnTo>
                  <a:lnTo>
                    <a:pt x="321" y="567"/>
                  </a:lnTo>
                  <a:lnTo>
                    <a:pt x="321" y="567"/>
                  </a:lnTo>
                  <a:lnTo>
                    <a:pt x="321" y="569"/>
                  </a:lnTo>
                  <a:lnTo>
                    <a:pt x="321" y="569"/>
                  </a:lnTo>
                  <a:lnTo>
                    <a:pt x="321" y="572"/>
                  </a:lnTo>
                  <a:lnTo>
                    <a:pt x="321" y="572"/>
                  </a:lnTo>
                  <a:lnTo>
                    <a:pt x="321" y="574"/>
                  </a:lnTo>
                  <a:lnTo>
                    <a:pt x="321" y="574"/>
                  </a:lnTo>
                  <a:lnTo>
                    <a:pt x="321" y="576"/>
                  </a:lnTo>
                  <a:lnTo>
                    <a:pt x="321" y="576"/>
                  </a:lnTo>
                  <a:lnTo>
                    <a:pt x="321" y="576"/>
                  </a:lnTo>
                  <a:lnTo>
                    <a:pt x="323" y="579"/>
                  </a:lnTo>
                  <a:lnTo>
                    <a:pt x="323" y="579"/>
                  </a:lnTo>
                  <a:lnTo>
                    <a:pt x="326" y="576"/>
                  </a:lnTo>
                  <a:lnTo>
                    <a:pt x="326" y="576"/>
                  </a:lnTo>
                  <a:lnTo>
                    <a:pt x="328" y="579"/>
                  </a:lnTo>
                  <a:lnTo>
                    <a:pt x="328" y="579"/>
                  </a:lnTo>
                  <a:lnTo>
                    <a:pt x="330" y="579"/>
                  </a:lnTo>
                  <a:lnTo>
                    <a:pt x="333" y="579"/>
                  </a:lnTo>
                  <a:lnTo>
                    <a:pt x="333" y="579"/>
                  </a:lnTo>
                  <a:lnTo>
                    <a:pt x="335" y="579"/>
                  </a:lnTo>
                  <a:lnTo>
                    <a:pt x="337" y="579"/>
                  </a:lnTo>
                  <a:lnTo>
                    <a:pt x="340" y="581"/>
                  </a:lnTo>
                  <a:lnTo>
                    <a:pt x="340" y="581"/>
                  </a:lnTo>
                  <a:lnTo>
                    <a:pt x="342" y="581"/>
                  </a:lnTo>
                  <a:lnTo>
                    <a:pt x="344" y="581"/>
                  </a:lnTo>
                  <a:lnTo>
                    <a:pt x="344" y="581"/>
                  </a:lnTo>
                  <a:lnTo>
                    <a:pt x="347" y="581"/>
                  </a:lnTo>
                  <a:lnTo>
                    <a:pt x="347" y="579"/>
                  </a:lnTo>
                  <a:lnTo>
                    <a:pt x="347" y="579"/>
                  </a:lnTo>
                  <a:lnTo>
                    <a:pt x="347" y="576"/>
                  </a:lnTo>
                  <a:lnTo>
                    <a:pt x="349" y="576"/>
                  </a:lnTo>
                  <a:lnTo>
                    <a:pt x="349" y="576"/>
                  </a:lnTo>
                  <a:lnTo>
                    <a:pt x="351" y="579"/>
                  </a:lnTo>
                  <a:lnTo>
                    <a:pt x="351" y="579"/>
                  </a:lnTo>
                  <a:lnTo>
                    <a:pt x="354" y="581"/>
                  </a:lnTo>
                  <a:lnTo>
                    <a:pt x="354" y="581"/>
                  </a:lnTo>
                  <a:lnTo>
                    <a:pt x="356" y="581"/>
                  </a:lnTo>
                  <a:lnTo>
                    <a:pt x="358" y="581"/>
                  </a:lnTo>
                  <a:lnTo>
                    <a:pt x="358" y="581"/>
                  </a:lnTo>
                  <a:lnTo>
                    <a:pt x="361" y="581"/>
                  </a:lnTo>
                  <a:lnTo>
                    <a:pt x="361" y="584"/>
                  </a:lnTo>
                  <a:lnTo>
                    <a:pt x="363" y="584"/>
                  </a:lnTo>
                  <a:lnTo>
                    <a:pt x="363" y="586"/>
                  </a:lnTo>
                  <a:lnTo>
                    <a:pt x="363" y="588"/>
                  </a:lnTo>
                  <a:lnTo>
                    <a:pt x="366" y="588"/>
                  </a:lnTo>
                  <a:lnTo>
                    <a:pt x="366" y="588"/>
                  </a:lnTo>
                  <a:lnTo>
                    <a:pt x="366" y="591"/>
                  </a:lnTo>
                  <a:lnTo>
                    <a:pt x="366" y="593"/>
                  </a:lnTo>
                  <a:lnTo>
                    <a:pt x="366" y="593"/>
                  </a:lnTo>
                  <a:lnTo>
                    <a:pt x="366" y="595"/>
                  </a:lnTo>
                  <a:lnTo>
                    <a:pt x="366" y="598"/>
                  </a:lnTo>
                  <a:lnTo>
                    <a:pt x="366" y="598"/>
                  </a:lnTo>
                  <a:lnTo>
                    <a:pt x="368" y="600"/>
                  </a:lnTo>
                  <a:lnTo>
                    <a:pt x="368" y="602"/>
                  </a:lnTo>
                  <a:lnTo>
                    <a:pt x="368" y="602"/>
                  </a:lnTo>
                  <a:lnTo>
                    <a:pt x="368" y="605"/>
                  </a:lnTo>
                  <a:lnTo>
                    <a:pt x="368" y="605"/>
                  </a:lnTo>
                  <a:lnTo>
                    <a:pt x="368" y="605"/>
                  </a:lnTo>
                  <a:lnTo>
                    <a:pt x="368" y="607"/>
                  </a:lnTo>
                  <a:lnTo>
                    <a:pt x="368" y="610"/>
                  </a:lnTo>
                  <a:lnTo>
                    <a:pt x="370" y="610"/>
                  </a:lnTo>
                  <a:lnTo>
                    <a:pt x="370" y="612"/>
                  </a:lnTo>
                  <a:lnTo>
                    <a:pt x="370" y="612"/>
                  </a:lnTo>
                  <a:lnTo>
                    <a:pt x="370" y="614"/>
                  </a:lnTo>
                  <a:lnTo>
                    <a:pt x="373" y="617"/>
                  </a:lnTo>
                  <a:lnTo>
                    <a:pt x="373" y="617"/>
                  </a:lnTo>
                  <a:lnTo>
                    <a:pt x="375" y="617"/>
                  </a:lnTo>
                  <a:lnTo>
                    <a:pt x="377" y="617"/>
                  </a:lnTo>
                  <a:lnTo>
                    <a:pt x="377" y="617"/>
                  </a:lnTo>
                  <a:lnTo>
                    <a:pt x="380" y="617"/>
                  </a:lnTo>
                  <a:lnTo>
                    <a:pt x="382" y="617"/>
                  </a:lnTo>
                  <a:lnTo>
                    <a:pt x="382" y="614"/>
                  </a:lnTo>
                  <a:lnTo>
                    <a:pt x="384" y="614"/>
                  </a:lnTo>
                  <a:lnTo>
                    <a:pt x="384" y="614"/>
                  </a:lnTo>
                  <a:lnTo>
                    <a:pt x="387" y="614"/>
                  </a:lnTo>
                  <a:lnTo>
                    <a:pt x="387" y="614"/>
                  </a:lnTo>
                  <a:lnTo>
                    <a:pt x="389" y="614"/>
                  </a:lnTo>
                  <a:lnTo>
                    <a:pt x="391" y="617"/>
                  </a:lnTo>
                  <a:lnTo>
                    <a:pt x="394" y="619"/>
                  </a:lnTo>
                  <a:lnTo>
                    <a:pt x="394" y="619"/>
                  </a:lnTo>
                  <a:lnTo>
                    <a:pt x="391" y="619"/>
                  </a:lnTo>
                  <a:lnTo>
                    <a:pt x="391" y="621"/>
                  </a:lnTo>
                  <a:lnTo>
                    <a:pt x="394" y="624"/>
                  </a:lnTo>
                  <a:lnTo>
                    <a:pt x="394" y="628"/>
                  </a:lnTo>
                  <a:lnTo>
                    <a:pt x="391" y="636"/>
                  </a:lnTo>
                  <a:lnTo>
                    <a:pt x="391" y="640"/>
                  </a:lnTo>
                  <a:lnTo>
                    <a:pt x="394" y="640"/>
                  </a:lnTo>
                  <a:lnTo>
                    <a:pt x="391" y="643"/>
                  </a:lnTo>
                  <a:lnTo>
                    <a:pt x="391" y="647"/>
                  </a:lnTo>
                  <a:lnTo>
                    <a:pt x="391" y="650"/>
                  </a:lnTo>
                  <a:lnTo>
                    <a:pt x="391" y="650"/>
                  </a:lnTo>
                  <a:lnTo>
                    <a:pt x="394" y="652"/>
                  </a:lnTo>
                  <a:lnTo>
                    <a:pt x="394" y="652"/>
                  </a:lnTo>
                  <a:lnTo>
                    <a:pt x="396" y="650"/>
                  </a:lnTo>
                  <a:lnTo>
                    <a:pt x="396" y="650"/>
                  </a:lnTo>
                  <a:lnTo>
                    <a:pt x="399" y="650"/>
                  </a:lnTo>
                  <a:lnTo>
                    <a:pt x="399" y="650"/>
                  </a:lnTo>
                  <a:lnTo>
                    <a:pt x="399" y="650"/>
                  </a:lnTo>
                  <a:lnTo>
                    <a:pt x="399" y="650"/>
                  </a:lnTo>
                  <a:lnTo>
                    <a:pt x="401" y="650"/>
                  </a:lnTo>
                  <a:lnTo>
                    <a:pt x="401" y="650"/>
                  </a:lnTo>
                  <a:lnTo>
                    <a:pt x="403" y="652"/>
                  </a:lnTo>
                  <a:lnTo>
                    <a:pt x="403" y="652"/>
                  </a:lnTo>
                  <a:lnTo>
                    <a:pt x="406" y="655"/>
                  </a:lnTo>
                  <a:lnTo>
                    <a:pt x="406" y="659"/>
                  </a:lnTo>
                  <a:lnTo>
                    <a:pt x="408" y="662"/>
                  </a:lnTo>
                  <a:lnTo>
                    <a:pt x="410" y="664"/>
                  </a:lnTo>
                  <a:lnTo>
                    <a:pt x="410" y="666"/>
                  </a:lnTo>
                  <a:lnTo>
                    <a:pt x="410" y="666"/>
                  </a:lnTo>
                  <a:lnTo>
                    <a:pt x="410" y="669"/>
                  </a:lnTo>
                  <a:lnTo>
                    <a:pt x="410" y="673"/>
                  </a:lnTo>
                  <a:lnTo>
                    <a:pt x="410" y="676"/>
                  </a:lnTo>
                  <a:lnTo>
                    <a:pt x="410" y="676"/>
                  </a:lnTo>
                  <a:lnTo>
                    <a:pt x="410" y="678"/>
                  </a:lnTo>
                  <a:lnTo>
                    <a:pt x="410" y="681"/>
                  </a:lnTo>
                  <a:lnTo>
                    <a:pt x="410" y="683"/>
                  </a:lnTo>
                  <a:lnTo>
                    <a:pt x="408" y="685"/>
                  </a:lnTo>
                  <a:lnTo>
                    <a:pt x="408" y="685"/>
                  </a:lnTo>
                  <a:lnTo>
                    <a:pt x="406" y="685"/>
                  </a:lnTo>
                  <a:lnTo>
                    <a:pt x="406" y="688"/>
                  </a:lnTo>
                  <a:lnTo>
                    <a:pt x="403" y="685"/>
                  </a:lnTo>
                  <a:lnTo>
                    <a:pt x="403" y="688"/>
                  </a:lnTo>
                  <a:lnTo>
                    <a:pt x="403" y="690"/>
                  </a:lnTo>
                  <a:lnTo>
                    <a:pt x="401" y="690"/>
                  </a:lnTo>
                  <a:lnTo>
                    <a:pt x="399" y="690"/>
                  </a:lnTo>
                  <a:lnTo>
                    <a:pt x="399" y="690"/>
                  </a:lnTo>
                  <a:lnTo>
                    <a:pt x="399" y="690"/>
                  </a:lnTo>
                  <a:lnTo>
                    <a:pt x="396" y="690"/>
                  </a:lnTo>
                  <a:lnTo>
                    <a:pt x="396" y="692"/>
                  </a:lnTo>
                  <a:lnTo>
                    <a:pt x="394" y="692"/>
                  </a:lnTo>
                  <a:lnTo>
                    <a:pt x="394" y="692"/>
                  </a:lnTo>
                  <a:lnTo>
                    <a:pt x="394" y="692"/>
                  </a:lnTo>
                  <a:lnTo>
                    <a:pt x="391" y="692"/>
                  </a:lnTo>
                  <a:lnTo>
                    <a:pt x="391" y="695"/>
                  </a:lnTo>
                  <a:lnTo>
                    <a:pt x="391" y="695"/>
                  </a:lnTo>
                  <a:lnTo>
                    <a:pt x="391" y="697"/>
                  </a:lnTo>
                  <a:lnTo>
                    <a:pt x="389" y="697"/>
                  </a:lnTo>
                  <a:lnTo>
                    <a:pt x="389" y="697"/>
                  </a:lnTo>
                  <a:lnTo>
                    <a:pt x="389" y="699"/>
                  </a:lnTo>
                  <a:lnTo>
                    <a:pt x="389" y="699"/>
                  </a:lnTo>
                  <a:lnTo>
                    <a:pt x="387" y="699"/>
                  </a:lnTo>
                  <a:lnTo>
                    <a:pt x="384" y="702"/>
                  </a:lnTo>
                  <a:lnTo>
                    <a:pt x="384" y="702"/>
                  </a:lnTo>
                  <a:lnTo>
                    <a:pt x="382" y="704"/>
                  </a:lnTo>
                  <a:lnTo>
                    <a:pt x="382" y="704"/>
                  </a:lnTo>
                  <a:lnTo>
                    <a:pt x="380" y="707"/>
                  </a:lnTo>
                  <a:lnTo>
                    <a:pt x="380" y="707"/>
                  </a:lnTo>
                  <a:lnTo>
                    <a:pt x="380" y="709"/>
                  </a:lnTo>
                  <a:lnTo>
                    <a:pt x="380" y="709"/>
                  </a:lnTo>
                  <a:lnTo>
                    <a:pt x="380" y="709"/>
                  </a:lnTo>
                  <a:lnTo>
                    <a:pt x="380" y="709"/>
                  </a:lnTo>
                  <a:lnTo>
                    <a:pt x="377" y="709"/>
                  </a:lnTo>
                  <a:lnTo>
                    <a:pt x="377" y="709"/>
                  </a:lnTo>
                  <a:lnTo>
                    <a:pt x="377" y="709"/>
                  </a:lnTo>
                  <a:lnTo>
                    <a:pt x="377" y="711"/>
                  </a:lnTo>
                  <a:lnTo>
                    <a:pt x="377" y="711"/>
                  </a:lnTo>
                  <a:lnTo>
                    <a:pt x="375" y="711"/>
                  </a:lnTo>
                  <a:lnTo>
                    <a:pt x="375" y="711"/>
                  </a:lnTo>
                  <a:lnTo>
                    <a:pt x="375" y="714"/>
                  </a:lnTo>
                  <a:lnTo>
                    <a:pt x="375" y="714"/>
                  </a:lnTo>
                  <a:lnTo>
                    <a:pt x="373" y="716"/>
                  </a:lnTo>
                  <a:lnTo>
                    <a:pt x="373" y="718"/>
                  </a:lnTo>
                  <a:lnTo>
                    <a:pt x="370" y="721"/>
                  </a:lnTo>
                  <a:lnTo>
                    <a:pt x="370" y="723"/>
                  </a:lnTo>
                  <a:lnTo>
                    <a:pt x="368" y="725"/>
                  </a:lnTo>
                  <a:lnTo>
                    <a:pt x="368" y="725"/>
                  </a:lnTo>
                  <a:lnTo>
                    <a:pt x="366" y="728"/>
                  </a:lnTo>
                  <a:lnTo>
                    <a:pt x="366" y="730"/>
                  </a:lnTo>
                  <a:lnTo>
                    <a:pt x="366" y="733"/>
                  </a:lnTo>
                  <a:lnTo>
                    <a:pt x="363" y="735"/>
                  </a:lnTo>
                  <a:lnTo>
                    <a:pt x="361" y="737"/>
                  </a:lnTo>
                  <a:lnTo>
                    <a:pt x="358" y="740"/>
                  </a:lnTo>
                  <a:lnTo>
                    <a:pt x="356" y="742"/>
                  </a:lnTo>
                  <a:lnTo>
                    <a:pt x="356" y="742"/>
                  </a:lnTo>
                  <a:lnTo>
                    <a:pt x="356" y="744"/>
                  </a:lnTo>
                  <a:lnTo>
                    <a:pt x="354" y="747"/>
                  </a:lnTo>
                  <a:lnTo>
                    <a:pt x="351" y="749"/>
                  </a:lnTo>
                  <a:lnTo>
                    <a:pt x="354" y="749"/>
                  </a:lnTo>
                  <a:lnTo>
                    <a:pt x="356" y="749"/>
                  </a:lnTo>
                  <a:lnTo>
                    <a:pt x="361" y="749"/>
                  </a:lnTo>
                  <a:lnTo>
                    <a:pt x="361" y="749"/>
                  </a:lnTo>
                  <a:lnTo>
                    <a:pt x="361" y="747"/>
                  </a:lnTo>
                  <a:lnTo>
                    <a:pt x="363" y="747"/>
                  </a:lnTo>
                  <a:lnTo>
                    <a:pt x="363" y="747"/>
                  </a:lnTo>
                  <a:lnTo>
                    <a:pt x="366" y="747"/>
                  </a:lnTo>
                  <a:lnTo>
                    <a:pt x="368" y="749"/>
                  </a:lnTo>
                  <a:lnTo>
                    <a:pt x="375" y="754"/>
                  </a:lnTo>
                  <a:lnTo>
                    <a:pt x="380" y="756"/>
                  </a:lnTo>
                  <a:lnTo>
                    <a:pt x="382" y="759"/>
                  </a:lnTo>
                  <a:lnTo>
                    <a:pt x="382" y="761"/>
                  </a:lnTo>
                  <a:lnTo>
                    <a:pt x="384" y="761"/>
                  </a:lnTo>
                  <a:lnTo>
                    <a:pt x="384" y="766"/>
                  </a:lnTo>
                  <a:lnTo>
                    <a:pt x="384" y="766"/>
                  </a:lnTo>
                  <a:lnTo>
                    <a:pt x="384" y="766"/>
                  </a:lnTo>
                  <a:lnTo>
                    <a:pt x="384" y="766"/>
                  </a:lnTo>
                  <a:lnTo>
                    <a:pt x="387" y="766"/>
                  </a:lnTo>
                  <a:lnTo>
                    <a:pt x="387" y="766"/>
                  </a:lnTo>
                  <a:lnTo>
                    <a:pt x="389" y="766"/>
                  </a:lnTo>
                  <a:lnTo>
                    <a:pt x="389" y="763"/>
                  </a:lnTo>
                  <a:lnTo>
                    <a:pt x="389" y="763"/>
                  </a:lnTo>
                  <a:lnTo>
                    <a:pt x="389" y="763"/>
                  </a:lnTo>
                  <a:lnTo>
                    <a:pt x="391" y="763"/>
                  </a:lnTo>
                  <a:lnTo>
                    <a:pt x="391" y="761"/>
                  </a:lnTo>
                  <a:lnTo>
                    <a:pt x="391" y="763"/>
                  </a:lnTo>
                  <a:lnTo>
                    <a:pt x="394" y="763"/>
                  </a:lnTo>
                  <a:lnTo>
                    <a:pt x="396" y="766"/>
                  </a:lnTo>
                  <a:lnTo>
                    <a:pt x="396" y="768"/>
                  </a:lnTo>
                  <a:lnTo>
                    <a:pt x="396" y="768"/>
                  </a:lnTo>
                  <a:lnTo>
                    <a:pt x="399" y="768"/>
                  </a:lnTo>
                  <a:lnTo>
                    <a:pt x="399" y="770"/>
                  </a:lnTo>
                  <a:lnTo>
                    <a:pt x="401" y="770"/>
                  </a:lnTo>
                  <a:lnTo>
                    <a:pt x="401" y="773"/>
                  </a:lnTo>
                  <a:lnTo>
                    <a:pt x="403" y="770"/>
                  </a:lnTo>
                  <a:lnTo>
                    <a:pt x="406" y="773"/>
                  </a:lnTo>
                  <a:lnTo>
                    <a:pt x="410" y="775"/>
                  </a:lnTo>
                  <a:lnTo>
                    <a:pt x="413" y="777"/>
                  </a:lnTo>
                  <a:lnTo>
                    <a:pt x="415" y="777"/>
                  </a:lnTo>
                  <a:lnTo>
                    <a:pt x="417" y="780"/>
                  </a:lnTo>
                  <a:lnTo>
                    <a:pt x="420" y="782"/>
                  </a:lnTo>
                  <a:lnTo>
                    <a:pt x="422" y="785"/>
                  </a:lnTo>
                  <a:lnTo>
                    <a:pt x="424" y="785"/>
                  </a:lnTo>
                  <a:lnTo>
                    <a:pt x="424" y="785"/>
                  </a:lnTo>
                  <a:lnTo>
                    <a:pt x="427" y="787"/>
                  </a:lnTo>
                  <a:lnTo>
                    <a:pt x="427" y="787"/>
                  </a:lnTo>
                  <a:lnTo>
                    <a:pt x="429" y="787"/>
                  </a:lnTo>
                  <a:lnTo>
                    <a:pt x="429" y="789"/>
                  </a:lnTo>
                  <a:lnTo>
                    <a:pt x="429" y="789"/>
                  </a:lnTo>
                  <a:lnTo>
                    <a:pt x="432" y="792"/>
                  </a:lnTo>
                  <a:lnTo>
                    <a:pt x="432" y="794"/>
                  </a:lnTo>
                  <a:lnTo>
                    <a:pt x="434" y="796"/>
                  </a:lnTo>
                  <a:lnTo>
                    <a:pt x="439" y="799"/>
                  </a:lnTo>
                  <a:lnTo>
                    <a:pt x="441" y="799"/>
                  </a:lnTo>
                  <a:lnTo>
                    <a:pt x="441" y="801"/>
                  </a:lnTo>
                  <a:lnTo>
                    <a:pt x="443" y="801"/>
                  </a:lnTo>
                  <a:lnTo>
                    <a:pt x="441" y="803"/>
                  </a:lnTo>
                  <a:lnTo>
                    <a:pt x="441" y="806"/>
                  </a:lnTo>
                  <a:lnTo>
                    <a:pt x="439" y="808"/>
                  </a:lnTo>
                  <a:lnTo>
                    <a:pt x="439" y="808"/>
                  </a:lnTo>
                  <a:lnTo>
                    <a:pt x="436" y="811"/>
                  </a:lnTo>
                  <a:lnTo>
                    <a:pt x="436" y="811"/>
                  </a:lnTo>
                  <a:lnTo>
                    <a:pt x="439" y="818"/>
                  </a:lnTo>
                  <a:lnTo>
                    <a:pt x="439" y="820"/>
                  </a:lnTo>
                  <a:lnTo>
                    <a:pt x="439" y="820"/>
                  </a:lnTo>
                  <a:lnTo>
                    <a:pt x="439" y="822"/>
                  </a:lnTo>
                  <a:lnTo>
                    <a:pt x="441" y="822"/>
                  </a:lnTo>
                  <a:lnTo>
                    <a:pt x="441" y="822"/>
                  </a:lnTo>
                  <a:lnTo>
                    <a:pt x="443" y="822"/>
                  </a:lnTo>
                  <a:lnTo>
                    <a:pt x="448" y="815"/>
                  </a:lnTo>
                  <a:lnTo>
                    <a:pt x="450" y="813"/>
                  </a:lnTo>
                  <a:lnTo>
                    <a:pt x="453" y="811"/>
                  </a:lnTo>
                  <a:lnTo>
                    <a:pt x="453" y="803"/>
                  </a:lnTo>
                  <a:lnTo>
                    <a:pt x="455" y="796"/>
                  </a:lnTo>
                  <a:lnTo>
                    <a:pt x="455" y="794"/>
                  </a:lnTo>
                  <a:lnTo>
                    <a:pt x="457" y="792"/>
                  </a:lnTo>
                  <a:lnTo>
                    <a:pt x="457" y="789"/>
                  </a:lnTo>
                  <a:lnTo>
                    <a:pt x="457" y="787"/>
                  </a:lnTo>
                  <a:lnTo>
                    <a:pt x="455" y="785"/>
                  </a:lnTo>
                  <a:lnTo>
                    <a:pt x="455" y="785"/>
                  </a:lnTo>
                  <a:lnTo>
                    <a:pt x="455" y="780"/>
                  </a:lnTo>
                  <a:lnTo>
                    <a:pt x="457" y="777"/>
                  </a:lnTo>
                  <a:lnTo>
                    <a:pt x="457" y="775"/>
                  </a:lnTo>
                  <a:lnTo>
                    <a:pt x="457" y="773"/>
                  </a:lnTo>
                  <a:lnTo>
                    <a:pt x="457" y="773"/>
                  </a:lnTo>
                  <a:lnTo>
                    <a:pt x="462" y="770"/>
                  </a:lnTo>
                  <a:lnTo>
                    <a:pt x="465" y="768"/>
                  </a:lnTo>
                  <a:lnTo>
                    <a:pt x="465" y="766"/>
                  </a:lnTo>
                  <a:lnTo>
                    <a:pt x="465" y="766"/>
                  </a:lnTo>
                  <a:lnTo>
                    <a:pt x="465" y="763"/>
                  </a:lnTo>
                  <a:lnTo>
                    <a:pt x="467" y="761"/>
                  </a:lnTo>
                  <a:lnTo>
                    <a:pt x="465" y="759"/>
                  </a:lnTo>
                  <a:lnTo>
                    <a:pt x="467" y="759"/>
                  </a:lnTo>
                  <a:lnTo>
                    <a:pt x="467" y="761"/>
                  </a:lnTo>
                  <a:lnTo>
                    <a:pt x="467" y="756"/>
                  </a:lnTo>
                  <a:lnTo>
                    <a:pt x="467" y="754"/>
                  </a:lnTo>
                  <a:lnTo>
                    <a:pt x="467" y="754"/>
                  </a:lnTo>
                  <a:lnTo>
                    <a:pt x="469" y="751"/>
                  </a:lnTo>
                  <a:lnTo>
                    <a:pt x="465" y="749"/>
                  </a:lnTo>
                  <a:lnTo>
                    <a:pt x="465" y="747"/>
                  </a:lnTo>
                  <a:lnTo>
                    <a:pt x="465" y="744"/>
                  </a:lnTo>
                  <a:lnTo>
                    <a:pt x="465" y="744"/>
                  </a:lnTo>
                  <a:lnTo>
                    <a:pt x="467" y="747"/>
                  </a:lnTo>
                  <a:lnTo>
                    <a:pt x="467" y="749"/>
                  </a:lnTo>
                  <a:lnTo>
                    <a:pt x="469" y="749"/>
                  </a:lnTo>
                  <a:lnTo>
                    <a:pt x="472" y="751"/>
                  </a:lnTo>
                  <a:lnTo>
                    <a:pt x="472" y="751"/>
                  </a:lnTo>
                  <a:lnTo>
                    <a:pt x="476" y="749"/>
                  </a:lnTo>
                  <a:lnTo>
                    <a:pt x="479" y="749"/>
                  </a:lnTo>
                  <a:lnTo>
                    <a:pt x="479" y="751"/>
                  </a:lnTo>
                  <a:lnTo>
                    <a:pt x="479" y="754"/>
                  </a:lnTo>
                  <a:lnTo>
                    <a:pt x="479" y="754"/>
                  </a:lnTo>
                  <a:lnTo>
                    <a:pt x="476" y="754"/>
                  </a:lnTo>
                  <a:lnTo>
                    <a:pt x="476" y="754"/>
                  </a:lnTo>
                  <a:lnTo>
                    <a:pt x="479" y="759"/>
                  </a:lnTo>
                  <a:lnTo>
                    <a:pt x="476" y="761"/>
                  </a:lnTo>
                  <a:lnTo>
                    <a:pt x="474" y="763"/>
                  </a:lnTo>
                  <a:lnTo>
                    <a:pt x="474" y="766"/>
                  </a:lnTo>
                  <a:lnTo>
                    <a:pt x="474" y="766"/>
                  </a:lnTo>
                  <a:lnTo>
                    <a:pt x="474" y="768"/>
                  </a:lnTo>
                  <a:lnTo>
                    <a:pt x="472" y="766"/>
                  </a:lnTo>
                  <a:lnTo>
                    <a:pt x="472" y="768"/>
                  </a:lnTo>
                  <a:lnTo>
                    <a:pt x="472" y="770"/>
                  </a:lnTo>
                  <a:lnTo>
                    <a:pt x="472" y="773"/>
                  </a:lnTo>
                  <a:lnTo>
                    <a:pt x="469" y="775"/>
                  </a:lnTo>
                  <a:lnTo>
                    <a:pt x="467" y="777"/>
                  </a:lnTo>
                  <a:lnTo>
                    <a:pt x="465" y="782"/>
                  </a:lnTo>
                  <a:lnTo>
                    <a:pt x="462" y="782"/>
                  </a:lnTo>
                  <a:lnTo>
                    <a:pt x="462" y="782"/>
                  </a:lnTo>
                  <a:lnTo>
                    <a:pt x="460" y="782"/>
                  </a:lnTo>
                  <a:lnTo>
                    <a:pt x="460" y="782"/>
                  </a:lnTo>
                  <a:lnTo>
                    <a:pt x="457" y="782"/>
                  </a:lnTo>
                  <a:lnTo>
                    <a:pt x="457" y="785"/>
                  </a:lnTo>
                  <a:lnTo>
                    <a:pt x="457" y="785"/>
                  </a:lnTo>
                  <a:lnTo>
                    <a:pt x="457" y="787"/>
                  </a:lnTo>
                  <a:lnTo>
                    <a:pt x="460" y="789"/>
                  </a:lnTo>
                  <a:lnTo>
                    <a:pt x="460" y="787"/>
                  </a:lnTo>
                  <a:lnTo>
                    <a:pt x="462" y="785"/>
                  </a:lnTo>
                  <a:lnTo>
                    <a:pt x="467" y="780"/>
                  </a:lnTo>
                  <a:lnTo>
                    <a:pt x="472" y="775"/>
                  </a:lnTo>
                  <a:lnTo>
                    <a:pt x="476" y="770"/>
                  </a:lnTo>
                  <a:lnTo>
                    <a:pt x="479" y="766"/>
                  </a:lnTo>
                  <a:lnTo>
                    <a:pt x="479" y="763"/>
                  </a:lnTo>
                  <a:lnTo>
                    <a:pt x="483" y="754"/>
                  </a:lnTo>
                  <a:lnTo>
                    <a:pt x="486" y="740"/>
                  </a:lnTo>
                  <a:lnTo>
                    <a:pt x="490" y="730"/>
                  </a:lnTo>
                  <a:lnTo>
                    <a:pt x="493" y="725"/>
                  </a:lnTo>
                  <a:lnTo>
                    <a:pt x="498" y="721"/>
                  </a:lnTo>
                  <a:lnTo>
                    <a:pt x="500" y="716"/>
                  </a:lnTo>
                  <a:lnTo>
                    <a:pt x="505" y="714"/>
                  </a:lnTo>
                  <a:lnTo>
                    <a:pt x="505" y="711"/>
                  </a:lnTo>
                  <a:lnTo>
                    <a:pt x="505" y="709"/>
                  </a:lnTo>
                  <a:lnTo>
                    <a:pt x="507" y="707"/>
                  </a:lnTo>
                  <a:lnTo>
                    <a:pt x="507" y="704"/>
                  </a:lnTo>
                  <a:lnTo>
                    <a:pt x="505" y="697"/>
                  </a:lnTo>
                  <a:lnTo>
                    <a:pt x="505" y="692"/>
                  </a:lnTo>
                  <a:lnTo>
                    <a:pt x="505" y="688"/>
                  </a:lnTo>
                  <a:lnTo>
                    <a:pt x="505" y="685"/>
                  </a:lnTo>
                  <a:lnTo>
                    <a:pt x="505" y="685"/>
                  </a:lnTo>
                  <a:lnTo>
                    <a:pt x="505" y="683"/>
                  </a:lnTo>
                  <a:lnTo>
                    <a:pt x="505" y="683"/>
                  </a:lnTo>
                  <a:lnTo>
                    <a:pt x="502" y="678"/>
                  </a:lnTo>
                  <a:lnTo>
                    <a:pt x="500" y="673"/>
                  </a:lnTo>
                  <a:lnTo>
                    <a:pt x="500" y="673"/>
                  </a:lnTo>
                  <a:lnTo>
                    <a:pt x="500" y="671"/>
                  </a:lnTo>
                  <a:lnTo>
                    <a:pt x="500" y="669"/>
                  </a:lnTo>
                  <a:lnTo>
                    <a:pt x="500" y="666"/>
                  </a:lnTo>
                  <a:lnTo>
                    <a:pt x="498" y="666"/>
                  </a:lnTo>
                  <a:lnTo>
                    <a:pt x="500" y="664"/>
                  </a:lnTo>
                  <a:lnTo>
                    <a:pt x="500" y="664"/>
                  </a:lnTo>
                  <a:lnTo>
                    <a:pt x="500" y="664"/>
                  </a:lnTo>
                  <a:lnTo>
                    <a:pt x="500" y="659"/>
                  </a:lnTo>
                  <a:lnTo>
                    <a:pt x="500" y="657"/>
                  </a:lnTo>
                  <a:lnTo>
                    <a:pt x="500" y="657"/>
                  </a:lnTo>
                  <a:lnTo>
                    <a:pt x="500" y="657"/>
                  </a:lnTo>
                  <a:lnTo>
                    <a:pt x="502" y="657"/>
                  </a:lnTo>
                  <a:lnTo>
                    <a:pt x="502" y="652"/>
                  </a:lnTo>
                  <a:lnTo>
                    <a:pt x="502" y="650"/>
                  </a:lnTo>
                  <a:lnTo>
                    <a:pt x="500" y="650"/>
                  </a:lnTo>
                  <a:lnTo>
                    <a:pt x="498" y="650"/>
                  </a:lnTo>
                  <a:lnTo>
                    <a:pt x="498" y="647"/>
                  </a:lnTo>
                  <a:lnTo>
                    <a:pt x="498" y="647"/>
                  </a:lnTo>
                  <a:lnTo>
                    <a:pt x="500" y="647"/>
                  </a:lnTo>
                  <a:lnTo>
                    <a:pt x="502" y="647"/>
                  </a:lnTo>
                  <a:lnTo>
                    <a:pt x="502" y="647"/>
                  </a:lnTo>
                  <a:lnTo>
                    <a:pt x="502" y="645"/>
                  </a:lnTo>
                  <a:lnTo>
                    <a:pt x="502" y="645"/>
                  </a:lnTo>
                  <a:lnTo>
                    <a:pt x="505" y="645"/>
                  </a:lnTo>
                  <a:lnTo>
                    <a:pt x="507" y="645"/>
                  </a:lnTo>
                  <a:lnTo>
                    <a:pt x="505" y="647"/>
                  </a:lnTo>
                  <a:lnTo>
                    <a:pt x="507" y="647"/>
                  </a:lnTo>
                  <a:lnTo>
                    <a:pt x="509" y="643"/>
                  </a:lnTo>
                  <a:lnTo>
                    <a:pt x="512" y="643"/>
                  </a:lnTo>
                  <a:lnTo>
                    <a:pt x="512" y="640"/>
                  </a:lnTo>
                  <a:lnTo>
                    <a:pt x="509" y="640"/>
                  </a:lnTo>
                  <a:lnTo>
                    <a:pt x="509" y="640"/>
                  </a:lnTo>
                  <a:lnTo>
                    <a:pt x="509" y="638"/>
                  </a:lnTo>
                  <a:lnTo>
                    <a:pt x="512" y="638"/>
                  </a:lnTo>
                  <a:lnTo>
                    <a:pt x="512" y="638"/>
                  </a:lnTo>
                  <a:lnTo>
                    <a:pt x="516" y="633"/>
                  </a:lnTo>
                  <a:lnTo>
                    <a:pt x="523" y="628"/>
                  </a:lnTo>
                  <a:lnTo>
                    <a:pt x="528" y="621"/>
                  </a:lnTo>
                  <a:lnTo>
                    <a:pt x="533" y="619"/>
                  </a:lnTo>
                  <a:lnTo>
                    <a:pt x="542" y="612"/>
                  </a:lnTo>
                  <a:lnTo>
                    <a:pt x="545" y="612"/>
                  </a:lnTo>
                  <a:lnTo>
                    <a:pt x="549" y="612"/>
                  </a:lnTo>
                  <a:lnTo>
                    <a:pt x="552" y="614"/>
                  </a:lnTo>
                  <a:lnTo>
                    <a:pt x="552" y="614"/>
                  </a:lnTo>
                  <a:lnTo>
                    <a:pt x="552" y="612"/>
                  </a:lnTo>
                  <a:lnTo>
                    <a:pt x="552" y="610"/>
                  </a:lnTo>
                  <a:lnTo>
                    <a:pt x="554" y="610"/>
                  </a:lnTo>
                  <a:lnTo>
                    <a:pt x="556" y="610"/>
                  </a:lnTo>
                  <a:lnTo>
                    <a:pt x="561" y="605"/>
                  </a:lnTo>
                  <a:lnTo>
                    <a:pt x="566" y="602"/>
                  </a:lnTo>
                  <a:lnTo>
                    <a:pt x="566" y="602"/>
                  </a:lnTo>
                  <a:lnTo>
                    <a:pt x="568" y="602"/>
                  </a:lnTo>
                  <a:lnTo>
                    <a:pt x="566" y="600"/>
                  </a:lnTo>
                  <a:lnTo>
                    <a:pt x="566" y="600"/>
                  </a:lnTo>
                  <a:lnTo>
                    <a:pt x="566" y="598"/>
                  </a:lnTo>
                  <a:lnTo>
                    <a:pt x="566" y="598"/>
                  </a:lnTo>
                  <a:lnTo>
                    <a:pt x="571" y="595"/>
                  </a:lnTo>
                  <a:lnTo>
                    <a:pt x="575" y="595"/>
                  </a:lnTo>
                  <a:lnTo>
                    <a:pt x="575" y="595"/>
                  </a:lnTo>
                  <a:lnTo>
                    <a:pt x="580" y="595"/>
                  </a:lnTo>
                  <a:lnTo>
                    <a:pt x="582" y="595"/>
                  </a:lnTo>
                  <a:lnTo>
                    <a:pt x="582" y="595"/>
                  </a:lnTo>
                  <a:lnTo>
                    <a:pt x="580" y="598"/>
                  </a:lnTo>
                  <a:lnTo>
                    <a:pt x="580" y="598"/>
                  </a:lnTo>
                  <a:lnTo>
                    <a:pt x="578" y="598"/>
                  </a:lnTo>
                  <a:lnTo>
                    <a:pt x="580" y="598"/>
                  </a:lnTo>
                  <a:lnTo>
                    <a:pt x="582" y="598"/>
                  </a:lnTo>
                  <a:lnTo>
                    <a:pt x="585" y="598"/>
                  </a:lnTo>
                  <a:lnTo>
                    <a:pt x="589" y="595"/>
                  </a:lnTo>
                  <a:lnTo>
                    <a:pt x="592" y="595"/>
                  </a:lnTo>
                  <a:lnTo>
                    <a:pt x="592" y="595"/>
                  </a:lnTo>
                  <a:lnTo>
                    <a:pt x="592" y="593"/>
                  </a:lnTo>
                  <a:lnTo>
                    <a:pt x="592" y="593"/>
                  </a:lnTo>
                  <a:lnTo>
                    <a:pt x="589" y="593"/>
                  </a:lnTo>
                  <a:lnTo>
                    <a:pt x="592" y="591"/>
                  </a:lnTo>
                  <a:lnTo>
                    <a:pt x="592" y="591"/>
                  </a:lnTo>
                  <a:lnTo>
                    <a:pt x="594" y="591"/>
                  </a:lnTo>
                  <a:lnTo>
                    <a:pt x="594" y="591"/>
                  </a:lnTo>
                  <a:lnTo>
                    <a:pt x="594" y="593"/>
                  </a:lnTo>
                  <a:lnTo>
                    <a:pt x="594" y="595"/>
                  </a:lnTo>
                  <a:lnTo>
                    <a:pt x="594" y="595"/>
                  </a:lnTo>
                  <a:lnTo>
                    <a:pt x="597" y="595"/>
                  </a:lnTo>
                  <a:lnTo>
                    <a:pt x="599" y="595"/>
                  </a:lnTo>
                  <a:lnTo>
                    <a:pt x="604" y="595"/>
                  </a:lnTo>
                  <a:lnTo>
                    <a:pt x="611" y="595"/>
                  </a:lnTo>
                  <a:lnTo>
                    <a:pt x="613" y="595"/>
                  </a:lnTo>
                  <a:lnTo>
                    <a:pt x="613" y="593"/>
                  </a:lnTo>
                  <a:lnTo>
                    <a:pt x="615" y="591"/>
                  </a:lnTo>
                  <a:lnTo>
                    <a:pt x="613" y="591"/>
                  </a:lnTo>
                  <a:lnTo>
                    <a:pt x="613" y="588"/>
                  </a:lnTo>
                  <a:lnTo>
                    <a:pt x="613" y="588"/>
                  </a:lnTo>
                  <a:lnTo>
                    <a:pt x="618" y="581"/>
                  </a:lnTo>
                  <a:lnTo>
                    <a:pt x="620" y="581"/>
                  </a:lnTo>
                  <a:lnTo>
                    <a:pt x="627" y="576"/>
                  </a:lnTo>
                  <a:lnTo>
                    <a:pt x="630" y="574"/>
                  </a:lnTo>
                  <a:lnTo>
                    <a:pt x="630" y="574"/>
                  </a:lnTo>
                  <a:lnTo>
                    <a:pt x="630" y="567"/>
                  </a:lnTo>
                  <a:lnTo>
                    <a:pt x="630" y="567"/>
                  </a:lnTo>
                  <a:lnTo>
                    <a:pt x="627" y="565"/>
                  </a:lnTo>
                  <a:lnTo>
                    <a:pt x="630" y="560"/>
                  </a:lnTo>
                  <a:lnTo>
                    <a:pt x="632" y="555"/>
                  </a:lnTo>
                  <a:lnTo>
                    <a:pt x="632" y="553"/>
                  </a:lnTo>
                  <a:lnTo>
                    <a:pt x="632" y="550"/>
                  </a:lnTo>
                  <a:lnTo>
                    <a:pt x="634" y="550"/>
                  </a:lnTo>
                  <a:lnTo>
                    <a:pt x="639" y="546"/>
                  </a:lnTo>
                  <a:lnTo>
                    <a:pt x="639" y="541"/>
                  </a:lnTo>
                  <a:lnTo>
                    <a:pt x="639" y="539"/>
                  </a:lnTo>
                  <a:lnTo>
                    <a:pt x="641" y="536"/>
                  </a:lnTo>
                  <a:lnTo>
                    <a:pt x="641" y="532"/>
                  </a:lnTo>
                  <a:lnTo>
                    <a:pt x="644" y="527"/>
                  </a:lnTo>
                  <a:lnTo>
                    <a:pt x="648" y="524"/>
                  </a:lnTo>
                  <a:lnTo>
                    <a:pt x="648" y="524"/>
                  </a:lnTo>
                  <a:lnTo>
                    <a:pt x="648" y="522"/>
                  </a:lnTo>
                  <a:lnTo>
                    <a:pt x="648" y="517"/>
                  </a:lnTo>
                  <a:lnTo>
                    <a:pt x="648" y="508"/>
                  </a:lnTo>
                  <a:lnTo>
                    <a:pt x="648" y="503"/>
                  </a:lnTo>
                  <a:lnTo>
                    <a:pt x="648" y="496"/>
                  </a:lnTo>
                  <a:lnTo>
                    <a:pt x="651" y="491"/>
                  </a:lnTo>
                  <a:lnTo>
                    <a:pt x="653" y="489"/>
                  </a:lnTo>
                  <a:lnTo>
                    <a:pt x="655" y="487"/>
                  </a:lnTo>
                  <a:lnTo>
                    <a:pt x="658" y="484"/>
                  </a:lnTo>
                  <a:lnTo>
                    <a:pt x="655" y="484"/>
                  </a:lnTo>
                  <a:lnTo>
                    <a:pt x="655" y="477"/>
                  </a:lnTo>
                  <a:lnTo>
                    <a:pt x="655" y="472"/>
                  </a:lnTo>
                  <a:lnTo>
                    <a:pt x="655" y="470"/>
                  </a:lnTo>
                  <a:lnTo>
                    <a:pt x="655" y="465"/>
                  </a:lnTo>
                  <a:lnTo>
                    <a:pt x="658" y="458"/>
                  </a:lnTo>
                  <a:lnTo>
                    <a:pt x="658" y="454"/>
                  </a:lnTo>
                  <a:lnTo>
                    <a:pt x="660" y="446"/>
                  </a:lnTo>
                  <a:lnTo>
                    <a:pt x="660" y="444"/>
                  </a:lnTo>
                  <a:lnTo>
                    <a:pt x="658" y="439"/>
                  </a:lnTo>
                  <a:lnTo>
                    <a:pt x="655" y="432"/>
                  </a:lnTo>
                  <a:lnTo>
                    <a:pt x="655" y="425"/>
                  </a:lnTo>
                  <a:lnTo>
                    <a:pt x="655" y="420"/>
                  </a:lnTo>
                  <a:lnTo>
                    <a:pt x="655" y="406"/>
                  </a:lnTo>
                  <a:lnTo>
                    <a:pt x="655" y="406"/>
                  </a:lnTo>
                  <a:lnTo>
                    <a:pt x="655" y="409"/>
                  </a:lnTo>
                  <a:lnTo>
                    <a:pt x="653" y="406"/>
                  </a:lnTo>
                  <a:lnTo>
                    <a:pt x="653" y="406"/>
                  </a:lnTo>
                  <a:lnTo>
                    <a:pt x="653" y="402"/>
                  </a:lnTo>
                  <a:lnTo>
                    <a:pt x="655" y="399"/>
                  </a:lnTo>
                  <a:lnTo>
                    <a:pt x="655" y="399"/>
                  </a:lnTo>
                  <a:lnTo>
                    <a:pt x="653" y="397"/>
                  </a:lnTo>
                  <a:lnTo>
                    <a:pt x="653" y="397"/>
                  </a:lnTo>
                  <a:lnTo>
                    <a:pt x="653" y="397"/>
                  </a:lnTo>
                  <a:lnTo>
                    <a:pt x="653" y="394"/>
                  </a:lnTo>
                  <a:lnTo>
                    <a:pt x="653" y="392"/>
                  </a:lnTo>
                  <a:lnTo>
                    <a:pt x="655" y="392"/>
                  </a:lnTo>
                  <a:lnTo>
                    <a:pt x="658" y="387"/>
                  </a:lnTo>
                  <a:lnTo>
                    <a:pt x="658" y="385"/>
                  </a:lnTo>
                  <a:lnTo>
                    <a:pt x="658" y="383"/>
                  </a:lnTo>
                  <a:lnTo>
                    <a:pt x="658" y="383"/>
                  </a:lnTo>
                  <a:lnTo>
                    <a:pt x="655" y="380"/>
                  </a:lnTo>
                  <a:lnTo>
                    <a:pt x="658" y="380"/>
                  </a:lnTo>
                  <a:lnTo>
                    <a:pt x="658" y="380"/>
                  </a:lnTo>
                  <a:lnTo>
                    <a:pt x="658" y="378"/>
                  </a:lnTo>
                  <a:lnTo>
                    <a:pt x="660" y="378"/>
                  </a:lnTo>
                  <a:lnTo>
                    <a:pt x="663" y="380"/>
                  </a:lnTo>
                  <a:lnTo>
                    <a:pt x="663" y="385"/>
                  </a:lnTo>
                  <a:lnTo>
                    <a:pt x="665" y="385"/>
                  </a:lnTo>
                  <a:lnTo>
                    <a:pt x="665" y="385"/>
                  </a:lnTo>
                  <a:lnTo>
                    <a:pt x="667" y="383"/>
                  </a:lnTo>
                  <a:lnTo>
                    <a:pt x="672" y="375"/>
                  </a:lnTo>
                  <a:lnTo>
                    <a:pt x="672" y="373"/>
                  </a:lnTo>
                  <a:lnTo>
                    <a:pt x="677" y="366"/>
                  </a:lnTo>
                  <a:lnTo>
                    <a:pt x="681" y="357"/>
                  </a:lnTo>
                  <a:lnTo>
                    <a:pt x="681" y="354"/>
                  </a:lnTo>
                  <a:lnTo>
                    <a:pt x="681" y="352"/>
                  </a:lnTo>
                  <a:lnTo>
                    <a:pt x="681" y="347"/>
                  </a:lnTo>
                  <a:lnTo>
                    <a:pt x="684" y="347"/>
                  </a:lnTo>
                  <a:lnTo>
                    <a:pt x="684" y="349"/>
                  </a:lnTo>
                  <a:lnTo>
                    <a:pt x="684" y="349"/>
                  </a:lnTo>
                  <a:lnTo>
                    <a:pt x="681" y="349"/>
                  </a:lnTo>
                  <a:lnTo>
                    <a:pt x="681" y="352"/>
                  </a:lnTo>
                  <a:lnTo>
                    <a:pt x="684" y="352"/>
                  </a:lnTo>
                  <a:lnTo>
                    <a:pt x="686" y="347"/>
                  </a:lnTo>
                  <a:lnTo>
                    <a:pt x="686" y="345"/>
                  </a:lnTo>
                  <a:lnTo>
                    <a:pt x="686" y="345"/>
                  </a:lnTo>
                  <a:lnTo>
                    <a:pt x="686" y="345"/>
                  </a:lnTo>
                  <a:lnTo>
                    <a:pt x="691" y="340"/>
                  </a:lnTo>
                  <a:lnTo>
                    <a:pt x="693" y="335"/>
                  </a:lnTo>
                  <a:lnTo>
                    <a:pt x="696" y="335"/>
                  </a:lnTo>
                  <a:lnTo>
                    <a:pt x="700" y="333"/>
                  </a:lnTo>
                  <a:lnTo>
                    <a:pt x="700" y="333"/>
                  </a:lnTo>
                  <a:lnTo>
                    <a:pt x="703" y="326"/>
                  </a:lnTo>
                  <a:lnTo>
                    <a:pt x="705" y="323"/>
                  </a:lnTo>
                  <a:lnTo>
                    <a:pt x="707" y="319"/>
                  </a:lnTo>
                  <a:lnTo>
                    <a:pt x="710" y="316"/>
                  </a:lnTo>
                  <a:lnTo>
                    <a:pt x="707" y="316"/>
                  </a:lnTo>
                  <a:lnTo>
                    <a:pt x="710" y="316"/>
                  </a:lnTo>
                  <a:lnTo>
                    <a:pt x="710" y="316"/>
                  </a:lnTo>
                  <a:lnTo>
                    <a:pt x="714" y="312"/>
                  </a:lnTo>
                  <a:lnTo>
                    <a:pt x="719" y="305"/>
                  </a:lnTo>
                  <a:lnTo>
                    <a:pt x="721" y="300"/>
                  </a:lnTo>
                  <a:lnTo>
                    <a:pt x="724" y="288"/>
                  </a:lnTo>
                  <a:lnTo>
                    <a:pt x="726" y="281"/>
                  </a:lnTo>
                  <a:lnTo>
                    <a:pt x="726" y="279"/>
                  </a:lnTo>
                  <a:lnTo>
                    <a:pt x="726" y="276"/>
                  </a:lnTo>
                  <a:lnTo>
                    <a:pt x="726" y="274"/>
                  </a:lnTo>
                  <a:lnTo>
                    <a:pt x="726" y="274"/>
                  </a:lnTo>
                  <a:lnTo>
                    <a:pt x="726" y="271"/>
                  </a:lnTo>
                  <a:lnTo>
                    <a:pt x="726" y="271"/>
                  </a:lnTo>
                  <a:lnTo>
                    <a:pt x="726" y="269"/>
                  </a:lnTo>
                  <a:lnTo>
                    <a:pt x="726" y="26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2" name="Freeform 378"/>
            <p:cNvSpPr>
              <a:spLocks/>
            </p:cNvSpPr>
            <p:nvPr userDrawn="1"/>
          </p:nvSpPr>
          <p:spPr bwMode="auto">
            <a:xfrm>
              <a:off x="4021" y="3184"/>
              <a:ext cx="169" cy="191"/>
            </a:xfrm>
            <a:custGeom>
              <a:avLst/>
              <a:gdLst>
                <a:gd name="T0" fmla="*/ 165 w 169"/>
                <a:gd name="T1" fmla="*/ 89 h 191"/>
                <a:gd name="T2" fmla="*/ 165 w 169"/>
                <a:gd name="T3" fmla="*/ 85 h 191"/>
                <a:gd name="T4" fmla="*/ 160 w 169"/>
                <a:gd name="T5" fmla="*/ 82 h 191"/>
                <a:gd name="T6" fmla="*/ 146 w 169"/>
                <a:gd name="T7" fmla="*/ 78 h 191"/>
                <a:gd name="T8" fmla="*/ 141 w 169"/>
                <a:gd name="T9" fmla="*/ 71 h 191"/>
                <a:gd name="T10" fmla="*/ 141 w 169"/>
                <a:gd name="T11" fmla="*/ 61 h 191"/>
                <a:gd name="T12" fmla="*/ 141 w 169"/>
                <a:gd name="T13" fmla="*/ 56 h 191"/>
                <a:gd name="T14" fmla="*/ 134 w 169"/>
                <a:gd name="T15" fmla="*/ 54 h 191"/>
                <a:gd name="T16" fmla="*/ 129 w 169"/>
                <a:gd name="T17" fmla="*/ 47 h 191"/>
                <a:gd name="T18" fmla="*/ 115 w 169"/>
                <a:gd name="T19" fmla="*/ 37 h 191"/>
                <a:gd name="T20" fmla="*/ 110 w 169"/>
                <a:gd name="T21" fmla="*/ 26 h 191"/>
                <a:gd name="T22" fmla="*/ 106 w 169"/>
                <a:gd name="T23" fmla="*/ 19 h 191"/>
                <a:gd name="T24" fmla="*/ 101 w 169"/>
                <a:gd name="T25" fmla="*/ 7 h 191"/>
                <a:gd name="T26" fmla="*/ 96 w 169"/>
                <a:gd name="T27" fmla="*/ 2 h 191"/>
                <a:gd name="T28" fmla="*/ 92 w 169"/>
                <a:gd name="T29" fmla="*/ 0 h 191"/>
                <a:gd name="T30" fmla="*/ 82 w 169"/>
                <a:gd name="T31" fmla="*/ 4 h 191"/>
                <a:gd name="T32" fmla="*/ 75 w 169"/>
                <a:gd name="T33" fmla="*/ 7 h 191"/>
                <a:gd name="T34" fmla="*/ 68 w 169"/>
                <a:gd name="T35" fmla="*/ 14 h 191"/>
                <a:gd name="T36" fmla="*/ 66 w 169"/>
                <a:gd name="T37" fmla="*/ 9 h 191"/>
                <a:gd name="T38" fmla="*/ 59 w 169"/>
                <a:gd name="T39" fmla="*/ 4 h 191"/>
                <a:gd name="T40" fmla="*/ 30 w 169"/>
                <a:gd name="T41" fmla="*/ 9 h 191"/>
                <a:gd name="T42" fmla="*/ 18 w 169"/>
                <a:gd name="T43" fmla="*/ 23 h 191"/>
                <a:gd name="T44" fmla="*/ 18 w 169"/>
                <a:gd name="T45" fmla="*/ 59 h 191"/>
                <a:gd name="T46" fmla="*/ 18 w 169"/>
                <a:gd name="T47" fmla="*/ 87 h 191"/>
                <a:gd name="T48" fmla="*/ 0 w 169"/>
                <a:gd name="T49" fmla="*/ 99 h 191"/>
                <a:gd name="T50" fmla="*/ 0 w 169"/>
                <a:gd name="T51" fmla="*/ 123 h 191"/>
                <a:gd name="T52" fmla="*/ 0 w 169"/>
                <a:gd name="T53" fmla="*/ 146 h 191"/>
                <a:gd name="T54" fmla="*/ 7 w 169"/>
                <a:gd name="T55" fmla="*/ 156 h 191"/>
                <a:gd name="T56" fmla="*/ 14 w 169"/>
                <a:gd name="T57" fmla="*/ 170 h 191"/>
                <a:gd name="T58" fmla="*/ 14 w 169"/>
                <a:gd name="T59" fmla="*/ 177 h 191"/>
                <a:gd name="T60" fmla="*/ 9 w 169"/>
                <a:gd name="T61" fmla="*/ 184 h 191"/>
                <a:gd name="T62" fmla="*/ 14 w 169"/>
                <a:gd name="T63" fmla="*/ 189 h 191"/>
                <a:gd name="T64" fmla="*/ 26 w 169"/>
                <a:gd name="T65" fmla="*/ 191 h 191"/>
                <a:gd name="T66" fmla="*/ 30 w 169"/>
                <a:gd name="T67" fmla="*/ 189 h 191"/>
                <a:gd name="T68" fmla="*/ 37 w 169"/>
                <a:gd name="T69" fmla="*/ 184 h 191"/>
                <a:gd name="T70" fmla="*/ 47 w 169"/>
                <a:gd name="T71" fmla="*/ 175 h 191"/>
                <a:gd name="T72" fmla="*/ 49 w 169"/>
                <a:gd name="T73" fmla="*/ 165 h 191"/>
                <a:gd name="T74" fmla="*/ 54 w 169"/>
                <a:gd name="T75" fmla="*/ 158 h 191"/>
                <a:gd name="T76" fmla="*/ 63 w 169"/>
                <a:gd name="T77" fmla="*/ 158 h 191"/>
                <a:gd name="T78" fmla="*/ 70 w 169"/>
                <a:gd name="T79" fmla="*/ 165 h 191"/>
                <a:gd name="T80" fmla="*/ 77 w 169"/>
                <a:gd name="T81" fmla="*/ 168 h 191"/>
                <a:gd name="T82" fmla="*/ 89 w 169"/>
                <a:gd name="T83" fmla="*/ 168 h 191"/>
                <a:gd name="T84" fmla="*/ 96 w 169"/>
                <a:gd name="T85" fmla="*/ 168 h 191"/>
                <a:gd name="T86" fmla="*/ 101 w 169"/>
                <a:gd name="T87" fmla="*/ 158 h 191"/>
                <a:gd name="T88" fmla="*/ 106 w 169"/>
                <a:gd name="T89" fmla="*/ 146 h 191"/>
                <a:gd name="T90" fmla="*/ 115 w 169"/>
                <a:gd name="T91" fmla="*/ 144 h 191"/>
                <a:gd name="T92" fmla="*/ 122 w 169"/>
                <a:gd name="T93" fmla="*/ 134 h 191"/>
                <a:gd name="T94" fmla="*/ 129 w 169"/>
                <a:gd name="T95" fmla="*/ 120 h 191"/>
                <a:gd name="T96" fmla="*/ 134 w 169"/>
                <a:gd name="T97" fmla="*/ 118 h 191"/>
                <a:gd name="T98" fmla="*/ 139 w 169"/>
                <a:gd name="T99" fmla="*/ 113 h 191"/>
                <a:gd name="T100" fmla="*/ 141 w 169"/>
                <a:gd name="T101" fmla="*/ 111 h 191"/>
                <a:gd name="T102" fmla="*/ 146 w 169"/>
                <a:gd name="T103" fmla="*/ 106 h 191"/>
                <a:gd name="T104" fmla="*/ 157 w 169"/>
                <a:gd name="T105" fmla="*/ 99 h 191"/>
                <a:gd name="T106" fmla="*/ 167 w 169"/>
                <a:gd name="T107" fmla="*/ 9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9" h="191">
                  <a:moveTo>
                    <a:pt x="169" y="92"/>
                  </a:moveTo>
                  <a:lnTo>
                    <a:pt x="169" y="89"/>
                  </a:lnTo>
                  <a:lnTo>
                    <a:pt x="167" y="89"/>
                  </a:lnTo>
                  <a:lnTo>
                    <a:pt x="165" y="89"/>
                  </a:lnTo>
                  <a:lnTo>
                    <a:pt x="165" y="89"/>
                  </a:lnTo>
                  <a:lnTo>
                    <a:pt x="165" y="87"/>
                  </a:lnTo>
                  <a:lnTo>
                    <a:pt x="165" y="87"/>
                  </a:lnTo>
                  <a:lnTo>
                    <a:pt x="165" y="85"/>
                  </a:lnTo>
                  <a:lnTo>
                    <a:pt x="165" y="85"/>
                  </a:lnTo>
                  <a:lnTo>
                    <a:pt x="165" y="82"/>
                  </a:lnTo>
                  <a:lnTo>
                    <a:pt x="162" y="82"/>
                  </a:lnTo>
                  <a:lnTo>
                    <a:pt x="160" y="82"/>
                  </a:lnTo>
                  <a:lnTo>
                    <a:pt x="155" y="80"/>
                  </a:lnTo>
                  <a:lnTo>
                    <a:pt x="148" y="80"/>
                  </a:lnTo>
                  <a:lnTo>
                    <a:pt x="146" y="80"/>
                  </a:lnTo>
                  <a:lnTo>
                    <a:pt x="146" y="78"/>
                  </a:lnTo>
                  <a:lnTo>
                    <a:pt x="146" y="78"/>
                  </a:lnTo>
                  <a:lnTo>
                    <a:pt x="143" y="75"/>
                  </a:lnTo>
                  <a:lnTo>
                    <a:pt x="143" y="73"/>
                  </a:lnTo>
                  <a:lnTo>
                    <a:pt x="141" y="71"/>
                  </a:lnTo>
                  <a:lnTo>
                    <a:pt x="141" y="68"/>
                  </a:lnTo>
                  <a:lnTo>
                    <a:pt x="141" y="66"/>
                  </a:lnTo>
                  <a:lnTo>
                    <a:pt x="141" y="63"/>
                  </a:lnTo>
                  <a:lnTo>
                    <a:pt x="141" y="61"/>
                  </a:lnTo>
                  <a:lnTo>
                    <a:pt x="141" y="61"/>
                  </a:lnTo>
                  <a:lnTo>
                    <a:pt x="141" y="59"/>
                  </a:lnTo>
                  <a:lnTo>
                    <a:pt x="141" y="56"/>
                  </a:lnTo>
                  <a:lnTo>
                    <a:pt x="141" y="56"/>
                  </a:lnTo>
                  <a:lnTo>
                    <a:pt x="139" y="56"/>
                  </a:lnTo>
                  <a:lnTo>
                    <a:pt x="136" y="56"/>
                  </a:lnTo>
                  <a:lnTo>
                    <a:pt x="134" y="56"/>
                  </a:lnTo>
                  <a:lnTo>
                    <a:pt x="134" y="54"/>
                  </a:lnTo>
                  <a:lnTo>
                    <a:pt x="134" y="52"/>
                  </a:lnTo>
                  <a:lnTo>
                    <a:pt x="132" y="49"/>
                  </a:lnTo>
                  <a:lnTo>
                    <a:pt x="132" y="47"/>
                  </a:lnTo>
                  <a:lnTo>
                    <a:pt x="129" y="47"/>
                  </a:lnTo>
                  <a:lnTo>
                    <a:pt x="127" y="47"/>
                  </a:lnTo>
                  <a:lnTo>
                    <a:pt x="122" y="45"/>
                  </a:lnTo>
                  <a:lnTo>
                    <a:pt x="120" y="40"/>
                  </a:lnTo>
                  <a:lnTo>
                    <a:pt x="115" y="37"/>
                  </a:lnTo>
                  <a:lnTo>
                    <a:pt x="113" y="35"/>
                  </a:lnTo>
                  <a:lnTo>
                    <a:pt x="113" y="33"/>
                  </a:lnTo>
                  <a:lnTo>
                    <a:pt x="110" y="26"/>
                  </a:lnTo>
                  <a:lnTo>
                    <a:pt x="110" y="26"/>
                  </a:lnTo>
                  <a:lnTo>
                    <a:pt x="110" y="23"/>
                  </a:lnTo>
                  <a:lnTo>
                    <a:pt x="108" y="21"/>
                  </a:lnTo>
                  <a:lnTo>
                    <a:pt x="108" y="19"/>
                  </a:lnTo>
                  <a:lnTo>
                    <a:pt x="106" y="19"/>
                  </a:lnTo>
                  <a:lnTo>
                    <a:pt x="103" y="14"/>
                  </a:lnTo>
                  <a:lnTo>
                    <a:pt x="101" y="11"/>
                  </a:lnTo>
                  <a:lnTo>
                    <a:pt x="101" y="9"/>
                  </a:lnTo>
                  <a:lnTo>
                    <a:pt x="101" y="7"/>
                  </a:lnTo>
                  <a:lnTo>
                    <a:pt x="99" y="7"/>
                  </a:lnTo>
                  <a:lnTo>
                    <a:pt x="99" y="4"/>
                  </a:lnTo>
                  <a:lnTo>
                    <a:pt x="96" y="2"/>
                  </a:lnTo>
                  <a:lnTo>
                    <a:pt x="96" y="2"/>
                  </a:lnTo>
                  <a:lnTo>
                    <a:pt x="96" y="0"/>
                  </a:lnTo>
                  <a:lnTo>
                    <a:pt x="99" y="0"/>
                  </a:lnTo>
                  <a:lnTo>
                    <a:pt x="96" y="0"/>
                  </a:lnTo>
                  <a:lnTo>
                    <a:pt x="92" y="0"/>
                  </a:lnTo>
                  <a:lnTo>
                    <a:pt x="89" y="2"/>
                  </a:lnTo>
                  <a:lnTo>
                    <a:pt x="84" y="4"/>
                  </a:lnTo>
                  <a:lnTo>
                    <a:pt x="82" y="4"/>
                  </a:lnTo>
                  <a:lnTo>
                    <a:pt x="82" y="4"/>
                  </a:lnTo>
                  <a:lnTo>
                    <a:pt x="82" y="4"/>
                  </a:lnTo>
                  <a:lnTo>
                    <a:pt x="80" y="4"/>
                  </a:lnTo>
                  <a:lnTo>
                    <a:pt x="77" y="4"/>
                  </a:lnTo>
                  <a:lnTo>
                    <a:pt x="75" y="7"/>
                  </a:lnTo>
                  <a:lnTo>
                    <a:pt x="73" y="9"/>
                  </a:lnTo>
                  <a:lnTo>
                    <a:pt x="73" y="9"/>
                  </a:lnTo>
                  <a:lnTo>
                    <a:pt x="68" y="14"/>
                  </a:lnTo>
                  <a:lnTo>
                    <a:pt x="68" y="14"/>
                  </a:lnTo>
                  <a:lnTo>
                    <a:pt x="68" y="14"/>
                  </a:lnTo>
                  <a:lnTo>
                    <a:pt x="66" y="14"/>
                  </a:lnTo>
                  <a:lnTo>
                    <a:pt x="66" y="11"/>
                  </a:lnTo>
                  <a:lnTo>
                    <a:pt x="66" y="9"/>
                  </a:lnTo>
                  <a:lnTo>
                    <a:pt x="61" y="4"/>
                  </a:lnTo>
                  <a:lnTo>
                    <a:pt x="61" y="4"/>
                  </a:lnTo>
                  <a:lnTo>
                    <a:pt x="61" y="4"/>
                  </a:lnTo>
                  <a:lnTo>
                    <a:pt x="59" y="4"/>
                  </a:lnTo>
                  <a:lnTo>
                    <a:pt x="51" y="4"/>
                  </a:lnTo>
                  <a:lnTo>
                    <a:pt x="47" y="7"/>
                  </a:lnTo>
                  <a:lnTo>
                    <a:pt x="37" y="9"/>
                  </a:lnTo>
                  <a:lnTo>
                    <a:pt x="30" y="9"/>
                  </a:lnTo>
                  <a:lnTo>
                    <a:pt x="23" y="9"/>
                  </a:lnTo>
                  <a:lnTo>
                    <a:pt x="18" y="11"/>
                  </a:lnTo>
                  <a:lnTo>
                    <a:pt x="18" y="14"/>
                  </a:lnTo>
                  <a:lnTo>
                    <a:pt x="18" y="23"/>
                  </a:lnTo>
                  <a:lnTo>
                    <a:pt x="18" y="33"/>
                  </a:lnTo>
                  <a:lnTo>
                    <a:pt x="18" y="40"/>
                  </a:lnTo>
                  <a:lnTo>
                    <a:pt x="18" y="49"/>
                  </a:lnTo>
                  <a:lnTo>
                    <a:pt x="18" y="59"/>
                  </a:lnTo>
                  <a:lnTo>
                    <a:pt x="18" y="66"/>
                  </a:lnTo>
                  <a:lnTo>
                    <a:pt x="18" y="75"/>
                  </a:lnTo>
                  <a:lnTo>
                    <a:pt x="18" y="85"/>
                  </a:lnTo>
                  <a:lnTo>
                    <a:pt x="18" y="87"/>
                  </a:lnTo>
                  <a:lnTo>
                    <a:pt x="18" y="87"/>
                  </a:lnTo>
                  <a:lnTo>
                    <a:pt x="0" y="87"/>
                  </a:lnTo>
                  <a:lnTo>
                    <a:pt x="0" y="94"/>
                  </a:lnTo>
                  <a:lnTo>
                    <a:pt x="0" y="99"/>
                  </a:lnTo>
                  <a:lnTo>
                    <a:pt x="0" y="106"/>
                  </a:lnTo>
                  <a:lnTo>
                    <a:pt x="0" y="111"/>
                  </a:lnTo>
                  <a:lnTo>
                    <a:pt x="0" y="118"/>
                  </a:lnTo>
                  <a:lnTo>
                    <a:pt x="0" y="123"/>
                  </a:lnTo>
                  <a:lnTo>
                    <a:pt x="0" y="130"/>
                  </a:lnTo>
                  <a:lnTo>
                    <a:pt x="0" y="137"/>
                  </a:lnTo>
                  <a:lnTo>
                    <a:pt x="0" y="141"/>
                  </a:lnTo>
                  <a:lnTo>
                    <a:pt x="0" y="146"/>
                  </a:lnTo>
                  <a:lnTo>
                    <a:pt x="0" y="146"/>
                  </a:lnTo>
                  <a:lnTo>
                    <a:pt x="0" y="149"/>
                  </a:lnTo>
                  <a:lnTo>
                    <a:pt x="4" y="153"/>
                  </a:lnTo>
                  <a:lnTo>
                    <a:pt x="7" y="156"/>
                  </a:lnTo>
                  <a:lnTo>
                    <a:pt x="7" y="156"/>
                  </a:lnTo>
                  <a:lnTo>
                    <a:pt x="9" y="163"/>
                  </a:lnTo>
                  <a:lnTo>
                    <a:pt x="11" y="168"/>
                  </a:lnTo>
                  <a:lnTo>
                    <a:pt x="14" y="170"/>
                  </a:lnTo>
                  <a:lnTo>
                    <a:pt x="14" y="172"/>
                  </a:lnTo>
                  <a:lnTo>
                    <a:pt x="14" y="175"/>
                  </a:lnTo>
                  <a:lnTo>
                    <a:pt x="14" y="175"/>
                  </a:lnTo>
                  <a:lnTo>
                    <a:pt x="14" y="177"/>
                  </a:lnTo>
                  <a:lnTo>
                    <a:pt x="11" y="179"/>
                  </a:lnTo>
                  <a:lnTo>
                    <a:pt x="11" y="179"/>
                  </a:lnTo>
                  <a:lnTo>
                    <a:pt x="9" y="182"/>
                  </a:lnTo>
                  <a:lnTo>
                    <a:pt x="9" y="184"/>
                  </a:lnTo>
                  <a:lnTo>
                    <a:pt x="9" y="189"/>
                  </a:lnTo>
                  <a:lnTo>
                    <a:pt x="11" y="191"/>
                  </a:lnTo>
                  <a:lnTo>
                    <a:pt x="11" y="191"/>
                  </a:lnTo>
                  <a:lnTo>
                    <a:pt x="14" y="189"/>
                  </a:lnTo>
                  <a:lnTo>
                    <a:pt x="16" y="191"/>
                  </a:lnTo>
                  <a:lnTo>
                    <a:pt x="18" y="191"/>
                  </a:lnTo>
                  <a:lnTo>
                    <a:pt x="26" y="191"/>
                  </a:lnTo>
                  <a:lnTo>
                    <a:pt x="26" y="191"/>
                  </a:lnTo>
                  <a:lnTo>
                    <a:pt x="28" y="191"/>
                  </a:lnTo>
                  <a:lnTo>
                    <a:pt x="28" y="191"/>
                  </a:lnTo>
                  <a:lnTo>
                    <a:pt x="30" y="189"/>
                  </a:lnTo>
                  <a:lnTo>
                    <a:pt x="30" y="189"/>
                  </a:lnTo>
                  <a:lnTo>
                    <a:pt x="33" y="186"/>
                  </a:lnTo>
                  <a:lnTo>
                    <a:pt x="33" y="186"/>
                  </a:lnTo>
                  <a:lnTo>
                    <a:pt x="35" y="186"/>
                  </a:lnTo>
                  <a:lnTo>
                    <a:pt x="37" y="184"/>
                  </a:lnTo>
                  <a:lnTo>
                    <a:pt x="40" y="182"/>
                  </a:lnTo>
                  <a:lnTo>
                    <a:pt x="44" y="177"/>
                  </a:lnTo>
                  <a:lnTo>
                    <a:pt x="44" y="177"/>
                  </a:lnTo>
                  <a:lnTo>
                    <a:pt x="47" y="175"/>
                  </a:lnTo>
                  <a:lnTo>
                    <a:pt x="47" y="175"/>
                  </a:lnTo>
                  <a:lnTo>
                    <a:pt x="49" y="170"/>
                  </a:lnTo>
                  <a:lnTo>
                    <a:pt x="49" y="165"/>
                  </a:lnTo>
                  <a:lnTo>
                    <a:pt x="49" y="165"/>
                  </a:lnTo>
                  <a:lnTo>
                    <a:pt x="51" y="160"/>
                  </a:lnTo>
                  <a:lnTo>
                    <a:pt x="51" y="160"/>
                  </a:lnTo>
                  <a:lnTo>
                    <a:pt x="54" y="158"/>
                  </a:lnTo>
                  <a:lnTo>
                    <a:pt x="54" y="158"/>
                  </a:lnTo>
                  <a:lnTo>
                    <a:pt x="56" y="158"/>
                  </a:lnTo>
                  <a:lnTo>
                    <a:pt x="59" y="158"/>
                  </a:lnTo>
                  <a:lnTo>
                    <a:pt x="61" y="158"/>
                  </a:lnTo>
                  <a:lnTo>
                    <a:pt x="63" y="158"/>
                  </a:lnTo>
                  <a:lnTo>
                    <a:pt x="66" y="160"/>
                  </a:lnTo>
                  <a:lnTo>
                    <a:pt x="68" y="163"/>
                  </a:lnTo>
                  <a:lnTo>
                    <a:pt x="70" y="165"/>
                  </a:lnTo>
                  <a:lnTo>
                    <a:pt x="70" y="165"/>
                  </a:lnTo>
                  <a:lnTo>
                    <a:pt x="73" y="165"/>
                  </a:lnTo>
                  <a:lnTo>
                    <a:pt x="75" y="165"/>
                  </a:lnTo>
                  <a:lnTo>
                    <a:pt x="77" y="168"/>
                  </a:lnTo>
                  <a:lnTo>
                    <a:pt x="77" y="168"/>
                  </a:lnTo>
                  <a:lnTo>
                    <a:pt x="82" y="168"/>
                  </a:lnTo>
                  <a:lnTo>
                    <a:pt x="84" y="170"/>
                  </a:lnTo>
                  <a:lnTo>
                    <a:pt x="87" y="170"/>
                  </a:lnTo>
                  <a:lnTo>
                    <a:pt x="89" y="168"/>
                  </a:lnTo>
                  <a:lnTo>
                    <a:pt x="92" y="168"/>
                  </a:lnTo>
                  <a:lnTo>
                    <a:pt x="94" y="168"/>
                  </a:lnTo>
                  <a:lnTo>
                    <a:pt x="96" y="168"/>
                  </a:lnTo>
                  <a:lnTo>
                    <a:pt x="96" y="168"/>
                  </a:lnTo>
                  <a:lnTo>
                    <a:pt x="99" y="165"/>
                  </a:lnTo>
                  <a:lnTo>
                    <a:pt x="101" y="165"/>
                  </a:lnTo>
                  <a:lnTo>
                    <a:pt x="101" y="160"/>
                  </a:lnTo>
                  <a:lnTo>
                    <a:pt x="101" y="158"/>
                  </a:lnTo>
                  <a:lnTo>
                    <a:pt x="103" y="156"/>
                  </a:lnTo>
                  <a:lnTo>
                    <a:pt x="106" y="151"/>
                  </a:lnTo>
                  <a:lnTo>
                    <a:pt x="106" y="146"/>
                  </a:lnTo>
                  <a:lnTo>
                    <a:pt x="106" y="146"/>
                  </a:lnTo>
                  <a:lnTo>
                    <a:pt x="108" y="146"/>
                  </a:lnTo>
                  <a:lnTo>
                    <a:pt x="110" y="144"/>
                  </a:lnTo>
                  <a:lnTo>
                    <a:pt x="115" y="144"/>
                  </a:lnTo>
                  <a:lnTo>
                    <a:pt x="115" y="144"/>
                  </a:lnTo>
                  <a:lnTo>
                    <a:pt x="117" y="141"/>
                  </a:lnTo>
                  <a:lnTo>
                    <a:pt x="120" y="139"/>
                  </a:lnTo>
                  <a:lnTo>
                    <a:pt x="122" y="137"/>
                  </a:lnTo>
                  <a:lnTo>
                    <a:pt x="122" y="134"/>
                  </a:lnTo>
                  <a:lnTo>
                    <a:pt x="127" y="125"/>
                  </a:lnTo>
                  <a:lnTo>
                    <a:pt x="127" y="125"/>
                  </a:lnTo>
                  <a:lnTo>
                    <a:pt x="129" y="123"/>
                  </a:lnTo>
                  <a:lnTo>
                    <a:pt x="129" y="120"/>
                  </a:lnTo>
                  <a:lnTo>
                    <a:pt x="129" y="120"/>
                  </a:lnTo>
                  <a:lnTo>
                    <a:pt x="132" y="120"/>
                  </a:lnTo>
                  <a:lnTo>
                    <a:pt x="132" y="118"/>
                  </a:lnTo>
                  <a:lnTo>
                    <a:pt x="134" y="118"/>
                  </a:lnTo>
                  <a:lnTo>
                    <a:pt x="136" y="118"/>
                  </a:lnTo>
                  <a:lnTo>
                    <a:pt x="136" y="115"/>
                  </a:lnTo>
                  <a:lnTo>
                    <a:pt x="139" y="115"/>
                  </a:lnTo>
                  <a:lnTo>
                    <a:pt x="139" y="113"/>
                  </a:lnTo>
                  <a:lnTo>
                    <a:pt x="141" y="113"/>
                  </a:lnTo>
                  <a:lnTo>
                    <a:pt x="141" y="113"/>
                  </a:lnTo>
                  <a:lnTo>
                    <a:pt x="141" y="113"/>
                  </a:lnTo>
                  <a:lnTo>
                    <a:pt x="141" y="111"/>
                  </a:lnTo>
                  <a:lnTo>
                    <a:pt x="143" y="111"/>
                  </a:lnTo>
                  <a:lnTo>
                    <a:pt x="143" y="111"/>
                  </a:lnTo>
                  <a:lnTo>
                    <a:pt x="143" y="108"/>
                  </a:lnTo>
                  <a:lnTo>
                    <a:pt x="146" y="106"/>
                  </a:lnTo>
                  <a:lnTo>
                    <a:pt x="148" y="104"/>
                  </a:lnTo>
                  <a:lnTo>
                    <a:pt x="153" y="101"/>
                  </a:lnTo>
                  <a:lnTo>
                    <a:pt x="155" y="101"/>
                  </a:lnTo>
                  <a:lnTo>
                    <a:pt x="157" y="99"/>
                  </a:lnTo>
                  <a:lnTo>
                    <a:pt x="160" y="99"/>
                  </a:lnTo>
                  <a:lnTo>
                    <a:pt x="162" y="97"/>
                  </a:lnTo>
                  <a:lnTo>
                    <a:pt x="165" y="94"/>
                  </a:lnTo>
                  <a:lnTo>
                    <a:pt x="167" y="92"/>
                  </a:lnTo>
                  <a:lnTo>
                    <a:pt x="169" y="92"/>
                  </a:lnTo>
                  <a:lnTo>
                    <a:pt x="169" y="9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3" name="Freeform 379"/>
            <p:cNvSpPr>
              <a:spLocks/>
            </p:cNvSpPr>
            <p:nvPr userDrawn="1"/>
          </p:nvSpPr>
          <p:spPr bwMode="auto">
            <a:xfrm>
              <a:off x="3936" y="1855"/>
              <a:ext cx="66" cy="57"/>
            </a:xfrm>
            <a:custGeom>
              <a:avLst/>
              <a:gdLst>
                <a:gd name="T0" fmla="*/ 63 w 66"/>
                <a:gd name="T1" fmla="*/ 26 h 57"/>
                <a:gd name="T2" fmla="*/ 66 w 66"/>
                <a:gd name="T3" fmla="*/ 26 h 57"/>
                <a:gd name="T4" fmla="*/ 61 w 66"/>
                <a:gd name="T5" fmla="*/ 21 h 57"/>
                <a:gd name="T6" fmla="*/ 56 w 66"/>
                <a:gd name="T7" fmla="*/ 19 h 57"/>
                <a:gd name="T8" fmla="*/ 56 w 66"/>
                <a:gd name="T9" fmla="*/ 16 h 57"/>
                <a:gd name="T10" fmla="*/ 59 w 66"/>
                <a:gd name="T11" fmla="*/ 12 h 57"/>
                <a:gd name="T12" fmla="*/ 61 w 66"/>
                <a:gd name="T13" fmla="*/ 9 h 57"/>
                <a:gd name="T14" fmla="*/ 56 w 66"/>
                <a:gd name="T15" fmla="*/ 7 h 57"/>
                <a:gd name="T16" fmla="*/ 54 w 66"/>
                <a:gd name="T17" fmla="*/ 9 h 57"/>
                <a:gd name="T18" fmla="*/ 52 w 66"/>
                <a:gd name="T19" fmla="*/ 7 h 57"/>
                <a:gd name="T20" fmla="*/ 49 w 66"/>
                <a:gd name="T21" fmla="*/ 2 h 57"/>
                <a:gd name="T22" fmla="*/ 45 w 66"/>
                <a:gd name="T23" fmla="*/ 2 h 57"/>
                <a:gd name="T24" fmla="*/ 40 w 66"/>
                <a:gd name="T25" fmla="*/ 2 h 57"/>
                <a:gd name="T26" fmla="*/ 35 w 66"/>
                <a:gd name="T27" fmla="*/ 2 h 57"/>
                <a:gd name="T28" fmla="*/ 33 w 66"/>
                <a:gd name="T29" fmla="*/ 0 h 57"/>
                <a:gd name="T30" fmla="*/ 28 w 66"/>
                <a:gd name="T31" fmla="*/ 2 h 57"/>
                <a:gd name="T32" fmla="*/ 26 w 66"/>
                <a:gd name="T33" fmla="*/ 2 h 57"/>
                <a:gd name="T34" fmla="*/ 19 w 66"/>
                <a:gd name="T35" fmla="*/ 0 h 57"/>
                <a:gd name="T36" fmla="*/ 12 w 66"/>
                <a:gd name="T37" fmla="*/ 2 h 57"/>
                <a:gd name="T38" fmla="*/ 7 w 66"/>
                <a:gd name="T39" fmla="*/ 2 h 57"/>
                <a:gd name="T40" fmla="*/ 2 w 66"/>
                <a:gd name="T41" fmla="*/ 0 h 57"/>
                <a:gd name="T42" fmla="*/ 0 w 66"/>
                <a:gd name="T43" fmla="*/ 5 h 57"/>
                <a:gd name="T44" fmla="*/ 2 w 66"/>
                <a:gd name="T45" fmla="*/ 12 h 57"/>
                <a:gd name="T46" fmla="*/ 7 w 66"/>
                <a:gd name="T47" fmla="*/ 16 h 57"/>
                <a:gd name="T48" fmla="*/ 9 w 66"/>
                <a:gd name="T49" fmla="*/ 23 h 57"/>
                <a:gd name="T50" fmla="*/ 14 w 66"/>
                <a:gd name="T51" fmla="*/ 28 h 57"/>
                <a:gd name="T52" fmla="*/ 21 w 66"/>
                <a:gd name="T53" fmla="*/ 33 h 57"/>
                <a:gd name="T54" fmla="*/ 26 w 66"/>
                <a:gd name="T55" fmla="*/ 38 h 57"/>
                <a:gd name="T56" fmla="*/ 28 w 66"/>
                <a:gd name="T57" fmla="*/ 42 h 57"/>
                <a:gd name="T58" fmla="*/ 33 w 66"/>
                <a:gd name="T59" fmla="*/ 47 h 57"/>
                <a:gd name="T60" fmla="*/ 33 w 66"/>
                <a:gd name="T61" fmla="*/ 49 h 57"/>
                <a:gd name="T62" fmla="*/ 37 w 66"/>
                <a:gd name="T63" fmla="*/ 49 h 57"/>
                <a:gd name="T64" fmla="*/ 42 w 66"/>
                <a:gd name="T65" fmla="*/ 54 h 57"/>
                <a:gd name="T66" fmla="*/ 47 w 66"/>
                <a:gd name="T67" fmla="*/ 57 h 57"/>
                <a:gd name="T68" fmla="*/ 49 w 66"/>
                <a:gd name="T69" fmla="*/ 54 h 57"/>
                <a:gd name="T70" fmla="*/ 47 w 66"/>
                <a:gd name="T71" fmla="*/ 52 h 57"/>
                <a:gd name="T72" fmla="*/ 47 w 66"/>
                <a:gd name="T73" fmla="*/ 47 h 57"/>
                <a:gd name="T74" fmla="*/ 49 w 66"/>
                <a:gd name="T75" fmla="*/ 45 h 57"/>
                <a:gd name="T76" fmla="*/ 52 w 66"/>
                <a:gd name="T77" fmla="*/ 42 h 57"/>
                <a:gd name="T78" fmla="*/ 54 w 66"/>
                <a:gd name="T79" fmla="*/ 40 h 57"/>
                <a:gd name="T80" fmla="*/ 56 w 66"/>
                <a:gd name="T81" fmla="*/ 40 h 57"/>
                <a:gd name="T82" fmla="*/ 54 w 66"/>
                <a:gd name="T83" fmla="*/ 38 h 57"/>
                <a:gd name="T84" fmla="*/ 56 w 66"/>
                <a:gd name="T85" fmla="*/ 35 h 57"/>
                <a:gd name="T86" fmla="*/ 59 w 66"/>
                <a:gd name="T87" fmla="*/ 35 h 57"/>
                <a:gd name="T88" fmla="*/ 61 w 66"/>
                <a:gd name="T89" fmla="*/ 35 h 57"/>
                <a:gd name="T90" fmla="*/ 63 w 66"/>
                <a:gd name="T91" fmla="*/ 35 h 57"/>
                <a:gd name="T92" fmla="*/ 63 w 66"/>
                <a:gd name="T93" fmla="*/ 33 h 57"/>
                <a:gd name="T94" fmla="*/ 59 w 66"/>
                <a:gd name="T9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57">
                  <a:moveTo>
                    <a:pt x="61" y="26"/>
                  </a:moveTo>
                  <a:lnTo>
                    <a:pt x="61" y="26"/>
                  </a:lnTo>
                  <a:lnTo>
                    <a:pt x="63" y="26"/>
                  </a:lnTo>
                  <a:lnTo>
                    <a:pt x="66" y="26"/>
                  </a:lnTo>
                  <a:lnTo>
                    <a:pt x="66" y="26"/>
                  </a:lnTo>
                  <a:lnTo>
                    <a:pt x="66" y="26"/>
                  </a:lnTo>
                  <a:lnTo>
                    <a:pt x="63" y="26"/>
                  </a:lnTo>
                  <a:lnTo>
                    <a:pt x="63" y="23"/>
                  </a:lnTo>
                  <a:lnTo>
                    <a:pt x="61" y="21"/>
                  </a:lnTo>
                  <a:lnTo>
                    <a:pt x="59" y="21"/>
                  </a:lnTo>
                  <a:lnTo>
                    <a:pt x="59" y="21"/>
                  </a:lnTo>
                  <a:lnTo>
                    <a:pt x="56" y="19"/>
                  </a:lnTo>
                  <a:lnTo>
                    <a:pt x="56" y="19"/>
                  </a:lnTo>
                  <a:lnTo>
                    <a:pt x="56" y="19"/>
                  </a:lnTo>
                  <a:lnTo>
                    <a:pt x="56" y="16"/>
                  </a:lnTo>
                  <a:lnTo>
                    <a:pt x="59" y="16"/>
                  </a:lnTo>
                  <a:lnTo>
                    <a:pt x="59" y="14"/>
                  </a:lnTo>
                  <a:lnTo>
                    <a:pt x="59" y="12"/>
                  </a:lnTo>
                  <a:lnTo>
                    <a:pt x="61" y="12"/>
                  </a:lnTo>
                  <a:lnTo>
                    <a:pt x="61" y="9"/>
                  </a:lnTo>
                  <a:lnTo>
                    <a:pt x="61" y="9"/>
                  </a:lnTo>
                  <a:lnTo>
                    <a:pt x="61" y="9"/>
                  </a:lnTo>
                  <a:lnTo>
                    <a:pt x="59" y="7"/>
                  </a:lnTo>
                  <a:lnTo>
                    <a:pt x="56" y="7"/>
                  </a:lnTo>
                  <a:lnTo>
                    <a:pt x="56" y="9"/>
                  </a:lnTo>
                  <a:lnTo>
                    <a:pt x="54" y="9"/>
                  </a:lnTo>
                  <a:lnTo>
                    <a:pt x="54" y="9"/>
                  </a:lnTo>
                  <a:lnTo>
                    <a:pt x="52" y="9"/>
                  </a:lnTo>
                  <a:lnTo>
                    <a:pt x="52" y="7"/>
                  </a:lnTo>
                  <a:lnTo>
                    <a:pt x="52" y="7"/>
                  </a:lnTo>
                  <a:lnTo>
                    <a:pt x="52" y="7"/>
                  </a:lnTo>
                  <a:lnTo>
                    <a:pt x="49" y="5"/>
                  </a:lnTo>
                  <a:lnTo>
                    <a:pt x="49" y="2"/>
                  </a:lnTo>
                  <a:lnTo>
                    <a:pt x="47" y="2"/>
                  </a:lnTo>
                  <a:lnTo>
                    <a:pt x="45" y="2"/>
                  </a:lnTo>
                  <a:lnTo>
                    <a:pt x="45" y="2"/>
                  </a:lnTo>
                  <a:lnTo>
                    <a:pt x="42" y="2"/>
                  </a:lnTo>
                  <a:lnTo>
                    <a:pt x="42" y="2"/>
                  </a:lnTo>
                  <a:lnTo>
                    <a:pt x="40" y="2"/>
                  </a:lnTo>
                  <a:lnTo>
                    <a:pt x="37" y="2"/>
                  </a:lnTo>
                  <a:lnTo>
                    <a:pt x="37" y="2"/>
                  </a:lnTo>
                  <a:lnTo>
                    <a:pt x="35" y="2"/>
                  </a:lnTo>
                  <a:lnTo>
                    <a:pt x="35" y="2"/>
                  </a:lnTo>
                  <a:lnTo>
                    <a:pt x="33" y="2"/>
                  </a:lnTo>
                  <a:lnTo>
                    <a:pt x="33" y="0"/>
                  </a:lnTo>
                  <a:lnTo>
                    <a:pt x="30" y="2"/>
                  </a:lnTo>
                  <a:lnTo>
                    <a:pt x="30" y="2"/>
                  </a:lnTo>
                  <a:lnTo>
                    <a:pt x="28" y="2"/>
                  </a:lnTo>
                  <a:lnTo>
                    <a:pt x="26" y="0"/>
                  </a:lnTo>
                  <a:lnTo>
                    <a:pt x="26" y="0"/>
                  </a:lnTo>
                  <a:lnTo>
                    <a:pt x="26" y="2"/>
                  </a:lnTo>
                  <a:lnTo>
                    <a:pt x="23" y="0"/>
                  </a:lnTo>
                  <a:lnTo>
                    <a:pt x="19" y="0"/>
                  </a:lnTo>
                  <a:lnTo>
                    <a:pt x="19" y="0"/>
                  </a:lnTo>
                  <a:lnTo>
                    <a:pt x="14" y="0"/>
                  </a:lnTo>
                  <a:lnTo>
                    <a:pt x="12" y="0"/>
                  </a:lnTo>
                  <a:lnTo>
                    <a:pt x="12" y="2"/>
                  </a:lnTo>
                  <a:lnTo>
                    <a:pt x="9" y="5"/>
                  </a:lnTo>
                  <a:lnTo>
                    <a:pt x="9" y="5"/>
                  </a:lnTo>
                  <a:lnTo>
                    <a:pt x="7" y="2"/>
                  </a:lnTo>
                  <a:lnTo>
                    <a:pt x="4" y="0"/>
                  </a:lnTo>
                  <a:lnTo>
                    <a:pt x="4" y="0"/>
                  </a:lnTo>
                  <a:lnTo>
                    <a:pt x="2" y="0"/>
                  </a:lnTo>
                  <a:lnTo>
                    <a:pt x="2" y="0"/>
                  </a:lnTo>
                  <a:lnTo>
                    <a:pt x="2" y="0"/>
                  </a:lnTo>
                  <a:lnTo>
                    <a:pt x="0" y="5"/>
                  </a:lnTo>
                  <a:lnTo>
                    <a:pt x="0" y="9"/>
                  </a:lnTo>
                  <a:lnTo>
                    <a:pt x="0" y="12"/>
                  </a:lnTo>
                  <a:lnTo>
                    <a:pt x="2" y="12"/>
                  </a:lnTo>
                  <a:lnTo>
                    <a:pt x="7" y="16"/>
                  </a:lnTo>
                  <a:lnTo>
                    <a:pt x="7" y="16"/>
                  </a:lnTo>
                  <a:lnTo>
                    <a:pt x="7" y="16"/>
                  </a:lnTo>
                  <a:lnTo>
                    <a:pt x="7" y="19"/>
                  </a:lnTo>
                  <a:lnTo>
                    <a:pt x="9" y="21"/>
                  </a:lnTo>
                  <a:lnTo>
                    <a:pt x="9" y="23"/>
                  </a:lnTo>
                  <a:lnTo>
                    <a:pt x="12" y="26"/>
                  </a:lnTo>
                  <a:lnTo>
                    <a:pt x="14" y="26"/>
                  </a:lnTo>
                  <a:lnTo>
                    <a:pt x="14" y="28"/>
                  </a:lnTo>
                  <a:lnTo>
                    <a:pt x="16" y="31"/>
                  </a:lnTo>
                  <a:lnTo>
                    <a:pt x="16" y="31"/>
                  </a:lnTo>
                  <a:lnTo>
                    <a:pt x="21" y="33"/>
                  </a:lnTo>
                  <a:lnTo>
                    <a:pt x="23" y="35"/>
                  </a:lnTo>
                  <a:lnTo>
                    <a:pt x="26" y="38"/>
                  </a:lnTo>
                  <a:lnTo>
                    <a:pt x="26" y="38"/>
                  </a:lnTo>
                  <a:lnTo>
                    <a:pt x="28" y="40"/>
                  </a:lnTo>
                  <a:lnTo>
                    <a:pt x="28" y="40"/>
                  </a:lnTo>
                  <a:lnTo>
                    <a:pt x="28" y="42"/>
                  </a:lnTo>
                  <a:lnTo>
                    <a:pt x="33" y="47"/>
                  </a:lnTo>
                  <a:lnTo>
                    <a:pt x="33" y="47"/>
                  </a:lnTo>
                  <a:lnTo>
                    <a:pt x="33" y="47"/>
                  </a:lnTo>
                  <a:lnTo>
                    <a:pt x="33" y="47"/>
                  </a:lnTo>
                  <a:lnTo>
                    <a:pt x="33" y="47"/>
                  </a:lnTo>
                  <a:lnTo>
                    <a:pt x="33" y="49"/>
                  </a:lnTo>
                  <a:lnTo>
                    <a:pt x="35" y="49"/>
                  </a:lnTo>
                  <a:lnTo>
                    <a:pt x="35" y="49"/>
                  </a:lnTo>
                  <a:lnTo>
                    <a:pt x="37" y="49"/>
                  </a:lnTo>
                  <a:lnTo>
                    <a:pt x="37" y="52"/>
                  </a:lnTo>
                  <a:lnTo>
                    <a:pt x="40" y="52"/>
                  </a:lnTo>
                  <a:lnTo>
                    <a:pt x="42" y="54"/>
                  </a:lnTo>
                  <a:lnTo>
                    <a:pt x="45" y="54"/>
                  </a:lnTo>
                  <a:lnTo>
                    <a:pt x="45" y="54"/>
                  </a:lnTo>
                  <a:lnTo>
                    <a:pt x="47" y="57"/>
                  </a:lnTo>
                  <a:lnTo>
                    <a:pt x="47" y="57"/>
                  </a:lnTo>
                  <a:lnTo>
                    <a:pt x="47" y="57"/>
                  </a:lnTo>
                  <a:lnTo>
                    <a:pt x="49" y="54"/>
                  </a:lnTo>
                  <a:lnTo>
                    <a:pt x="49" y="54"/>
                  </a:lnTo>
                  <a:lnTo>
                    <a:pt x="49" y="54"/>
                  </a:lnTo>
                  <a:lnTo>
                    <a:pt x="47" y="52"/>
                  </a:lnTo>
                  <a:lnTo>
                    <a:pt x="47" y="49"/>
                  </a:lnTo>
                  <a:lnTo>
                    <a:pt x="47" y="47"/>
                  </a:lnTo>
                  <a:lnTo>
                    <a:pt x="47" y="47"/>
                  </a:lnTo>
                  <a:lnTo>
                    <a:pt x="47" y="47"/>
                  </a:lnTo>
                  <a:lnTo>
                    <a:pt x="49" y="47"/>
                  </a:lnTo>
                  <a:lnTo>
                    <a:pt x="49" y="45"/>
                  </a:lnTo>
                  <a:lnTo>
                    <a:pt x="49" y="45"/>
                  </a:lnTo>
                  <a:lnTo>
                    <a:pt x="49" y="42"/>
                  </a:lnTo>
                  <a:lnTo>
                    <a:pt x="52" y="42"/>
                  </a:lnTo>
                  <a:lnTo>
                    <a:pt x="52" y="40"/>
                  </a:lnTo>
                  <a:lnTo>
                    <a:pt x="54" y="40"/>
                  </a:lnTo>
                  <a:lnTo>
                    <a:pt x="54" y="40"/>
                  </a:lnTo>
                  <a:lnTo>
                    <a:pt x="54" y="40"/>
                  </a:lnTo>
                  <a:lnTo>
                    <a:pt x="56" y="40"/>
                  </a:lnTo>
                  <a:lnTo>
                    <a:pt x="56" y="40"/>
                  </a:lnTo>
                  <a:lnTo>
                    <a:pt x="56" y="40"/>
                  </a:lnTo>
                  <a:lnTo>
                    <a:pt x="56" y="38"/>
                  </a:lnTo>
                  <a:lnTo>
                    <a:pt x="54" y="38"/>
                  </a:lnTo>
                  <a:lnTo>
                    <a:pt x="54" y="35"/>
                  </a:lnTo>
                  <a:lnTo>
                    <a:pt x="56" y="35"/>
                  </a:lnTo>
                  <a:lnTo>
                    <a:pt x="56" y="35"/>
                  </a:lnTo>
                  <a:lnTo>
                    <a:pt x="56" y="35"/>
                  </a:lnTo>
                  <a:lnTo>
                    <a:pt x="59" y="35"/>
                  </a:lnTo>
                  <a:lnTo>
                    <a:pt x="59" y="35"/>
                  </a:lnTo>
                  <a:lnTo>
                    <a:pt x="59" y="35"/>
                  </a:lnTo>
                  <a:lnTo>
                    <a:pt x="61" y="35"/>
                  </a:lnTo>
                  <a:lnTo>
                    <a:pt x="61" y="35"/>
                  </a:lnTo>
                  <a:lnTo>
                    <a:pt x="61" y="35"/>
                  </a:lnTo>
                  <a:lnTo>
                    <a:pt x="63" y="35"/>
                  </a:lnTo>
                  <a:lnTo>
                    <a:pt x="63" y="35"/>
                  </a:lnTo>
                  <a:lnTo>
                    <a:pt x="63" y="35"/>
                  </a:lnTo>
                  <a:lnTo>
                    <a:pt x="63" y="33"/>
                  </a:lnTo>
                  <a:lnTo>
                    <a:pt x="63" y="33"/>
                  </a:lnTo>
                  <a:lnTo>
                    <a:pt x="61" y="31"/>
                  </a:lnTo>
                  <a:lnTo>
                    <a:pt x="59" y="28"/>
                  </a:lnTo>
                  <a:lnTo>
                    <a:pt x="59" y="28"/>
                  </a:lnTo>
                  <a:lnTo>
                    <a:pt x="61" y="26"/>
                  </a:lnTo>
                  <a:lnTo>
                    <a:pt x="61" y="26"/>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4" name="Freeform 380"/>
            <p:cNvSpPr>
              <a:spLocks/>
            </p:cNvSpPr>
            <p:nvPr userDrawn="1"/>
          </p:nvSpPr>
          <p:spPr bwMode="auto">
            <a:xfrm>
              <a:off x="2366" y="3013"/>
              <a:ext cx="236" cy="277"/>
            </a:xfrm>
            <a:custGeom>
              <a:avLst/>
              <a:gdLst>
                <a:gd name="T0" fmla="*/ 229 w 236"/>
                <a:gd name="T1" fmla="*/ 166 h 277"/>
                <a:gd name="T2" fmla="*/ 215 w 236"/>
                <a:gd name="T3" fmla="*/ 147 h 277"/>
                <a:gd name="T4" fmla="*/ 217 w 236"/>
                <a:gd name="T5" fmla="*/ 140 h 277"/>
                <a:gd name="T6" fmla="*/ 184 w 236"/>
                <a:gd name="T7" fmla="*/ 135 h 277"/>
                <a:gd name="T8" fmla="*/ 177 w 236"/>
                <a:gd name="T9" fmla="*/ 114 h 277"/>
                <a:gd name="T10" fmla="*/ 175 w 236"/>
                <a:gd name="T11" fmla="*/ 95 h 277"/>
                <a:gd name="T12" fmla="*/ 172 w 236"/>
                <a:gd name="T13" fmla="*/ 86 h 277"/>
                <a:gd name="T14" fmla="*/ 153 w 236"/>
                <a:gd name="T15" fmla="*/ 81 h 277"/>
                <a:gd name="T16" fmla="*/ 139 w 236"/>
                <a:gd name="T17" fmla="*/ 71 h 277"/>
                <a:gd name="T18" fmla="*/ 125 w 236"/>
                <a:gd name="T19" fmla="*/ 64 h 277"/>
                <a:gd name="T20" fmla="*/ 116 w 236"/>
                <a:gd name="T21" fmla="*/ 62 h 277"/>
                <a:gd name="T22" fmla="*/ 101 w 236"/>
                <a:gd name="T23" fmla="*/ 57 h 277"/>
                <a:gd name="T24" fmla="*/ 90 w 236"/>
                <a:gd name="T25" fmla="*/ 48 h 277"/>
                <a:gd name="T26" fmla="*/ 85 w 236"/>
                <a:gd name="T27" fmla="*/ 43 h 277"/>
                <a:gd name="T28" fmla="*/ 83 w 236"/>
                <a:gd name="T29" fmla="*/ 38 h 277"/>
                <a:gd name="T30" fmla="*/ 80 w 236"/>
                <a:gd name="T31" fmla="*/ 29 h 277"/>
                <a:gd name="T32" fmla="*/ 78 w 236"/>
                <a:gd name="T33" fmla="*/ 15 h 277"/>
                <a:gd name="T34" fmla="*/ 78 w 236"/>
                <a:gd name="T35" fmla="*/ 0 h 277"/>
                <a:gd name="T36" fmla="*/ 61 w 236"/>
                <a:gd name="T37" fmla="*/ 3 h 277"/>
                <a:gd name="T38" fmla="*/ 43 w 236"/>
                <a:gd name="T39" fmla="*/ 12 h 277"/>
                <a:gd name="T40" fmla="*/ 33 w 236"/>
                <a:gd name="T41" fmla="*/ 19 h 277"/>
                <a:gd name="T42" fmla="*/ 21 w 236"/>
                <a:gd name="T43" fmla="*/ 29 h 277"/>
                <a:gd name="T44" fmla="*/ 12 w 236"/>
                <a:gd name="T45" fmla="*/ 26 h 277"/>
                <a:gd name="T46" fmla="*/ 10 w 236"/>
                <a:gd name="T47" fmla="*/ 41 h 277"/>
                <a:gd name="T48" fmla="*/ 19 w 236"/>
                <a:gd name="T49" fmla="*/ 62 h 277"/>
                <a:gd name="T50" fmla="*/ 17 w 236"/>
                <a:gd name="T51" fmla="*/ 81 h 277"/>
                <a:gd name="T52" fmla="*/ 19 w 236"/>
                <a:gd name="T53" fmla="*/ 93 h 277"/>
                <a:gd name="T54" fmla="*/ 17 w 236"/>
                <a:gd name="T55" fmla="*/ 100 h 277"/>
                <a:gd name="T56" fmla="*/ 12 w 236"/>
                <a:gd name="T57" fmla="*/ 109 h 277"/>
                <a:gd name="T58" fmla="*/ 12 w 236"/>
                <a:gd name="T59" fmla="*/ 123 h 277"/>
                <a:gd name="T60" fmla="*/ 24 w 236"/>
                <a:gd name="T61" fmla="*/ 138 h 277"/>
                <a:gd name="T62" fmla="*/ 21 w 236"/>
                <a:gd name="T63" fmla="*/ 145 h 277"/>
                <a:gd name="T64" fmla="*/ 17 w 236"/>
                <a:gd name="T65" fmla="*/ 154 h 277"/>
                <a:gd name="T66" fmla="*/ 14 w 236"/>
                <a:gd name="T67" fmla="*/ 161 h 277"/>
                <a:gd name="T68" fmla="*/ 21 w 236"/>
                <a:gd name="T69" fmla="*/ 173 h 277"/>
                <a:gd name="T70" fmla="*/ 24 w 236"/>
                <a:gd name="T71" fmla="*/ 182 h 277"/>
                <a:gd name="T72" fmla="*/ 28 w 236"/>
                <a:gd name="T73" fmla="*/ 197 h 277"/>
                <a:gd name="T74" fmla="*/ 38 w 236"/>
                <a:gd name="T75" fmla="*/ 204 h 277"/>
                <a:gd name="T76" fmla="*/ 38 w 236"/>
                <a:gd name="T77" fmla="*/ 216 h 277"/>
                <a:gd name="T78" fmla="*/ 35 w 236"/>
                <a:gd name="T79" fmla="*/ 223 h 277"/>
                <a:gd name="T80" fmla="*/ 40 w 236"/>
                <a:gd name="T81" fmla="*/ 230 h 277"/>
                <a:gd name="T82" fmla="*/ 40 w 236"/>
                <a:gd name="T83" fmla="*/ 237 h 277"/>
                <a:gd name="T84" fmla="*/ 52 w 236"/>
                <a:gd name="T85" fmla="*/ 256 h 277"/>
                <a:gd name="T86" fmla="*/ 57 w 236"/>
                <a:gd name="T87" fmla="*/ 272 h 277"/>
                <a:gd name="T88" fmla="*/ 64 w 236"/>
                <a:gd name="T89" fmla="*/ 277 h 277"/>
                <a:gd name="T90" fmla="*/ 76 w 236"/>
                <a:gd name="T91" fmla="*/ 268 h 277"/>
                <a:gd name="T92" fmla="*/ 85 w 236"/>
                <a:gd name="T93" fmla="*/ 260 h 277"/>
                <a:gd name="T94" fmla="*/ 92 w 236"/>
                <a:gd name="T95" fmla="*/ 260 h 277"/>
                <a:gd name="T96" fmla="*/ 111 w 236"/>
                <a:gd name="T97" fmla="*/ 263 h 277"/>
                <a:gd name="T98" fmla="*/ 123 w 236"/>
                <a:gd name="T99" fmla="*/ 275 h 277"/>
                <a:gd name="T100" fmla="*/ 127 w 236"/>
                <a:gd name="T101" fmla="*/ 260 h 277"/>
                <a:gd name="T102" fmla="*/ 149 w 236"/>
                <a:gd name="T103" fmla="*/ 258 h 277"/>
                <a:gd name="T104" fmla="*/ 153 w 236"/>
                <a:gd name="T105" fmla="*/ 258 h 277"/>
                <a:gd name="T106" fmla="*/ 158 w 236"/>
                <a:gd name="T107" fmla="*/ 220 h 277"/>
                <a:gd name="T108" fmla="*/ 184 w 236"/>
                <a:gd name="T109" fmla="*/ 204 h 277"/>
                <a:gd name="T110" fmla="*/ 229 w 236"/>
                <a:gd name="T111" fmla="*/ 213 h 277"/>
                <a:gd name="T112" fmla="*/ 233 w 236"/>
                <a:gd name="T113" fmla="*/ 218 h 277"/>
                <a:gd name="T114" fmla="*/ 233 w 236"/>
                <a:gd name="T115" fmla="*/ 197 h 277"/>
                <a:gd name="T116" fmla="*/ 233 w 236"/>
                <a:gd name="T117" fmla="*/ 1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277">
                  <a:moveTo>
                    <a:pt x="236" y="178"/>
                  </a:moveTo>
                  <a:lnTo>
                    <a:pt x="236" y="178"/>
                  </a:lnTo>
                  <a:lnTo>
                    <a:pt x="233" y="173"/>
                  </a:lnTo>
                  <a:lnTo>
                    <a:pt x="231" y="168"/>
                  </a:lnTo>
                  <a:lnTo>
                    <a:pt x="231" y="166"/>
                  </a:lnTo>
                  <a:lnTo>
                    <a:pt x="229" y="164"/>
                  </a:lnTo>
                  <a:lnTo>
                    <a:pt x="229" y="166"/>
                  </a:lnTo>
                  <a:lnTo>
                    <a:pt x="226" y="164"/>
                  </a:lnTo>
                  <a:lnTo>
                    <a:pt x="222" y="161"/>
                  </a:lnTo>
                  <a:lnTo>
                    <a:pt x="219" y="159"/>
                  </a:lnTo>
                  <a:lnTo>
                    <a:pt x="219" y="159"/>
                  </a:lnTo>
                  <a:lnTo>
                    <a:pt x="217" y="156"/>
                  </a:lnTo>
                  <a:lnTo>
                    <a:pt x="217" y="152"/>
                  </a:lnTo>
                  <a:lnTo>
                    <a:pt x="215" y="147"/>
                  </a:lnTo>
                  <a:lnTo>
                    <a:pt x="215" y="147"/>
                  </a:lnTo>
                  <a:lnTo>
                    <a:pt x="217" y="142"/>
                  </a:lnTo>
                  <a:lnTo>
                    <a:pt x="217" y="142"/>
                  </a:lnTo>
                  <a:lnTo>
                    <a:pt x="217" y="140"/>
                  </a:lnTo>
                  <a:lnTo>
                    <a:pt x="217" y="138"/>
                  </a:lnTo>
                  <a:lnTo>
                    <a:pt x="217" y="138"/>
                  </a:lnTo>
                  <a:lnTo>
                    <a:pt x="217" y="140"/>
                  </a:lnTo>
                  <a:lnTo>
                    <a:pt x="215" y="140"/>
                  </a:lnTo>
                  <a:lnTo>
                    <a:pt x="215" y="140"/>
                  </a:lnTo>
                  <a:lnTo>
                    <a:pt x="205" y="140"/>
                  </a:lnTo>
                  <a:lnTo>
                    <a:pt x="198" y="140"/>
                  </a:lnTo>
                  <a:lnTo>
                    <a:pt x="191" y="138"/>
                  </a:lnTo>
                  <a:lnTo>
                    <a:pt x="184" y="138"/>
                  </a:lnTo>
                  <a:lnTo>
                    <a:pt x="184" y="135"/>
                  </a:lnTo>
                  <a:lnTo>
                    <a:pt x="182" y="130"/>
                  </a:lnTo>
                  <a:lnTo>
                    <a:pt x="182" y="128"/>
                  </a:lnTo>
                  <a:lnTo>
                    <a:pt x="182" y="121"/>
                  </a:lnTo>
                  <a:lnTo>
                    <a:pt x="177" y="119"/>
                  </a:lnTo>
                  <a:lnTo>
                    <a:pt x="175" y="114"/>
                  </a:lnTo>
                  <a:lnTo>
                    <a:pt x="175" y="114"/>
                  </a:lnTo>
                  <a:lnTo>
                    <a:pt x="177" y="114"/>
                  </a:lnTo>
                  <a:lnTo>
                    <a:pt x="179" y="114"/>
                  </a:lnTo>
                  <a:lnTo>
                    <a:pt x="179" y="104"/>
                  </a:lnTo>
                  <a:lnTo>
                    <a:pt x="177" y="102"/>
                  </a:lnTo>
                  <a:lnTo>
                    <a:pt x="177" y="100"/>
                  </a:lnTo>
                  <a:lnTo>
                    <a:pt x="177" y="97"/>
                  </a:lnTo>
                  <a:lnTo>
                    <a:pt x="175" y="95"/>
                  </a:lnTo>
                  <a:lnTo>
                    <a:pt x="175" y="95"/>
                  </a:lnTo>
                  <a:lnTo>
                    <a:pt x="175" y="93"/>
                  </a:lnTo>
                  <a:lnTo>
                    <a:pt x="175" y="93"/>
                  </a:lnTo>
                  <a:lnTo>
                    <a:pt x="175" y="90"/>
                  </a:lnTo>
                  <a:lnTo>
                    <a:pt x="175" y="88"/>
                  </a:lnTo>
                  <a:lnTo>
                    <a:pt x="175" y="88"/>
                  </a:lnTo>
                  <a:lnTo>
                    <a:pt x="172" y="86"/>
                  </a:lnTo>
                  <a:lnTo>
                    <a:pt x="172" y="86"/>
                  </a:lnTo>
                  <a:lnTo>
                    <a:pt x="170" y="83"/>
                  </a:lnTo>
                  <a:lnTo>
                    <a:pt x="165" y="81"/>
                  </a:lnTo>
                  <a:lnTo>
                    <a:pt x="163" y="78"/>
                  </a:lnTo>
                  <a:lnTo>
                    <a:pt x="160" y="81"/>
                  </a:lnTo>
                  <a:lnTo>
                    <a:pt x="156" y="81"/>
                  </a:lnTo>
                  <a:lnTo>
                    <a:pt x="153" y="81"/>
                  </a:lnTo>
                  <a:lnTo>
                    <a:pt x="153" y="81"/>
                  </a:lnTo>
                  <a:lnTo>
                    <a:pt x="149" y="81"/>
                  </a:lnTo>
                  <a:lnTo>
                    <a:pt x="146" y="78"/>
                  </a:lnTo>
                  <a:lnTo>
                    <a:pt x="146" y="78"/>
                  </a:lnTo>
                  <a:lnTo>
                    <a:pt x="144" y="74"/>
                  </a:lnTo>
                  <a:lnTo>
                    <a:pt x="142" y="74"/>
                  </a:lnTo>
                  <a:lnTo>
                    <a:pt x="142" y="71"/>
                  </a:lnTo>
                  <a:lnTo>
                    <a:pt x="139" y="71"/>
                  </a:lnTo>
                  <a:lnTo>
                    <a:pt x="137" y="71"/>
                  </a:lnTo>
                  <a:lnTo>
                    <a:pt x="134" y="71"/>
                  </a:lnTo>
                  <a:lnTo>
                    <a:pt x="132" y="69"/>
                  </a:lnTo>
                  <a:lnTo>
                    <a:pt x="130" y="69"/>
                  </a:lnTo>
                  <a:lnTo>
                    <a:pt x="130" y="69"/>
                  </a:lnTo>
                  <a:lnTo>
                    <a:pt x="127" y="67"/>
                  </a:lnTo>
                  <a:lnTo>
                    <a:pt x="125" y="64"/>
                  </a:lnTo>
                  <a:lnTo>
                    <a:pt x="125" y="64"/>
                  </a:lnTo>
                  <a:lnTo>
                    <a:pt x="125" y="62"/>
                  </a:lnTo>
                  <a:lnTo>
                    <a:pt x="123" y="62"/>
                  </a:lnTo>
                  <a:lnTo>
                    <a:pt x="123" y="62"/>
                  </a:lnTo>
                  <a:lnTo>
                    <a:pt x="120" y="62"/>
                  </a:lnTo>
                  <a:lnTo>
                    <a:pt x="118" y="62"/>
                  </a:lnTo>
                  <a:lnTo>
                    <a:pt x="116" y="62"/>
                  </a:lnTo>
                  <a:lnTo>
                    <a:pt x="116" y="59"/>
                  </a:lnTo>
                  <a:lnTo>
                    <a:pt x="113" y="59"/>
                  </a:lnTo>
                  <a:lnTo>
                    <a:pt x="113" y="57"/>
                  </a:lnTo>
                  <a:lnTo>
                    <a:pt x="111" y="57"/>
                  </a:lnTo>
                  <a:lnTo>
                    <a:pt x="109" y="59"/>
                  </a:lnTo>
                  <a:lnTo>
                    <a:pt x="106" y="59"/>
                  </a:lnTo>
                  <a:lnTo>
                    <a:pt x="101" y="57"/>
                  </a:lnTo>
                  <a:lnTo>
                    <a:pt x="99" y="57"/>
                  </a:lnTo>
                  <a:lnTo>
                    <a:pt x="97" y="55"/>
                  </a:lnTo>
                  <a:lnTo>
                    <a:pt x="97" y="52"/>
                  </a:lnTo>
                  <a:lnTo>
                    <a:pt x="94" y="52"/>
                  </a:lnTo>
                  <a:lnTo>
                    <a:pt x="94" y="50"/>
                  </a:lnTo>
                  <a:lnTo>
                    <a:pt x="92" y="50"/>
                  </a:lnTo>
                  <a:lnTo>
                    <a:pt x="90" y="48"/>
                  </a:lnTo>
                  <a:lnTo>
                    <a:pt x="90" y="48"/>
                  </a:lnTo>
                  <a:lnTo>
                    <a:pt x="87" y="48"/>
                  </a:lnTo>
                  <a:lnTo>
                    <a:pt x="87" y="45"/>
                  </a:lnTo>
                  <a:lnTo>
                    <a:pt x="87" y="45"/>
                  </a:lnTo>
                  <a:lnTo>
                    <a:pt x="87" y="45"/>
                  </a:lnTo>
                  <a:lnTo>
                    <a:pt x="85" y="43"/>
                  </a:lnTo>
                  <a:lnTo>
                    <a:pt x="85" y="43"/>
                  </a:lnTo>
                  <a:lnTo>
                    <a:pt x="85" y="43"/>
                  </a:lnTo>
                  <a:lnTo>
                    <a:pt x="85" y="43"/>
                  </a:lnTo>
                  <a:lnTo>
                    <a:pt x="83" y="43"/>
                  </a:lnTo>
                  <a:lnTo>
                    <a:pt x="83" y="43"/>
                  </a:lnTo>
                  <a:lnTo>
                    <a:pt x="83" y="41"/>
                  </a:lnTo>
                  <a:lnTo>
                    <a:pt x="83" y="38"/>
                  </a:lnTo>
                  <a:lnTo>
                    <a:pt x="83" y="38"/>
                  </a:lnTo>
                  <a:lnTo>
                    <a:pt x="80" y="36"/>
                  </a:lnTo>
                  <a:lnTo>
                    <a:pt x="80" y="33"/>
                  </a:lnTo>
                  <a:lnTo>
                    <a:pt x="80" y="33"/>
                  </a:lnTo>
                  <a:lnTo>
                    <a:pt x="80" y="33"/>
                  </a:lnTo>
                  <a:lnTo>
                    <a:pt x="80" y="31"/>
                  </a:lnTo>
                  <a:lnTo>
                    <a:pt x="78" y="31"/>
                  </a:lnTo>
                  <a:lnTo>
                    <a:pt x="80" y="29"/>
                  </a:lnTo>
                  <a:lnTo>
                    <a:pt x="80" y="26"/>
                  </a:lnTo>
                  <a:lnTo>
                    <a:pt x="80" y="24"/>
                  </a:lnTo>
                  <a:lnTo>
                    <a:pt x="78" y="22"/>
                  </a:lnTo>
                  <a:lnTo>
                    <a:pt x="78" y="19"/>
                  </a:lnTo>
                  <a:lnTo>
                    <a:pt x="78" y="17"/>
                  </a:lnTo>
                  <a:lnTo>
                    <a:pt x="78" y="15"/>
                  </a:lnTo>
                  <a:lnTo>
                    <a:pt x="78" y="15"/>
                  </a:lnTo>
                  <a:lnTo>
                    <a:pt x="80" y="12"/>
                  </a:lnTo>
                  <a:lnTo>
                    <a:pt x="80" y="10"/>
                  </a:lnTo>
                  <a:lnTo>
                    <a:pt x="78" y="7"/>
                  </a:lnTo>
                  <a:lnTo>
                    <a:pt x="78" y="5"/>
                  </a:lnTo>
                  <a:lnTo>
                    <a:pt x="78" y="3"/>
                  </a:lnTo>
                  <a:lnTo>
                    <a:pt x="78" y="0"/>
                  </a:lnTo>
                  <a:lnTo>
                    <a:pt x="78" y="0"/>
                  </a:lnTo>
                  <a:lnTo>
                    <a:pt x="76" y="0"/>
                  </a:lnTo>
                  <a:lnTo>
                    <a:pt x="76" y="0"/>
                  </a:lnTo>
                  <a:lnTo>
                    <a:pt x="73" y="3"/>
                  </a:lnTo>
                  <a:lnTo>
                    <a:pt x="73" y="3"/>
                  </a:lnTo>
                  <a:lnTo>
                    <a:pt x="71" y="0"/>
                  </a:lnTo>
                  <a:lnTo>
                    <a:pt x="68" y="0"/>
                  </a:lnTo>
                  <a:lnTo>
                    <a:pt x="61" y="3"/>
                  </a:lnTo>
                  <a:lnTo>
                    <a:pt x="59" y="3"/>
                  </a:lnTo>
                  <a:lnTo>
                    <a:pt x="57" y="3"/>
                  </a:lnTo>
                  <a:lnTo>
                    <a:pt x="54" y="3"/>
                  </a:lnTo>
                  <a:lnTo>
                    <a:pt x="52" y="5"/>
                  </a:lnTo>
                  <a:lnTo>
                    <a:pt x="45" y="12"/>
                  </a:lnTo>
                  <a:lnTo>
                    <a:pt x="45" y="12"/>
                  </a:lnTo>
                  <a:lnTo>
                    <a:pt x="43" y="12"/>
                  </a:lnTo>
                  <a:lnTo>
                    <a:pt x="43" y="15"/>
                  </a:lnTo>
                  <a:lnTo>
                    <a:pt x="40" y="15"/>
                  </a:lnTo>
                  <a:lnTo>
                    <a:pt x="38" y="17"/>
                  </a:lnTo>
                  <a:lnTo>
                    <a:pt x="35" y="19"/>
                  </a:lnTo>
                  <a:lnTo>
                    <a:pt x="35" y="19"/>
                  </a:lnTo>
                  <a:lnTo>
                    <a:pt x="33" y="19"/>
                  </a:lnTo>
                  <a:lnTo>
                    <a:pt x="33" y="19"/>
                  </a:lnTo>
                  <a:lnTo>
                    <a:pt x="31" y="19"/>
                  </a:lnTo>
                  <a:lnTo>
                    <a:pt x="28" y="22"/>
                  </a:lnTo>
                  <a:lnTo>
                    <a:pt x="28" y="22"/>
                  </a:lnTo>
                  <a:lnTo>
                    <a:pt x="26" y="26"/>
                  </a:lnTo>
                  <a:lnTo>
                    <a:pt x="24" y="26"/>
                  </a:lnTo>
                  <a:lnTo>
                    <a:pt x="24" y="26"/>
                  </a:lnTo>
                  <a:lnTo>
                    <a:pt x="21" y="29"/>
                  </a:lnTo>
                  <a:lnTo>
                    <a:pt x="19" y="29"/>
                  </a:lnTo>
                  <a:lnTo>
                    <a:pt x="19" y="29"/>
                  </a:lnTo>
                  <a:lnTo>
                    <a:pt x="17" y="29"/>
                  </a:lnTo>
                  <a:lnTo>
                    <a:pt x="17" y="29"/>
                  </a:lnTo>
                  <a:lnTo>
                    <a:pt x="17" y="29"/>
                  </a:lnTo>
                  <a:lnTo>
                    <a:pt x="14" y="26"/>
                  </a:lnTo>
                  <a:lnTo>
                    <a:pt x="12" y="26"/>
                  </a:lnTo>
                  <a:lnTo>
                    <a:pt x="7" y="26"/>
                  </a:lnTo>
                  <a:lnTo>
                    <a:pt x="2" y="26"/>
                  </a:lnTo>
                  <a:lnTo>
                    <a:pt x="0" y="26"/>
                  </a:lnTo>
                  <a:lnTo>
                    <a:pt x="5" y="31"/>
                  </a:lnTo>
                  <a:lnTo>
                    <a:pt x="5" y="33"/>
                  </a:lnTo>
                  <a:lnTo>
                    <a:pt x="7" y="38"/>
                  </a:lnTo>
                  <a:lnTo>
                    <a:pt x="10" y="41"/>
                  </a:lnTo>
                  <a:lnTo>
                    <a:pt x="12" y="45"/>
                  </a:lnTo>
                  <a:lnTo>
                    <a:pt x="14" y="50"/>
                  </a:lnTo>
                  <a:lnTo>
                    <a:pt x="17" y="55"/>
                  </a:lnTo>
                  <a:lnTo>
                    <a:pt x="19" y="59"/>
                  </a:lnTo>
                  <a:lnTo>
                    <a:pt x="19" y="59"/>
                  </a:lnTo>
                  <a:lnTo>
                    <a:pt x="19" y="62"/>
                  </a:lnTo>
                  <a:lnTo>
                    <a:pt x="19" y="62"/>
                  </a:lnTo>
                  <a:lnTo>
                    <a:pt x="19" y="64"/>
                  </a:lnTo>
                  <a:lnTo>
                    <a:pt x="17" y="64"/>
                  </a:lnTo>
                  <a:lnTo>
                    <a:pt x="17" y="67"/>
                  </a:lnTo>
                  <a:lnTo>
                    <a:pt x="14" y="67"/>
                  </a:lnTo>
                  <a:lnTo>
                    <a:pt x="14" y="69"/>
                  </a:lnTo>
                  <a:lnTo>
                    <a:pt x="17" y="78"/>
                  </a:lnTo>
                  <a:lnTo>
                    <a:pt x="17" y="81"/>
                  </a:lnTo>
                  <a:lnTo>
                    <a:pt x="17" y="81"/>
                  </a:lnTo>
                  <a:lnTo>
                    <a:pt x="14" y="83"/>
                  </a:lnTo>
                  <a:lnTo>
                    <a:pt x="14" y="83"/>
                  </a:lnTo>
                  <a:lnTo>
                    <a:pt x="17" y="86"/>
                  </a:lnTo>
                  <a:lnTo>
                    <a:pt x="17" y="90"/>
                  </a:lnTo>
                  <a:lnTo>
                    <a:pt x="19" y="90"/>
                  </a:lnTo>
                  <a:lnTo>
                    <a:pt x="19" y="93"/>
                  </a:lnTo>
                  <a:lnTo>
                    <a:pt x="19" y="95"/>
                  </a:lnTo>
                  <a:lnTo>
                    <a:pt x="19" y="95"/>
                  </a:lnTo>
                  <a:lnTo>
                    <a:pt x="19" y="95"/>
                  </a:lnTo>
                  <a:lnTo>
                    <a:pt x="17" y="95"/>
                  </a:lnTo>
                  <a:lnTo>
                    <a:pt x="17" y="97"/>
                  </a:lnTo>
                  <a:lnTo>
                    <a:pt x="17" y="100"/>
                  </a:lnTo>
                  <a:lnTo>
                    <a:pt x="17" y="100"/>
                  </a:lnTo>
                  <a:lnTo>
                    <a:pt x="14" y="102"/>
                  </a:lnTo>
                  <a:lnTo>
                    <a:pt x="14" y="102"/>
                  </a:lnTo>
                  <a:lnTo>
                    <a:pt x="14" y="102"/>
                  </a:lnTo>
                  <a:lnTo>
                    <a:pt x="14" y="104"/>
                  </a:lnTo>
                  <a:lnTo>
                    <a:pt x="14" y="107"/>
                  </a:lnTo>
                  <a:lnTo>
                    <a:pt x="12" y="107"/>
                  </a:lnTo>
                  <a:lnTo>
                    <a:pt x="12" y="109"/>
                  </a:lnTo>
                  <a:lnTo>
                    <a:pt x="12" y="112"/>
                  </a:lnTo>
                  <a:lnTo>
                    <a:pt x="12" y="112"/>
                  </a:lnTo>
                  <a:lnTo>
                    <a:pt x="17" y="116"/>
                  </a:lnTo>
                  <a:lnTo>
                    <a:pt x="17" y="116"/>
                  </a:lnTo>
                  <a:lnTo>
                    <a:pt x="14" y="119"/>
                  </a:lnTo>
                  <a:lnTo>
                    <a:pt x="14" y="121"/>
                  </a:lnTo>
                  <a:lnTo>
                    <a:pt x="12" y="123"/>
                  </a:lnTo>
                  <a:lnTo>
                    <a:pt x="12" y="126"/>
                  </a:lnTo>
                  <a:lnTo>
                    <a:pt x="14" y="128"/>
                  </a:lnTo>
                  <a:lnTo>
                    <a:pt x="17" y="135"/>
                  </a:lnTo>
                  <a:lnTo>
                    <a:pt x="19" y="138"/>
                  </a:lnTo>
                  <a:lnTo>
                    <a:pt x="19" y="138"/>
                  </a:lnTo>
                  <a:lnTo>
                    <a:pt x="21" y="138"/>
                  </a:lnTo>
                  <a:lnTo>
                    <a:pt x="24" y="138"/>
                  </a:lnTo>
                  <a:lnTo>
                    <a:pt x="24" y="140"/>
                  </a:lnTo>
                  <a:lnTo>
                    <a:pt x="24" y="140"/>
                  </a:lnTo>
                  <a:lnTo>
                    <a:pt x="24" y="140"/>
                  </a:lnTo>
                  <a:lnTo>
                    <a:pt x="24" y="140"/>
                  </a:lnTo>
                  <a:lnTo>
                    <a:pt x="21" y="142"/>
                  </a:lnTo>
                  <a:lnTo>
                    <a:pt x="21" y="142"/>
                  </a:lnTo>
                  <a:lnTo>
                    <a:pt x="21" y="145"/>
                  </a:lnTo>
                  <a:lnTo>
                    <a:pt x="21" y="147"/>
                  </a:lnTo>
                  <a:lnTo>
                    <a:pt x="21" y="147"/>
                  </a:lnTo>
                  <a:lnTo>
                    <a:pt x="19" y="147"/>
                  </a:lnTo>
                  <a:lnTo>
                    <a:pt x="19" y="149"/>
                  </a:lnTo>
                  <a:lnTo>
                    <a:pt x="19" y="152"/>
                  </a:lnTo>
                  <a:lnTo>
                    <a:pt x="17" y="154"/>
                  </a:lnTo>
                  <a:lnTo>
                    <a:pt x="17" y="154"/>
                  </a:lnTo>
                  <a:lnTo>
                    <a:pt x="14" y="156"/>
                  </a:lnTo>
                  <a:lnTo>
                    <a:pt x="14" y="156"/>
                  </a:lnTo>
                  <a:lnTo>
                    <a:pt x="12" y="159"/>
                  </a:lnTo>
                  <a:lnTo>
                    <a:pt x="12" y="159"/>
                  </a:lnTo>
                  <a:lnTo>
                    <a:pt x="12" y="159"/>
                  </a:lnTo>
                  <a:lnTo>
                    <a:pt x="14" y="161"/>
                  </a:lnTo>
                  <a:lnTo>
                    <a:pt x="14" y="161"/>
                  </a:lnTo>
                  <a:lnTo>
                    <a:pt x="14" y="164"/>
                  </a:lnTo>
                  <a:lnTo>
                    <a:pt x="14" y="164"/>
                  </a:lnTo>
                  <a:lnTo>
                    <a:pt x="14" y="164"/>
                  </a:lnTo>
                  <a:lnTo>
                    <a:pt x="17" y="166"/>
                  </a:lnTo>
                  <a:lnTo>
                    <a:pt x="19" y="171"/>
                  </a:lnTo>
                  <a:lnTo>
                    <a:pt x="19" y="173"/>
                  </a:lnTo>
                  <a:lnTo>
                    <a:pt x="21" y="173"/>
                  </a:lnTo>
                  <a:lnTo>
                    <a:pt x="24" y="175"/>
                  </a:lnTo>
                  <a:lnTo>
                    <a:pt x="24" y="175"/>
                  </a:lnTo>
                  <a:lnTo>
                    <a:pt x="24" y="178"/>
                  </a:lnTo>
                  <a:lnTo>
                    <a:pt x="24" y="178"/>
                  </a:lnTo>
                  <a:lnTo>
                    <a:pt x="24" y="180"/>
                  </a:lnTo>
                  <a:lnTo>
                    <a:pt x="24" y="180"/>
                  </a:lnTo>
                  <a:lnTo>
                    <a:pt x="24" y="182"/>
                  </a:lnTo>
                  <a:lnTo>
                    <a:pt x="26" y="185"/>
                  </a:lnTo>
                  <a:lnTo>
                    <a:pt x="26" y="187"/>
                  </a:lnTo>
                  <a:lnTo>
                    <a:pt x="26" y="190"/>
                  </a:lnTo>
                  <a:lnTo>
                    <a:pt x="28" y="192"/>
                  </a:lnTo>
                  <a:lnTo>
                    <a:pt x="28" y="194"/>
                  </a:lnTo>
                  <a:lnTo>
                    <a:pt x="28" y="194"/>
                  </a:lnTo>
                  <a:lnTo>
                    <a:pt x="28" y="197"/>
                  </a:lnTo>
                  <a:lnTo>
                    <a:pt x="31" y="199"/>
                  </a:lnTo>
                  <a:lnTo>
                    <a:pt x="33" y="199"/>
                  </a:lnTo>
                  <a:lnTo>
                    <a:pt x="35" y="201"/>
                  </a:lnTo>
                  <a:lnTo>
                    <a:pt x="35" y="201"/>
                  </a:lnTo>
                  <a:lnTo>
                    <a:pt x="38" y="204"/>
                  </a:lnTo>
                  <a:lnTo>
                    <a:pt x="38" y="204"/>
                  </a:lnTo>
                  <a:lnTo>
                    <a:pt x="38" y="204"/>
                  </a:lnTo>
                  <a:lnTo>
                    <a:pt x="38" y="206"/>
                  </a:lnTo>
                  <a:lnTo>
                    <a:pt x="38" y="206"/>
                  </a:lnTo>
                  <a:lnTo>
                    <a:pt x="38" y="208"/>
                  </a:lnTo>
                  <a:lnTo>
                    <a:pt x="35" y="211"/>
                  </a:lnTo>
                  <a:lnTo>
                    <a:pt x="35" y="211"/>
                  </a:lnTo>
                  <a:lnTo>
                    <a:pt x="38" y="213"/>
                  </a:lnTo>
                  <a:lnTo>
                    <a:pt x="38" y="216"/>
                  </a:lnTo>
                  <a:lnTo>
                    <a:pt x="38" y="216"/>
                  </a:lnTo>
                  <a:lnTo>
                    <a:pt x="38" y="218"/>
                  </a:lnTo>
                  <a:lnTo>
                    <a:pt x="35" y="218"/>
                  </a:lnTo>
                  <a:lnTo>
                    <a:pt x="35" y="218"/>
                  </a:lnTo>
                  <a:lnTo>
                    <a:pt x="35" y="220"/>
                  </a:lnTo>
                  <a:lnTo>
                    <a:pt x="35" y="220"/>
                  </a:lnTo>
                  <a:lnTo>
                    <a:pt x="35" y="223"/>
                  </a:lnTo>
                  <a:lnTo>
                    <a:pt x="38" y="223"/>
                  </a:lnTo>
                  <a:lnTo>
                    <a:pt x="35" y="225"/>
                  </a:lnTo>
                  <a:lnTo>
                    <a:pt x="35" y="225"/>
                  </a:lnTo>
                  <a:lnTo>
                    <a:pt x="35" y="225"/>
                  </a:lnTo>
                  <a:lnTo>
                    <a:pt x="35" y="227"/>
                  </a:lnTo>
                  <a:lnTo>
                    <a:pt x="38" y="227"/>
                  </a:lnTo>
                  <a:lnTo>
                    <a:pt x="40" y="230"/>
                  </a:lnTo>
                  <a:lnTo>
                    <a:pt x="40" y="230"/>
                  </a:lnTo>
                  <a:lnTo>
                    <a:pt x="40" y="230"/>
                  </a:lnTo>
                  <a:lnTo>
                    <a:pt x="40" y="232"/>
                  </a:lnTo>
                  <a:lnTo>
                    <a:pt x="40" y="232"/>
                  </a:lnTo>
                  <a:lnTo>
                    <a:pt x="40" y="234"/>
                  </a:lnTo>
                  <a:lnTo>
                    <a:pt x="40" y="237"/>
                  </a:lnTo>
                  <a:lnTo>
                    <a:pt x="40" y="237"/>
                  </a:lnTo>
                  <a:lnTo>
                    <a:pt x="43" y="237"/>
                  </a:lnTo>
                  <a:lnTo>
                    <a:pt x="45" y="242"/>
                  </a:lnTo>
                  <a:lnTo>
                    <a:pt x="47" y="244"/>
                  </a:lnTo>
                  <a:lnTo>
                    <a:pt x="50" y="249"/>
                  </a:lnTo>
                  <a:lnTo>
                    <a:pt x="50" y="251"/>
                  </a:lnTo>
                  <a:lnTo>
                    <a:pt x="52" y="253"/>
                  </a:lnTo>
                  <a:lnTo>
                    <a:pt x="52" y="256"/>
                  </a:lnTo>
                  <a:lnTo>
                    <a:pt x="52" y="258"/>
                  </a:lnTo>
                  <a:lnTo>
                    <a:pt x="54" y="260"/>
                  </a:lnTo>
                  <a:lnTo>
                    <a:pt x="54" y="263"/>
                  </a:lnTo>
                  <a:lnTo>
                    <a:pt x="54" y="265"/>
                  </a:lnTo>
                  <a:lnTo>
                    <a:pt x="54" y="265"/>
                  </a:lnTo>
                  <a:lnTo>
                    <a:pt x="57" y="270"/>
                  </a:lnTo>
                  <a:lnTo>
                    <a:pt x="57" y="272"/>
                  </a:lnTo>
                  <a:lnTo>
                    <a:pt x="57" y="275"/>
                  </a:lnTo>
                  <a:lnTo>
                    <a:pt x="57" y="275"/>
                  </a:lnTo>
                  <a:lnTo>
                    <a:pt x="59" y="277"/>
                  </a:lnTo>
                  <a:lnTo>
                    <a:pt x="59" y="277"/>
                  </a:lnTo>
                  <a:lnTo>
                    <a:pt x="59" y="277"/>
                  </a:lnTo>
                  <a:lnTo>
                    <a:pt x="61" y="277"/>
                  </a:lnTo>
                  <a:lnTo>
                    <a:pt x="64" y="277"/>
                  </a:lnTo>
                  <a:lnTo>
                    <a:pt x="68" y="277"/>
                  </a:lnTo>
                  <a:lnTo>
                    <a:pt x="71" y="277"/>
                  </a:lnTo>
                  <a:lnTo>
                    <a:pt x="71" y="275"/>
                  </a:lnTo>
                  <a:lnTo>
                    <a:pt x="73" y="272"/>
                  </a:lnTo>
                  <a:lnTo>
                    <a:pt x="73" y="270"/>
                  </a:lnTo>
                  <a:lnTo>
                    <a:pt x="73" y="270"/>
                  </a:lnTo>
                  <a:lnTo>
                    <a:pt x="76" y="268"/>
                  </a:lnTo>
                  <a:lnTo>
                    <a:pt x="78" y="268"/>
                  </a:lnTo>
                  <a:lnTo>
                    <a:pt x="78" y="265"/>
                  </a:lnTo>
                  <a:lnTo>
                    <a:pt x="78" y="263"/>
                  </a:lnTo>
                  <a:lnTo>
                    <a:pt x="78" y="263"/>
                  </a:lnTo>
                  <a:lnTo>
                    <a:pt x="80" y="263"/>
                  </a:lnTo>
                  <a:lnTo>
                    <a:pt x="83" y="260"/>
                  </a:lnTo>
                  <a:lnTo>
                    <a:pt x="85" y="260"/>
                  </a:lnTo>
                  <a:lnTo>
                    <a:pt x="85" y="258"/>
                  </a:lnTo>
                  <a:lnTo>
                    <a:pt x="85" y="256"/>
                  </a:lnTo>
                  <a:lnTo>
                    <a:pt x="85" y="256"/>
                  </a:lnTo>
                  <a:lnTo>
                    <a:pt x="87" y="256"/>
                  </a:lnTo>
                  <a:lnTo>
                    <a:pt x="87" y="256"/>
                  </a:lnTo>
                  <a:lnTo>
                    <a:pt x="90" y="256"/>
                  </a:lnTo>
                  <a:lnTo>
                    <a:pt x="92" y="260"/>
                  </a:lnTo>
                  <a:lnTo>
                    <a:pt x="94" y="260"/>
                  </a:lnTo>
                  <a:lnTo>
                    <a:pt x="97" y="260"/>
                  </a:lnTo>
                  <a:lnTo>
                    <a:pt x="99" y="260"/>
                  </a:lnTo>
                  <a:lnTo>
                    <a:pt x="99" y="260"/>
                  </a:lnTo>
                  <a:lnTo>
                    <a:pt x="109" y="260"/>
                  </a:lnTo>
                  <a:lnTo>
                    <a:pt x="109" y="260"/>
                  </a:lnTo>
                  <a:lnTo>
                    <a:pt x="111" y="263"/>
                  </a:lnTo>
                  <a:lnTo>
                    <a:pt x="113" y="263"/>
                  </a:lnTo>
                  <a:lnTo>
                    <a:pt x="113" y="263"/>
                  </a:lnTo>
                  <a:lnTo>
                    <a:pt x="116" y="263"/>
                  </a:lnTo>
                  <a:lnTo>
                    <a:pt x="118" y="268"/>
                  </a:lnTo>
                  <a:lnTo>
                    <a:pt x="118" y="270"/>
                  </a:lnTo>
                  <a:lnTo>
                    <a:pt x="120" y="272"/>
                  </a:lnTo>
                  <a:lnTo>
                    <a:pt x="123" y="275"/>
                  </a:lnTo>
                  <a:lnTo>
                    <a:pt x="123" y="277"/>
                  </a:lnTo>
                  <a:lnTo>
                    <a:pt x="123" y="277"/>
                  </a:lnTo>
                  <a:lnTo>
                    <a:pt x="123" y="272"/>
                  </a:lnTo>
                  <a:lnTo>
                    <a:pt x="125" y="270"/>
                  </a:lnTo>
                  <a:lnTo>
                    <a:pt x="125" y="268"/>
                  </a:lnTo>
                  <a:lnTo>
                    <a:pt x="127" y="260"/>
                  </a:lnTo>
                  <a:lnTo>
                    <a:pt x="127" y="260"/>
                  </a:lnTo>
                  <a:lnTo>
                    <a:pt x="130" y="260"/>
                  </a:lnTo>
                  <a:lnTo>
                    <a:pt x="130" y="258"/>
                  </a:lnTo>
                  <a:lnTo>
                    <a:pt x="130" y="260"/>
                  </a:lnTo>
                  <a:lnTo>
                    <a:pt x="132" y="260"/>
                  </a:lnTo>
                  <a:lnTo>
                    <a:pt x="132" y="258"/>
                  </a:lnTo>
                  <a:lnTo>
                    <a:pt x="139" y="258"/>
                  </a:lnTo>
                  <a:lnTo>
                    <a:pt x="149" y="258"/>
                  </a:lnTo>
                  <a:lnTo>
                    <a:pt x="149" y="258"/>
                  </a:lnTo>
                  <a:lnTo>
                    <a:pt x="149" y="260"/>
                  </a:lnTo>
                  <a:lnTo>
                    <a:pt x="149" y="263"/>
                  </a:lnTo>
                  <a:lnTo>
                    <a:pt x="151" y="263"/>
                  </a:lnTo>
                  <a:lnTo>
                    <a:pt x="151" y="265"/>
                  </a:lnTo>
                  <a:lnTo>
                    <a:pt x="151" y="263"/>
                  </a:lnTo>
                  <a:lnTo>
                    <a:pt x="153" y="258"/>
                  </a:lnTo>
                  <a:lnTo>
                    <a:pt x="153" y="253"/>
                  </a:lnTo>
                  <a:lnTo>
                    <a:pt x="153" y="246"/>
                  </a:lnTo>
                  <a:lnTo>
                    <a:pt x="156" y="239"/>
                  </a:lnTo>
                  <a:lnTo>
                    <a:pt x="156" y="234"/>
                  </a:lnTo>
                  <a:lnTo>
                    <a:pt x="153" y="230"/>
                  </a:lnTo>
                  <a:lnTo>
                    <a:pt x="156" y="225"/>
                  </a:lnTo>
                  <a:lnTo>
                    <a:pt x="158" y="220"/>
                  </a:lnTo>
                  <a:lnTo>
                    <a:pt x="160" y="218"/>
                  </a:lnTo>
                  <a:lnTo>
                    <a:pt x="160" y="213"/>
                  </a:lnTo>
                  <a:lnTo>
                    <a:pt x="163" y="208"/>
                  </a:lnTo>
                  <a:lnTo>
                    <a:pt x="165" y="208"/>
                  </a:lnTo>
                  <a:lnTo>
                    <a:pt x="175" y="206"/>
                  </a:lnTo>
                  <a:lnTo>
                    <a:pt x="177" y="206"/>
                  </a:lnTo>
                  <a:lnTo>
                    <a:pt x="184" y="204"/>
                  </a:lnTo>
                  <a:lnTo>
                    <a:pt x="193" y="201"/>
                  </a:lnTo>
                  <a:lnTo>
                    <a:pt x="200" y="201"/>
                  </a:lnTo>
                  <a:lnTo>
                    <a:pt x="210" y="201"/>
                  </a:lnTo>
                  <a:lnTo>
                    <a:pt x="217" y="206"/>
                  </a:lnTo>
                  <a:lnTo>
                    <a:pt x="222" y="208"/>
                  </a:lnTo>
                  <a:lnTo>
                    <a:pt x="229" y="213"/>
                  </a:lnTo>
                  <a:lnTo>
                    <a:pt x="229" y="213"/>
                  </a:lnTo>
                  <a:lnTo>
                    <a:pt x="229" y="218"/>
                  </a:lnTo>
                  <a:lnTo>
                    <a:pt x="229" y="220"/>
                  </a:lnTo>
                  <a:lnTo>
                    <a:pt x="229" y="220"/>
                  </a:lnTo>
                  <a:lnTo>
                    <a:pt x="231" y="220"/>
                  </a:lnTo>
                  <a:lnTo>
                    <a:pt x="231" y="218"/>
                  </a:lnTo>
                  <a:lnTo>
                    <a:pt x="231" y="218"/>
                  </a:lnTo>
                  <a:lnTo>
                    <a:pt x="233" y="218"/>
                  </a:lnTo>
                  <a:lnTo>
                    <a:pt x="233" y="216"/>
                  </a:lnTo>
                  <a:lnTo>
                    <a:pt x="231" y="213"/>
                  </a:lnTo>
                  <a:lnTo>
                    <a:pt x="229" y="211"/>
                  </a:lnTo>
                  <a:lnTo>
                    <a:pt x="229" y="208"/>
                  </a:lnTo>
                  <a:lnTo>
                    <a:pt x="231" y="204"/>
                  </a:lnTo>
                  <a:lnTo>
                    <a:pt x="231" y="201"/>
                  </a:lnTo>
                  <a:lnTo>
                    <a:pt x="233" y="197"/>
                  </a:lnTo>
                  <a:lnTo>
                    <a:pt x="233" y="197"/>
                  </a:lnTo>
                  <a:lnTo>
                    <a:pt x="233" y="197"/>
                  </a:lnTo>
                  <a:lnTo>
                    <a:pt x="233" y="194"/>
                  </a:lnTo>
                  <a:lnTo>
                    <a:pt x="233" y="194"/>
                  </a:lnTo>
                  <a:lnTo>
                    <a:pt x="233" y="194"/>
                  </a:lnTo>
                  <a:lnTo>
                    <a:pt x="233" y="190"/>
                  </a:lnTo>
                  <a:lnTo>
                    <a:pt x="233" y="185"/>
                  </a:lnTo>
                  <a:lnTo>
                    <a:pt x="236" y="180"/>
                  </a:lnTo>
                  <a:lnTo>
                    <a:pt x="236" y="180"/>
                  </a:lnTo>
                  <a:lnTo>
                    <a:pt x="236" y="180"/>
                  </a:lnTo>
                  <a:lnTo>
                    <a:pt x="236" y="180"/>
                  </a:lnTo>
                  <a:lnTo>
                    <a:pt x="236" y="17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5" name="Freeform 381"/>
            <p:cNvSpPr>
              <a:spLocks/>
            </p:cNvSpPr>
            <p:nvPr userDrawn="1"/>
          </p:nvSpPr>
          <p:spPr bwMode="auto">
            <a:xfrm>
              <a:off x="5256" y="2209"/>
              <a:ext cx="61" cy="36"/>
            </a:xfrm>
            <a:custGeom>
              <a:avLst/>
              <a:gdLst>
                <a:gd name="T0" fmla="*/ 61 w 61"/>
                <a:gd name="T1" fmla="*/ 29 h 36"/>
                <a:gd name="T2" fmla="*/ 58 w 61"/>
                <a:gd name="T3" fmla="*/ 26 h 36"/>
                <a:gd name="T4" fmla="*/ 58 w 61"/>
                <a:gd name="T5" fmla="*/ 24 h 36"/>
                <a:gd name="T6" fmla="*/ 58 w 61"/>
                <a:gd name="T7" fmla="*/ 22 h 36"/>
                <a:gd name="T8" fmla="*/ 56 w 61"/>
                <a:gd name="T9" fmla="*/ 19 h 36"/>
                <a:gd name="T10" fmla="*/ 54 w 61"/>
                <a:gd name="T11" fmla="*/ 19 h 36"/>
                <a:gd name="T12" fmla="*/ 49 w 61"/>
                <a:gd name="T13" fmla="*/ 17 h 36"/>
                <a:gd name="T14" fmla="*/ 49 w 61"/>
                <a:gd name="T15" fmla="*/ 15 h 36"/>
                <a:gd name="T16" fmla="*/ 49 w 61"/>
                <a:gd name="T17" fmla="*/ 12 h 36"/>
                <a:gd name="T18" fmla="*/ 49 w 61"/>
                <a:gd name="T19" fmla="*/ 10 h 36"/>
                <a:gd name="T20" fmla="*/ 47 w 61"/>
                <a:gd name="T21" fmla="*/ 8 h 36"/>
                <a:gd name="T22" fmla="*/ 42 w 61"/>
                <a:gd name="T23" fmla="*/ 5 h 36"/>
                <a:gd name="T24" fmla="*/ 42 w 61"/>
                <a:gd name="T25" fmla="*/ 5 h 36"/>
                <a:gd name="T26" fmla="*/ 40 w 61"/>
                <a:gd name="T27" fmla="*/ 8 h 36"/>
                <a:gd name="T28" fmla="*/ 37 w 61"/>
                <a:gd name="T29" fmla="*/ 8 h 36"/>
                <a:gd name="T30" fmla="*/ 33 w 61"/>
                <a:gd name="T31" fmla="*/ 5 h 36"/>
                <a:gd name="T32" fmla="*/ 28 w 61"/>
                <a:gd name="T33" fmla="*/ 5 h 36"/>
                <a:gd name="T34" fmla="*/ 25 w 61"/>
                <a:gd name="T35" fmla="*/ 5 h 36"/>
                <a:gd name="T36" fmla="*/ 25 w 61"/>
                <a:gd name="T37" fmla="*/ 5 h 36"/>
                <a:gd name="T38" fmla="*/ 25 w 61"/>
                <a:gd name="T39" fmla="*/ 3 h 36"/>
                <a:gd name="T40" fmla="*/ 21 w 61"/>
                <a:gd name="T41" fmla="*/ 0 h 36"/>
                <a:gd name="T42" fmla="*/ 16 w 61"/>
                <a:gd name="T43" fmla="*/ 0 h 36"/>
                <a:gd name="T44" fmla="*/ 14 w 61"/>
                <a:gd name="T45" fmla="*/ 3 h 36"/>
                <a:gd name="T46" fmla="*/ 11 w 61"/>
                <a:gd name="T47" fmla="*/ 5 h 36"/>
                <a:gd name="T48" fmla="*/ 9 w 61"/>
                <a:gd name="T49" fmla="*/ 8 h 36"/>
                <a:gd name="T50" fmla="*/ 7 w 61"/>
                <a:gd name="T51" fmla="*/ 15 h 36"/>
                <a:gd name="T52" fmla="*/ 4 w 61"/>
                <a:gd name="T53" fmla="*/ 17 h 36"/>
                <a:gd name="T54" fmla="*/ 2 w 61"/>
                <a:gd name="T55" fmla="*/ 22 h 36"/>
                <a:gd name="T56" fmla="*/ 0 w 61"/>
                <a:gd name="T57" fmla="*/ 24 h 36"/>
                <a:gd name="T58" fmla="*/ 2 w 61"/>
                <a:gd name="T59" fmla="*/ 26 h 36"/>
                <a:gd name="T60" fmla="*/ 2 w 61"/>
                <a:gd name="T61" fmla="*/ 26 h 36"/>
                <a:gd name="T62" fmla="*/ 4 w 61"/>
                <a:gd name="T63" fmla="*/ 31 h 36"/>
                <a:gd name="T64" fmla="*/ 9 w 61"/>
                <a:gd name="T65" fmla="*/ 34 h 36"/>
                <a:gd name="T66" fmla="*/ 14 w 61"/>
                <a:gd name="T67" fmla="*/ 31 h 36"/>
                <a:gd name="T68" fmla="*/ 16 w 61"/>
                <a:gd name="T69" fmla="*/ 34 h 36"/>
                <a:gd name="T70" fmla="*/ 18 w 61"/>
                <a:gd name="T71" fmla="*/ 34 h 36"/>
                <a:gd name="T72" fmla="*/ 18 w 61"/>
                <a:gd name="T73" fmla="*/ 34 h 36"/>
                <a:gd name="T74" fmla="*/ 21 w 61"/>
                <a:gd name="T75" fmla="*/ 36 h 36"/>
                <a:gd name="T76" fmla="*/ 28 w 61"/>
                <a:gd name="T77" fmla="*/ 34 h 36"/>
                <a:gd name="T78" fmla="*/ 28 w 61"/>
                <a:gd name="T79" fmla="*/ 31 h 36"/>
                <a:gd name="T80" fmla="*/ 33 w 61"/>
                <a:gd name="T81" fmla="*/ 31 h 36"/>
                <a:gd name="T82" fmla="*/ 35 w 61"/>
                <a:gd name="T83" fmla="*/ 34 h 36"/>
                <a:gd name="T84" fmla="*/ 40 w 61"/>
                <a:gd name="T85" fmla="*/ 34 h 36"/>
                <a:gd name="T86" fmla="*/ 47 w 61"/>
                <a:gd name="T87" fmla="*/ 34 h 36"/>
                <a:gd name="T88" fmla="*/ 51 w 61"/>
                <a:gd name="T89" fmla="*/ 31 h 36"/>
                <a:gd name="T90" fmla="*/ 54 w 61"/>
                <a:gd name="T91" fmla="*/ 34 h 36"/>
                <a:gd name="T92" fmla="*/ 58 w 61"/>
                <a:gd name="T93" fmla="*/ 31 h 36"/>
                <a:gd name="T94" fmla="*/ 58 w 61"/>
                <a:gd name="T95" fmla="*/ 31 h 36"/>
                <a:gd name="T96" fmla="*/ 61 w 61"/>
                <a:gd name="T97" fmla="*/ 31 h 36"/>
                <a:gd name="T98" fmla="*/ 61 w 61"/>
                <a:gd name="T99"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 h="36">
                  <a:moveTo>
                    <a:pt x="61" y="29"/>
                  </a:moveTo>
                  <a:lnTo>
                    <a:pt x="61" y="29"/>
                  </a:lnTo>
                  <a:lnTo>
                    <a:pt x="58" y="26"/>
                  </a:lnTo>
                  <a:lnTo>
                    <a:pt x="58" y="26"/>
                  </a:lnTo>
                  <a:lnTo>
                    <a:pt x="58" y="26"/>
                  </a:lnTo>
                  <a:lnTo>
                    <a:pt x="58" y="24"/>
                  </a:lnTo>
                  <a:lnTo>
                    <a:pt x="61" y="22"/>
                  </a:lnTo>
                  <a:lnTo>
                    <a:pt x="58" y="22"/>
                  </a:lnTo>
                  <a:lnTo>
                    <a:pt x="58" y="19"/>
                  </a:lnTo>
                  <a:lnTo>
                    <a:pt x="56" y="19"/>
                  </a:lnTo>
                  <a:lnTo>
                    <a:pt x="56" y="19"/>
                  </a:lnTo>
                  <a:lnTo>
                    <a:pt x="54" y="19"/>
                  </a:lnTo>
                  <a:lnTo>
                    <a:pt x="51" y="19"/>
                  </a:lnTo>
                  <a:lnTo>
                    <a:pt x="49" y="17"/>
                  </a:lnTo>
                  <a:lnTo>
                    <a:pt x="49" y="15"/>
                  </a:lnTo>
                  <a:lnTo>
                    <a:pt x="49" y="15"/>
                  </a:lnTo>
                  <a:lnTo>
                    <a:pt x="49" y="12"/>
                  </a:lnTo>
                  <a:lnTo>
                    <a:pt x="49" y="12"/>
                  </a:lnTo>
                  <a:lnTo>
                    <a:pt x="49" y="12"/>
                  </a:lnTo>
                  <a:lnTo>
                    <a:pt x="49" y="10"/>
                  </a:lnTo>
                  <a:lnTo>
                    <a:pt x="49" y="8"/>
                  </a:lnTo>
                  <a:lnTo>
                    <a:pt x="47" y="8"/>
                  </a:lnTo>
                  <a:lnTo>
                    <a:pt x="44" y="8"/>
                  </a:lnTo>
                  <a:lnTo>
                    <a:pt x="42" y="5"/>
                  </a:lnTo>
                  <a:lnTo>
                    <a:pt x="42" y="5"/>
                  </a:lnTo>
                  <a:lnTo>
                    <a:pt x="42" y="5"/>
                  </a:lnTo>
                  <a:lnTo>
                    <a:pt x="40" y="8"/>
                  </a:lnTo>
                  <a:lnTo>
                    <a:pt x="40" y="8"/>
                  </a:lnTo>
                  <a:lnTo>
                    <a:pt x="37" y="8"/>
                  </a:lnTo>
                  <a:lnTo>
                    <a:pt x="37" y="8"/>
                  </a:lnTo>
                  <a:lnTo>
                    <a:pt x="35" y="8"/>
                  </a:lnTo>
                  <a:lnTo>
                    <a:pt x="33" y="5"/>
                  </a:lnTo>
                  <a:lnTo>
                    <a:pt x="30" y="5"/>
                  </a:lnTo>
                  <a:lnTo>
                    <a:pt x="28" y="5"/>
                  </a:lnTo>
                  <a:lnTo>
                    <a:pt x="25" y="5"/>
                  </a:lnTo>
                  <a:lnTo>
                    <a:pt x="25" y="5"/>
                  </a:lnTo>
                  <a:lnTo>
                    <a:pt x="25" y="5"/>
                  </a:lnTo>
                  <a:lnTo>
                    <a:pt x="25" y="5"/>
                  </a:lnTo>
                  <a:lnTo>
                    <a:pt x="25" y="3"/>
                  </a:lnTo>
                  <a:lnTo>
                    <a:pt x="25" y="3"/>
                  </a:lnTo>
                  <a:lnTo>
                    <a:pt x="23" y="3"/>
                  </a:lnTo>
                  <a:lnTo>
                    <a:pt x="21" y="0"/>
                  </a:lnTo>
                  <a:lnTo>
                    <a:pt x="18" y="0"/>
                  </a:lnTo>
                  <a:lnTo>
                    <a:pt x="16" y="0"/>
                  </a:lnTo>
                  <a:lnTo>
                    <a:pt x="16" y="3"/>
                  </a:lnTo>
                  <a:lnTo>
                    <a:pt x="14" y="3"/>
                  </a:lnTo>
                  <a:lnTo>
                    <a:pt x="14" y="5"/>
                  </a:lnTo>
                  <a:lnTo>
                    <a:pt x="11" y="5"/>
                  </a:lnTo>
                  <a:lnTo>
                    <a:pt x="11" y="5"/>
                  </a:lnTo>
                  <a:lnTo>
                    <a:pt x="9" y="8"/>
                  </a:lnTo>
                  <a:lnTo>
                    <a:pt x="7" y="12"/>
                  </a:lnTo>
                  <a:lnTo>
                    <a:pt x="7" y="15"/>
                  </a:lnTo>
                  <a:lnTo>
                    <a:pt x="4" y="17"/>
                  </a:lnTo>
                  <a:lnTo>
                    <a:pt x="4" y="17"/>
                  </a:lnTo>
                  <a:lnTo>
                    <a:pt x="2" y="19"/>
                  </a:lnTo>
                  <a:lnTo>
                    <a:pt x="2" y="22"/>
                  </a:lnTo>
                  <a:lnTo>
                    <a:pt x="2" y="22"/>
                  </a:lnTo>
                  <a:lnTo>
                    <a:pt x="0" y="24"/>
                  </a:lnTo>
                  <a:lnTo>
                    <a:pt x="0" y="24"/>
                  </a:lnTo>
                  <a:lnTo>
                    <a:pt x="2" y="26"/>
                  </a:lnTo>
                  <a:lnTo>
                    <a:pt x="2" y="26"/>
                  </a:lnTo>
                  <a:lnTo>
                    <a:pt x="2" y="26"/>
                  </a:lnTo>
                  <a:lnTo>
                    <a:pt x="4" y="29"/>
                  </a:lnTo>
                  <a:lnTo>
                    <a:pt x="4" y="31"/>
                  </a:lnTo>
                  <a:lnTo>
                    <a:pt x="7" y="31"/>
                  </a:lnTo>
                  <a:lnTo>
                    <a:pt x="9" y="34"/>
                  </a:lnTo>
                  <a:lnTo>
                    <a:pt x="11" y="31"/>
                  </a:lnTo>
                  <a:lnTo>
                    <a:pt x="14" y="31"/>
                  </a:lnTo>
                  <a:lnTo>
                    <a:pt x="16" y="34"/>
                  </a:lnTo>
                  <a:lnTo>
                    <a:pt x="16" y="34"/>
                  </a:lnTo>
                  <a:lnTo>
                    <a:pt x="16" y="34"/>
                  </a:lnTo>
                  <a:lnTo>
                    <a:pt x="18" y="34"/>
                  </a:lnTo>
                  <a:lnTo>
                    <a:pt x="18" y="34"/>
                  </a:lnTo>
                  <a:lnTo>
                    <a:pt x="18" y="34"/>
                  </a:lnTo>
                  <a:lnTo>
                    <a:pt x="18" y="36"/>
                  </a:lnTo>
                  <a:lnTo>
                    <a:pt x="21" y="36"/>
                  </a:lnTo>
                  <a:lnTo>
                    <a:pt x="23" y="34"/>
                  </a:lnTo>
                  <a:lnTo>
                    <a:pt x="28" y="34"/>
                  </a:lnTo>
                  <a:lnTo>
                    <a:pt x="28" y="31"/>
                  </a:lnTo>
                  <a:lnTo>
                    <a:pt x="28" y="31"/>
                  </a:lnTo>
                  <a:lnTo>
                    <a:pt x="30" y="31"/>
                  </a:lnTo>
                  <a:lnTo>
                    <a:pt x="33" y="31"/>
                  </a:lnTo>
                  <a:lnTo>
                    <a:pt x="35" y="34"/>
                  </a:lnTo>
                  <a:lnTo>
                    <a:pt x="35" y="34"/>
                  </a:lnTo>
                  <a:lnTo>
                    <a:pt x="37" y="34"/>
                  </a:lnTo>
                  <a:lnTo>
                    <a:pt x="40" y="34"/>
                  </a:lnTo>
                  <a:lnTo>
                    <a:pt x="44" y="34"/>
                  </a:lnTo>
                  <a:lnTo>
                    <a:pt x="47" y="34"/>
                  </a:lnTo>
                  <a:lnTo>
                    <a:pt x="49" y="31"/>
                  </a:lnTo>
                  <a:lnTo>
                    <a:pt x="51" y="31"/>
                  </a:lnTo>
                  <a:lnTo>
                    <a:pt x="51" y="34"/>
                  </a:lnTo>
                  <a:lnTo>
                    <a:pt x="54" y="34"/>
                  </a:lnTo>
                  <a:lnTo>
                    <a:pt x="56" y="31"/>
                  </a:lnTo>
                  <a:lnTo>
                    <a:pt x="58" y="31"/>
                  </a:lnTo>
                  <a:lnTo>
                    <a:pt x="58" y="31"/>
                  </a:lnTo>
                  <a:lnTo>
                    <a:pt x="58" y="31"/>
                  </a:lnTo>
                  <a:lnTo>
                    <a:pt x="61" y="31"/>
                  </a:lnTo>
                  <a:lnTo>
                    <a:pt x="61" y="31"/>
                  </a:lnTo>
                  <a:lnTo>
                    <a:pt x="61" y="31"/>
                  </a:lnTo>
                  <a:lnTo>
                    <a:pt x="61" y="2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6" name="Freeform 382"/>
            <p:cNvSpPr>
              <a:spLocks/>
            </p:cNvSpPr>
            <p:nvPr userDrawn="1"/>
          </p:nvSpPr>
          <p:spPr bwMode="auto">
            <a:xfrm>
              <a:off x="3667" y="2545"/>
              <a:ext cx="57" cy="133"/>
            </a:xfrm>
            <a:custGeom>
              <a:avLst/>
              <a:gdLst>
                <a:gd name="T0" fmla="*/ 57 w 57"/>
                <a:gd name="T1" fmla="*/ 33 h 133"/>
                <a:gd name="T2" fmla="*/ 54 w 57"/>
                <a:gd name="T3" fmla="*/ 29 h 133"/>
                <a:gd name="T4" fmla="*/ 52 w 57"/>
                <a:gd name="T5" fmla="*/ 21 h 133"/>
                <a:gd name="T6" fmla="*/ 54 w 57"/>
                <a:gd name="T7" fmla="*/ 17 h 133"/>
                <a:gd name="T8" fmla="*/ 50 w 57"/>
                <a:gd name="T9" fmla="*/ 12 h 133"/>
                <a:gd name="T10" fmla="*/ 45 w 57"/>
                <a:gd name="T11" fmla="*/ 7 h 133"/>
                <a:gd name="T12" fmla="*/ 40 w 57"/>
                <a:gd name="T13" fmla="*/ 0 h 133"/>
                <a:gd name="T14" fmla="*/ 35 w 57"/>
                <a:gd name="T15" fmla="*/ 3 h 133"/>
                <a:gd name="T16" fmla="*/ 31 w 57"/>
                <a:gd name="T17" fmla="*/ 5 h 133"/>
                <a:gd name="T18" fmla="*/ 31 w 57"/>
                <a:gd name="T19" fmla="*/ 12 h 133"/>
                <a:gd name="T20" fmla="*/ 28 w 57"/>
                <a:gd name="T21" fmla="*/ 17 h 133"/>
                <a:gd name="T22" fmla="*/ 17 w 57"/>
                <a:gd name="T23" fmla="*/ 21 h 133"/>
                <a:gd name="T24" fmla="*/ 14 w 57"/>
                <a:gd name="T25" fmla="*/ 21 h 133"/>
                <a:gd name="T26" fmla="*/ 12 w 57"/>
                <a:gd name="T27" fmla="*/ 21 h 133"/>
                <a:gd name="T28" fmla="*/ 9 w 57"/>
                <a:gd name="T29" fmla="*/ 24 h 133"/>
                <a:gd name="T30" fmla="*/ 7 w 57"/>
                <a:gd name="T31" fmla="*/ 26 h 133"/>
                <a:gd name="T32" fmla="*/ 7 w 57"/>
                <a:gd name="T33" fmla="*/ 29 h 133"/>
                <a:gd name="T34" fmla="*/ 5 w 57"/>
                <a:gd name="T35" fmla="*/ 29 h 133"/>
                <a:gd name="T36" fmla="*/ 5 w 57"/>
                <a:gd name="T37" fmla="*/ 31 h 133"/>
                <a:gd name="T38" fmla="*/ 2 w 57"/>
                <a:gd name="T39" fmla="*/ 36 h 133"/>
                <a:gd name="T40" fmla="*/ 0 w 57"/>
                <a:gd name="T41" fmla="*/ 45 h 133"/>
                <a:gd name="T42" fmla="*/ 9 w 57"/>
                <a:gd name="T43" fmla="*/ 50 h 133"/>
                <a:gd name="T44" fmla="*/ 12 w 57"/>
                <a:gd name="T45" fmla="*/ 57 h 133"/>
                <a:gd name="T46" fmla="*/ 12 w 57"/>
                <a:gd name="T47" fmla="*/ 64 h 133"/>
                <a:gd name="T48" fmla="*/ 17 w 57"/>
                <a:gd name="T49" fmla="*/ 71 h 133"/>
                <a:gd name="T50" fmla="*/ 17 w 57"/>
                <a:gd name="T51" fmla="*/ 88 h 133"/>
                <a:gd name="T52" fmla="*/ 17 w 57"/>
                <a:gd name="T53" fmla="*/ 107 h 133"/>
                <a:gd name="T54" fmla="*/ 17 w 57"/>
                <a:gd name="T55" fmla="*/ 118 h 133"/>
                <a:gd name="T56" fmla="*/ 17 w 57"/>
                <a:gd name="T57" fmla="*/ 121 h 133"/>
                <a:gd name="T58" fmla="*/ 19 w 57"/>
                <a:gd name="T59" fmla="*/ 128 h 133"/>
                <a:gd name="T60" fmla="*/ 17 w 57"/>
                <a:gd name="T61" fmla="*/ 133 h 133"/>
                <a:gd name="T62" fmla="*/ 35 w 57"/>
                <a:gd name="T63" fmla="*/ 128 h 133"/>
                <a:gd name="T64" fmla="*/ 38 w 57"/>
                <a:gd name="T65" fmla="*/ 123 h 133"/>
                <a:gd name="T66" fmla="*/ 38 w 57"/>
                <a:gd name="T67" fmla="*/ 118 h 133"/>
                <a:gd name="T68" fmla="*/ 38 w 57"/>
                <a:gd name="T69" fmla="*/ 114 h 133"/>
                <a:gd name="T70" fmla="*/ 38 w 57"/>
                <a:gd name="T71" fmla="*/ 107 h 133"/>
                <a:gd name="T72" fmla="*/ 38 w 57"/>
                <a:gd name="T73" fmla="*/ 104 h 133"/>
                <a:gd name="T74" fmla="*/ 35 w 57"/>
                <a:gd name="T75" fmla="*/ 97 h 133"/>
                <a:gd name="T76" fmla="*/ 38 w 57"/>
                <a:gd name="T77" fmla="*/ 88 h 133"/>
                <a:gd name="T78" fmla="*/ 38 w 57"/>
                <a:gd name="T79" fmla="*/ 81 h 133"/>
                <a:gd name="T80" fmla="*/ 40 w 57"/>
                <a:gd name="T81" fmla="*/ 71 h 133"/>
                <a:gd name="T82" fmla="*/ 45 w 57"/>
                <a:gd name="T83" fmla="*/ 66 h 133"/>
                <a:gd name="T84" fmla="*/ 47 w 57"/>
                <a:gd name="T85" fmla="*/ 62 h 133"/>
                <a:gd name="T86" fmla="*/ 50 w 57"/>
                <a:gd name="T87" fmla="*/ 55 h 133"/>
                <a:gd name="T88" fmla="*/ 52 w 57"/>
                <a:gd name="T89" fmla="*/ 55 h 133"/>
                <a:gd name="T90" fmla="*/ 52 w 57"/>
                <a:gd name="T91" fmla="*/ 45 h 133"/>
                <a:gd name="T92" fmla="*/ 54 w 57"/>
                <a:gd name="T93" fmla="*/ 43 h 133"/>
                <a:gd name="T94" fmla="*/ 57 w 57"/>
                <a:gd name="T95" fmla="*/ 43 h 133"/>
                <a:gd name="T96" fmla="*/ 57 w 57"/>
                <a:gd name="T97" fmla="*/ 3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 h="133">
                  <a:moveTo>
                    <a:pt x="57" y="38"/>
                  </a:moveTo>
                  <a:lnTo>
                    <a:pt x="57" y="36"/>
                  </a:lnTo>
                  <a:lnTo>
                    <a:pt x="57" y="33"/>
                  </a:lnTo>
                  <a:lnTo>
                    <a:pt x="57" y="31"/>
                  </a:lnTo>
                  <a:lnTo>
                    <a:pt x="57" y="29"/>
                  </a:lnTo>
                  <a:lnTo>
                    <a:pt x="54" y="29"/>
                  </a:lnTo>
                  <a:lnTo>
                    <a:pt x="54" y="26"/>
                  </a:lnTo>
                  <a:lnTo>
                    <a:pt x="54" y="26"/>
                  </a:lnTo>
                  <a:lnTo>
                    <a:pt x="52" y="21"/>
                  </a:lnTo>
                  <a:lnTo>
                    <a:pt x="52" y="19"/>
                  </a:lnTo>
                  <a:lnTo>
                    <a:pt x="52" y="17"/>
                  </a:lnTo>
                  <a:lnTo>
                    <a:pt x="54" y="17"/>
                  </a:lnTo>
                  <a:lnTo>
                    <a:pt x="52" y="14"/>
                  </a:lnTo>
                  <a:lnTo>
                    <a:pt x="52" y="12"/>
                  </a:lnTo>
                  <a:lnTo>
                    <a:pt x="50" y="12"/>
                  </a:lnTo>
                  <a:lnTo>
                    <a:pt x="47" y="12"/>
                  </a:lnTo>
                  <a:lnTo>
                    <a:pt x="47" y="10"/>
                  </a:lnTo>
                  <a:lnTo>
                    <a:pt x="45" y="7"/>
                  </a:lnTo>
                  <a:lnTo>
                    <a:pt x="40" y="3"/>
                  </a:lnTo>
                  <a:lnTo>
                    <a:pt x="40" y="3"/>
                  </a:lnTo>
                  <a:lnTo>
                    <a:pt x="40" y="0"/>
                  </a:lnTo>
                  <a:lnTo>
                    <a:pt x="38" y="3"/>
                  </a:lnTo>
                  <a:lnTo>
                    <a:pt x="38" y="3"/>
                  </a:lnTo>
                  <a:lnTo>
                    <a:pt x="35" y="3"/>
                  </a:lnTo>
                  <a:lnTo>
                    <a:pt x="35" y="3"/>
                  </a:lnTo>
                  <a:lnTo>
                    <a:pt x="33" y="5"/>
                  </a:lnTo>
                  <a:lnTo>
                    <a:pt x="31" y="5"/>
                  </a:lnTo>
                  <a:lnTo>
                    <a:pt x="31" y="5"/>
                  </a:lnTo>
                  <a:lnTo>
                    <a:pt x="31" y="10"/>
                  </a:lnTo>
                  <a:lnTo>
                    <a:pt x="31" y="12"/>
                  </a:lnTo>
                  <a:lnTo>
                    <a:pt x="31" y="12"/>
                  </a:lnTo>
                  <a:lnTo>
                    <a:pt x="28" y="17"/>
                  </a:lnTo>
                  <a:lnTo>
                    <a:pt x="28" y="17"/>
                  </a:lnTo>
                  <a:lnTo>
                    <a:pt x="24" y="21"/>
                  </a:lnTo>
                  <a:lnTo>
                    <a:pt x="21" y="21"/>
                  </a:lnTo>
                  <a:lnTo>
                    <a:pt x="17" y="21"/>
                  </a:lnTo>
                  <a:lnTo>
                    <a:pt x="17" y="21"/>
                  </a:lnTo>
                  <a:lnTo>
                    <a:pt x="14" y="21"/>
                  </a:lnTo>
                  <a:lnTo>
                    <a:pt x="14" y="21"/>
                  </a:lnTo>
                  <a:lnTo>
                    <a:pt x="12" y="21"/>
                  </a:lnTo>
                  <a:lnTo>
                    <a:pt x="12" y="21"/>
                  </a:lnTo>
                  <a:lnTo>
                    <a:pt x="12" y="21"/>
                  </a:lnTo>
                  <a:lnTo>
                    <a:pt x="12" y="24"/>
                  </a:lnTo>
                  <a:lnTo>
                    <a:pt x="9" y="24"/>
                  </a:lnTo>
                  <a:lnTo>
                    <a:pt x="9" y="24"/>
                  </a:lnTo>
                  <a:lnTo>
                    <a:pt x="9" y="24"/>
                  </a:lnTo>
                  <a:lnTo>
                    <a:pt x="7" y="26"/>
                  </a:lnTo>
                  <a:lnTo>
                    <a:pt x="7" y="26"/>
                  </a:lnTo>
                  <a:lnTo>
                    <a:pt x="7" y="26"/>
                  </a:lnTo>
                  <a:lnTo>
                    <a:pt x="7" y="26"/>
                  </a:lnTo>
                  <a:lnTo>
                    <a:pt x="7" y="29"/>
                  </a:lnTo>
                  <a:lnTo>
                    <a:pt x="7" y="29"/>
                  </a:lnTo>
                  <a:lnTo>
                    <a:pt x="7" y="29"/>
                  </a:lnTo>
                  <a:lnTo>
                    <a:pt x="5" y="29"/>
                  </a:lnTo>
                  <a:lnTo>
                    <a:pt x="5" y="29"/>
                  </a:lnTo>
                  <a:lnTo>
                    <a:pt x="5" y="31"/>
                  </a:lnTo>
                  <a:lnTo>
                    <a:pt x="5" y="31"/>
                  </a:lnTo>
                  <a:lnTo>
                    <a:pt x="2" y="31"/>
                  </a:lnTo>
                  <a:lnTo>
                    <a:pt x="2" y="33"/>
                  </a:lnTo>
                  <a:lnTo>
                    <a:pt x="2" y="36"/>
                  </a:lnTo>
                  <a:lnTo>
                    <a:pt x="2" y="36"/>
                  </a:lnTo>
                  <a:lnTo>
                    <a:pt x="0" y="43"/>
                  </a:lnTo>
                  <a:lnTo>
                    <a:pt x="0" y="45"/>
                  </a:lnTo>
                  <a:lnTo>
                    <a:pt x="2" y="45"/>
                  </a:lnTo>
                  <a:lnTo>
                    <a:pt x="5" y="48"/>
                  </a:lnTo>
                  <a:lnTo>
                    <a:pt x="9" y="50"/>
                  </a:lnTo>
                  <a:lnTo>
                    <a:pt x="12" y="52"/>
                  </a:lnTo>
                  <a:lnTo>
                    <a:pt x="12" y="52"/>
                  </a:lnTo>
                  <a:lnTo>
                    <a:pt x="12" y="57"/>
                  </a:lnTo>
                  <a:lnTo>
                    <a:pt x="12" y="62"/>
                  </a:lnTo>
                  <a:lnTo>
                    <a:pt x="12" y="64"/>
                  </a:lnTo>
                  <a:lnTo>
                    <a:pt x="12" y="64"/>
                  </a:lnTo>
                  <a:lnTo>
                    <a:pt x="12" y="66"/>
                  </a:lnTo>
                  <a:lnTo>
                    <a:pt x="17" y="69"/>
                  </a:lnTo>
                  <a:lnTo>
                    <a:pt x="17" y="71"/>
                  </a:lnTo>
                  <a:lnTo>
                    <a:pt x="17" y="78"/>
                  </a:lnTo>
                  <a:lnTo>
                    <a:pt x="17" y="83"/>
                  </a:lnTo>
                  <a:lnTo>
                    <a:pt x="17" y="88"/>
                  </a:lnTo>
                  <a:lnTo>
                    <a:pt x="17" y="92"/>
                  </a:lnTo>
                  <a:lnTo>
                    <a:pt x="17" y="100"/>
                  </a:lnTo>
                  <a:lnTo>
                    <a:pt x="17" y="107"/>
                  </a:lnTo>
                  <a:lnTo>
                    <a:pt x="17" y="116"/>
                  </a:lnTo>
                  <a:lnTo>
                    <a:pt x="14" y="116"/>
                  </a:lnTo>
                  <a:lnTo>
                    <a:pt x="17" y="118"/>
                  </a:lnTo>
                  <a:lnTo>
                    <a:pt x="17" y="121"/>
                  </a:lnTo>
                  <a:lnTo>
                    <a:pt x="17" y="121"/>
                  </a:lnTo>
                  <a:lnTo>
                    <a:pt x="17" y="121"/>
                  </a:lnTo>
                  <a:lnTo>
                    <a:pt x="17" y="123"/>
                  </a:lnTo>
                  <a:lnTo>
                    <a:pt x="17" y="123"/>
                  </a:lnTo>
                  <a:lnTo>
                    <a:pt x="19" y="128"/>
                  </a:lnTo>
                  <a:lnTo>
                    <a:pt x="19" y="130"/>
                  </a:lnTo>
                  <a:lnTo>
                    <a:pt x="17" y="130"/>
                  </a:lnTo>
                  <a:lnTo>
                    <a:pt x="17" y="133"/>
                  </a:lnTo>
                  <a:lnTo>
                    <a:pt x="19" y="130"/>
                  </a:lnTo>
                  <a:lnTo>
                    <a:pt x="28" y="130"/>
                  </a:lnTo>
                  <a:lnTo>
                    <a:pt x="35" y="128"/>
                  </a:lnTo>
                  <a:lnTo>
                    <a:pt x="35" y="128"/>
                  </a:lnTo>
                  <a:lnTo>
                    <a:pt x="38" y="123"/>
                  </a:lnTo>
                  <a:lnTo>
                    <a:pt x="38" y="123"/>
                  </a:lnTo>
                  <a:lnTo>
                    <a:pt x="38" y="121"/>
                  </a:lnTo>
                  <a:lnTo>
                    <a:pt x="38" y="121"/>
                  </a:lnTo>
                  <a:lnTo>
                    <a:pt x="38" y="118"/>
                  </a:lnTo>
                  <a:lnTo>
                    <a:pt x="38" y="116"/>
                  </a:lnTo>
                  <a:lnTo>
                    <a:pt x="38" y="114"/>
                  </a:lnTo>
                  <a:lnTo>
                    <a:pt x="38" y="114"/>
                  </a:lnTo>
                  <a:lnTo>
                    <a:pt x="38" y="111"/>
                  </a:lnTo>
                  <a:lnTo>
                    <a:pt x="38" y="107"/>
                  </a:lnTo>
                  <a:lnTo>
                    <a:pt x="38" y="107"/>
                  </a:lnTo>
                  <a:lnTo>
                    <a:pt x="38" y="107"/>
                  </a:lnTo>
                  <a:lnTo>
                    <a:pt x="38" y="104"/>
                  </a:lnTo>
                  <a:lnTo>
                    <a:pt x="38" y="104"/>
                  </a:lnTo>
                  <a:lnTo>
                    <a:pt x="38" y="102"/>
                  </a:lnTo>
                  <a:lnTo>
                    <a:pt x="38" y="100"/>
                  </a:lnTo>
                  <a:lnTo>
                    <a:pt x="35" y="97"/>
                  </a:lnTo>
                  <a:lnTo>
                    <a:pt x="35" y="97"/>
                  </a:lnTo>
                  <a:lnTo>
                    <a:pt x="35" y="92"/>
                  </a:lnTo>
                  <a:lnTo>
                    <a:pt x="38" y="88"/>
                  </a:lnTo>
                  <a:lnTo>
                    <a:pt x="35" y="85"/>
                  </a:lnTo>
                  <a:lnTo>
                    <a:pt x="38" y="85"/>
                  </a:lnTo>
                  <a:lnTo>
                    <a:pt x="38" y="81"/>
                  </a:lnTo>
                  <a:lnTo>
                    <a:pt x="38" y="78"/>
                  </a:lnTo>
                  <a:lnTo>
                    <a:pt x="38" y="71"/>
                  </a:lnTo>
                  <a:lnTo>
                    <a:pt x="40" y="71"/>
                  </a:lnTo>
                  <a:lnTo>
                    <a:pt x="42" y="71"/>
                  </a:lnTo>
                  <a:lnTo>
                    <a:pt x="45" y="69"/>
                  </a:lnTo>
                  <a:lnTo>
                    <a:pt x="45" y="66"/>
                  </a:lnTo>
                  <a:lnTo>
                    <a:pt x="45" y="64"/>
                  </a:lnTo>
                  <a:lnTo>
                    <a:pt x="45" y="62"/>
                  </a:lnTo>
                  <a:lnTo>
                    <a:pt x="47" y="62"/>
                  </a:lnTo>
                  <a:lnTo>
                    <a:pt x="47" y="59"/>
                  </a:lnTo>
                  <a:lnTo>
                    <a:pt x="47" y="57"/>
                  </a:lnTo>
                  <a:lnTo>
                    <a:pt x="50" y="55"/>
                  </a:lnTo>
                  <a:lnTo>
                    <a:pt x="50" y="55"/>
                  </a:lnTo>
                  <a:lnTo>
                    <a:pt x="52" y="55"/>
                  </a:lnTo>
                  <a:lnTo>
                    <a:pt x="52" y="55"/>
                  </a:lnTo>
                  <a:lnTo>
                    <a:pt x="54" y="52"/>
                  </a:lnTo>
                  <a:lnTo>
                    <a:pt x="54" y="48"/>
                  </a:lnTo>
                  <a:lnTo>
                    <a:pt x="52" y="45"/>
                  </a:lnTo>
                  <a:lnTo>
                    <a:pt x="52" y="45"/>
                  </a:lnTo>
                  <a:lnTo>
                    <a:pt x="54" y="45"/>
                  </a:lnTo>
                  <a:lnTo>
                    <a:pt x="54" y="43"/>
                  </a:lnTo>
                  <a:lnTo>
                    <a:pt x="54" y="43"/>
                  </a:lnTo>
                  <a:lnTo>
                    <a:pt x="57" y="43"/>
                  </a:lnTo>
                  <a:lnTo>
                    <a:pt x="57" y="43"/>
                  </a:lnTo>
                  <a:lnTo>
                    <a:pt x="57" y="43"/>
                  </a:lnTo>
                  <a:lnTo>
                    <a:pt x="57" y="38"/>
                  </a:lnTo>
                  <a:lnTo>
                    <a:pt x="57" y="38"/>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7" name="Freeform 383"/>
            <p:cNvSpPr>
              <a:spLocks/>
            </p:cNvSpPr>
            <p:nvPr userDrawn="1"/>
          </p:nvSpPr>
          <p:spPr bwMode="auto">
            <a:xfrm>
              <a:off x="2015" y="2418"/>
              <a:ext cx="28" cy="54"/>
            </a:xfrm>
            <a:custGeom>
              <a:avLst/>
              <a:gdLst>
                <a:gd name="T0" fmla="*/ 26 w 28"/>
                <a:gd name="T1" fmla="*/ 2 h 54"/>
                <a:gd name="T2" fmla="*/ 24 w 28"/>
                <a:gd name="T3" fmla="*/ 2 h 54"/>
                <a:gd name="T4" fmla="*/ 24 w 28"/>
                <a:gd name="T5" fmla="*/ 2 h 54"/>
                <a:gd name="T6" fmla="*/ 24 w 28"/>
                <a:gd name="T7" fmla="*/ 0 h 54"/>
                <a:gd name="T8" fmla="*/ 24 w 28"/>
                <a:gd name="T9" fmla="*/ 0 h 54"/>
                <a:gd name="T10" fmla="*/ 21 w 28"/>
                <a:gd name="T11" fmla="*/ 0 h 54"/>
                <a:gd name="T12" fmla="*/ 21 w 28"/>
                <a:gd name="T13" fmla="*/ 0 h 54"/>
                <a:gd name="T14" fmla="*/ 19 w 28"/>
                <a:gd name="T15" fmla="*/ 4 h 54"/>
                <a:gd name="T16" fmla="*/ 14 w 28"/>
                <a:gd name="T17" fmla="*/ 9 h 54"/>
                <a:gd name="T18" fmla="*/ 14 w 28"/>
                <a:gd name="T19" fmla="*/ 11 h 54"/>
                <a:gd name="T20" fmla="*/ 12 w 28"/>
                <a:gd name="T21" fmla="*/ 11 h 54"/>
                <a:gd name="T22" fmla="*/ 12 w 28"/>
                <a:gd name="T23" fmla="*/ 11 h 54"/>
                <a:gd name="T24" fmla="*/ 12 w 28"/>
                <a:gd name="T25" fmla="*/ 11 h 54"/>
                <a:gd name="T26" fmla="*/ 9 w 28"/>
                <a:gd name="T27" fmla="*/ 9 h 54"/>
                <a:gd name="T28" fmla="*/ 7 w 28"/>
                <a:gd name="T29" fmla="*/ 11 h 54"/>
                <a:gd name="T30" fmla="*/ 7 w 28"/>
                <a:gd name="T31" fmla="*/ 11 h 54"/>
                <a:gd name="T32" fmla="*/ 7 w 28"/>
                <a:gd name="T33" fmla="*/ 14 h 54"/>
                <a:gd name="T34" fmla="*/ 5 w 28"/>
                <a:gd name="T35" fmla="*/ 18 h 54"/>
                <a:gd name="T36" fmla="*/ 5 w 28"/>
                <a:gd name="T37" fmla="*/ 26 h 54"/>
                <a:gd name="T38" fmla="*/ 5 w 28"/>
                <a:gd name="T39" fmla="*/ 28 h 54"/>
                <a:gd name="T40" fmla="*/ 2 w 28"/>
                <a:gd name="T41" fmla="*/ 35 h 54"/>
                <a:gd name="T42" fmla="*/ 2 w 28"/>
                <a:gd name="T43" fmla="*/ 40 h 54"/>
                <a:gd name="T44" fmla="*/ 0 w 28"/>
                <a:gd name="T45" fmla="*/ 49 h 54"/>
                <a:gd name="T46" fmla="*/ 0 w 28"/>
                <a:gd name="T47" fmla="*/ 54 h 54"/>
                <a:gd name="T48" fmla="*/ 0 w 28"/>
                <a:gd name="T49" fmla="*/ 54 h 54"/>
                <a:gd name="T50" fmla="*/ 2 w 28"/>
                <a:gd name="T51" fmla="*/ 54 h 54"/>
                <a:gd name="T52" fmla="*/ 5 w 28"/>
                <a:gd name="T53" fmla="*/ 54 h 54"/>
                <a:gd name="T54" fmla="*/ 7 w 28"/>
                <a:gd name="T55" fmla="*/ 54 h 54"/>
                <a:gd name="T56" fmla="*/ 5 w 28"/>
                <a:gd name="T57" fmla="*/ 54 h 54"/>
                <a:gd name="T58" fmla="*/ 7 w 28"/>
                <a:gd name="T59" fmla="*/ 52 h 54"/>
                <a:gd name="T60" fmla="*/ 9 w 28"/>
                <a:gd name="T61" fmla="*/ 47 h 54"/>
                <a:gd name="T62" fmla="*/ 14 w 28"/>
                <a:gd name="T63" fmla="*/ 47 h 54"/>
                <a:gd name="T64" fmla="*/ 16 w 28"/>
                <a:gd name="T65" fmla="*/ 42 h 54"/>
                <a:gd name="T66" fmla="*/ 16 w 28"/>
                <a:gd name="T67" fmla="*/ 42 h 54"/>
                <a:gd name="T68" fmla="*/ 19 w 28"/>
                <a:gd name="T69" fmla="*/ 40 h 54"/>
                <a:gd name="T70" fmla="*/ 21 w 28"/>
                <a:gd name="T71" fmla="*/ 33 h 54"/>
                <a:gd name="T72" fmla="*/ 21 w 28"/>
                <a:gd name="T73" fmla="*/ 28 h 54"/>
                <a:gd name="T74" fmla="*/ 21 w 28"/>
                <a:gd name="T75" fmla="*/ 23 h 54"/>
                <a:gd name="T76" fmla="*/ 21 w 28"/>
                <a:gd name="T77" fmla="*/ 23 h 54"/>
                <a:gd name="T78" fmla="*/ 24 w 28"/>
                <a:gd name="T79" fmla="*/ 21 h 54"/>
                <a:gd name="T80" fmla="*/ 21 w 28"/>
                <a:gd name="T81" fmla="*/ 18 h 54"/>
                <a:gd name="T82" fmla="*/ 24 w 28"/>
                <a:gd name="T83" fmla="*/ 16 h 54"/>
                <a:gd name="T84" fmla="*/ 24 w 28"/>
                <a:gd name="T85" fmla="*/ 14 h 54"/>
                <a:gd name="T86" fmla="*/ 26 w 28"/>
                <a:gd name="T87" fmla="*/ 7 h 54"/>
                <a:gd name="T88" fmla="*/ 28 w 28"/>
                <a:gd name="T89" fmla="*/ 4 h 54"/>
                <a:gd name="T90" fmla="*/ 26 w 28"/>
                <a:gd name="T91" fmla="*/ 2 h 54"/>
                <a:gd name="T92" fmla="*/ 26 w 28"/>
                <a:gd name="T93"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54">
                  <a:moveTo>
                    <a:pt x="26" y="2"/>
                  </a:moveTo>
                  <a:lnTo>
                    <a:pt x="24" y="2"/>
                  </a:lnTo>
                  <a:lnTo>
                    <a:pt x="24" y="2"/>
                  </a:lnTo>
                  <a:lnTo>
                    <a:pt x="24" y="0"/>
                  </a:lnTo>
                  <a:lnTo>
                    <a:pt x="24" y="0"/>
                  </a:lnTo>
                  <a:lnTo>
                    <a:pt x="21" y="0"/>
                  </a:lnTo>
                  <a:lnTo>
                    <a:pt x="21" y="0"/>
                  </a:lnTo>
                  <a:lnTo>
                    <a:pt x="19" y="4"/>
                  </a:lnTo>
                  <a:lnTo>
                    <a:pt x="14" y="9"/>
                  </a:lnTo>
                  <a:lnTo>
                    <a:pt x="14" y="11"/>
                  </a:lnTo>
                  <a:lnTo>
                    <a:pt x="12" y="11"/>
                  </a:lnTo>
                  <a:lnTo>
                    <a:pt x="12" y="11"/>
                  </a:lnTo>
                  <a:lnTo>
                    <a:pt x="12" y="11"/>
                  </a:lnTo>
                  <a:lnTo>
                    <a:pt x="9" y="9"/>
                  </a:lnTo>
                  <a:lnTo>
                    <a:pt x="7" y="11"/>
                  </a:lnTo>
                  <a:lnTo>
                    <a:pt x="7" y="11"/>
                  </a:lnTo>
                  <a:lnTo>
                    <a:pt x="7" y="14"/>
                  </a:lnTo>
                  <a:lnTo>
                    <a:pt x="5" y="18"/>
                  </a:lnTo>
                  <a:lnTo>
                    <a:pt x="5" y="26"/>
                  </a:lnTo>
                  <a:lnTo>
                    <a:pt x="5" y="28"/>
                  </a:lnTo>
                  <a:lnTo>
                    <a:pt x="2" y="35"/>
                  </a:lnTo>
                  <a:lnTo>
                    <a:pt x="2" y="40"/>
                  </a:lnTo>
                  <a:lnTo>
                    <a:pt x="0" y="49"/>
                  </a:lnTo>
                  <a:lnTo>
                    <a:pt x="0" y="54"/>
                  </a:lnTo>
                  <a:lnTo>
                    <a:pt x="0" y="54"/>
                  </a:lnTo>
                  <a:lnTo>
                    <a:pt x="2" y="54"/>
                  </a:lnTo>
                  <a:lnTo>
                    <a:pt x="5" y="54"/>
                  </a:lnTo>
                  <a:lnTo>
                    <a:pt x="7" y="54"/>
                  </a:lnTo>
                  <a:lnTo>
                    <a:pt x="5" y="54"/>
                  </a:lnTo>
                  <a:lnTo>
                    <a:pt x="7" y="52"/>
                  </a:lnTo>
                  <a:lnTo>
                    <a:pt x="9" y="47"/>
                  </a:lnTo>
                  <a:lnTo>
                    <a:pt x="14" y="47"/>
                  </a:lnTo>
                  <a:lnTo>
                    <a:pt x="16" y="42"/>
                  </a:lnTo>
                  <a:lnTo>
                    <a:pt x="16" y="42"/>
                  </a:lnTo>
                  <a:lnTo>
                    <a:pt x="19" y="40"/>
                  </a:lnTo>
                  <a:lnTo>
                    <a:pt x="21" y="33"/>
                  </a:lnTo>
                  <a:lnTo>
                    <a:pt x="21" y="28"/>
                  </a:lnTo>
                  <a:lnTo>
                    <a:pt x="21" y="23"/>
                  </a:lnTo>
                  <a:lnTo>
                    <a:pt x="21" y="23"/>
                  </a:lnTo>
                  <a:lnTo>
                    <a:pt x="24" y="21"/>
                  </a:lnTo>
                  <a:lnTo>
                    <a:pt x="21" y="18"/>
                  </a:lnTo>
                  <a:lnTo>
                    <a:pt x="24" y="16"/>
                  </a:lnTo>
                  <a:lnTo>
                    <a:pt x="24" y="14"/>
                  </a:lnTo>
                  <a:lnTo>
                    <a:pt x="26" y="7"/>
                  </a:lnTo>
                  <a:lnTo>
                    <a:pt x="28" y="4"/>
                  </a:lnTo>
                  <a:lnTo>
                    <a:pt x="26" y="2"/>
                  </a:lnTo>
                  <a:lnTo>
                    <a:pt x="26" y="2"/>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8" name="Freeform 384"/>
            <p:cNvSpPr>
              <a:spLocks/>
            </p:cNvSpPr>
            <p:nvPr userDrawn="1"/>
          </p:nvSpPr>
          <p:spPr bwMode="auto">
            <a:xfrm>
              <a:off x="3721" y="1725"/>
              <a:ext cx="62" cy="42"/>
            </a:xfrm>
            <a:custGeom>
              <a:avLst/>
              <a:gdLst>
                <a:gd name="T0" fmla="*/ 62 w 62"/>
                <a:gd name="T1" fmla="*/ 21 h 42"/>
                <a:gd name="T2" fmla="*/ 59 w 62"/>
                <a:gd name="T3" fmla="*/ 21 h 42"/>
                <a:gd name="T4" fmla="*/ 57 w 62"/>
                <a:gd name="T5" fmla="*/ 16 h 42"/>
                <a:gd name="T6" fmla="*/ 54 w 62"/>
                <a:gd name="T7" fmla="*/ 16 h 42"/>
                <a:gd name="T8" fmla="*/ 52 w 62"/>
                <a:gd name="T9" fmla="*/ 16 h 42"/>
                <a:gd name="T10" fmla="*/ 50 w 62"/>
                <a:gd name="T11" fmla="*/ 14 h 42"/>
                <a:gd name="T12" fmla="*/ 52 w 62"/>
                <a:gd name="T13" fmla="*/ 12 h 42"/>
                <a:gd name="T14" fmla="*/ 54 w 62"/>
                <a:gd name="T15" fmla="*/ 9 h 42"/>
                <a:gd name="T16" fmla="*/ 50 w 62"/>
                <a:gd name="T17" fmla="*/ 7 h 42"/>
                <a:gd name="T18" fmla="*/ 47 w 62"/>
                <a:gd name="T19" fmla="*/ 4 h 42"/>
                <a:gd name="T20" fmla="*/ 43 w 62"/>
                <a:gd name="T21" fmla="*/ 4 h 42"/>
                <a:gd name="T22" fmla="*/ 40 w 62"/>
                <a:gd name="T23" fmla="*/ 2 h 42"/>
                <a:gd name="T24" fmla="*/ 40 w 62"/>
                <a:gd name="T25" fmla="*/ 2 h 42"/>
                <a:gd name="T26" fmla="*/ 38 w 62"/>
                <a:gd name="T27" fmla="*/ 2 h 42"/>
                <a:gd name="T28" fmla="*/ 36 w 62"/>
                <a:gd name="T29" fmla="*/ 0 h 42"/>
                <a:gd name="T30" fmla="*/ 33 w 62"/>
                <a:gd name="T31" fmla="*/ 2 h 42"/>
                <a:gd name="T32" fmla="*/ 31 w 62"/>
                <a:gd name="T33" fmla="*/ 2 h 42"/>
                <a:gd name="T34" fmla="*/ 29 w 62"/>
                <a:gd name="T35" fmla="*/ 4 h 42"/>
                <a:gd name="T36" fmla="*/ 26 w 62"/>
                <a:gd name="T37" fmla="*/ 4 h 42"/>
                <a:gd name="T38" fmla="*/ 21 w 62"/>
                <a:gd name="T39" fmla="*/ 7 h 42"/>
                <a:gd name="T40" fmla="*/ 19 w 62"/>
                <a:gd name="T41" fmla="*/ 4 h 42"/>
                <a:gd name="T42" fmla="*/ 17 w 62"/>
                <a:gd name="T43" fmla="*/ 7 h 42"/>
                <a:gd name="T44" fmla="*/ 14 w 62"/>
                <a:gd name="T45" fmla="*/ 4 h 42"/>
                <a:gd name="T46" fmla="*/ 7 w 62"/>
                <a:gd name="T47" fmla="*/ 4 h 42"/>
                <a:gd name="T48" fmla="*/ 0 w 62"/>
                <a:gd name="T49" fmla="*/ 12 h 42"/>
                <a:gd name="T50" fmla="*/ 3 w 62"/>
                <a:gd name="T51" fmla="*/ 14 h 42"/>
                <a:gd name="T52" fmla="*/ 5 w 62"/>
                <a:gd name="T53" fmla="*/ 16 h 42"/>
                <a:gd name="T54" fmla="*/ 7 w 62"/>
                <a:gd name="T55" fmla="*/ 16 h 42"/>
                <a:gd name="T56" fmla="*/ 10 w 62"/>
                <a:gd name="T57" fmla="*/ 16 h 42"/>
                <a:gd name="T58" fmla="*/ 12 w 62"/>
                <a:gd name="T59" fmla="*/ 21 h 42"/>
                <a:gd name="T60" fmla="*/ 17 w 62"/>
                <a:gd name="T61" fmla="*/ 21 h 42"/>
                <a:gd name="T62" fmla="*/ 19 w 62"/>
                <a:gd name="T63" fmla="*/ 26 h 42"/>
                <a:gd name="T64" fmla="*/ 19 w 62"/>
                <a:gd name="T65" fmla="*/ 23 h 42"/>
                <a:gd name="T66" fmla="*/ 24 w 62"/>
                <a:gd name="T67" fmla="*/ 26 h 42"/>
                <a:gd name="T68" fmla="*/ 26 w 62"/>
                <a:gd name="T69" fmla="*/ 28 h 42"/>
                <a:gd name="T70" fmla="*/ 26 w 62"/>
                <a:gd name="T71" fmla="*/ 30 h 42"/>
                <a:gd name="T72" fmla="*/ 26 w 62"/>
                <a:gd name="T73" fmla="*/ 30 h 42"/>
                <a:gd name="T74" fmla="*/ 26 w 62"/>
                <a:gd name="T75" fmla="*/ 33 h 42"/>
                <a:gd name="T76" fmla="*/ 33 w 62"/>
                <a:gd name="T77" fmla="*/ 30 h 42"/>
                <a:gd name="T78" fmla="*/ 36 w 62"/>
                <a:gd name="T79" fmla="*/ 28 h 42"/>
                <a:gd name="T80" fmla="*/ 36 w 62"/>
                <a:gd name="T81" fmla="*/ 33 h 42"/>
                <a:gd name="T82" fmla="*/ 38 w 62"/>
                <a:gd name="T83" fmla="*/ 35 h 42"/>
                <a:gd name="T84" fmla="*/ 40 w 62"/>
                <a:gd name="T85" fmla="*/ 35 h 42"/>
                <a:gd name="T86" fmla="*/ 43 w 62"/>
                <a:gd name="T87" fmla="*/ 38 h 42"/>
                <a:gd name="T88" fmla="*/ 45 w 62"/>
                <a:gd name="T89" fmla="*/ 40 h 42"/>
                <a:gd name="T90" fmla="*/ 50 w 62"/>
                <a:gd name="T91" fmla="*/ 40 h 42"/>
                <a:gd name="T92" fmla="*/ 52 w 62"/>
                <a:gd name="T93" fmla="*/ 40 h 42"/>
                <a:gd name="T94" fmla="*/ 54 w 62"/>
                <a:gd name="T95" fmla="*/ 38 h 42"/>
                <a:gd name="T96" fmla="*/ 52 w 62"/>
                <a:gd name="T97" fmla="*/ 35 h 42"/>
                <a:gd name="T98" fmla="*/ 52 w 62"/>
                <a:gd name="T99" fmla="*/ 33 h 42"/>
                <a:gd name="T100" fmla="*/ 52 w 62"/>
                <a:gd name="T101" fmla="*/ 30 h 42"/>
                <a:gd name="T102" fmla="*/ 57 w 62"/>
                <a:gd name="T103" fmla="*/ 28 h 42"/>
                <a:gd name="T104" fmla="*/ 57 w 62"/>
                <a:gd name="T105" fmla="*/ 28 h 42"/>
                <a:gd name="T106" fmla="*/ 62 w 62"/>
                <a:gd name="T107"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42">
                  <a:moveTo>
                    <a:pt x="62" y="23"/>
                  </a:moveTo>
                  <a:lnTo>
                    <a:pt x="62" y="21"/>
                  </a:lnTo>
                  <a:lnTo>
                    <a:pt x="62" y="21"/>
                  </a:lnTo>
                  <a:lnTo>
                    <a:pt x="59" y="21"/>
                  </a:lnTo>
                  <a:lnTo>
                    <a:pt x="59" y="21"/>
                  </a:lnTo>
                  <a:lnTo>
                    <a:pt x="59" y="21"/>
                  </a:lnTo>
                  <a:lnTo>
                    <a:pt x="59" y="19"/>
                  </a:lnTo>
                  <a:lnTo>
                    <a:pt x="59" y="19"/>
                  </a:lnTo>
                  <a:lnTo>
                    <a:pt x="57" y="16"/>
                  </a:lnTo>
                  <a:lnTo>
                    <a:pt x="57" y="16"/>
                  </a:lnTo>
                  <a:lnTo>
                    <a:pt x="57" y="16"/>
                  </a:lnTo>
                  <a:lnTo>
                    <a:pt x="54" y="16"/>
                  </a:lnTo>
                  <a:lnTo>
                    <a:pt x="54" y="14"/>
                  </a:lnTo>
                  <a:lnTo>
                    <a:pt x="52" y="16"/>
                  </a:lnTo>
                  <a:lnTo>
                    <a:pt x="52" y="16"/>
                  </a:lnTo>
                  <a:lnTo>
                    <a:pt x="50" y="14"/>
                  </a:lnTo>
                  <a:lnTo>
                    <a:pt x="50" y="14"/>
                  </a:lnTo>
                  <a:lnTo>
                    <a:pt x="50" y="14"/>
                  </a:lnTo>
                  <a:lnTo>
                    <a:pt x="52" y="12"/>
                  </a:lnTo>
                  <a:lnTo>
                    <a:pt x="52" y="12"/>
                  </a:lnTo>
                  <a:lnTo>
                    <a:pt x="52" y="12"/>
                  </a:lnTo>
                  <a:lnTo>
                    <a:pt x="52" y="12"/>
                  </a:lnTo>
                  <a:lnTo>
                    <a:pt x="54" y="9"/>
                  </a:lnTo>
                  <a:lnTo>
                    <a:pt x="54" y="9"/>
                  </a:lnTo>
                  <a:lnTo>
                    <a:pt x="52" y="7"/>
                  </a:lnTo>
                  <a:lnTo>
                    <a:pt x="52" y="7"/>
                  </a:lnTo>
                  <a:lnTo>
                    <a:pt x="50" y="7"/>
                  </a:lnTo>
                  <a:lnTo>
                    <a:pt x="50" y="7"/>
                  </a:lnTo>
                  <a:lnTo>
                    <a:pt x="47" y="4"/>
                  </a:lnTo>
                  <a:lnTo>
                    <a:pt x="47" y="4"/>
                  </a:lnTo>
                  <a:lnTo>
                    <a:pt x="47" y="4"/>
                  </a:lnTo>
                  <a:lnTo>
                    <a:pt x="45" y="4"/>
                  </a:lnTo>
                  <a:lnTo>
                    <a:pt x="43" y="4"/>
                  </a:lnTo>
                  <a:lnTo>
                    <a:pt x="43" y="4"/>
                  </a:lnTo>
                  <a:lnTo>
                    <a:pt x="43" y="2"/>
                  </a:lnTo>
                  <a:lnTo>
                    <a:pt x="40" y="2"/>
                  </a:lnTo>
                  <a:lnTo>
                    <a:pt x="40" y="2"/>
                  </a:lnTo>
                  <a:lnTo>
                    <a:pt x="40" y="2"/>
                  </a:lnTo>
                  <a:lnTo>
                    <a:pt x="40" y="2"/>
                  </a:lnTo>
                  <a:lnTo>
                    <a:pt x="38" y="2"/>
                  </a:lnTo>
                  <a:lnTo>
                    <a:pt x="38" y="2"/>
                  </a:lnTo>
                  <a:lnTo>
                    <a:pt x="38" y="2"/>
                  </a:lnTo>
                  <a:lnTo>
                    <a:pt x="38" y="2"/>
                  </a:lnTo>
                  <a:lnTo>
                    <a:pt x="38" y="2"/>
                  </a:lnTo>
                  <a:lnTo>
                    <a:pt x="36" y="0"/>
                  </a:lnTo>
                  <a:lnTo>
                    <a:pt x="36" y="2"/>
                  </a:lnTo>
                  <a:lnTo>
                    <a:pt x="33" y="2"/>
                  </a:lnTo>
                  <a:lnTo>
                    <a:pt x="33" y="2"/>
                  </a:lnTo>
                  <a:lnTo>
                    <a:pt x="33" y="2"/>
                  </a:lnTo>
                  <a:lnTo>
                    <a:pt x="31" y="2"/>
                  </a:lnTo>
                  <a:lnTo>
                    <a:pt x="31" y="2"/>
                  </a:lnTo>
                  <a:lnTo>
                    <a:pt x="31" y="4"/>
                  </a:lnTo>
                  <a:lnTo>
                    <a:pt x="31" y="4"/>
                  </a:lnTo>
                  <a:lnTo>
                    <a:pt x="29" y="4"/>
                  </a:lnTo>
                  <a:lnTo>
                    <a:pt x="29" y="2"/>
                  </a:lnTo>
                  <a:lnTo>
                    <a:pt x="29" y="4"/>
                  </a:lnTo>
                  <a:lnTo>
                    <a:pt x="26" y="4"/>
                  </a:lnTo>
                  <a:lnTo>
                    <a:pt x="24" y="7"/>
                  </a:lnTo>
                  <a:lnTo>
                    <a:pt x="24" y="7"/>
                  </a:lnTo>
                  <a:lnTo>
                    <a:pt x="21" y="7"/>
                  </a:lnTo>
                  <a:lnTo>
                    <a:pt x="21" y="7"/>
                  </a:lnTo>
                  <a:lnTo>
                    <a:pt x="21" y="7"/>
                  </a:lnTo>
                  <a:lnTo>
                    <a:pt x="19" y="4"/>
                  </a:lnTo>
                  <a:lnTo>
                    <a:pt x="17" y="4"/>
                  </a:lnTo>
                  <a:lnTo>
                    <a:pt x="17" y="4"/>
                  </a:lnTo>
                  <a:lnTo>
                    <a:pt x="17" y="7"/>
                  </a:lnTo>
                  <a:lnTo>
                    <a:pt x="14" y="7"/>
                  </a:lnTo>
                  <a:lnTo>
                    <a:pt x="14" y="4"/>
                  </a:lnTo>
                  <a:lnTo>
                    <a:pt x="14" y="4"/>
                  </a:lnTo>
                  <a:lnTo>
                    <a:pt x="14" y="2"/>
                  </a:lnTo>
                  <a:lnTo>
                    <a:pt x="12" y="4"/>
                  </a:lnTo>
                  <a:lnTo>
                    <a:pt x="7" y="4"/>
                  </a:lnTo>
                  <a:lnTo>
                    <a:pt x="0" y="9"/>
                  </a:lnTo>
                  <a:lnTo>
                    <a:pt x="0" y="9"/>
                  </a:lnTo>
                  <a:lnTo>
                    <a:pt x="0" y="12"/>
                  </a:lnTo>
                  <a:lnTo>
                    <a:pt x="3" y="12"/>
                  </a:lnTo>
                  <a:lnTo>
                    <a:pt x="0" y="12"/>
                  </a:lnTo>
                  <a:lnTo>
                    <a:pt x="3" y="14"/>
                  </a:lnTo>
                  <a:lnTo>
                    <a:pt x="3" y="14"/>
                  </a:lnTo>
                  <a:lnTo>
                    <a:pt x="5" y="16"/>
                  </a:lnTo>
                  <a:lnTo>
                    <a:pt x="5" y="16"/>
                  </a:lnTo>
                  <a:lnTo>
                    <a:pt x="5" y="16"/>
                  </a:lnTo>
                  <a:lnTo>
                    <a:pt x="7" y="16"/>
                  </a:lnTo>
                  <a:lnTo>
                    <a:pt x="7" y="16"/>
                  </a:lnTo>
                  <a:lnTo>
                    <a:pt x="10" y="16"/>
                  </a:lnTo>
                  <a:lnTo>
                    <a:pt x="10" y="16"/>
                  </a:lnTo>
                  <a:lnTo>
                    <a:pt x="10" y="16"/>
                  </a:lnTo>
                  <a:lnTo>
                    <a:pt x="12" y="19"/>
                  </a:lnTo>
                  <a:lnTo>
                    <a:pt x="12" y="19"/>
                  </a:lnTo>
                  <a:lnTo>
                    <a:pt x="12" y="21"/>
                  </a:lnTo>
                  <a:lnTo>
                    <a:pt x="12" y="21"/>
                  </a:lnTo>
                  <a:lnTo>
                    <a:pt x="14" y="21"/>
                  </a:lnTo>
                  <a:lnTo>
                    <a:pt x="17" y="21"/>
                  </a:lnTo>
                  <a:lnTo>
                    <a:pt x="17" y="21"/>
                  </a:lnTo>
                  <a:lnTo>
                    <a:pt x="19" y="26"/>
                  </a:lnTo>
                  <a:lnTo>
                    <a:pt x="19" y="26"/>
                  </a:lnTo>
                  <a:lnTo>
                    <a:pt x="19" y="26"/>
                  </a:lnTo>
                  <a:lnTo>
                    <a:pt x="19" y="23"/>
                  </a:lnTo>
                  <a:lnTo>
                    <a:pt x="19" y="23"/>
                  </a:lnTo>
                  <a:lnTo>
                    <a:pt x="21" y="23"/>
                  </a:lnTo>
                  <a:lnTo>
                    <a:pt x="24" y="23"/>
                  </a:lnTo>
                  <a:lnTo>
                    <a:pt x="24" y="26"/>
                  </a:lnTo>
                  <a:lnTo>
                    <a:pt x="26" y="26"/>
                  </a:lnTo>
                  <a:lnTo>
                    <a:pt x="26" y="26"/>
                  </a:lnTo>
                  <a:lnTo>
                    <a:pt x="26" y="28"/>
                  </a:lnTo>
                  <a:lnTo>
                    <a:pt x="26" y="28"/>
                  </a:lnTo>
                  <a:lnTo>
                    <a:pt x="26" y="28"/>
                  </a:lnTo>
                  <a:lnTo>
                    <a:pt x="26" y="30"/>
                  </a:lnTo>
                  <a:lnTo>
                    <a:pt x="26" y="30"/>
                  </a:lnTo>
                  <a:lnTo>
                    <a:pt x="26" y="30"/>
                  </a:lnTo>
                  <a:lnTo>
                    <a:pt x="26" y="30"/>
                  </a:lnTo>
                  <a:lnTo>
                    <a:pt x="26" y="30"/>
                  </a:lnTo>
                  <a:lnTo>
                    <a:pt x="26" y="33"/>
                  </a:lnTo>
                  <a:lnTo>
                    <a:pt x="26" y="33"/>
                  </a:lnTo>
                  <a:lnTo>
                    <a:pt x="29" y="33"/>
                  </a:lnTo>
                  <a:lnTo>
                    <a:pt x="33" y="33"/>
                  </a:lnTo>
                  <a:lnTo>
                    <a:pt x="33" y="30"/>
                  </a:lnTo>
                  <a:lnTo>
                    <a:pt x="33" y="30"/>
                  </a:lnTo>
                  <a:lnTo>
                    <a:pt x="36" y="30"/>
                  </a:lnTo>
                  <a:lnTo>
                    <a:pt x="36" y="28"/>
                  </a:lnTo>
                  <a:lnTo>
                    <a:pt x="36" y="28"/>
                  </a:lnTo>
                  <a:lnTo>
                    <a:pt x="38" y="28"/>
                  </a:lnTo>
                  <a:lnTo>
                    <a:pt x="36" y="33"/>
                  </a:lnTo>
                  <a:lnTo>
                    <a:pt x="38" y="33"/>
                  </a:lnTo>
                  <a:lnTo>
                    <a:pt x="38" y="35"/>
                  </a:lnTo>
                  <a:lnTo>
                    <a:pt x="38" y="35"/>
                  </a:lnTo>
                  <a:lnTo>
                    <a:pt x="38" y="35"/>
                  </a:lnTo>
                  <a:lnTo>
                    <a:pt x="40" y="35"/>
                  </a:lnTo>
                  <a:lnTo>
                    <a:pt x="40" y="35"/>
                  </a:lnTo>
                  <a:lnTo>
                    <a:pt x="40" y="38"/>
                  </a:lnTo>
                  <a:lnTo>
                    <a:pt x="43" y="38"/>
                  </a:lnTo>
                  <a:lnTo>
                    <a:pt x="43" y="38"/>
                  </a:lnTo>
                  <a:lnTo>
                    <a:pt x="45" y="38"/>
                  </a:lnTo>
                  <a:lnTo>
                    <a:pt x="45" y="40"/>
                  </a:lnTo>
                  <a:lnTo>
                    <a:pt x="45" y="40"/>
                  </a:lnTo>
                  <a:lnTo>
                    <a:pt x="47" y="42"/>
                  </a:lnTo>
                  <a:lnTo>
                    <a:pt x="47" y="42"/>
                  </a:lnTo>
                  <a:lnTo>
                    <a:pt x="50" y="40"/>
                  </a:lnTo>
                  <a:lnTo>
                    <a:pt x="50" y="40"/>
                  </a:lnTo>
                  <a:lnTo>
                    <a:pt x="52" y="40"/>
                  </a:lnTo>
                  <a:lnTo>
                    <a:pt x="52" y="40"/>
                  </a:lnTo>
                  <a:lnTo>
                    <a:pt x="52" y="40"/>
                  </a:lnTo>
                  <a:lnTo>
                    <a:pt x="52" y="40"/>
                  </a:lnTo>
                  <a:lnTo>
                    <a:pt x="54" y="38"/>
                  </a:lnTo>
                  <a:lnTo>
                    <a:pt x="52" y="38"/>
                  </a:lnTo>
                  <a:lnTo>
                    <a:pt x="52" y="35"/>
                  </a:lnTo>
                  <a:lnTo>
                    <a:pt x="52" y="35"/>
                  </a:lnTo>
                  <a:lnTo>
                    <a:pt x="52" y="35"/>
                  </a:lnTo>
                  <a:lnTo>
                    <a:pt x="52" y="35"/>
                  </a:lnTo>
                  <a:lnTo>
                    <a:pt x="52" y="33"/>
                  </a:lnTo>
                  <a:lnTo>
                    <a:pt x="52" y="33"/>
                  </a:lnTo>
                  <a:lnTo>
                    <a:pt x="52" y="33"/>
                  </a:lnTo>
                  <a:lnTo>
                    <a:pt x="52" y="30"/>
                  </a:lnTo>
                  <a:lnTo>
                    <a:pt x="54" y="30"/>
                  </a:lnTo>
                  <a:lnTo>
                    <a:pt x="54" y="28"/>
                  </a:lnTo>
                  <a:lnTo>
                    <a:pt x="57" y="28"/>
                  </a:lnTo>
                  <a:lnTo>
                    <a:pt x="57" y="28"/>
                  </a:lnTo>
                  <a:lnTo>
                    <a:pt x="57" y="28"/>
                  </a:lnTo>
                  <a:lnTo>
                    <a:pt x="57" y="28"/>
                  </a:lnTo>
                  <a:lnTo>
                    <a:pt x="57" y="28"/>
                  </a:lnTo>
                  <a:lnTo>
                    <a:pt x="59" y="26"/>
                  </a:lnTo>
                  <a:lnTo>
                    <a:pt x="62" y="26"/>
                  </a:lnTo>
                  <a:lnTo>
                    <a:pt x="62" y="2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9" name="Freeform 385"/>
            <p:cNvSpPr>
              <a:spLocks/>
            </p:cNvSpPr>
            <p:nvPr userDrawn="1"/>
          </p:nvSpPr>
          <p:spPr bwMode="auto">
            <a:xfrm>
              <a:off x="4051" y="1633"/>
              <a:ext cx="149" cy="96"/>
            </a:xfrm>
            <a:custGeom>
              <a:avLst/>
              <a:gdLst>
                <a:gd name="T0" fmla="*/ 142 w 149"/>
                <a:gd name="T1" fmla="*/ 49 h 96"/>
                <a:gd name="T2" fmla="*/ 132 w 149"/>
                <a:gd name="T3" fmla="*/ 47 h 96"/>
                <a:gd name="T4" fmla="*/ 130 w 149"/>
                <a:gd name="T5" fmla="*/ 40 h 96"/>
                <a:gd name="T6" fmla="*/ 120 w 149"/>
                <a:gd name="T7" fmla="*/ 33 h 96"/>
                <a:gd name="T8" fmla="*/ 113 w 149"/>
                <a:gd name="T9" fmla="*/ 26 h 96"/>
                <a:gd name="T10" fmla="*/ 116 w 149"/>
                <a:gd name="T11" fmla="*/ 18 h 96"/>
                <a:gd name="T12" fmla="*/ 113 w 149"/>
                <a:gd name="T13" fmla="*/ 14 h 96"/>
                <a:gd name="T14" fmla="*/ 111 w 149"/>
                <a:gd name="T15" fmla="*/ 9 h 96"/>
                <a:gd name="T16" fmla="*/ 104 w 149"/>
                <a:gd name="T17" fmla="*/ 7 h 96"/>
                <a:gd name="T18" fmla="*/ 94 w 149"/>
                <a:gd name="T19" fmla="*/ 7 h 96"/>
                <a:gd name="T20" fmla="*/ 90 w 149"/>
                <a:gd name="T21" fmla="*/ 4 h 96"/>
                <a:gd name="T22" fmla="*/ 83 w 149"/>
                <a:gd name="T23" fmla="*/ 2 h 96"/>
                <a:gd name="T24" fmla="*/ 73 w 149"/>
                <a:gd name="T25" fmla="*/ 0 h 96"/>
                <a:gd name="T26" fmla="*/ 69 w 149"/>
                <a:gd name="T27" fmla="*/ 0 h 96"/>
                <a:gd name="T28" fmla="*/ 59 w 149"/>
                <a:gd name="T29" fmla="*/ 7 h 96"/>
                <a:gd name="T30" fmla="*/ 50 w 149"/>
                <a:gd name="T31" fmla="*/ 9 h 96"/>
                <a:gd name="T32" fmla="*/ 45 w 149"/>
                <a:gd name="T33" fmla="*/ 16 h 96"/>
                <a:gd name="T34" fmla="*/ 50 w 149"/>
                <a:gd name="T35" fmla="*/ 18 h 96"/>
                <a:gd name="T36" fmla="*/ 43 w 149"/>
                <a:gd name="T37" fmla="*/ 21 h 96"/>
                <a:gd name="T38" fmla="*/ 36 w 149"/>
                <a:gd name="T39" fmla="*/ 26 h 96"/>
                <a:gd name="T40" fmla="*/ 33 w 149"/>
                <a:gd name="T41" fmla="*/ 33 h 96"/>
                <a:gd name="T42" fmla="*/ 36 w 149"/>
                <a:gd name="T43" fmla="*/ 37 h 96"/>
                <a:gd name="T44" fmla="*/ 33 w 149"/>
                <a:gd name="T45" fmla="*/ 40 h 96"/>
                <a:gd name="T46" fmla="*/ 29 w 149"/>
                <a:gd name="T47" fmla="*/ 37 h 96"/>
                <a:gd name="T48" fmla="*/ 21 w 149"/>
                <a:gd name="T49" fmla="*/ 42 h 96"/>
                <a:gd name="T50" fmla="*/ 12 w 149"/>
                <a:gd name="T51" fmla="*/ 44 h 96"/>
                <a:gd name="T52" fmla="*/ 3 w 149"/>
                <a:gd name="T53" fmla="*/ 44 h 96"/>
                <a:gd name="T54" fmla="*/ 10 w 149"/>
                <a:gd name="T55" fmla="*/ 63 h 96"/>
                <a:gd name="T56" fmla="*/ 3 w 149"/>
                <a:gd name="T57" fmla="*/ 73 h 96"/>
                <a:gd name="T58" fmla="*/ 3 w 149"/>
                <a:gd name="T59" fmla="*/ 78 h 96"/>
                <a:gd name="T60" fmla="*/ 7 w 149"/>
                <a:gd name="T61" fmla="*/ 82 h 96"/>
                <a:gd name="T62" fmla="*/ 7 w 149"/>
                <a:gd name="T63" fmla="*/ 92 h 96"/>
                <a:gd name="T64" fmla="*/ 12 w 149"/>
                <a:gd name="T65" fmla="*/ 89 h 96"/>
                <a:gd name="T66" fmla="*/ 19 w 149"/>
                <a:gd name="T67" fmla="*/ 85 h 96"/>
                <a:gd name="T68" fmla="*/ 31 w 149"/>
                <a:gd name="T69" fmla="*/ 85 h 96"/>
                <a:gd name="T70" fmla="*/ 52 w 149"/>
                <a:gd name="T71" fmla="*/ 85 h 96"/>
                <a:gd name="T72" fmla="*/ 64 w 149"/>
                <a:gd name="T73" fmla="*/ 87 h 96"/>
                <a:gd name="T74" fmla="*/ 73 w 149"/>
                <a:gd name="T75" fmla="*/ 92 h 96"/>
                <a:gd name="T76" fmla="*/ 76 w 149"/>
                <a:gd name="T77" fmla="*/ 92 h 96"/>
                <a:gd name="T78" fmla="*/ 85 w 149"/>
                <a:gd name="T79" fmla="*/ 92 h 96"/>
                <a:gd name="T80" fmla="*/ 90 w 149"/>
                <a:gd name="T81" fmla="*/ 92 h 96"/>
                <a:gd name="T82" fmla="*/ 94 w 149"/>
                <a:gd name="T83" fmla="*/ 89 h 96"/>
                <a:gd name="T84" fmla="*/ 102 w 149"/>
                <a:gd name="T85" fmla="*/ 94 h 96"/>
                <a:gd name="T86" fmla="*/ 113 w 149"/>
                <a:gd name="T87" fmla="*/ 94 h 96"/>
                <a:gd name="T88" fmla="*/ 120 w 149"/>
                <a:gd name="T89" fmla="*/ 96 h 96"/>
                <a:gd name="T90" fmla="*/ 118 w 149"/>
                <a:gd name="T91" fmla="*/ 87 h 96"/>
                <a:gd name="T92" fmla="*/ 127 w 149"/>
                <a:gd name="T93" fmla="*/ 82 h 96"/>
                <a:gd name="T94" fmla="*/ 135 w 149"/>
                <a:gd name="T95" fmla="*/ 78 h 96"/>
                <a:gd name="T96" fmla="*/ 132 w 149"/>
                <a:gd name="T97" fmla="*/ 70 h 96"/>
                <a:gd name="T98" fmla="*/ 130 w 149"/>
                <a:gd name="T99" fmla="*/ 66 h 96"/>
                <a:gd name="T100" fmla="*/ 127 w 149"/>
                <a:gd name="T101" fmla="*/ 59 h 96"/>
                <a:gd name="T102" fmla="*/ 135 w 149"/>
                <a:gd name="T103" fmla="*/ 61 h 96"/>
                <a:gd name="T104" fmla="*/ 146 w 149"/>
                <a:gd name="T105" fmla="*/ 5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 h="96">
                  <a:moveTo>
                    <a:pt x="149" y="54"/>
                  </a:moveTo>
                  <a:lnTo>
                    <a:pt x="149" y="54"/>
                  </a:lnTo>
                  <a:lnTo>
                    <a:pt x="146" y="54"/>
                  </a:lnTo>
                  <a:lnTo>
                    <a:pt x="144" y="52"/>
                  </a:lnTo>
                  <a:lnTo>
                    <a:pt x="144" y="52"/>
                  </a:lnTo>
                  <a:lnTo>
                    <a:pt x="142" y="49"/>
                  </a:lnTo>
                  <a:lnTo>
                    <a:pt x="144" y="49"/>
                  </a:lnTo>
                  <a:lnTo>
                    <a:pt x="144" y="49"/>
                  </a:lnTo>
                  <a:lnTo>
                    <a:pt x="139" y="47"/>
                  </a:lnTo>
                  <a:lnTo>
                    <a:pt x="135" y="47"/>
                  </a:lnTo>
                  <a:lnTo>
                    <a:pt x="132" y="47"/>
                  </a:lnTo>
                  <a:lnTo>
                    <a:pt x="132" y="47"/>
                  </a:lnTo>
                  <a:lnTo>
                    <a:pt x="132" y="44"/>
                  </a:lnTo>
                  <a:lnTo>
                    <a:pt x="132" y="44"/>
                  </a:lnTo>
                  <a:lnTo>
                    <a:pt x="132" y="42"/>
                  </a:lnTo>
                  <a:lnTo>
                    <a:pt x="132" y="42"/>
                  </a:lnTo>
                  <a:lnTo>
                    <a:pt x="132" y="42"/>
                  </a:lnTo>
                  <a:lnTo>
                    <a:pt x="130" y="40"/>
                  </a:lnTo>
                  <a:lnTo>
                    <a:pt x="125" y="37"/>
                  </a:lnTo>
                  <a:lnTo>
                    <a:pt x="123" y="37"/>
                  </a:lnTo>
                  <a:lnTo>
                    <a:pt x="123" y="35"/>
                  </a:lnTo>
                  <a:lnTo>
                    <a:pt x="120" y="33"/>
                  </a:lnTo>
                  <a:lnTo>
                    <a:pt x="120" y="33"/>
                  </a:lnTo>
                  <a:lnTo>
                    <a:pt x="120" y="33"/>
                  </a:lnTo>
                  <a:lnTo>
                    <a:pt x="120" y="30"/>
                  </a:lnTo>
                  <a:lnTo>
                    <a:pt x="120" y="30"/>
                  </a:lnTo>
                  <a:lnTo>
                    <a:pt x="120" y="30"/>
                  </a:lnTo>
                  <a:lnTo>
                    <a:pt x="118" y="28"/>
                  </a:lnTo>
                  <a:lnTo>
                    <a:pt x="113" y="26"/>
                  </a:lnTo>
                  <a:lnTo>
                    <a:pt x="113" y="26"/>
                  </a:lnTo>
                  <a:lnTo>
                    <a:pt x="113" y="26"/>
                  </a:lnTo>
                  <a:lnTo>
                    <a:pt x="113" y="23"/>
                  </a:lnTo>
                  <a:lnTo>
                    <a:pt x="116" y="23"/>
                  </a:lnTo>
                  <a:lnTo>
                    <a:pt x="116" y="21"/>
                  </a:lnTo>
                  <a:lnTo>
                    <a:pt x="116" y="21"/>
                  </a:lnTo>
                  <a:lnTo>
                    <a:pt x="116" y="18"/>
                  </a:lnTo>
                  <a:lnTo>
                    <a:pt x="113" y="18"/>
                  </a:lnTo>
                  <a:lnTo>
                    <a:pt x="113" y="16"/>
                  </a:lnTo>
                  <a:lnTo>
                    <a:pt x="113" y="16"/>
                  </a:lnTo>
                  <a:lnTo>
                    <a:pt x="113" y="16"/>
                  </a:lnTo>
                  <a:lnTo>
                    <a:pt x="113" y="16"/>
                  </a:lnTo>
                  <a:lnTo>
                    <a:pt x="113" y="14"/>
                  </a:lnTo>
                  <a:lnTo>
                    <a:pt x="113" y="11"/>
                  </a:lnTo>
                  <a:lnTo>
                    <a:pt x="113" y="11"/>
                  </a:lnTo>
                  <a:lnTo>
                    <a:pt x="113" y="11"/>
                  </a:lnTo>
                  <a:lnTo>
                    <a:pt x="113" y="11"/>
                  </a:lnTo>
                  <a:lnTo>
                    <a:pt x="111" y="11"/>
                  </a:lnTo>
                  <a:lnTo>
                    <a:pt x="111" y="9"/>
                  </a:lnTo>
                  <a:lnTo>
                    <a:pt x="111" y="9"/>
                  </a:lnTo>
                  <a:lnTo>
                    <a:pt x="109" y="9"/>
                  </a:lnTo>
                  <a:lnTo>
                    <a:pt x="109" y="9"/>
                  </a:lnTo>
                  <a:lnTo>
                    <a:pt x="106" y="7"/>
                  </a:lnTo>
                  <a:lnTo>
                    <a:pt x="106" y="7"/>
                  </a:lnTo>
                  <a:lnTo>
                    <a:pt x="104" y="7"/>
                  </a:lnTo>
                  <a:lnTo>
                    <a:pt x="99" y="7"/>
                  </a:lnTo>
                  <a:lnTo>
                    <a:pt x="99" y="7"/>
                  </a:lnTo>
                  <a:lnTo>
                    <a:pt x="97" y="7"/>
                  </a:lnTo>
                  <a:lnTo>
                    <a:pt x="97" y="7"/>
                  </a:lnTo>
                  <a:lnTo>
                    <a:pt x="94" y="7"/>
                  </a:lnTo>
                  <a:lnTo>
                    <a:pt x="94" y="7"/>
                  </a:lnTo>
                  <a:lnTo>
                    <a:pt x="94" y="7"/>
                  </a:lnTo>
                  <a:lnTo>
                    <a:pt x="92" y="9"/>
                  </a:lnTo>
                  <a:lnTo>
                    <a:pt x="90" y="9"/>
                  </a:lnTo>
                  <a:lnTo>
                    <a:pt x="90" y="7"/>
                  </a:lnTo>
                  <a:lnTo>
                    <a:pt x="90" y="7"/>
                  </a:lnTo>
                  <a:lnTo>
                    <a:pt x="90" y="4"/>
                  </a:lnTo>
                  <a:lnTo>
                    <a:pt x="90" y="4"/>
                  </a:lnTo>
                  <a:lnTo>
                    <a:pt x="90" y="4"/>
                  </a:lnTo>
                  <a:lnTo>
                    <a:pt x="87" y="4"/>
                  </a:lnTo>
                  <a:lnTo>
                    <a:pt x="85" y="2"/>
                  </a:lnTo>
                  <a:lnTo>
                    <a:pt x="83" y="2"/>
                  </a:lnTo>
                  <a:lnTo>
                    <a:pt x="83" y="2"/>
                  </a:lnTo>
                  <a:lnTo>
                    <a:pt x="80" y="4"/>
                  </a:lnTo>
                  <a:lnTo>
                    <a:pt x="80" y="4"/>
                  </a:lnTo>
                  <a:lnTo>
                    <a:pt x="78" y="2"/>
                  </a:lnTo>
                  <a:lnTo>
                    <a:pt x="78" y="2"/>
                  </a:lnTo>
                  <a:lnTo>
                    <a:pt x="76" y="0"/>
                  </a:lnTo>
                  <a:lnTo>
                    <a:pt x="73" y="0"/>
                  </a:lnTo>
                  <a:lnTo>
                    <a:pt x="73" y="2"/>
                  </a:lnTo>
                  <a:lnTo>
                    <a:pt x="73" y="2"/>
                  </a:lnTo>
                  <a:lnTo>
                    <a:pt x="73" y="2"/>
                  </a:lnTo>
                  <a:lnTo>
                    <a:pt x="71" y="0"/>
                  </a:lnTo>
                  <a:lnTo>
                    <a:pt x="69" y="0"/>
                  </a:lnTo>
                  <a:lnTo>
                    <a:pt x="69" y="0"/>
                  </a:lnTo>
                  <a:lnTo>
                    <a:pt x="66" y="2"/>
                  </a:lnTo>
                  <a:lnTo>
                    <a:pt x="64" y="4"/>
                  </a:lnTo>
                  <a:lnTo>
                    <a:pt x="64" y="4"/>
                  </a:lnTo>
                  <a:lnTo>
                    <a:pt x="62" y="7"/>
                  </a:lnTo>
                  <a:lnTo>
                    <a:pt x="62" y="7"/>
                  </a:lnTo>
                  <a:lnTo>
                    <a:pt x="59" y="7"/>
                  </a:lnTo>
                  <a:lnTo>
                    <a:pt x="59" y="7"/>
                  </a:lnTo>
                  <a:lnTo>
                    <a:pt x="57" y="7"/>
                  </a:lnTo>
                  <a:lnTo>
                    <a:pt x="54" y="7"/>
                  </a:lnTo>
                  <a:lnTo>
                    <a:pt x="52" y="7"/>
                  </a:lnTo>
                  <a:lnTo>
                    <a:pt x="50" y="9"/>
                  </a:lnTo>
                  <a:lnTo>
                    <a:pt x="50" y="9"/>
                  </a:lnTo>
                  <a:lnTo>
                    <a:pt x="47" y="9"/>
                  </a:lnTo>
                  <a:lnTo>
                    <a:pt x="47" y="9"/>
                  </a:lnTo>
                  <a:lnTo>
                    <a:pt x="47" y="9"/>
                  </a:lnTo>
                  <a:lnTo>
                    <a:pt x="47" y="11"/>
                  </a:lnTo>
                  <a:lnTo>
                    <a:pt x="47" y="14"/>
                  </a:lnTo>
                  <a:lnTo>
                    <a:pt x="45" y="16"/>
                  </a:lnTo>
                  <a:lnTo>
                    <a:pt x="45" y="16"/>
                  </a:lnTo>
                  <a:lnTo>
                    <a:pt x="47" y="16"/>
                  </a:lnTo>
                  <a:lnTo>
                    <a:pt x="50" y="16"/>
                  </a:lnTo>
                  <a:lnTo>
                    <a:pt x="50" y="16"/>
                  </a:lnTo>
                  <a:lnTo>
                    <a:pt x="50" y="16"/>
                  </a:lnTo>
                  <a:lnTo>
                    <a:pt x="50" y="18"/>
                  </a:lnTo>
                  <a:lnTo>
                    <a:pt x="50" y="18"/>
                  </a:lnTo>
                  <a:lnTo>
                    <a:pt x="50" y="18"/>
                  </a:lnTo>
                  <a:lnTo>
                    <a:pt x="47" y="21"/>
                  </a:lnTo>
                  <a:lnTo>
                    <a:pt x="43" y="18"/>
                  </a:lnTo>
                  <a:lnTo>
                    <a:pt x="43" y="21"/>
                  </a:lnTo>
                  <a:lnTo>
                    <a:pt x="43" y="21"/>
                  </a:lnTo>
                  <a:lnTo>
                    <a:pt x="43" y="21"/>
                  </a:lnTo>
                  <a:lnTo>
                    <a:pt x="43" y="23"/>
                  </a:lnTo>
                  <a:lnTo>
                    <a:pt x="40" y="23"/>
                  </a:lnTo>
                  <a:lnTo>
                    <a:pt x="38" y="23"/>
                  </a:lnTo>
                  <a:lnTo>
                    <a:pt x="38" y="23"/>
                  </a:lnTo>
                  <a:lnTo>
                    <a:pt x="36" y="26"/>
                  </a:lnTo>
                  <a:lnTo>
                    <a:pt x="36" y="28"/>
                  </a:lnTo>
                  <a:lnTo>
                    <a:pt x="36" y="30"/>
                  </a:lnTo>
                  <a:lnTo>
                    <a:pt x="36" y="30"/>
                  </a:lnTo>
                  <a:lnTo>
                    <a:pt x="36" y="30"/>
                  </a:lnTo>
                  <a:lnTo>
                    <a:pt x="36" y="33"/>
                  </a:lnTo>
                  <a:lnTo>
                    <a:pt x="33" y="33"/>
                  </a:lnTo>
                  <a:lnTo>
                    <a:pt x="33" y="35"/>
                  </a:lnTo>
                  <a:lnTo>
                    <a:pt x="33" y="35"/>
                  </a:lnTo>
                  <a:lnTo>
                    <a:pt x="33" y="35"/>
                  </a:lnTo>
                  <a:lnTo>
                    <a:pt x="36" y="35"/>
                  </a:lnTo>
                  <a:lnTo>
                    <a:pt x="36" y="37"/>
                  </a:lnTo>
                  <a:lnTo>
                    <a:pt x="36" y="37"/>
                  </a:lnTo>
                  <a:lnTo>
                    <a:pt x="38" y="37"/>
                  </a:lnTo>
                  <a:lnTo>
                    <a:pt x="38" y="40"/>
                  </a:lnTo>
                  <a:lnTo>
                    <a:pt x="38" y="40"/>
                  </a:lnTo>
                  <a:lnTo>
                    <a:pt x="36" y="40"/>
                  </a:lnTo>
                  <a:lnTo>
                    <a:pt x="33" y="40"/>
                  </a:lnTo>
                  <a:lnTo>
                    <a:pt x="33" y="40"/>
                  </a:lnTo>
                  <a:lnTo>
                    <a:pt x="33" y="40"/>
                  </a:lnTo>
                  <a:lnTo>
                    <a:pt x="33" y="37"/>
                  </a:lnTo>
                  <a:lnTo>
                    <a:pt x="33" y="37"/>
                  </a:lnTo>
                  <a:lnTo>
                    <a:pt x="33" y="37"/>
                  </a:lnTo>
                  <a:lnTo>
                    <a:pt x="31" y="37"/>
                  </a:lnTo>
                  <a:lnTo>
                    <a:pt x="29" y="37"/>
                  </a:lnTo>
                  <a:lnTo>
                    <a:pt x="29" y="37"/>
                  </a:lnTo>
                  <a:lnTo>
                    <a:pt x="26" y="40"/>
                  </a:lnTo>
                  <a:lnTo>
                    <a:pt x="26" y="40"/>
                  </a:lnTo>
                  <a:lnTo>
                    <a:pt x="24" y="40"/>
                  </a:lnTo>
                  <a:lnTo>
                    <a:pt x="21" y="40"/>
                  </a:lnTo>
                  <a:lnTo>
                    <a:pt x="21" y="42"/>
                  </a:lnTo>
                  <a:lnTo>
                    <a:pt x="21" y="42"/>
                  </a:lnTo>
                  <a:lnTo>
                    <a:pt x="19" y="42"/>
                  </a:lnTo>
                  <a:lnTo>
                    <a:pt x="17" y="44"/>
                  </a:lnTo>
                  <a:lnTo>
                    <a:pt x="14" y="44"/>
                  </a:lnTo>
                  <a:lnTo>
                    <a:pt x="14" y="44"/>
                  </a:lnTo>
                  <a:lnTo>
                    <a:pt x="12" y="44"/>
                  </a:lnTo>
                  <a:lnTo>
                    <a:pt x="12" y="44"/>
                  </a:lnTo>
                  <a:lnTo>
                    <a:pt x="10" y="44"/>
                  </a:lnTo>
                  <a:lnTo>
                    <a:pt x="10" y="44"/>
                  </a:lnTo>
                  <a:lnTo>
                    <a:pt x="7" y="44"/>
                  </a:lnTo>
                  <a:lnTo>
                    <a:pt x="5" y="44"/>
                  </a:lnTo>
                  <a:lnTo>
                    <a:pt x="3" y="44"/>
                  </a:lnTo>
                  <a:lnTo>
                    <a:pt x="3" y="44"/>
                  </a:lnTo>
                  <a:lnTo>
                    <a:pt x="5" y="49"/>
                  </a:lnTo>
                  <a:lnTo>
                    <a:pt x="7" y="56"/>
                  </a:lnTo>
                  <a:lnTo>
                    <a:pt x="10" y="61"/>
                  </a:lnTo>
                  <a:lnTo>
                    <a:pt x="10" y="61"/>
                  </a:lnTo>
                  <a:lnTo>
                    <a:pt x="10" y="63"/>
                  </a:lnTo>
                  <a:lnTo>
                    <a:pt x="10" y="66"/>
                  </a:lnTo>
                  <a:lnTo>
                    <a:pt x="10" y="68"/>
                  </a:lnTo>
                  <a:lnTo>
                    <a:pt x="10" y="68"/>
                  </a:lnTo>
                  <a:lnTo>
                    <a:pt x="10" y="68"/>
                  </a:lnTo>
                  <a:lnTo>
                    <a:pt x="5" y="70"/>
                  </a:lnTo>
                  <a:lnTo>
                    <a:pt x="3" y="73"/>
                  </a:lnTo>
                  <a:lnTo>
                    <a:pt x="0" y="73"/>
                  </a:lnTo>
                  <a:lnTo>
                    <a:pt x="0" y="75"/>
                  </a:lnTo>
                  <a:lnTo>
                    <a:pt x="0" y="75"/>
                  </a:lnTo>
                  <a:lnTo>
                    <a:pt x="0" y="78"/>
                  </a:lnTo>
                  <a:lnTo>
                    <a:pt x="0" y="78"/>
                  </a:lnTo>
                  <a:lnTo>
                    <a:pt x="3" y="78"/>
                  </a:lnTo>
                  <a:lnTo>
                    <a:pt x="5" y="80"/>
                  </a:lnTo>
                  <a:lnTo>
                    <a:pt x="5" y="80"/>
                  </a:lnTo>
                  <a:lnTo>
                    <a:pt x="7" y="80"/>
                  </a:lnTo>
                  <a:lnTo>
                    <a:pt x="7" y="82"/>
                  </a:lnTo>
                  <a:lnTo>
                    <a:pt x="7" y="82"/>
                  </a:lnTo>
                  <a:lnTo>
                    <a:pt x="7" y="82"/>
                  </a:lnTo>
                  <a:lnTo>
                    <a:pt x="7" y="85"/>
                  </a:lnTo>
                  <a:lnTo>
                    <a:pt x="7" y="87"/>
                  </a:lnTo>
                  <a:lnTo>
                    <a:pt x="7" y="87"/>
                  </a:lnTo>
                  <a:lnTo>
                    <a:pt x="7" y="89"/>
                  </a:lnTo>
                  <a:lnTo>
                    <a:pt x="7" y="89"/>
                  </a:lnTo>
                  <a:lnTo>
                    <a:pt x="7" y="92"/>
                  </a:lnTo>
                  <a:lnTo>
                    <a:pt x="7" y="92"/>
                  </a:lnTo>
                  <a:lnTo>
                    <a:pt x="7" y="89"/>
                  </a:lnTo>
                  <a:lnTo>
                    <a:pt x="7" y="89"/>
                  </a:lnTo>
                  <a:lnTo>
                    <a:pt x="10" y="89"/>
                  </a:lnTo>
                  <a:lnTo>
                    <a:pt x="10" y="89"/>
                  </a:lnTo>
                  <a:lnTo>
                    <a:pt x="12" y="89"/>
                  </a:lnTo>
                  <a:lnTo>
                    <a:pt x="12" y="92"/>
                  </a:lnTo>
                  <a:lnTo>
                    <a:pt x="14" y="92"/>
                  </a:lnTo>
                  <a:lnTo>
                    <a:pt x="17" y="89"/>
                  </a:lnTo>
                  <a:lnTo>
                    <a:pt x="17" y="87"/>
                  </a:lnTo>
                  <a:lnTo>
                    <a:pt x="19" y="87"/>
                  </a:lnTo>
                  <a:lnTo>
                    <a:pt x="19" y="85"/>
                  </a:lnTo>
                  <a:lnTo>
                    <a:pt x="21" y="85"/>
                  </a:lnTo>
                  <a:lnTo>
                    <a:pt x="24" y="85"/>
                  </a:lnTo>
                  <a:lnTo>
                    <a:pt x="24" y="85"/>
                  </a:lnTo>
                  <a:lnTo>
                    <a:pt x="26" y="85"/>
                  </a:lnTo>
                  <a:lnTo>
                    <a:pt x="29" y="85"/>
                  </a:lnTo>
                  <a:lnTo>
                    <a:pt x="31" y="85"/>
                  </a:lnTo>
                  <a:lnTo>
                    <a:pt x="33" y="85"/>
                  </a:lnTo>
                  <a:lnTo>
                    <a:pt x="38" y="85"/>
                  </a:lnTo>
                  <a:lnTo>
                    <a:pt x="43" y="85"/>
                  </a:lnTo>
                  <a:lnTo>
                    <a:pt x="43" y="85"/>
                  </a:lnTo>
                  <a:lnTo>
                    <a:pt x="50" y="85"/>
                  </a:lnTo>
                  <a:lnTo>
                    <a:pt x="52" y="85"/>
                  </a:lnTo>
                  <a:lnTo>
                    <a:pt x="52" y="87"/>
                  </a:lnTo>
                  <a:lnTo>
                    <a:pt x="54" y="87"/>
                  </a:lnTo>
                  <a:lnTo>
                    <a:pt x="57" y="87"/>
                  </a:lnTo>
                  <a:lnTo>
                    <a:pt x="62" y="87"/>
                  </a:lnTo>
                  <a:lnTo>
                    <a:pt x="62" y="87"/>
                  </a:lnTo>
                  <a:lnTo>
                    <a:pt x="64" y="87"/>
                  </a:lnTo>
                  <a:lnTo>
                    <a:pt x="66" y="89"/>
                  </a:lnTo>
                  <a:lnTo>
                    <a:pt x="66" y="92"/>
                  </a:lnTo>
                  <a:lnTo>
                    <a:pt x="66" y="92"/>
                  </a:lnTo>
                  <a:lnTo>
                    <a:pt x="69" y="89"/>
                  </a:lnTo>
                  <a:lnTo>
                    <a:pt x="71" y="92"/>
                  </a:lnTo>
                  <a:lnTo>
                    <a:pt x="73" y="92"/>
                  </a:lnTo>
                  <a:lnTo>
                    <a:pt x="73" y="92"/>
                  </a:lnTo>
                  <a:lnTo>
                    <a:pt x="73" y="94"/>
                  </a:lnTo>
                  <a:lnTo>
                    <a:pt x="73" y="94"/>
                  </a:lnTo>
                  <a:lnTo>
                    <a:pt x="73" y="92"/>
                  </a:lnTo>
                  <a:lnTo>
                    <a:pt x="76" y="92"/>
                  </a:lnTo>
                  <a:lnTo>
                    <a:pt x="76" y="92"/>
                  </a:lnTo>
                  <a:lnTo>
                    <a:pt x="78" y="92"/>
                  </a:lnTo>
                  <a:lnTo>
                    <a:pt x="78" y="92"/>
                  </a:lnTo>
                  <a:lnTo>
                    <a:pt x="80" y="92"/>
                  </a:lnTo>
                  <a:lnTo>
                    <a:pt x="80" y="89"/>
                  </a:lnTo>
                  <a:lnTo>
                    <a:pt x="83" y="92"/>
                  </a:lnTo>
                  <a:lnTo>
                    <a:pt x="85" y="92"/>
                  </a:lnTo>
                  <a:lnTo>
                    <a:pt x="85" y="92"/>
                  </a:lnTo>
                  <a:lnTo>
                    <a:pt x="87" y="92"/>
                  </a:lnTo>
                  <a:lnTo>
                    <a:pt x="87" y="94"/>
                  </a:lnTo>
                  <a:lnTo>
                    <a:pt x="90" y="94"/>
                  </a:lnTo>
                  <a:lnTo>
                    <a:pt x="90" y="94"/>
                  </a:lnTo>
                  <a:lnTo>
                    <a:pt x="90" y="92"/>
                  </a:lnTo>
                  <a:lnTo>
                    <a:pt x="92" y="92"/>
                  </a:lnTo>
                  <a:lnTo>
                    <a:pt x="92" y="92"/>
                  </a:lnTo>
                  <a:lnTo>
                    <a:pt x="92" y="92"/>
                  </a:lnTo>
                  <a:lnTo>
                    <a:pt x="94" y="92"/>
                  </a:lnTo>
                  <a:lnTo>
                    <a:pt x="94" y="89"/>
                  </a:lnTo>
                  <a:lnTo>
                    <a:pt x="94" y="89"/>
                  </a:lnTo>
                  <a:lnTo>
                    <a:pt x="94" y="89"/>
                  </a:lnTo>
                  <a:lnTo>
                    <a:pt x="97" y="92"/>
                  </a:lnTo>
                  <a:lnTo>
                    <a:pt x="97" y="92"/>
                  </a:lnTo>
                  <a:lnTo>
                    <a:pt x="99" y="94"/>
                  </a:lnTo>
                  <a:lnTo>
                    <a:pt x="99" y="94"/>
                  </a:lnTo>
                  <a:lnTo>
                    <a:pt x="102" y="94"/>
                  </a:lnTo>
                  <a:lnTo>
                    <a:pt x="102" y="94"/>
                  </a:lnTo>
                  <a:lnTo>
                    <a:pt x="104" y="94"/>
                  </a:lnTo>
                  <a:lnTo>
                    <a:pt x="109" y="94"/>
                  </a:lnTo>
                  <a:lnTo>
                    <a:pt x="111" y="94"/>
                  </a:lnTo>
                  <a:lnTo>
                    <a:pt x="113" y="94"/>
                  </a:lnTo>
                  <a:lnTo>
                    <a:pt x="113" y="94"/>
                  </a:lnTo>
                  <a:lnTo>
                    <a:pt x="116" y="94"/>
                  </a:lnTo>
                  <a:lnTo>
                    <a:pt x="116" y="96"/>
                  </a:lnTo>
                  <a:lnTo>
                    <a:pt x="118" y="96"/>
                  </a:lnTo>
                  <a:lnTo>
                    <a:pt x="118" y="96"/>
                  </a:lnTo>
                  <a:lnTo>
                    <a:pt x="118" y="96"/>
                  </a:lnTo>
                  <a:lnTo>
                    <a:pt x="120" y="96"/>
                  </a:lnTo>
                  <a:lnTo>
                    <a:pt x="120" y="94"/>
                  </a:lnTo>
                  <a:lnTo>
                    <a:pt x="120" y="94"/>
                  </a:lnTo>
                  <a:lnTo>
                    <a:pt x="118" y="92"/>
                  </a:lnTo>
                  <a:lnTo>
                    <a:pt x="118" y="92"/>
                  </a:lnTo>
                  <a:lnTo>
                    <a:pt x="118" y="89"/>
                  </a:lnTo>
                  <a:lnTo>
                    <a:pt x="118" y="87"/>
                  </a:lnTo>
                  <a:lnTo>
                    <a:pt x="120" y="87"/>
                  </a:lnTo>
                  <a:lnTo>
                    <a:pt x="120" y="85"/>
                  </a:lnTo>
                  <a:lnTo>
                    <a:pt x="123" y="85"/>
                  </a:lnTo>
                  <a:lnTo>
                    <a:pt x="123" y="82"/>
                  </a:lnTo>
                  <a:lnTo>
                    <a:pt x="125" y="80"/>
                  </a:lnTo>
                  <a:lnTo>
                    <a:pt x="127" y="82"/>
                  </a:lnTo>
                  <a:lnTo>
                    <a:pt x="127" y="82"/>
                  </a:lnTo>
                  <a:lnTo>
                    <a:pt x="130" y="80"/>
                  </a:lnTo>
                  <a:lnTo>
                    <a:pt x="132" y="80"/>
                  </a:lnTo>
                  <a:lnTo>
                    <a:pt x="137" y="80"/>
                  </a:lnTo>
                  <a:lnTo>
                    <a:pt x="137" y="80"/>
                  </a:lnTo>
                  <a:lnTo>
                    <a:pt x="135" y="78"/>
                  </a:lnTo>
                  <a:lnTo>
                    <a:pt x="135" y="78"/>
                  </a:lnTo>
                  <a:lnTo>
                    <a:pt x="132" y="78"/>
                  </a:lnTo>
                  <a:lnTo>
                    <a:pt x="132" y="75"/>
                  </a:lnTo>
                  <a:lnTo>
                    <a:pt x="132" y="73"/>
                  </a:lnTo>
                  <a:lnTo>
                    <a:pt x="132" y="73"/>
                  </a:lnTo>
                  <a:lnTo>
                    <a:pt x="132" y="70"/>
                  </a:lnTo>
                  <a:lnTo>
                    <a:pt x="132" y="70"/>
                  </a:lnTo>
                  <a:lnTo>
                    <a:pt x="130" y="68"/>
                  </a:lnTo>
                  <a:lnTo>
                    <a:pt x="132" y="68"/>
                  </a:lnTo>
                  <a:lnTo>
                    <a:pt x="132" y="68"/>
                  </a:lnTo>
                  <a:lnTo>
                    <a:pt x="130" y="66"/>
                  </a:lnTo>
                  <a:lnTo>
                    <a:pt x="130" y="66"/>
                  </a:lnTo>
                  <a:lnTo>
                    <a:pt x="127" y="63"/>
                  </a:lnTo>
                  <a:lnTo>
                    <a:pt x="127" y="63"/>
                  </a:lnTo>
                  <a:lnTo>
                    <a:pt x="125" y="61"/>
                  </a:lnTo>
                  <a:lnTo>
                    <a:pt x="127" y="61"/>
                  </a:lnTo>
                  <a:lnTo>
                    <a:pt x="127" y="59"/>
                  </a:lnTo>
                  <a:lnTo>
                    <a:pt x="127" y="59"/>
                  </a:lnTo>
                  <a:lnTo>
                    <a:pt x="127" y="59"/>
                  </a:lnTo>
                  <a:lnTo>
                    <a:pt x="130" y="59"/>
                  </a:lnTo>
                  <a:lnTo>
                    <a:pt x="132" y="59"/>
                  </a:lnTo>
                  <a:lnTo>
                    <a:pt x="132" y="59"/>
                  </a:lnTo>
                  <a:lnTo>
                    <a:pt x="135" y="59"/>
                  </a:lnTo>
                  <a:lnTo>
                    <a:pt x="135" y="61"/>
                  </a:lnTo>
                  <a:lnTo>
                    <a:pt x="139" y="61"/>
                  </a:lnTo>
                  <a:lnTo>
                    <a:pt x="139" y="61"/>
                  </a:lnTo>
                  <a:lnTo>
                    <a:pt x="142" y="59"/>
                  </a:lnTo>
                  <a:lnTo>
                    <a:pt x="144" y="59"/>
                  </a:lnTo>
                  <a:lnTo>
                    <a:pt x="144" y="56"/>
                  </a:lnTo>
                  <a:lnTo>
                    <a:pt x="146" y="56"/>
                  </a:lnTo>
                  <a:lnTo>
                    <a:pt x="146" y="56"/>
                  </a:lnTo>
                  <a:lnTo>
                    <a:pt x="149" y="56"/>
                  </a:lnTo>
                  <a:lnTo>
                    <a:pt x="149" y="5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0" name="Freeform 386"/>
            <p:cNvSpPr>
              <a:spLocks/>
            </p:cNvSpPr>
            <p:nvPr userDrawn="1"/>
          </p:nvSpPr>
          <p:spPr bwMode="auto">
            <a:xfrm>
              <a:off x="2555" y="2526"/>
              <a:ext cx="2" cy="5"/>
            </a:xfrm>
            <a:custGeom>
              <a:avLst/>
              <a:gdLst>
                <a:gd name="T0" fmla="*/ 2 w 2"/>
                <a:gd name="T1" fmla="*/ 3 h 5"/>
                <a:gd name="T2" fmla="*/ 0 w 2"/>
                <a:gd name="T3" fmla="*/ 0 h 5"/>
                <a:gd name="T4" fmla="*/ 0 w 2"/>
                <a:gd name="T5" fmla="*/ 0 h 5"/>
                <a:gd name="T6" fmla="*/ 0 w 2"/>
                <a:gd name="T7" fmla="*/ 5 h 5"/>
                <a:gd name="T8" fmla="*/ 0 w 2"/>
                <a:gd name="T9" fmla="*/ 5 h 5"/>
                <a:gd name="T10" fmla="*/ 2 w 2"/>
                <a:gd name="T11" fmla="*/ 5 h 5"/>
                <a:gd name="T12" fmla="*/ 2 w 2"/>
                <a:gd name="T13" fmla="*/ 5 h 5"/>
                <a:gd name="T14" fmla="*/ 2 w 2"/>
                <a:gd name="T15" fmla="*/ 5 h 5"/>
                <a:gd name="T16" fmla="*/ 2 w 2"/>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3"/>
                  </a:moveTo>
                  <a:lnTo>
                    <a:pt x="0" y="0"/>
                  </a:lnTo>
                  <a:lnTo>
                    <a:pt x="0" y="0"/>
                  </a:lnTo>
                  <a:lnTo>
                    <a:pt x="0" y="5"/>
                  </a:lnTo>
                  <a:lnTo>
                    <a:pt x="0" y="5"/>
                  </a:lnTo>
                  <a:lnTo>
                    <a:pt x="2" y="5"/>
                  </a:lnTo>
                  <a:lnTo>
                    <a:pt x="2" y="5"/>
                  </a:lnTo>
                  <a:lnTo>
                    <a:pt x="2" y="5"/>
                  </a:lnTo>
                  <a:lnTo>
                    <a:pt x="2" y="3"/>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1" name="Freeform 387"/>
            <p:cNvSpPr>
              <a:spLocks noEditPoints="1"/>
            </p:cNvSpPr>
            <p:nvPr userDrawn="1"/>
          </p:nvSpPr>
          <p:spPr bwMode="auto">
            <a:xfrm>
              <a:off x="5248" y="2247"/>
              <a:ext cx="97" cy="121"/>
            </a:xfrm>
            <a:custGeom>
              <a:avLst/>
              <a:gdLst>
                <a:gd name="T0" fmla="*/ 64 w 97"/>
                <a:gd name="T1" fmla="*/ 85 h 121"/>
                <a:gd name="T2" fmla="*/ 74 w 97"/>
                <a:gd name="T3" fmla="*/ 88 h 121"/>
                <a:gd name="T4" fmla="*/ 57 w 97"/>
                <a:gd name="T5" fmla="*/ 81 h 121"/>
                <a:gd name="T6" fmla="*/ 55 w 97"/>
                <a:gd name="T7" fmla="*/ 83 h 121"/>
                <a:gd name="T8" fmla="*/ 57 w 97"/>
                <a:gd name="T9" fmla="*/ 95 h 121"/>
                <a:gd name="T10" fmla="*/ 57 w 97"/>
                <a:gd name="T11" fmla="*/ 76 h 121"/>
                <a:gd name="T12" fmla="*/ 57 w 97"/>
                <a:gd name="T13" fmla="*/ 76 h 121"/>
                <a:gd name="T14" fmla="*/ 92 w 97"/>
                <a:gd name="T15" fmla="*/ 95 h 121"/>
                <a:gd name="T16" fmla="*/ 88 w 97"/>
                <a:gd name="T17" fmla="*/ 78 h 121"/>
                <a:gd name="T18" fmla="*/ 83 w 97"/>
                <a:gd name="T19" fmla="*/ 62 h 121"/>
                <a:gd name="T20" fmla="*/ 78 w 97"/>
                <a:gd name="T21" fmla="*/ 62 h 121"/>
                <a:gd name="T22" fmla="*/ 76 w 97"/>
                <a:gd name="T23" fmla="*/ 71 h 121"/>
                <a:gd name="T24" fmla="*/ 71 w 97"/>
                <a:gd name="T25" fmla="*/ 74 h 121"/>
                <a:gd name="T26" fmla="*/ 69 w 97"/>
                <a:gd name="T27" fmla="*/ 74 h 121"/>
                <a:gd name="T28" fmla="*/ 64 w 97"/>
                <a:gd name="T29" fmla="*/ 62 h 121"/>
                <a:gd name="T30" fmla="*/ 66 w 97"/>
                <a:gd name="T31" fmla="*/ 52 h 121"/>
                <a:gd name="T32" fmla="*/ 74 w 97"/>
                <a:gd name="T33" fmla="*/ 50 h 121"/>
                <a:gd name="T34" fmla="*/ 76 w 97"/>
                <a:gd name="T35" fmla="*/ 45 h 121"/>
                <a:gd name="T36" fmla="*/ 81 w 97"/>
                <a:gd name="T37" fmla="*/ 38 h 121"/>
                <a:gd name="T38" fmla="*/ 83 w 97"/>
                <a:gd name="T39" fmla="*/ 36 h 121"/>
                <a:gd name="T40" fmla="*/ 69 w 97"/>
                <a:gd name="T41" fmla="*/ 29 h 121"/>
                <a:gd name="T42" fmla="*/ 50 w 97"/>
                <a:gd name="T43" fmla="*/ 29 h 121"/>
                <a:gd name="T44" fmla="*/ 36 w 97"/>
                <a:gd name="T45" fmla="*/ 26 h 121"/>
                <a:gd name="T46" fmla="*/ 31 w 97"/>
                <a:gd name="T47" fmla="*/ 14 h 121"/>
                <a:gd name="T48" fmla="*/ 26 w 97"/>
                <a:gd name="T49" fmla="*/ 10 h 121"/>
                <a:gd name="T50" fmla="*/ 19 w 97"/>
                <a:gd name="T51" fmla="*/ 10 h 121"/>
                <a:gd name="T52" fmla="*/ 15 w 97"/>
                <a:gd name="T53" fmla="*/ 3 h 121"/>
                <a:gd name="T54" fmla="*/ 15 w 97"/>
                <a:gd name="T55" fmla="*/ 7 h 121"/>
                <a:gd name="T56" fmla="*/ 10 w 97"/>
                <a:gd name="T57" fmla="*/ 3 h 121"/>
                <a:gd name="T58" fmla="*/ 5 w 97"/>
                <a:gd name="T59" fmla="*/ 3 h 121"/>
                <a:gd name="T60" fmla="*/ 3 w 97"/>
                <a:gd name="T61" fmla="*/ 7 h 121"/>
                <a:gd name="T62" fmla="*/ 3 w 97"/>
                <a:gd name="T63" fmla="*/ 17 h 121"/>
                <a:gd name="T64" fmla="*/ 15 w 97"/>
                <a:gd name="T65" fmla="*/ 22 h 121"/>
                <a:gd name="T66" fmla="*/ 19 w 97"/>
                <a:gd name="T67" fmla="*/ 29 h 121"/>
                <a:gd name="T68" fmla="*/ 10 w 97"/>
                <a:gd name="T69" fmla="*/ 29 h 121"/>
                <a:gd name="T70" fmla="*/ 3 w 97"/>
                <a:gd name="T71" fmla="*/ 38 h 121"/>
                <a:gd name="T72" fmla="*/ 10 w 97"/>
                <a:gd name="T73" fmla="*/ 43 h 121"/>
                <a:gd name="T74" fmla="*/ 17 w 97"/>
                <a:gd name="T75" fmla="*/ 50 h 121"/>
                <a:gd name="T76" fmla="*/ 17 w 97"/>
                <a:gd name="T77" fmla="*/ 62 h 121"/>
                <a:gd name="T78" fmla="*/ 19 w 97"/>
                <a:gd name="T79" fmla="*/ 69 h 121"/>
                <a:gd name="T80" fmla="*/ 24 w 97"/>
                <a:gd name="T81" fmla="*/ 78 h 121"/>
                <a:gd name="T82" fmla="*/ 29 w 97"/>
                <a:gd name="T83" fmla="*/ 93 h 121"/>
                <a:gd name="T84" fmla="*/ 33 w 97"/>
                <a:gd name="T85" fmla="*/ 102 h 121"/>
                <a:gd name="T86" fmla="*/ 36 w 97"/>
                <a:gd name="T87" fmla="*/ 90 h 121"/>
                <a:gd name="T88" fmla="*/ 43 w 97"/>
                <a:gd name="T89" fmla="*/ 97 h 121"/>
                <a:gd name="T90" fmla="*/ 45 w 97"/>
                <a:gd name="T91" fmla="*/ 85 h 121"/>
                <a:gd name="T92" fmla="*/ 50 w 97"/>
                <a:gd name="T93" fmla="*/ 93 h 121"/>
                <a:gd name="T94" fmla="*/ 50 w 97"/>
                <a:gd name="T95" fmla="*/ 100 h 121"/>
                <a:gd name="T96" fmla="*/ 57 w 97"/>
                <a:gd name="T97" fmla="*/ 90 h 121"/>
                <a:gd name="T98" fmla="*/ 55 w 97"/>
                <a:gd name="T99" fmla="*/ 83 h 121"/>
                <a:gd name="T100" fmla="*/ 52 w 97"/>
                <a:gd name="T101" fmla="*/ 74 h 121"/>
                <a:gd name="T102" fmla="*/ 50 w 97"/>
                <a:gd name="T103" fmla="*/ 66 h 121"/>
                <a:gd name="T104" fmla="*/ 52 w 97"/>
                <a:gd name="T105" fmla="*/ 64 h 121"/>
                <a:gd name="T106" fmla="*/ 57 w 97"/>
                <a:gd name="T107" fmla="*/ 74 h 121"/>
                <a:gd name="T108" fmla="*/ 71 w 97"/>
                <a:gd name="T109" fmla="*/ 78 h 121"/>
                <a:gd name="T110" fmla="*/ 78 w 97"/>
                <a:gd name="T111" fmla="*/ 90 h 121"/>
                <a:gd name="T112" fmla="*/ 83 w 97"/>
                <a:gd name="T113" fmla="*/ 100 h 121"/>
                <a:gd name="T114" fmla="*/ 92 w 97"/>
                <a:gd name="T115" fmla="*/ 121 h 121"/>
                <a:gd name="T116" fmla="*/ 90 w 97"/>
                <a:gd name="T117" fmla="*/ 116 h 121"/>
                <a:gd name="T118" fmla="*/ 92 w 97"/>
                <a:gd name="T119" fmla="*/ 109 h 121"/>
                <a:gd name="T120" fmla="*/ 97 w 97"/>
                <a:gd name="T121" fmla="*/ 10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 h="121">
                  <a:moveTo>
                    <a:pt x="64" y="85"/>
                  </a:moveTo>
                  <a:lnTo>
                    <a:pt x="66" y="95"/>
                  </a:lnTo>
                  <a:lnTo>
                    <a:pt x="66" y="93"/>
                  </a:lnTo>
                  <a:lnTo>
                    <a:pt x="69" y="90"/>
                  </a:lnTo>
                  <a:lnTo>
                    <a:pt x="66" y="88"/>
                  </a:lnTo>
                  <a:lnTo>
                    <a:pt x="64" y="85"/>
                  </a:lnTo>
                  <a:close/>
                  <a:moveTo>
                    <a:pt x="74" y="85"/>
                  </a:moveTo>
                  <a:lnTo>
                    <a:pt x="74" y="83"/>
                  </a:lnTo>
                  <a:lnTo>
                    <a:pt x="71" y="83"/>
                  </a:lnTo>
                  <a:lnTo>
                    <a:pt x="71" y="83"/>
                  </a:lnTo>
                  <a:lnTo>
                    <a:pt x="71" y="85"/>
                  </a:lnTo>
                  <a:lnTo>
                    <a:pt x="74" y="88"/>
                  </a:lnTo>
                  <a:lnTo>
                    <a:pt x="74" y="88"/>
                  </a:lnTo>
                  <a:lnTo>
                    <a:pt x="74" y="88"/>
                  </a:lnTo>
                  <a:lnTo>
                    <a:pt x="74" y="88"/>
                  </a:lnTo>
                  <a:lnTo>
                    <a:pt x="74" y="85"/>
                  </a:lnTo>
                  <a:close/>
                  <a:moveTo>
                    <a:pt x="59" y="83"/>
                  </a:moveTo>
                  <a:lnTo>
                    <a:pt x="57" y="81"/>
                  </a:lnTo>
                  <a:lnTo>
                    <a:pt x="57" y="81"/>
                  </a:lnTo>
                  <a:lnTo>
                    <a:pt x="57" y="78"/>
                  </a:lnTo>
                  <a:lnTo>
                    <a:pt x="55" y="78"/>
                  </a:lnTo>
                  <a:lnTo>
                    <a:pt x="55" y="78"/>
                  </a:lnTo>
                  <a:lnTo>
                    <a:pt x="55" y="81"/>
                  </a:lnTo>
                  <a:lnTo>
                    <a:pt x="55" y="83"/>
                  </a:lnTo>
                  <a:lnTo>
                    <a:pt x="55" y="83"/>
                  </a:lnTo>
                  <a:lnTo>
                    <a:pt x="57" y="85"/>
                  </a:lnTo>
                  <a:lnTo>
                    <a:pt x="57" y="88"/>
                  </a:lnTo>
                  <a:lnTo>
                    <a:pt x="59" y="90"/>
                  </a:lnTo>
                  <a:lnTo>
                    <a:pt x="57" y="95"/>
                  </a:lnTo>
                  <a:lnTo>
                    <a:pt x="57" y="95"/>
                  </a:lnTo>
                  <a:lnTo>
                    <a:pt x="62" y="95"/>
                  </a:lnTo>
                  <a:lnTo>
                    <a:pt x="62" y="93"/>
                  </a:lnTo>
                  <a:lnTo>
                    <a:pt x="62" y="88"/>
                  </a:lnTo>
                  <a:lnTo>
                    <a:pt x="62" y="85"/>
                  </a:lnTo>
                  <a:lnTo>
                    <a:pt x="59" y="83"/>
                  </a:lnTo>
                  <a:close/>
                  <a:moveTo>
                    <a:pt x="57" y="76"/>
                  </a:moveTo>
                  <a:lnTo>
                    <a:pt x="55" y="74"/>
                  </a:lnTo>
                  <a:lnTo>
                    <a:pt x="55" y="76"/>
                  </a:lnTo>
                  <a:lnTo>
                    <a:pt x="55" y="76"/>
                  </a:lnTo>
                  <a:lnTo>
                    <a:pt x="55" y="76"/>
                  </a:lnTo>
                  <a:lnTo>
                    <a:pt x="57" y="76"/>
                  </a:lnTo>
                  <a:lnTo>
                    <a:pt x="57" y="76"/>
                  </a:lnTo>
                  <a:close/>
                  <a:moveTo>
                    <a:pt x="97" y="109"/>
                  </a:moveTo>
                  <a:lnTo>
                    <a:pt x="95" y="107"/>
                  </a:lnTo>
                  <a:lnTo>
                    <a:pt x="95" y="104"/>
                  </a:lnTo>
                  <a:lnTo>
                    <a:pt x="95" y="97"/>
                  </a:lnTo>
                  <a:lnTo>
                    <a:pt x="95" y="97"/>
                  </a:lnTo>
                  <a:lnTo>
                    <a:pt x="92" y="95"/>
                  </a:lnTo>
                  <a:lnTo>
                    <a:pt x="92" y="88"/>
                  </a:lnTo>
                  <a:lnTo>
                    <a:pt x="92" y="85"/>
                  </a:lnTo>
                  <a:lnTo>
                    <a:pt x="90" y="81"/>
                  </a:lnTo>
                  <a:lnTo>
                    <a:pt x="90" y="81"/>
                  </a:lnTo>
                  <a:lnTo>
                    <a:pt x="90" y="78"/>
                  </a:lnTo>
                  <a:lnTo>
                    <a:pt x="88" y="78"/>
                  </a:lnTo>
                  <a:lnTo>
                    <a:pt x="88" y="76"/>
                  </a:lnTo>
                  <a:lnTo>
                    <a:pt x="88" y="74"/>
                  </a:lnTo>
                  <a:lnTo>
                    <a:pt x="85" y="71"/>
                  </a:lnTo>
                  <a:lnTo>
                    <a:pt x="85" y="69"/>
                  </a:lnTo>
                  <a:lnTo>
                    <a:pt x="85" y="64"/>
                  </a:lnTo>
                  <a:lnTo>
                    <a:pt x="83" y="62"/>
                  </a:lnTo>
                  <a:lnTo>
                    <a:pt x="83" y="62"/>
                  </a:lnTo>
                  <a:lnTo>
                    <a:pt x="81" y="59"/>
                  </a:lnTo>
                  <a:lnTo>
                    <a:pt x="81" y="59"/>
                  </a:lnTo>
                  <a:lnTo>
                    <a:pt x="81" y="62"/>
                  </a:lnTo>
                  <a:lnTo>
                    <a:pt x="78" y="62"/>
                  </a:lnTo>
                  <a:lnTo>
                    <a:pt x="78" y="62"/>
                  </a:lnTo>
                  <a:lnTo>
                    <a:pt x="78" y="62"/>
                  </a:lnTo>
                  <a:lnTo>
                    <a:pt x="78" y="64"/>
                  </a:lnTo>
                  <a:lnTo>
                    <a:pt x="78" y="64"/>
                  </a:lnTo>
                  <a:lnTo>
                    <a:pt x="76" y="66"/>
                  </a:lnTo>
                  <a:lnTo>
                    <a:pt x="76" y="69"/>
                  </a:lnTo>
                  <a:lnTo>
                    <a:pt x="76" y="71"/>
                  </a:lnTo>
                  <a:lnTo>
                    <a:pt x="76" y="74"/>
                  </a:lnTo>
                  <a:lnTo>
                    <a:pt x="76" y="74"/>
                  </a:lnTo>
                  <a:lnTo>
                    <a:pt x="76" y="76"/>
                  </a:lnTo>
                  <a:lnTo>
                    <a:pt x="74" y="76"/>
                  </a:lnTo>
                  <a:lnTo>
                    <a:pt x="74" y="76"/>
                  </a:lnTo>
                  <a:lnTo>
                    <a:pt x="71" y="74"/>
                  </a:lnTo>
                  <a:lnTo>
                    <a:pt x="71" y="71"/>
                  </a:lnTo>
                  <a:lnTo>
                    <a:pt x="69" y="71"/>
                  </a:lnTo>
                  <a:lnTo>
                    <a:pt x="69" y="71"/>
                  </a:lnTo>
                  <a:lnTo>
                    <a:pt x="69" y="71"/>
                  </a:lnTo>
                  <a:lnTo>
                    <a:pt x="69" y="74"/>
                  </a:lnTo>
                  <a:lnTo>
                    <a:pt x="69" y="74"/>
                  </a:lnTo>
                  <a:lnTo>
                    <a:pt x="69" y="74"/>
                  </a:lnTo>
                  <a:lnTo>
                    <a:pt x="69" y="74"/>
                  </a:lnTo>
                  <a:lnTo>
                    <a:pt x="69" y="74"/>
                  </a:lnTo>
                  <a:lnTo>
                    <a:pt x="66" y="66"/>
                  </a:lnTo>
                  <a:lnTo>
                    <a:pt x="64" y="62"/>
                  </a:lnTo>
                  <a:lnTo>
                    <a:pt x="64" y="62"/>
                  </a:lnTo>
                  <a:lnTo>
                    <a:pt x="64" y="59"/>
                  </a:lnTo>
                  <a:lnTo>
                    <a:pt x="64" y="55"/>
                  </a:lnTo>
                  <a:lnTo>
                    <a:pt x="66" y="55"/>
                  </a:lnTo>
                  <a:lnTo>
                    <a:pt x="66" y="52"/>
                  </a:lnTo>
                  <a:lnTo>
                    <a:pt x="66" y="52"/>
                  </a:lnTo>
                  <a:lnTo>
                    <a:pt x="66" y="52"/>
                  </a:lnTo>
                  <a:lnTo>
                    <a:pt x="69" y="52"/>
                  </a:lnTo>
                  <a:lnTo>
                    <a:pt x="69" y="52"/>
                  </a:lnTo>
                  <a:lnTo>
                    <a:pt x="71" y="50"/>
                  </a:lnTo>
                  <a:lnTo>
                    <a:pt x="71" y="50"/>
                  </a:lnTo>
                  <a:lnTo>
                    <a:pt x="71" y="50"/>
                  </a:lnTo>
                  <a:lnTo>
                    <a:pt x="74" y="50"/>
                  </a:lnTo>
                  <a:lnTo>
                    <a:pt x="74" y="50"/>
                  </a:lnTo>
                  <a:lnTo>
                    <a:pt x="76" y="50"/>
                  </a:lnTo>
                  <a:lnTo>
                    <a:pt x="76" y="48"/>
                  </a:lnTo>
                  <a:lnTo>
                    <a:pt x="76" y="48"/>
                  </a:lnTo>
                  <a:lnTo>
                    <a:pt x="76" y="48"/>
                  </a:lnTo>
                  <a:lnTo>
                    <a:pt x="76" y="45"/>
                  </a:lnTo>
                  <a:lnTo>
                    <a:pt x="78" y="45"/>
                  </a:lnTo>
                  <a:lnTo>
                    <a:pt x="78" y="45"/>
                  </a:lnTo>
                  <a:lnTo>
                    <a:pt x="78" y="45"/>
                  </a:lnTo>
                  <a:lnTo>
                    <a:pt x="78" y="43"/>
                  </a:lnTo>
                  <a:lnTo>
                    <a:pt x="78" y="40"/>
                  </a:lnTo>
                  <a:lnTo>
                    <a:pt x="81" y="38"/>
                  </a:lnTo>
                  <a:lnTo>
                    <a:pt x="81" y="38"/>
                  </a:lnTo>
                  <a:lnTo>
                    <a:pt x="78" y="36"/>
                  </a:lnTo>
                  <a:lnTo>
                    <a:pt x="81" y="36"/>
                  </a:lnTo>
                  <a:lnTo>
                    <a:pt x="83" y="36"/>
                  </a:lnTo>
                  <a:lnTo>
                    <a:pt x="83" y="36"/>
                  </a:lnTo>
                  <a:lnTo>
                    <a:pt x="83" y="36"/>
                  </a:lnTo>
                  <a:lnTo>
                    <a:pt x="83" y="36"/>
                  </a:lnTo>
                  <a:lnTo>
                    <a:pt x="83" y="33"/>
                  </a:lnTo>
                  <a:lnTo>
                    <a:pt x="81" y="33"/>
                  </a:lnTo>
                  <a:lnTo>
                    <a:pt x="78" y="31"/>
                  </a:lnTo>
                  <a:lnTo>
                    <a:pt x="76" y="29"/>
                  </a:lnTo>
                  <a:lnTo>
                    <a:pt x="69" y="29"/>
                  </a:lnTo>
                  <a:lnTo>
                    <a:pt x="64" y="31"/>
                  </a:lnTo>
                  <a:lnTo>
                    <a:pt x="64" y="29"/>
                  </a:lnTo>
                  <a:lnTo>
                    <a:pt x="62" y="29"/>
                  </a:lnTo>
                  <a:lnTo>
                    <a:pt x="57" y="29"/>
                  </a:lnTo>
                  <a:lnTo>
                    <a:pt x="52" y="29"/>
                  </a:lnTo>
                  <a:lnTo>
                    <a:pt x="50" y="29"/>
                  </a:lnTo>
                  <a:lnTo>
                    <a:pt x="48" y="29"/>
                  </a:lnTo>
                  <a:lnTo>
                    <a:pt x="45" y="29"/>
                  </a:lnTo>
                  <a:lnTo>
                    <a:pt x="43" y="29"/>
                  </a:lnTo>
                  <a:lnTo>
                    <a:pt x="41" y="29"/>
                  </a:lnTo>
                  <a:lnTo>
                    <a:pt x="38" y="29"/>
                  </a:lnTo>
                  <a:lnTo>
                    <a:pt x="36" y="26"/>
                  </a:lnTo>
                  <a:lnTo>
                    <a:pt x="33" y="26"/>
                  </a:lnTo>
                  <a:lnTo>
                    <a:pt x="33" y="26"/>
                  </a:lnTo>
                  <a:lnTo>
                    <a:pt x="33" y="26"/>
                  </a:lnTo>
                  <a:lnTo>
                    <a:pt x="33" y="24"/>
                  </a:lnTo>
                  <a:lnTo>
                    <a:pt x="33" y="22"/>
                  </a:lnTo>
                  <a:lnTo>
                    <a:pt x="31" y="14"/>
                  </a:lnTo>
                  <a:lnTo>
                    <a:pt x="31" y="12"/>
                  </a:lnTo>
                  <a:lnTo>
                    <a:pt x="29" y="7"/>
                  </a:lnTo>
                  <a:lnTo>
                    <a:pt x="29" y="7"/>
                  </a:lnTo>
                  <a:lnTo>
                    <a:pt x="26" y="7"/>
                  </a:lnTo>
                  <a:lnTo>
                    <a:pt x="26" y="7"/>
                  </a:lnTo>
                  <a:lnTo>
                    <a:pt x="26" y="10"/>
                  </a:lnTo>
                  <a:lnTo>
                    <a:pt x="26" y="10"/>
                  </a:lnTo>
                  <a:lnTo>
                    <a:pt x="26" y="12"/>
                  </a:lnTo>
                  <a:lnTo>
                    <a:pt x="26" y="12"/>
                  </a:lnTo>
                  <a:lnTo>
                    <a:pt x="24" y="12"/>
                  </a:lnTo>
                  <a:lnTo>
                    <a:pt x="22" y="12"/>
                  </a:lnTo>
                  <a:lnTo>
                    <a:pt x="19" y="10"/>
                  </a:lnTo>
                  <a:lnTo>
                    <a:pt x="19" y="7"/>
                  </a:lnTo>
                  <a:lnTo>
                    <a:pt x="17" y="5"/>
                  </a:lnTo>
                  <a:lnTo>
                    <a:pt x="17" y="5"/>
                  </a:lnTo>
                  <a:lnTo>
                    <a:pt x="17" y="3"/>
                  </a:lnTo>
                  <a:lnTo>
                    <a:pt x="15" y="3"/>
                  </a:lnTo>
                  <a:lnTo>
                    <a:pt x="15" y="3"/>
                  </a:lnTo>
                  <a:lnTo>
                    <a:pt x="15" y="5"/>
                  </a:lnTo>
                  <a:lnTo>
                    <a:pt x="15" y="5"/>
                  </a:lnTo>
                  <a:lnTo>
                    <a:pt x="17" y="5"/>
                  </a:lnTo>
                  <a:lnTo>
                    <a:pt x="15" y="7"/>
                  </a:lnTo>
                  <a:lnTo>
                    <a:pt x="15" y="7"/>
                  </a:lnTo>
                  <a:lnTo>
                    <a:pt x="15" y="7"/>
                  </a:lnTo>
                  <a:lnTo>
                    <a:pt x="12" y="7"/>
                  </a:lnTo>
                  <a:lnTo>
                    <a:pt x="12" y="5"/>
                  </a:lnTo>
                  <a:lnTo>
                    <a:pt x="12" y="5"/>
                  </a:lnTo>
                  <a:lnTo>
                    <a:pt x="10" y="5"/>
                  </a:lnTo>
                  <a:lnTo>
                    <a:pt x="10" y="5"/>
                  </a:lnTo>
                  <a:lnTo>
                    <a:pt x="10" y="3"/>
                  </a:lnTo>
                  <a:lnTo>
                    <a:pt x="8" y="0"/>
                  </a:lnTo>
                  <a:lnTo>
                    <a:pt x="5" y="0"/>
                  </a:lnTo>
                  <a:lnTo>
                    <a:pt x="3" y="0"/>
                  </a:lnTo>
                  <a:lnTo>
                    <a:pt x="3" y="0"/>
                  </a:lnTo>
                  <a:lnTo>
                    <a:pt x="3" y="3"/>
                  </a:lnTo>
                  <a:lnTo>
                    <a:pt x="5" y="3"/>
                  </a:lnTo>
                  <a:lnTo>
                    <a:pt x="5" y="3"/>
                  </a:lnTo>
                  <a:lnTo>
                    <a:pt x="5" y="3"/>
                  </a:lnTo>
                  <a:lnTo>
                    <a:pt x="5" y="5"/>
                  </a:lnTo>
                  <a:lnTo>
                    <a:pt x="5" y="5"/>
                  </a:lnTo>
                  <a:lnTo>
                    <a:pt x="5" y="7"/>
                  </a:lnTo>
                  <a:lnTo>
                    <a:pt x="3" y="7"/>
                  </a:lnTo>
                  <a:lnTo>
                    <a:pt x="0" y="10"/>
                  </a:lnTo>
                  <a:lnTo>
                    <a:pt x="0" y="12"/>
                  </a:lnTo>
                  <a:lnTo>
                    <a:pt x="0" y="12"/>
                  </a:lnTo>
                  <a:lnTo>
                    <a:pt x="0" y="14"/>
                  </a:lnTo>
                  <a:lnTo>
                    <a:pt x="0" y="14"/>
                  </a:lnTo>
                  <a:lnTo>
                    <a:pt x="3" y="17"/>
                  </a:lnTo>
                  <a:lnTo>
                    <a:pt x="5" y="17"/>
                  </a:lnTo>
                  <a:lnTo>
                    <a:pt x="8" y="19"/>
                  </a:lnTo>
                  <a:lnTo>
                    <a:pt x="8" y="22"/>
                  </a:lnTo>
                  <a:lnTo>
                    <a:pt x="10" y="22"/>
                  </a:lnTo>
                  <a:lnTo>
                    <a:pt x="12" y="22"/>
                  </a:lnTo>
                  <a:lnTo>
                    <a:pt x="15" y="22"/>
                  </a:lnTo>
                  <a:lnTo>
                    <a:pt x="15" y="24"/>
                  </a:lnTo>
                  <a:lnTo>
                    <a:pt x="17" y="26"/>
                  </a:lnTo>
                  <a:lnTo>
                    <a:pt x="17" y="26"/>
                  </a:lnTo>
                  <a:lnTo>
                    <a:pt x="19" y="26"/>
                  </a:lnTo>
                  <a:lnTo>
                    <a:pt x="19" y="29"/>
                  </a:lnTo>
                  <a:lnTo>
                    <a:pt x="19" y="29"/>
                  </a:lnTo>
                  <a:lnTo>
                    <a:pt x="17" y="29"/>
                  </a:lnTo>
                  <a:lnTo>
                    <a:pt x="17" y="29"/>
                  </a:lnTo>
                  <a:lnTo>
                    <a:pt x="15" y="29"/>
                  </a:lnTo>
                  <a:lnTo>
                    <a:pt x="15" y="29"/>
                  </a:lnTo>
                  <a:lnTo>
                    <a:pt x="12" y="29"/>
                  </a:lnTo>
                  <a:lnTo>
                    <a:pt x="10" y="29"/>
                  </a:lnTo>
                  <a:lnTo>
                    <a:pt x="10" y="33"/>
                  </a:lnTo>
                  <a:lnTo>
                    <a:pt x="8" y="36"/>
                  </a:lnTo>
                  <a:lnTo>
                    <a:pt x="8" y="36"/>
                  </a:lnTo>
                  <a:lnTo>
                    <a:pt x="5" y="36"/>
                  </a:lnTo>
                  <a:lnTo>
                    <a:pt x="5" y="36"/>
                  </a:lnTo>
                  <a:lnTo>
                    <a:pt x="3" y="38"/>
                  </a:lnTo>
                  <a:lnTo>
                    <a:pt x="3" y="40"/>
                  </a:lnTo>
                  <a:lnTo>
                    <a:pt x="3" y="40"/>
                  </a:lnTo>
                  <a:lnTo>
                    <a:pt x="5" y="43"/>
                  </a:lnTo>
                  <a:lnTo>
                    <a:pt x="8" y="43"/>
                  </a:lnTo>
                  <a:lnTo>
                    <a:pt x="8" y="45"/>
                  </a:lnTo>
                  <a:lnTo>
                    <a:pt x="10" y="43"/>
                  </a:lnTo>
                  <a:lnTo>
                    <a:pt x="10" y="45"/>
                  </a:lnTo>
                  <a:lnTo>
                    <a:pt x="12" y="45"/>
                  </a:lnTo>
                  <a:lnTo>
                    <a:pt x="12" y="48"/>
                  </a:lnTo>
                  <a:lnTo>
                    <a:pt x="17" y="48"/>
                  </a:lnTo>
                  <a:lnTo>
                    <a:pt x="17" y="48"/>
                  </a:lnTo>
                  <a:lnTo>
                    <a:pt x="17" y="50"/>
                  </a:lnTo>
                  <a:lnTo>
                    <a:pt x="17" y="50"/>
                  </a:lnTo>
                  <a:lnTo>
                    <a:pt x="17" y="52"/>
                  </a:lnTo>
                  <a:lnTo>
                    <a:pt x="17" y="55"/>
                  </a:lnTo>
                  <a:lnTo>
                    <a:pt x="17" y="57"/>
                  </a:lnTo>
                  <a:lnTo>
                    <a:pt x="17" y="62"/>
                  </a:lnTo>
                  <a:lnTo>
                    <a:pt x="17" y="62"/>
                  </a:lnTo>
                  <a:lnTo>
                    <a:pt x="17" y="64"/>
                  </a:lnTo>
                  <a:lnTo>
                    <a:pt x="17" y="64"/>
                  </a:lnTo>
                  <a:lnTo>
                    <a:pt x="19" y="64"/>
                  </a:lnTo>
                  <a:lnTo>
                    <a:pt x="19" y="66"/>
                  </a:lnTo>
                  <a:lnTo>
                    <a:pt x="19" y="69"/>
                  </a:lnTo>
                  <a:lnTo>
                    <a:pt x="19" y="69"/>
                  </a:lnTo>
                  <a:lnTo>
                    <a:pt x="22" y="71"/>
                  </a:lnTo>
                  <a:lnTo>
                    <a:pt x="24" y="71"/>
                  </a:lnTo>
                  <a:lnTo>
                    <a:pt x="24" y="71"/>
                  </a:lnTo>
                  <a:lnTo>
                    <a:pt x="24" y="74"/>
                  </a:lnTo>
                  <a:lnTo>
                    <a:pt x="24" y="76"/>
                  </a:lnTo>
                  <a:lnTo>
                    <a:pt x="24" y="78"/>
                  </a:lnTo>
                  <a:lnTo>
                    <a:pt x="26" y="81"/>
                  </a:lnTo>
                  <a:lnTo>
                    <a:pt x="26" y="83"/>
                  </a:lnTo>
                  <a:lnTo>
                    <a:pt x="26" y="83"/>
                  </a:lnTo>
                  <a:lnTo>
                    <a:pt x="26" y="85"/>
                  </a:lnTo>
                  <a:lnTo>
                    <a:pt x="29" y="90"/>
                  </a:lnTo>
                  <a:lnTo>
                    <a:pt x="29" y="93"/>
                  </a:lnTo>
                  <a:lnTo>
                    <a:pt x="29" y="95"/>
                  </a:lnTo>
                  <a:lnTo>
                    <a:pt x="31" y="95"/>
                  </a:lnTo>
                  <a:lnTo>
                    <a:pt x="31" y="100"/>
                  </a:lnTo>
                  <a:lnTo>
                    <a:pt x="33" y="102"/>
                  </a:lnTo>
                  <a:lnTo>
                    <a:pt x="33" y="102"/>
                  </a:lnTo>
                  <a:lnTo>
                    <a:pt x="33" y="102"/>
                  </a:lnTo>
                  <a:lnTo>
                    <a:pt x="36" y="102"/>
                  </a:lnTo>
                  <a:lnTo>
                    <a:pt x="38" y="100"/>
                  </a:lnTo>
                  <a:lnTo>
                    <a:pt x="38" y="97"/>
                  </a:lnTo>
                  <a:lnTo>
                    <a:pt x="38" y="95"/>
                  </a:lnTo>
                  <a:lnTo>
                    <a:pt x="36" y="93"/>
                  </a:lnTo>
                  <a:lnTo>
                    <a:pt x="36" y="90"/>
                  </a:lnTo>
                  <a:lnTo>
                    <a:pt x="38" y="97"/>
                  </a:lnTo>
                  <a:lnTo>
                    <a:pt x="41" y="100"/>
                  </a:lnTo>
                  <a:lnTo>
                    <a:pt x="41" y="102"/>
                  </a:lnTo>
                  <a:lnTo>
                    <a:pt x="41" y="100"/>
                  </a:lnTo>
                  <a:lnTo>
                    <a:pt x="41" y="100"/>
                  </a:lnTo>
                  <a:lnTo>
                    <a:pt x="43" y="97"/>
                  </a:lnTo>
                  <a:lnTo>
                    <a:pt x="43" y="97"/>
                  </a:lnTo>
                  <a:lnTo>
                    <a:pt x="43" y="95"/>
                  </a:lnTo>
                  <a:lnTo>
                    <a:pt x="43" y="93"/>
                  </a:lnTo>
                  <a:lnTo>
                    <a:pt x="43" y="90"/>
                  </a:lnTo>
                  <a:lnTo>
                    <a:pt x="43" y="88"/>
                  </a:lnTo>
                  <a:lnTo>
                    <a:pt x="45" y="85"/>
                  </a:lnTo>
                  <a:lnTo>
                    <a:pt x="45" y="90"/>
                  </a:lnTo>
                  <a:lnTo>
                    <a:pt x="45" y="93"/>
                  </a:lnTo>
                  <a:lnTo>
                    <a:pt x="45" y="95"/>
                  </a:lnTo>
                  <a:lnTo>
                    <a:pt x="45" y="95"/>
                  </a:lnTo>
                  <a:lnTo>
                    <a:pt x="48" y="95"/>
                  </a:lnTo>
                  <a:lnTo>
                    <a:pt x="50" y="93"/>
                  </a:lnTo>
                  <a:lnTo>
                    <a:pt x="50" y="93"/>
                  </a:lnTo>
                  <a:lnTo>
                    <a:pt x="48" y="95"/>
                  </a:lnTo>
                  <a:lnTo>
                    <a:pt x="48" y="97"/>
                  </a:lnTo>
                  <a:lnTo>
                    <a:pt x="48" y="100"/>
                  </a:lnTo>
                  <a:lnTo>
                    <a:pt x="50" y="100"/>
                  </a:lnTo>
                  <a:lnTo>
                    <a:pt x="50" y="100"/>
                  </a:lnTo>
                  <a:lnTo>
                    <a:pt x="52" y="100"/>
                  </a:lnTo>
                  <a:lnTo>
                    <a:pt x="52" y="100"/>
                  </a:lnTo>
                  <a:lnTo>
                    <a:pt x="52" y="95"/>
                  </a:lnTo>
                  <a:lnTo>
                    <a:pt x="55" y="93"/>
                  </a:lnTo>
                  <a:lnTo>
                    <a:pt x="57" y="93"/>
                  </a:lnTo>
                  <a:lnTo>
                    <a:pt x="57" y="90"/>
                  </a:lnTo>
                  <a:lnTo>
                    <a:pt x="57" y="88"/>
                  </a:lnTo>
                  <a:lnTo>
                    <a:pt x="57" y="88"/>
                  </a:lnTo>
                  <a:lnTo>
                    <a:pt x="55" y="85"/>
                  </a:lnTo>
                  <a:lnTo>
                    <a:pt x="55" y="83"/>
                  </a:lnTo>
                  <a:lnTo>
                    <a:pt x="55" y="83"/>
                  </a:lnTo>
                  <a:lnTo>
                    <a:pt x="55" y="83"/>
                  </a:lnTo>
                  <a:lnTo>
                    <a:pt x="52" y="81"/>
                  </a:lnTo>
                  <a:lnTo>
                    <a:pt x="52" y="78"/>
                  </a:lnTo>
                  <a:lnTo>
                    <a:pt x="52" y="78"/>
                  </a:lnTo>
                  <a:lnTo>
                    <a:pt x="55" y="78"/>
                  </a:lnTo>
                  <a:lnTo>
                    <a:pt x="52" y="76"/>
                  </a:lnTo>
                  <a:lnTo>
                    <a:pt x="52" y="74"/>
                  </a:lnTo>
                  <a:lnTo>
                    <a:pt x="55" y="74"/>
                  </a:lnTo>
                  <a:lnTo>
                    <a:pt x="55" y="71"/>
                  </a:lnTo>
                  <a:lnTo>
                    <a:pt x="55" y="71"/>
                  </a:lnTo>
                  <a:lnTo>
                    <a:pt x="55" y="69"/>
                  </a:lnTo>
                  <a:lnTo>
                    <a:pt x="52" y="69"/>
                  </a:lnTo>
                  <a:lnTo>
                    <a:pt x="50" y="66"/>
                  </a:lnTo>
                  <a:lnTo>
                    <a:pt x="48" y="66"/>
                  </a:lnTo>
                  <a:lnTo>
                    <a:pt x="50" y="66"/>
                  </a:lnTo>
                  <a:lnTo>
                    <a:pt x="52" y="66"/>
                  </a:lnTo>
                  <a:lnTo>
                    <a:pt x="52" y="64"/>
                  </a:lnTo>
                  <a:lnTo>
                    <a:pt x="52" y="64"/>
                  </a:lnTo>
                  <a:lnTo>
                    <a:pt x="52" y="64"/>
                  </a:lnTo>
                  <a:lnTo>
                    <a:pt x="55" y="62"/>
                  </a:lnTo>
                  <a:lnTo>
                    <a:pt x="55" y="64"/>
                  </a:lnTo>
                  <a:lnTo>
                    <a:pt x="55" y="66"/>
                  </a:lnTo>
                  <a:lnTo>
                    <a:pt x="55" y="69"/>
                  </a:lnTo>
                  <a:lnTo>
                    <a:pt x="55" y="74"/>
                  </a:lnTo>
                  <a:lnTo>
                    <a:pt x="57" y="74"/>
                  </a:lnTo>
                  <a:lnTo>
                    <a:pt x="59" y="81"/>
                  </a:lnTo>
                  <a:lnTo>
                    <a:pt x="62" y="83"/>
                  </a:lnTo>
                  <a:lnTo>
                    <a:pt x="66" y="83"/>
                  </a:lnTo>
                  <a:lnTo>
                    <a:pt x="66" y="83"/>
                  </a:lnTo>
                  <a:lnTo>
                    <a:pt x="69" y="81"/>
                  </a:lnTo>
                  <a:lnTo>
                    <a:pt x="71" y="78"/>
                  </a:lnTo>
                  <a:lnTo>
                    <a:pt x="71" y="78"/>
                  </a:lnTo>
                  <a:lnTo>
                    <a:pt x="71" y="78"/>
                  </a:lnTo>
                  <a:lnTo>
                    <a:pt x="74" y="81"/>
                  </a:lnTo>
                  <a:lnTo>
                    <a:pt x="76" y="85"/>
                  </a:lnTo>
                  <a:lnTo>
                    <a:pt x="78" y="88"/>
                  </a:lnTo>
                  <a:lnTo>
                    <a:pt x="78" y="90"/>
                  </a:lnTo>
                  <a:lnTo>
                    <a:pt x="81" y="90"/>
                  </a:lnTo>
                  <a:lnTo>
                    <a:pt x="81" y="88"/>
                  </a:lnTo>
                  <a:lnTo>
                    <a:pt x="81" y="90"/>
                  </a:lnTo>
                  <a:lnTo>
                    <a:pt x="81" y="93"/>
                  </a:lnTo>
                  <a:lnTo>
                    <a:pt x="81" y="93"/>
                  </a:lnTo>
                  <a:lnTo>
                    <a:pt x="83" y="100"/>
                  </a:lnTo>
                  <a:lnTo>
                    <a:pt x="85" y="102"/>
                  </a:lnTo>
                  <a:lnTo>
                    <a:pt x="85" y="107"/>
                  </a:lnTo>
                  <a:lnTo>
                    <a:pt x="88" y="114"/>
                  </a:lnTo>
                  <a:lnTo>
                    <a:pt x="90" y="119"/>
                  </a:lnTo>
                  <a:lnTo>
                    <a:pt x="90" y="121"/>
                  </a:lnTo>
                  <a:lnTo>
                    <a:pt x="92" y="121"/>
                  </a:lnTo>
                  <a:lnTo>
                    <a:pt x="92" y="121"/>
                  </a:lnTo>
                  <a:lnTo>
                    <a:pt x="92" y="121"/>
                  </a:lnTo>
                  <a:lnTo>
                    <a:pt x="92" y="119"/>
                  </a:lnTo>
                  <a:lnTo>
                    <a:pt x="90" y="116"/>
                  </a:lnTo>
                  <a:lnTo>
                    <a:pt x="90" y="116"/>
                  </a:lnTo>
                  <a:lnTo>
                    <a:pt x="90" y="116"/>
                  </a:lnTo>
                  <a:lnTo>
                    <a:pt x="90" y="114"/>
                  </a:lnTo>
                  <a:lnTo>
                    <a:pt x="88" y="111"/>
                  </a:lnTo>
                  <a:lnTo>
                    <a:pt x="88" y="109"/>
                  </a:lnTo>
                  <a:lnTo>
                    <a:pt x="90" y="109"/>
                  </a:lnTo>
                  <a:lnTo>
                    <a:pt x="90" y="109"/>
                  </a:lnTo>
                  <a:lnTo>
                    <a:pt x="92" y="109"/>
                  </a:lnTo>
                  <a:lnTo>
                    <a:pt x="95" y="109"/>
                  </a:lnTo>
                  <a:lnTo>
                    <a:pt x="95" y="111"/>
                  </a:lnTo>
                  <a:lnTo>
                    <a:pt x="95" y="111"/>
                  </a:lnTo>
                  <a:lnTo>
                    <a:pt x="97" y="111"/>
                  </a:lnTo>
                  <a:lnTo>
                    <a:pt x="97" y="111"/>
                  </a:lnTo>
                  <a:lnTo>
                    <a:pt x="97" y="10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2" name="Freeform 388"/>
            <p:cNvSpPr>
              <a:spLocks/>
            </p:cNvSpPr>
            <p:nvPr userDrawn="1"/>
          </p:nvSpPr>
          <p:spPr bwMode="auto">
            <a:xfrm>
              <a:off x="4570" y="2254"/>
              <a:ext cx="2" cy="10"/>
            </a:xfrm>
            <a:custGeom>
              <a:avLst/>
              <a:gdLst>
                <a:gd name="T0" fmla="*/ 2 w 2"/>
                <a:gd name="T1" fmla="*/ 5 h 10"/>
                <a:gd name="T2" fmla="*/ 2 w 2"/>
                <a:gd name="T3" fmla="*/ 3 h 10"/>
                <a:gd name="T4" fmla="*/ 2 w 2"/>
                <a:gd name="T5" fmla="*/ 0 h 10"/>
                <a:gd name="T6" fmla="*/ 2 w 2"/>
                <a:gd name="T7" fmla="*/ 0 h 10"/>
                <a:gd name="T8" fmla="*/ 2 w 2"/>
                <a:gd name="T9" fmla="*/ 0 h 10"/>
                <a:gd name="T10" fmla="*/ 0 w 2"/>
                <a:gd name="T11" fmla="*/ 0 h 10"/>
                <a:gd name="T12" fmla="*/ 0 w 2"/>
                <a:gd name="T13" fmla="*/ 0 h 10"/>
                <a:gd name="T14" fmla="*/ 0 w 2"/>
                <a:gd name="T15" fmla="*/ 3 h 10"/>
                <a:gd name="T16" fmla="*/ 0 w 2"/>
                <a:gd name="T17" fmla="*/ 5 h 10"/>
                <a:gd name="T18" fmla="*/ 2 w 2"/>
                <a:gd name="T19" fmla="*/ 7 h 10"/>
                <a:gd name="T20" fmla="*/ 2 w 2"/>
                <a:gd name="T21" fmla="*/ 10 h 10"/>
                <a:gd name="T22" fmla="*/ 2 w 2"/>
                <a:gd name="T23" fmla="*/ 7 h 10"/>
                <a:gd name="T24" fmla="*/ 2 w 2"/>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0">
                  <a:moveTo>
                    <a:pt x="2" y="5"/>
                  </a:moveTo>
                  <a:lnTo>
                    <a:pt x="2" y="3"/>
                  </a:lnTo>
                  <a:lnTo>
                    <a:pt x="2" y="0"/>
                  </a:lnTo>
                  <a:lnTo>
                    <a:pt x="2" y="0"/>
                  </a:lnTo>
                  <a:lnTo>
                    <a:pt x="2" y="0"/>
                  </a:lnTo>
                  <a:lnTo>
                    <a:pt x="0" y="0"/>
                  </a:lnTo>
                  <a:lnTo>
                    <a:pt x="0" y="0"/>
                  </a:lnTo>
                  <a:lnTo>
                    <a:pt x="0" y="3"/>
                  </a:lnTo>
                  <a:lnTo>
                    <a:pt x="0" y="5"/>
                  </a:lnTo>
                  <a:lnTo>
                    <a:pt x="2" y="7"/>
                  </a:lnTo>
                  <a:lnTo>
                    <a:pt x="2" y="10"/>
                  </a:lnTo>
                  <a:lnTo>
                    <a:pt x="2" y="7"/>
                  </a:lnTo>
                  <a:lnTo>
                    <a:pt x="2" y="5"/>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3" name="Freeform 389"/>
            <p:cNvSpPr>
              <a:spLocks noEditPoints="1"/>
            </p:cNvSpPr>
            <p:nvPr userDrawn="1"/>
          </p:nvSpPr>
          <p:spPr bwMode="auto">
            <a:xfrm>
              <a:off x="4435" y="1923"/>
              <a:ext cx="97" cy="74"/>
            </a:xfrm>
            <a:custGeom>
              <a:avLst/>
              <a:gdLst>
                <a:gd name="T0" fmla="*/ 22 w 97"/>
                <a:gd name="T1" fmla="*/ 52 h 74"/>
                <a:gd name="T2" fmla="*/ 19 w 97"/>
                <a:gd name="T3" fmla="*/ 48 h 74"/>
                <a:gd name="T4" fmla="*/ 12 w 97"/>
                <a:gd name="T5" fmla="*/ 48 h 74"/>
                <a:gd name="T6" fmla="*/ 7 w 97"/>
                <a:gd name="T7" fmla="*/ 45 h 74"/>
                <a:gd name="T8" fmla="*/ 3 w 97"/>
                <a:gd name="T9" fmla="*/ 45 h 74"/>
                <a:gd name="T10" fmla="*/ 10 w 97"/>
                <a:gd name="T11" fmla="*/ 52 h 74"/>
                <a:gd name="T12" fmla="*/ 15 w 97"/>
                <a:gd name="T13" fmla="*/ 57 h 74"/>
                <a:gd name="T14" fmla="*/ 26 w 97"/>
                <a:gd name="T15" fmla="*/ 62 h 74"/>
                <a:gd name="T16" fmla="*/ 0 w 97"/>
                <a:gd name="T17" fmla="*/ 17 h 74"/>
                <a:gd name="T18" fmla="*/ 3 w 97"/>
                <a:gd name="T19" fmla="*/ 19 h 74"/>
                <a:gd name="T20" fmla="*/ 15 w 97"/>
                <a:gd name="T21" fmla="*/ 41 h 74"/>
                <a:gd name="T22" fmla="*/ 15 w 97"/>
                <a:gd name="T23" fmla="*/ 41 h 74"/>
                <a:gd name="T24" fmla="*/ 88 w 97"/>
                <a:gd name="T25" fmla="*/ 29 h 74"/>
                <a:gd name="T26" fmla="*/ 78 w 97"/>
                <a:gd name="T27" fmla="*/ 24 h 74"/>
                <a:gd name="T28" fmla="*/ 69 w 97"/>
                <a:gd name="T29" fmla="*/ 12 h 74"/>
                <a:gd name="T30" fmla="*/ 57 w 97"/>
                <a:gd name="T31" fmla="*/ 5 h 74"/>
                <a:gd name="T32" fmla="*/ 52 w 97"/>
                <a:gd name="T33" fmla="*/ 12 h 74"/>
                <a:gd name="T34" fmla="*/ 40 w 97"/>
                <a:gd name="T35" fmla="*/ 15 h 74"/>
                <a:gd name="T36" fmla="*/ 33 w 97"/>
                <a:gd name="T37" fmla="*/ 7 h 74"/>
                <a:gd name="T38" fmla="*/ 29 w 97"/>
                <a:gd name="T39" fmla="*/ 3 h 74"/>
                <a:gd name="T40" fmla="*/ 24 w 97"/>
                <a:gd name="T41" fmla="*/ 0 h 74"/>
                <a:gd name="T42" fmla="*/ 19 w 97"/>
                <a:gd name="T43" fmla="*/ 5 h 74"/>
                <a:gd name="T44" fmla="*/ 22 w 97"/>
                <a:gd name="T45" fmla="*/ 7 h 74"/>
                <a:gd name="T46" fmla="*/ 29 w 97"/>
                <a:gd name="T47" fmla="*/ 15 h 74"/>
                <a:gd name="T48" fmla="*/ 26 w 97"/>
                <a:gd name="T49" fmla="*/ 19 h 74"/>
                <a:gd name="T50" fmla="*/ 19 w 97"/>
                <a:gd name="T51" fmla="*/ 17 h 74"/>
                <a:gd name="T52" fmla="*/ 12 w 97"/>
                <a:gd name="T53" fmla="*/ 12 h 74"/>
                <a:gd name="T54" fmla="*/ 0 w 97"/>
                <a:gd name="T55" fmla="*/ 15 h 74"/>
                <a:gd name="T56" fmla="*/ 3 w 97"/>
                <a:gd name="T57" fmla="*/ 17 h 74"/>
                <a:gd name="T58" fmla="*/ 7 w 97"/>
                <a:gd name="T59" fmla="*/ 19 h 74"/>
                <a:gd name="T60" fmla="*/ 12 w 97"/>
                <a:gd name="T61" fmla="*/ 24 h 74"/>
                <a:gd name="T62" fmla="*/ 12 w 97"/>
                <a:gd name="T63" fmla="*/ 29 h 74"/>
                <a:gd name="T64" fmla="*/ 22 w 97"/>
                <a:gd name="T65" fmla="*/ 38 h 74"/>
                <a:gd name="T66" fmla="*/ 19 w 97"/>
                <a:gd name="T67" fmla="*/ 41 h 74"/>
                <a:gd name="T68" fmla="*/ 26 w 97"/>
                <a:gd name="T69" fmla="*/ 48 h 74"/>
                <a:gd name="T70" fmla="*/ 31 w 97"/>
                <a:gd name="T71" fmla="*/ 50 h 74"/>
                <a:gd name="T72" fmla="*/ 33 w 97"/>
                <a:gd name="T73" fmla="*/ 55 h 74"/>
                <a:gd name="T74" fmla="*/ 31 w 97"/>
                <a:gd name="T75" fmla="*/ 57 h 74"/>
                <a:gd name="T76" fmla="*/ 33 w 97"/>
                <a:gd name="T77" fmla="*/ 62 h 74"/>
                <a:gd name="T78" fmla="*/ 43 w 97"/>
                <a:gd name="T79" fmla="*/ 55 h 74"/>
                <a:gd name="T80" fmla="*/ 55 w 97"/>
                <a:gd name="T81" fmla="*/ 45 h 74"/>
                <a:gd name="T82" fmla="*/ 64 w 97"/>
                <a:gd name="T83" fmla="*/ 52 h 74"/>
                <a:gd name="T84" fmla="*/ 62 w 97"/>
                <a:gd name="T85" fmla="*/ 55 h 74"/>
                <a:gd name="T86" fmla="*/ 64 w 97"/>
                <a:gd name="T87" fmla="*/ 59 h 74"/>
                <a:gd name="T88" fmla="*/ 59 w 97"/>
                <a:gd name="T89" fmla="*/ 62 h 74"/>
                <a:gd name="T90" fmla="*/ 64 w 97"/>
                <a:gd name="T91" fmla="*/ 67 h 74"/>
                <a:gd name="T92" fmla="*/ 71 w 97"/>
                <a:gd name="T93" fmla="*/ 74 h 74"/>
                <a:gd name="T94" fmla="*/ 76 w 97"/>
                <a:gd name="T95" fmla="*/ 62 h 74"/>
                <a:gd name="T96" fmla="*/ 78 w 97"/>
                <a:gd name="T97" fmla="*/ 59 h 74"/>
                <a:gd name="T98" fmla="*/ 83 w 97"/>
                <a:gd name="T99" fmla="*/ 52 h 74"/>
                <a:gd name="T100" fmla="*/ 81 w 97"/>
                <a:gd name="T101" fmla="*/ 38 h 74"/>
                <a:gd name="T102" fmla="*/ 92 w 97"/>
                <a:gd name="T103" fmla="*/ 33 h 74"/>
                <a:gd name="T104" fmla="*/ 12 w 97"/>
                <a:gd name="T105" fmla="*/ 29 h 74"/>
                <a:gd name="T106" fmla="*/ 12 w 97"/>
                <a:gd name="T107"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74">
                  <a:moveTo>
                    <a:pt x="26" y="59"/>
                  </a:moveTo>
                  <a:lnTo>
                    <a:pt x="24" y="57"/>
                  </a:lnTo>
                  <a:lnTo>
                    <a:pt x="24" y="55"/>
                  </a:lnTo>
                  <a:lnTo>
                    <a:pt x="24" y="55"/>
                  </a:lnTo>
                  <a:lnTo>
                    <a:pt x="22" y="52"/>
                  </a:lnTo>
                  <a:lnTo>
                    <a:pt x="19" y="52"/>
                  </a:lnTo>
                  <a:lnTo>
                    <a:pt x="19" y="52"/>
                  </a:lnTo>
                  <a:lnTo>
                    <a:pt x="19" y="50"/>
                  </a:lnTo>
                  <a:lnTo>
                    <a:pt x="19" y="48"/>
                  </a:lnTo>
                  <a:lnTo>
                    <a:pt x="19" y="48"/>
                  </a:lnTo>
                  <a:lnTo>
                    <a:pt x="17" y="48"/>
                  </a:lnTo>
                  <a:lnTo>
                    <a:pt x="17" y="48"/>
                  </a:lnTo>
                  <a:lnTo>
                    <a:pt x="15" y="50"/>
                  </a:lnTo>
                  <a:lnTo>
                    <a:pt x="12" y="50"/>
                  </a:lnTo>
                  <a:lnTo>
                    <a:pt x="12" y="48"/>
                  </a:lnTo>
                  <a:lnTo>
                    <a:pt x="10" y="48"/>
                  </a:lnTo>
                  <a:lnTo>
                    <a:pt x="10" y="48"/>
                  </a:lnTo>
                  <a:lnTo>
                    <a:pt x="10" y="48"/>
                  </a:lnTo>
                  <a:lnTo>
                    <a:pt x="7" y="45"/>
                  </a:lnTo>
                  <a:lnTo>
                    <a:pt x="7" y="45"/>
                  </a:lnTo>
                  <a:lnTo>
                    <a:pt x="7" y="45"/>
                  </a:lnTo>
                  <a:lnTo>
                    <a:pt x="5" y="43"/>
                  </a:lnTo>
                  <a:lnTo>
                    <a:pt x="3" y="45"/>
                  </a:lnTo>
                  <a:lnTo>
                    <a:pt x="3" y="45"/>
                  </a:lnTo>
                  <a:lnTo>
                    <a:pt x="3" y="45"/>
                  </a:lnTo>
                  <a:lnTo>
                    <a:pt x="3" y="45"/>
                  </a:lnTo>
                  <a:lnTo>
                    <a:pt x="3" y="48"/>
                  </a:lnTo>
                  <a:lnTo>
                    <a:pt x="7" y="50"/>
                  </a:lnTo>
                  <a:lnTo>
                    <a:pt x="7" y="52"/>
                  </a:lnTo>
                  <a:lnTo>
                    <a:pt x="10" y="52"/>
                  </a:lnTo>
                  <a:lnTo>
                    <a:pt x="10" y="55"/>
                  </a:lnTo>
                  <a:lnTo>
                    <a:pt x="10" y="55"/>
                  </a:lnTo>
                  <a:lnTo>
                    <a:pt x="12" y="57"/>
                  </a:lnTo>
                  <a:lnTo>
                    <a:pt x="12" y="57"/>
                  </a:lnTo>
                  <a:lnTo>
                    <a:pt x="15" y="57"/>
                  </a:lnTo>
                  <a:lnTo>
                    <a:pt x="17" y="59"/>
                  </a:lnTo>
                  <a:lnTo>
                    <a:pt x="17" y="62"/>
                  </a:lnTo>
                  <a:lnTo>
                    <a:pt x="24" y="62"/>
                  </a:lnTo>
                  <a:lnTo>
                    <a:pt x="26" y="62"/>
                  </a:lnTo>
                  <a:lnTo>
                    <a:pt x="26" y="62"/>
                  </a:lnTo>
                  <a:lnTo>
                    <a:pt x="26" y="59"/>
                  </a:lnTo>
                  <a:close/>
                  <a:moveTo>
                    <a:pt x="3" y="19"/>
                  </a:moveTo>
                  <a:lnTo>
                    <a:pt x="3" y="19"/>
                  </a:lnTo>
                  <a:lnTo>
                    <a:pt x="3" y="19"/>
                  </a:lnTo>
                  <a:lnTo>
                    <a:pt x="0" y="17"/>
                  </a:lnTo>
                  <a:lnTo>
                    <a:pt x="0" y="19"/>
                  </a:lnTo>
                  <a:lnTo>
                    <a:pt x="0" y="19"/>
                  </a:lnTo>
                  <a:lnTo>
                    <a:pt x="0" y="19"/>
                  </a:lnTo>
                  <a:lnTo>
                    <a:pt x="3" y="19"/>
                  </a:lnTo>
                  <a:lnTo>
                    <a:pt x="3" y="19"/>
                  </a:lnTo>
                  <a:close/>
                  <a:moveTo>
                    <a:pt x="15" y="41"/>
                  </a:moveTo>
                  <a:lnTo>
                    <a:pt x="15" y="41"/>
                  </a:lnTo>
                  <a:lnTo>
                    <a:pt x="15" y="38"/>
                  </a:lnTo>
                  <a:lnTo>
                    <a:pt x="15" y="41"/>
                  </a:lnTo>
                  <a:close/>
                  <a:moveTo>
                    <a:pt x="15" y="41"/>
                  </a:moveTo>
                  <a:lnTo>
                    <a:pt x="15" y="41"/>
                  </a:lnTo>
                  <a:lnTo>
                    <a:pt x="15" y="41"/>
                  </a:lnTo>
                  <a:lnTo>
                    <a:pt x="17" y="41"/>
                  </a:lnTo>
                  <a:lnTo>
                    <a:pt x="17" y="41"/>
                  </a:lnTo>
                  <a:lnTo>
                    <a:pt x="15" y="41"/>
                  </a:lnTo>
                  <a:close/>
                  <a:moveTo>
                    <a:pt x="95" y="31"/>
                  </a:moveTo>
                  <a:lnTo>
                    <a:pt x="92" y="31"/>
                  </a:lnTo>
                  <a:lnTo>
                    <a:pt x="92" y="31"/>
                  </a:lnTo>
                  <a:lnTo>
                    <a:pt x="90" y="29"/>
                  </a:lnTo>
                  <a:lnTo>
                    <a:pt x="88" y="29"/>
                  </a:lnTo>
                  <a:lnTo>
                    <a:pt x="85" y="29"/>
                  </a:lnTo>
                  <a:lnTo>
                    <a:pt x="85" y="29"/>
                  </a:lnTo>
                  <a:lnTo>
                    <a:pt x="83" y="29"/>
                  </a:lnTo>
                  <a:lnTo>
                    <a:pt x="81" y="26"/>
                  </a:lnTo>
                  <a:lnTo>
                    <a:pt x="78" y="24"/>
                  </a:lnTo>
                  <a:lnTo>
                    <a:pt x="73" y="19"/>
                  </a:lnTo>
                  <a:lnTo>
                    <a:pt x="73" y="17"/>
                  </a:lnTo>
                  <a:lnTo>
                    <a:pt x="71" y="15"/>
                  </a:lnTo>
                  <a:lnTo>
                    <a:pt x="71" y="15"/>
                  </a:lnTo>
                  <a:lnTo>
                    <a:pt x="69" y="12"/>
                  </a:lnTo>
                  <a:lnTo>
                    <a:pt x="64" y="7"/>
                  </a:lnTo>
                  <a:lnTo>
                    <a:pt x="62" y="3"/>
                  </a:lnTo>
                  <a:lnTo>
                    <a:pt x="59" y="3"/>
                  </a:lnTo>
                  <a:lnTo>
                    <a:pt x="59" y="3"/>
                  </a:lnTo>
                  <a:lnTo>
                    <a:pt x="57" y="5"/>
                  </a:lnTo>
                  <a:lnTo>
                    <a:pt x="57" y="7"/>
                  </a:lnTo>
                  <a:lnTo>
                    <a:pt x="57" y="7"/>
                  </a:lnTo>
                  <a:lnTo>
                    <a:pt x="55" y="10"/>
                  </a:lnTo>
                  <a:lnTo>
                    <a:pt x="52" y="10"/>
                  </a:lnTo>
                  <a:lnTo>
                    <a:pt x="52" y="12"/>
                  </a:lnTo>
                  <a:lnTo>
                    <a:pt x="50" y="15"/>
                  </a:lnTo>
                  <a:lnTo>
                    <a:pt x="50" y="15"/>
                  </a:lnTo>
                  <a:lnTo>
                    <a:pt x="45" y="15"/>
                  </a:lnTo>
                  <a:lnTo>
                    <a:pt x="45" y="15"/>
                  </a:lnTo>
                  <a:lnTo>
                    <a:pt x="40" y="15"/>
                  </a:lnTo>
                  <a:lnTo>
                    <a:pt x="40" y="12"/>
                  </a:lnTo>
                  <a:lnTo>
                    <a:pt x="38" y="10"/>
                  </a:lnTo>
                  <a:lnTo>
                    <a:pt x="36" y="10"/>
                  </a:lnTo>
                  <a:lnTo>
                    <a:pt x="36" y="7"/>
                  </a:lnTo>
                  <a:lnTo>
                    <a:pt x="33" y="7"/>
                  </a:lnTo>
                  <a:lnTo>
                    <a:pt x="33" y="7"/>
                  </a:lnTo>
                  <a:lnTo>
                    <a:pt x="33" y="5"/>
                  </a:lnTo>
                  <a:lnTo>
                    <a:pt x="31" y="5"/>
                  </a:lnTo>
                  <a:lnTo>
                    <a:pt x="29" y="3"/>
                  </a:lnTo>
                  <a:lnTo>
                    <a:pt x="29" y="3"/>
                  </a:lnTo>
                  <a:lnTo>
                    <a:pt x="26" y="3"/>
                  </a:lnTo>
                  <a:lnTo>
                    <a:pt x="26" y="3"/>
                  </a:lnTo>
                  <a:lnTo>
                    <a:pt x="26" y="3"/>
                  </a:lnTo>
                  <a:lnTo>
                    <a:pt x="26" y="3"/>
                  </a:lnTo>
                  <a:lnTo>
                    <a:pt x="24" y="0"/>
                  </a:lnTo>
                  <a:lnTo>
                    <a:pt x="24" y="3"/>
                  </a:lnTo>
                  <a:lnTo>
                    <a:pt x="22" y="3"/>
                  </a:lnTo>
                  <a:lnTo>
                    <a:pt x="22" y="5"/>
                  </a:lnTo>
                  <a:lnTo>
                    <a:pt x="22" y="5"/>
                  </a:lnTo>
                  <a:lnTo>
                    <a:pt x="19" y="5"/>
                  </a:lnTo>
                  <a:lnTo>
                    <a:pt x="19" y="5"/>
                  </a:lnTo>
                  <a:lnTo>
                    <a:pt x="19" y="7"/>
                  </a:lnTo>
                  <a:lnTo>
                    <a:pt x="19" y="7"/>
                  </a:lnTo>
                  <a:lnTo>
                    <a:pt x="19" y="7"/>
                  </a:lnTo>
                  <a:lnTo>
                    <a:pt x="22" y="7"/>
                  </a:lnTo>
                  <a:lnTo>
                    <a:pt x="22" y="10"/>
                  </a:lnTo>
                  <a:lnTo>
                    <a:pt x="24" y="10"/>
                  </a:lnTo>
                  <a:lnTo>
                    <a:pt x="26" y="12"/>
                  </a:lnTo>
                  <a:lnTo>
                    <a:pt x="29" y="12"/>
                  </a:lnTo>
                  <a:lnTo>
                    <a:pt x="29" y="15"/>
                  </a:lnTo>
                  <a:lnTo>
                    <a:pt x="29" y="15"/>
                  </a:lnTo>
                  <a:lnTo>
                    <a:pt x="29" y="17"/>
                  </a:lnTo>
                  <a:lnTo>
                    <a:pt x="29" y="17"/>
                  </a:lnTo>
                  <a:lnTo>
                    <a:pt x="26" y="19"/>
                  </a:lnTo>
                  <a:lnTo>
                    <a:pt x="26" y="19"/>
                  </a:lnTo>
                  <a:lnTo>
                    <a:pt x="24" y="17"/>
                  </a:lnTo>
                  <a:lnTo>
                    <a:pt x="24" y="17"/>
                  </a:lnTo>
                  <a:lnTo>
                    <a:pt x="22" y="17"/>
                  </a:lnTo>
                  <a:lnTo>
                    <a:pt x="19" y="17"/>
                  </a:lnTo>
                  <a:lnTo>
                    <a:pt x="19" y="17"/>
                  </a:lnTo>
                  <a:lnTo>
                    <a:pt x="17" y="17"/>
                  </a:lnTo>
                  <a:lnTo>
                    <a:pt x="15" y="15"/>
                  </a:lnTo>
                  <a:lnTo>
                    <a:pt x="15" y="15"/>
                  </a:lnTo>
                  <a:lnTo>
                    <a:pt x="12" y="15"/>
                  </a:lnTo>
                  <a:lnTo>
                    <a:pt x="12" y="12"/>
                  </a:lnTo>
                  <a:lnTo>
                    <a:pt x="7" y="12"/>
                  </a:lnTo>
                  <a:lnTo>
                    <a:pt x="5" y="10"/>
                  </a:lnTo>
                  <a:lnTo>
                    <a:pt x="5" y="12"/>
                  </a:lnTo>
                  <a:lnTo>
                    <a:pt x="0" y="15"/>
                  </a:lnTo>
                  <a:lnTo>
                    <a:pt x="0" y="15"/>
                  </a:lnTo>
                  <a:lnTo>
                    <a:pt x="3" y="17"/>
                  </a:lnTo>
                  <a:lnTo>
                    <a:pt x="5" y="17"/>
                  </a:lnTo>
                  <a:lnTo>
                    <a:pt x="5" y="17"/>
                  </a:lnTo>
                  <a:lnTo>
                    <a:pt x="5" y="17"/>
                  </a:lnTo>
                  <a:lnTo>
                    <a:pt x="3" y="17"/>
                  </a:lnTo>
                  <a:lnTo>
                    <a:pt x="3" y="17"/>
                  </a:lnTo>
                  <a:lnTo>
                    <a:pt x="3" y="19"/>
                  </a:lnTo>
                  <a:lnTo>
                    <a:pt x="3" y="19"/>
                  </a:lnTo>
                  <a:lnTo>
                    <a:pt x="7" y="19"/>
                  </a:lnTo>
                  <a:lnTo>
                    <a:pt x="7" y="19"/>
                  </a:lnTo>
                  <a:lnTo>
                    <a:pt x="10" y="19"/>
                  </a:lnTo>
                  <a:lnTo>
                    <a:pt x="10" y="22"/>
                  </a:lnTo>
                  <a:lnTo>
                    <a:pt x="12" y="22"/>
                  </a:lnTo>
                  <a:lnTo>
                    <a:pt x="12" y="24"/>
                  </a:lnTo>
                  <a:lnTo>
                    <a:pt x="12" y="24"/>
                  </a:lnTo>
                  <a:lnTo>
                    <a:pt x="12" y="24"/>
                  </a:lnTo>
                  <a:lnTo>
                    <a:pt x="10" y="26"/>
                  </a:lnTo>
                  <a:lnTo>
                    <a:pt x="10" y="26"/>
                  </a:lnTo>
                  <a:lnTo>
                    <a:pt x="10" y="26"/>
                  </a:lnTo>
                  <a:lnTo>
                    <a:pt x="12" y="29"/>
                  </a:lnTo>
                  <a:lnTo>
                    <a:pt x="15" y="31"/>
                  </a:lnTo>
                  <a:lnTo>
                    <a:pt x="17" y="33"/>
                  </a:lnTo>
                  <a:lnTo>
                    <a:pt x="22" y="36"/>
                  </a:lnTo>
                  <a:lnTo>
                    <a:pt x="22" y="36"/>
                  </a:lnTo>
                  <a:lnTo>
                    <a:pt x="22" y="38"/>
                  </a:lnTo>
                  <a:lnTo>
                    <a:pt x="19" y="41"/>
                  </a:lnTo>
                  <a:lnTo>
                    <a:pt x="19" y="41"/>
                  </a:lnTo>
                  <a:lnTo>
                    <a:pt x="19" y="41"/>
                  </a:lnTo>
                  <a:lnTo>
                    <a:pt x="17" y="41"/>
                  </a:lnTo>
                  <a:lnTo>
                    <a:pt x="19" y="41"/>
                  </a:lnTo>
                  <a:lnTo>
                    <a:pt x="19" y="43"/>
                  </a:lnTo>
                  <a:lnTo>
                    <a:pt x="22" y="43"/>
                  </a:lnTo>
                  <a:lnTo>
                    <a:pt x="24" y="45"/>
                  </a:lnTo>
                  <a:lnTo>
                    <a:pt x="24" y="45"/>
                  </a:lnTo>
                  <a:lnTo>
                    <a:pt x="26" y="48"/>
                  </a:lnTo>
                  <a:lnTo>
                    <a:pt x="29" y="48"/>
                  </a:lnTo>
                  <a:lnTo>
                    <a:pt x="31" y="48"/>
                  </a:lnTo>
                  <a:lnTo>
                    <a:pt x="31" y="50"/>
                  </a:lnTo>
                  <a:lnTo>
                    <a:pt x="31" y="50"/>
                  </a:lnTo>
                  <a:lnTo>
                    <a:pt x="31" y="50"/>
                  </a:lnTo>
                  <a:lnTo>
                    <a:pt x="31" y="52"/>
                  </a:lnTo>
                  <a:lnTo>
                    <a:pt x="31" y="52"/>
                  </a:lnTo>
                  <a:lnTo>
                    <a:pt x="31" y="52"/>
                  </a:lnTo>
                  <a:lnTo>
                    <a:pt x="31" y="52"/>
                  </a:lnTo>
                  <a:lnTo>
                    <a:pt x="33" y="55"/>
                  </a:lnTo>
                  <a:lnTo>
                    <a:pt x="33" y="55"/>
                  </a:lnTo>
                  <a:lnTo>
                    <a:pt x="33" y="55"/>
                  </a:lnTo>
                  <a:lnTo>
                    <a:pt x="33" y="55"/>
                  </a:lnTo>
                  <a:lnTo>
                    <a:pt x="31" y="55"/>
                  </a:lnTo>
                  <a:lnTo>
                    <a:pt x="31" y="57"/>
                  </a:lnTo>
                  <a:lnTo>
                    <a:pt x="31" y="57"/>
                  </a:lnTo>
                  <a:lnTo>
                    <a:pt x="33" y="57"/>
                  </a:lnTo>
                  <a:lnTo>
                    <a:pt x="33" y="59"/>
                  </a:lnTo>
                  <a:lnTo>
                    <a:pt x="33" y="59"/>
                  </a:lnTo>
                  <a:lnTo>
                    <a:pt x="33" y="62"/>
                  </a:lnTo>
                  <a:lnTo>
                    <a:pt x="36" y="62"/>
                  </a:lnTo>
                  <a:lnTo>
                    <a:pt x="38" y="57"/>
                  </a:lnTo>
                  <a:lnTo>
                    <a:pt x="38" y="57"/>
                  </a:lnTo>
                  <a:lnTo>
                    <a:pt x="40" y="57"/>
                  </a:lnTo>
                  <a:lnTo>
                    <a:pt x="43" y="55"/>
                  </a:lnTo>
                  <a:lnTo>
                    <a:pt x="45" y="52"/>
                  </a:lnTo>
                  <a:lnTo>
                    <a:pt x="48" y="50"/>
                  </a:lnTo>
                  <a:lnTo>
                    <a:pt x="50" y="50"/>
                  </a:lnTo>
                  <a:lnTo>
                    <a:pt x="50" y="48"/>
                  </a:lnTo>
                  <a:lnTo>
                    <a:pt x="55" y="45"/>
                  </a:lnTo>
                  <a:lnTo>
                    <a:pt x="55" y="45"/>
                  </a:lnTo>
                  <a:lnTo>
                    <a:pt x="57" y="45"/>
                  </a:lnTo>
                  <a:lnTo>
                    <a:pt x="59" y="48"/>
                  </a:lnTo>
                  <a:lnTo>
                    <a:pt x="64" y="50"/>
                  </a:lnTo>
                  <a:lnTo>
                    <a:pt x="64" y="52"/>
                  </a:lnTo>
                  <a:lnTo>
                    <a:pt x="62" y="52"/>
                  </a:lnTo>
                  <a:lnTo>
                    <a:pt x="62" y="52"/>
                  </a:lnTo>
                  <a:lnTo>
                    <a:pt x="62" y="55"/>
                  </a:lnTo>
                  <a:lnTo>
                    <a:pt x="62" y="55"/>
                  </a:lnTo>
                  <a:lnTo>
                    <a:pt x="62" y="55"/>
                  </a:lnTo>
                  <a:lnTo>
                    <a:pt x="62" y="57"/>
                  </a:lnTo>
                  <a:lnTo>
                    <a:pt x="64" y="57"/>
                  </a:lnTo>
                  <a:lnTo>
                    <a:pt x="64" y="59"/>
                  </a:lnTo>
                  <a:lnTo>
                    <a:pt x="64" y="59"/>
                  </a:lnTo>
                  <a:lnTo>
                    <a:pt x="64" y="59"/>
                  </a:lnTo>
                  <a:lnTo>
                    <a:pt x="64" y="59"/>
                  </a:lnTo>
                  <a:lnTo>
                    <a:pt x="62" y="62"/>
                  </a:lnTo>
                  <a:lnTo>
                    <a:pt x="62" y="62"/>
                  </a:lnTo>
                  <a:lnTo>
                    <a:pt x="59" y="62"/>
                  </a:lnTo>
                  <a:lnTo>
                    <a:pt x="59" y="62"/>
                  </a:lnTo>
                  <a:lnTo>
                    <a:pt x="59" y="64"/>
                  </a:lnTo>
                  <a:lnTo>
                    <a:pt x="59" y="64"/>
                  </a:lnTo>
                  <a:lnTo>
                    <a:pt x="64" y="67"/>
                  </a:lnTo>
                  <a:lnTo>
                    <a:pt x="64" y="67"/>
                  </a:lnTo>
                  <a:lnTo>
                    <a:pt x="64" y="67"/>
                  </a:lnTo>
                  <a:lnTo>
                    <a:pt x="66" y="69"/>
                  </a:lnTo>
                  <a:lnTo>
                    <a:pt x="66" y="69"/>
                  </a:lnTo>
                  <a:lnTo>
                    <a:pt x="69" y="69"/>
                  </a:lnTo>
                  <a:lnTo>
                    <a:pt x="71" y="74"/>
                  </a:lnTo>
                  <a:lnTo>
                    <a:pt x="71" y="74"/>
                  </a:lnTo>
                  <a:lnTo>
                    <a:pt x="76" y="71"/>
                  </a:lnTo>
                  <a:lnTo>
                    <a:pt x="76" y="71"/>
                  </a:lnTo>
                  <a:lnTo>
                    <a:pt x="76" y="64"/>
                  </a:lnTo>
                  <a:lnTo>
                    <a:pt x="76" y="64"/>
                  </a:lnTo>
                  <a:lnTo>
                    <a:pt x="76" y="62"/>
                  </a:lnTo>
                  <a:lnTo>
                    <a:pt x="76" y="59"/>
                  </a:lnTo>
                  <a:lnTo>
                    <a:pt x="76" y="57"/>
                  </a:lnTo>
                  <a:lnTo>
                    <a:pt x="78" y="57"/>
                  </a:lnTo>
                  <a:lnTo>
                    <a:pt x="78" y="59"/>
                  </a:lnTo>
                  <a:lnTo>
                    <a:pt x="78" y="59"/>
                  </a:lnTo>
                  <a:lnTo>
                    <a:pt x="81" y="59"/>
                  </a:lnTo>
                  <a:lnTo>
                    <a:pt x="81" y="59"/>
                  </a:lnTo>
                  <a:lnTo>
                    <a:pt x="81" y="55"/>
                  </a:lnTo>
                  <a:lnTo>
                    <a:pt x="81" y="52"/>
                  </a:lnTo>
                  <a:lnTo>
                    <a:pt x="83" y="52"/>
                  </a:lnTo>
                  <a:lnTo>
                    <a:pt x="83" y="52"/>
                  </a:lnTo>
                  <a:lnTo>
                    <a:pt x="81" y="50"/>
                  </a:lnTo>
                  <a:lnTo>
                    <a:pt x="81" y="48"/>
                  </a:lnTo>
                  <a:lnTo>
                    <a:pt x="81" y="43"/>
                  </a:lnTo>
                  <a:lnTo>
                    <a:pt x="81" y="38"/>
                  </a:lnTo>
                  <a:lnTo>
                    <a:pt x="83" y="36"/>
                  </a:lnTo>
                  <a:lnTo>
                    <a:pt x="85" y="36"/>
                  </a:lnTo>
                  <a:lnTo>
                    <a:pt x="85" y="33"/>
                  </a:lnTo>
                  <a:lnTo>
                    <a:pt x="88" y="33"/>
                  </a:lnTo>
                  <a:lnTo>
                    <a:pt x="92" y="33"/>
                  </a:lnTo>
                  <a:lnTo>
                    <a:pt x="97" y="36"/>
                  </a:lnTo>
                  <a:lnTo>
                    <a:pt x="95" y="31"/>
                  </a:lnTo>
                  <a:close/>
                  <a:moveTo>
                    <a:pt x="12" y="29"/>
                  </a:moveTo>
                  <a:lnTo>
                    <a:pt x="12" y="29"/>
                  </a:lnTo>
                  <a:lnTo>
                    <a:pt x="12" y="29"/>
                  </a:lnTo>
                  <a:lnTo>
                    <a:pt x="12" y="26"/>
                  </a:lnTo>
                  <a:lnTo>
                    <a:pt x="12" y="26"/>
                  </a:lnTo>
                  <a:lnTo>
                    <a:pt x="12" y="26"/>
                  </a:lnTo>
                  <a:lnTo>
                    <a:pt x="12" y="26"/>
                  </a:lnTo>
                  <a:lnTo>
                    <a:pt x="12" y="2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4" name="Freeform 390"/>
            <p:cNvSpPr>
              <a:spLocks/>
            </p:cNvSpPr>
            <p:nvPr userDrawn="1"/>
          </p:nvSpPr>
          <p:spPr bwMode="auto">
            <a:xfrm>
              <a:off x="3832" y="1777"/>
              <a:ext cx="125" cy="54"/>
            </a:xfrm>
            <a:custGeom>
              <a:avLst/>
              <a:gdLst>
                <a:gd name="T0" fmla="*/ 120 w 125"/>
                <a:gd name="T1" fmla="*/ 12 h 54"/>
                <a:gd name="T2" fmla="*/ 123 w 125"/>
                <a:gd name="T3" fmla="*/ 7 h 54"/>
                <a:gd name="T4" fmla="*/ 116 w 125"/>
                <a:gd name="T5" fmla="*/ 4 h 54"/>
                <a:gd name="T6" fmla="*/ 111 w 125"/>
                <a:gd name="T7" fmla="*/ 4 h 54"/>
                <a:gd name="T8" fmla="*/ 99 w 125"/>
                <a:gd name="T9" fmla="*/ 2 h 54"/>
                <a:gd name="T10" fmla="*/ 92 w 125"/>
                <a:gd name="T11" fmla="*/ 2 h 54"/>
                <a:gd name="T12" fmla="*/ 90 w 125"/>
                <a:gd name="T13" fmla="*/ 4 h 54"/>
                <a:gd name="T14" fmla="*/ 85 w 125"/>
                <a:gd name="T15" fmla="*/ 9 h 54"/>
                <a:gd name="T16" fmla="*/ 78 w 125"/>
                <a:gd name="T17" fmla="*/ 9 h 54"/>
                <a:gd name="T18" fmla="*/ 71 w 125"/>
                <a:gd name="T19" fmla="*/ 4 h 54"/>
                <a:gd name="T20" fmla="*/ 71 w 125"/>
                <a:gd name="T21" fmla="*/ 9 h 54"/>
                <a:gd name="T22" fmla="*/ 66 w 125"/>
                <a:gd name="T23" fmla="*/ 9 h 54"/>
                <a:gd name="T24" fmla="*/ 61 w 125"/>
                <a:gd name="T25" fmla="*/ 14 h 54"/>
                <a:gd name="T26" fmla="*/ 54 w 125"/>
                <a:gd name="T27" fmla="*/ 19 h 54"/>
                <a:gd name="T28" fmla="*/ 57 w 125"/>
                <a:gd name="T29" fmla="*/ 26 h 54"/>
                <a:gd name="T30" fmla="*/ 59 w 125"/>
                <a:gd name="T31" fmla="*/ 28 h 54"/>
                <a:gd name="T32" fmla="*/ 54 w 125"/>
                <a:gd name="T33" fmla="*/ 31 h 54"/>
                <a:gd name="T34" fmla="*/ 52 w 125"/>
                <a:gd name="T35" fmla="*/ 28 h 54"/>
                <a:gd name="T36" fmla="*/ 47 w 125"/>
                <a:gd name="T37" fmla="*/ 26 h 54"/>
                <a:gd name="T38" fmla="*/ 45 w 125"/>
                <a:gd name="T39" fmla="*/ 28 h 54"/>
                <a:gd name="T40" fmla="*/ 31 w 125"/>
                <a:gd name="T41" fmla="*/ 31 h 54"/>
                <a:gd name="T42" fmla="*/ 26 w 125"/>
                <a:gd name="T43" fmla="*/ 33 h 54"/>
                <a:gd name="T44" fmla="*/ 24 w 125"/>
                <a:gd name="T45" fmla="*/ 31 h 54"/>
                <a:gd name="T46" fmla="*/ 17 w 125"/>
                <a:gd name="T47" fmla="*/ 31 h 54"/>
                <a:gd name="T48" fmla="*/ 12 w 125"/>
                <a:gd name="T49" fmla="*/ 35 h 54"/>
                <a:gd name="T50" fmla="*/ 9 w 125"/>
                <a:gd name="T51" fmla="*/ 33 h 54"/>
                <a:gd name="T52" fmla="*/ 7 w 125"/>
                <a:gd name="T53" fmla="*/ 31 h 54"/>
                <a:gd name="T54" fmla="*/ 0 w 125"/>
                <a:gd name="T55" fmla="*/ 31 h 54"/>
                <a:gd name="T56" fmla="*/ 2 w 125"/>
                <a:gd name="T57" fmla="*/ 35 h 54"/>
                <a:gd name="T58" fmla="*/ 2 w 125"/>
                <a:gd name="T59" fmla="*/ 38 h 54"/>
                <a:gd name="T60" fmla="*/ 5 w 125"/>
                <a:gd name="T61" fmla="*/ 40 h 54"/>
                <a:gd name="T62" fmla="*/ 12 w 125"/>
                <a:gd name="T63" fmla="*/ 45 h 54"/>
                <a:gd name="T64" fmla="*/ 17 w 125"/>
                <a:gd name="T65" fmla="*/ 45 h 54"/>
                <a:gd name="T66" fmla="*/ 24 w 125"/>
                <a:gd name="T67" fmla="*/ 45 h 54"/>
                <a:gd name="T68" fmla="*/ 28 w 125"/>
                <a:gd name="T69" fmla="*/ 42 h 54"/>
                <a:gd name="T70" fmla="*/ 38 w 125"/>
                <a:gd name="T71" fmla="*/ 42 h 54"/>
                <a:gd name="T72" fmla="*/ 45 w 125"/>
                <a:gd name="T73" fmla="*/ 40 h 54"/>
                <a:gd name="T74" fmla="*/ 47 w 125"/>
                <a:gd name="T75" fmla="*/ 47 h 54"/>
                <a:gd name="T76" fmla="*/ 54 w 125"/>
                <a:gd name="T77" fmla="*/ 49 h 54"/>
                <a:gd name="T78" fmla="*/ 71 w 125"/>
                <a:gd name="T79" fmla="*/ 52 h 54"/>
                <a:gd name="T80" fmla="*/ 80 w 125"/>
                <a:gd name="T81" fmla="*/ 52 h 54"/>
                <a:gd name="T82" fmla="*/ 85 w 125"/>
                <a:gd name="T83" fmla="*/ 54 h 54"/>
                <a:gd name="T84" fmla="*/ 90 w 125"/>
                <a:gd name="T85" fmla="*/ 49 h 54"/>
                <a:gd name="T86" fmla="*/ 99 w 125"/>
                <a:gd name="T87" fmla="*/ 49 h 54"/>
                <a:gd name="T88" fmla="*/ 106 w 125"/>
                <a:gd name="T89" fmla="*/ 47 h 54"/>
                <a:gd name="T90" fmla="*/ 108 w 125"/>
                <a:gd name="T91" fmla="*/ 45 h 54"/>
                <a:gd name="T92" fmla="*/ 116 w 125"/>
                <a:gd name="T93" fmla="*/ 40 h 54"/>
                <a:gd name="T94" fmla="*/ 116 w 125"/>
                <a:gd name="T95" fmla="*/ 38 h 54"/>
                <a:gd name="T96" fmla="*/ 116 w 125"/>
                <a:gd name="T97" fmla="*/ 33 h 54"/>
                <a:gd name="T98" fmla="*/ 118 w 125"/>
                <a:gd name="T99" fmla="*/ 31 h 54"/>
                <a:gd name="T100" fmla="*/ 116 w 125"/>
                <a:gd name="T101" fmla="*/ 26 h 54"/>
                <a:gd name="T102" fmla="*/ 120 w 125"/>
                <a:gd name="T103" fmla="*/ 28 h 54"/>
                <a:gd name="T104" fmla="*/ 125 w 125"/>
                <a:gd name="T105" fmla="*/ 26 h 54"/>
                <a:gd name="T106" fmla="*/ 125 w 125"/>
                <a:gd name="T10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 h="54">
                  <a:moveTo>
                    <a:pt x="125" y="19"/>
                  </a:moveTo>
                  <a:lnTo>
                    <a:pt x="125" y="19"/>
                  </a:lnTo>
                  <a:lnTo>
                    <a:pt x="123" y="16"/>
                  </a:lnTo>
                  <a:lnTo>
                    <a:pt x="120" y="12"/>
                  </a:lnTo>
                  <a:lnTo>
                    <a:pt x="120" y="12"/>
                  </a:lnTo>
                  <a:lnTo>
                    <a:pt x="123" y="9"/>
                  </a:lnTo>
                  <a:lnTo>
                    <a:pt x="123" y="9"/>
                  </a:lnTo>
                  <a:lnTo>
                    <a:pt x="123" y="9"/>
                  </a:lnTo>
                  <a:lnTo>
                    <a:pt x="123" y="9"/>
                  </a:lnTo>
                  <a:lnTo>
                    <a:pt x="123" y="7"/>
                  </a:lnTo>
                  <a:lnTo>
                    <a:pt x="120" y="7"/>
                  </a:lnTo>
                  <a:lnTo>
                    <a:pt x="120" y="7"/>
                  </a:lnTo>
                  <a:lnTo>
                    <a:pt x="120" y="4"/>
                  </a:lnTo>
                  <a:lnTo>
                    <a:pt x="118" y="4"/>
                  </a:lnTo>
                  <a:lnTo>
                    <a:pt x="116" y="4"/>
                  </a:lnTo>
                  <a:lnTo>
                    <a:pt x="116" y="4"/>
                  </a:lnTo>
                  <a:lnTo>
                    <a:pt x="116" y="4"/>
                  </a:lnTo>
                  <a:lnTo>
                    <a:pt x="113" y="4"/>
                  </a:lnTo>
                  <a:lnTo>
                    <a:pt x="113" y="4"/>
                  </a:lnTo>
                  <a:lnTo>
                    <a:pt x="111" y="4"/>
                  </a:lnTo>
                  <a:lnTo>
                    <a:pt x="108" y="4"/>
                  </a:lnTo>
                  <a:lnTo>
                    <a:pt x="104" y="2"/>
                  </a:lnTo>
                  <a:lnTo>
                    <a:pt x="104" y="2"/>
                  </a:lnTo>
                  <a:lnTo>
                    <a:pt x="101" y="2"/>
                  </a:lnTo>
                  <a:lnTo>
                    <a:pt x="99" y="2"/>
                  </a:lnTo>
                  <a:lnTo>
                    <a:pt x="97" y="0"/>
                  </a:lnTo>
                  <a:lnTo>
                    <a:pt x="94" y="0"/>
                  </a:lnTo>
                  <a:lnTo>
                    <a:pt x="94" y="0"/>
                  </a:lnTo>
                  <a:lnTo>
                    <a:pt x="94" y="0"/>
                  </a:lnTo>
                  <a:lnTo>
                    <a:pt x="92" y="2"/>
                  </a:lnTo>
                  <a:lnTo>
                    <a:pt x="92" y="0"/>
                  </a:lnTo>
                  <a:lnTo>
                    <a:pt x="92" y="0"/>
                  </a:lnTo>
                  <a:lnTo>
                    <a:pt x="90" y="0"/>
                  </a:lnTo>
                  <a:lnTo>
                    <a:pt x="90" y="0"/>
                  </a:lnTo>
                  <a:lnTo>
                    <a:pt x="90" y="4"/>
                  </a:lnTo>
                  <a:lnTo>
                    <a:pt x="90" y="4"/>
                  </a:lnTo>
                  <a:lnTo>
                    <a:pt x="87" y="4"/>
                  </a:lnTo>
                  <a:lnTo>
                    <a:pt x="87" y="4"/>
                  </a:lnTo>
                  <a:lnTo>
                    <a:pt x="85" y="7"/>
                  </a:lnTo>
                  <a:lnTo>
                    <a:pt x="85" y="9"/>
                  </a:lnTo>
                  <a:lnTo>
                    <a:pt x="83" y="7"/>
                  </a:lnTo>
                  <a:lnTo>
                    <a:pt x="83" y="7"/>
                  </a:lnTo>
                  <a:lnTo>
                    <a:pt x="80" y="7"/>
                  </a:lnTo>
                  <a:lnTo>
                    <a:pt x="80" y="9"/>
                  </a:lnTo>
                  <a:lnTo>
                    <a:pt x="78" y="9"/>
                  </a:lnTo>
                  <a:lnTo>
                    <a:pt x="75" y="7"/>
                  </a:lnTo>
                  <a:lnTo>
                    <a:pt x="73" y="7"/>
                  </a:lnTo>
                  <a:lnTo>
                    <a:pt x="73" y="4"/>
                  </a:lnTo>
                  <a:lnTo>
                    <a:pt x="71" y="4"/>
                  </a:lnTo>
                  <a:lnTo>
                    <a:pt x="71" y="4"/>
                  </a:lnTo>
                  <a:lnTo>
                    <a:pt x="71" y="4"/>
                  </a:lnTo>
                  <a:lnTo>
                    <a:pt x="71" y="7"/>
                  </a:lnTo>
                  <a:lnTo>
                    <a:pt x="71" y="7"/>
                  </a:lnTo>
                  <a:lnTo>
                    <a:pt x="71" y="9"/>
                  </a:lnTo>
                  <a:lnTo>
                    <a:pt x="71" y="9"/>
                  </a:lnTo>
                  <a:lnTo>
                    <a:pt x="68" y="9"/>
                  </a:lnTo>
                  <a:lnTo>
                    <a:pt x="68" y="9"/>
                  </a:lnTo>
                  <a:lnTo>
                    <a:pt x="66" y="9"/>
                  </a:lnTo>
                  <a:lnTo>
                    <a:pt x="66" y="9"/>
                  </a:lnTo>
                  <a:lnTo>
                    <a:pt x="66" y="9"/>
                  </a:lnTo>
                  <a:lnTo>
                    <a:pt x="64" y="12"/>
                  </a:lnTo>
                  <a:lnTo>
                    <a:pt x="64" y="14"/>
                  </a:lnTo>
                  <a:lnTo>
                    <a:pt x="64" y="14"/>
                  </a:lnTo>
                  <a:lnTo>
                    <a:pt x="61" y="14"/>
                  </a:lnTo>
                  <a:lnTo>
                    <a:pt x="61" y="14"/>
                  </a:lnTo>
                  <a:lnTo>
                    <a:pt x="59" y="14"/>
                  </a:lnTo>
                  <a:lnTo>
                    <a:pt x="57" y="16"/>
                  </a:lnTo>
                  <a:lnTo>
                    <a:pt x="54" y="16"/>
                  </a:lnTo>
                  <a:lnTo>
                    <a:pt x="54" y="19"/>
                  </a:lnTo>
                  <a:lnTo>
                    <a:pt x="54" y="19"/>
                  </a:lnTo>
                  <a:lnTo>
                    <a:pt x="57" y="21"/>
                  </a:lnTo>
                  <a:lnTo>
                    <a:pt x="57" y="23"/>
                  </a:lnTo>
                  <a:lnTo>
                    <a:pt x="57" y="23"/>
                  </a:lnTo>
                  <a:lnTo>
                    <a:pt x="57" y="26"/>
                  </a:lnTo>
                  <a:lnTo>
                    <a:pt x="57" y="26"/>
                  </a:lnTo>
                  <a:lnTo>
                    <a:pt x="57" y="26"/>
                  </a:lnTo>
                  <a:lnTo>
                    <a:pt x="59" y="26"/>
                  </a:lnTo>
                  <a:lnTo>
                    <a:pt x="59" y="26"/>
                  </a:lnTo>
                  <a:lnTo>
                    <a:pt x="59" y="28"/>
                  </a:lnTo>
                  <a:lnTo>
                    <a:pt x="59" y="28"/>
                  </a:lnTo>
                  <a:lnTo>
                    <a:pt x="59" y="31"/>
                  </a:lnTo>
                  <a:lnTo>
                    <a:pt x="59" y="31"/>
                  </a:lnTo>
                  <a:lnTo>
                    <a:pt x="57" y="31"/>
                  </a:lnTo>
                  <a:lnTo>
                    <a:pt x="57" y="31"/>
                  </a:lnTo>
                  <a:lnTo>
                    <a:pt x="54" y="31"/>
                  </a:lnTo>
                  <a:lnTo>
                    <a:pt x="54" y="31"/>
                  </a:lnTo>
                  <a:lnTo>
                    <a:pt x="54" y="28"/>
                  </a:lnTo>
                  <a:lnTo>
                    <a:pt x="54" y="28"/>
                  </a:lnTo>
                  <a:lnTo>
                    <a:pt x="54" y="28"/>
                  </a:lnTo>
                  <a:lnTo>
                    <a:pt x="52" y="28"/>
                  </a:lnTo>
                  <a:lnTo>
                    <a:pt x="52" y="28"/>
                  </a:lnTo>
                  <a:lnTo>
                    <a:pt x="50" y="28"/>
                  </a:lnTo>
                  <a:lnTo>
                    <a:pt x="50" y="28"/>
                  </a:lnTo>
                  <a:lnTo>
                    <a:pt x="50" y="28"/>
                  </a:lnTo>
                  <a:lnTo>
                    <a:pt x="47" y="26"/>
                  </a:lnTo>
                  <a:lnTo>
                    <a:pt x="47" y="26"/>
                  </a:lnTo>
                  <a:lnTo>
                    <a:pt x="45" y="26"/>
                  </a:lnTo>
                  <a:lnTo>
                    <a:pt x="45" y="26"/>
                  </a:lnTo>
                  <a:lnTo>
                    <a:pt x="45" y="28"/>
                  </a:lnTo>
                  <a:lnTo>
                    <a:pt x="45" y="28"/>
                  </a:lnTo>
                  <a:lnTo>
                    <a:pt x="38" y="28"/>
                  </a:lnTo>
                  <a:lnTo>
                    <a:pt x="35" y="31"/>
                  </a:lnTo>
                  <a:lnTo>
                    <a:pt x="33" y="31"/>
                  </a:lnTo>
                  <a:lnTo>
                    <a:pt x="31" y="31"/>
                  </a:lnTo>
                  <a:lnTo>
                    <a:pt x="31" y="31"/>
                  </a:lnTo>
                  <a:lnTo>
                    <a:pt x="31" y="33"/>
                  </a:lnTo>
                  <a:lnTo>
                    <a:pt x="28" y="33"/>
                  </a:lnTo>
                  <a:lnTo>
                    <a:pt x="28" y="33"/>
                  </a:lnTo>
                  <a:lnTo>
                    <a:pt x="28" y="33"/>
                  </a:lnTo>
                  <a:lnTo>
                    <a:pt x="26" y="33"/>
                  </a:lnTo>
                  <a:lnTo>
                    <a:pt x="26" y="33"/>
                  </a:lnTo>
                  <a:lnTo>
                    <a:pt x="24" y="33"/>
                  </a:lnTo>
                  <a:lnTo>
                    <a:pt x="24" y="31"/>
                  </a:lnTo>
                  <a:lnTo>
                    <a:pt x="24" y="31"/>
                  </a:lnTo>
                  <a:lnTo>
                    <a:pt x="24" y="31"/>
                  </a:lnTo>
                  <a:lnTo>
                    <a:pt x="21" y="31"/>
                  </a:lnTo>
                  <a:lnTo>
                    <a:pt x="19" y="31"/>
                  </a:lnTo>
                  <a:lnTo>
                    <a:pt x="17" y="31"/>
                  </a:lnTo>
                  <a:lnTo>
                    <a:pt x="17" y="31"/>
                  </a:lnTo>
                  <a:lnTo>
                    <a:pt x="17" y="31"/>
                  </a:lnTo>
                  <a:lnTo>
                    <a:pt x="17" y="33"/>
                  </a:lnTo>
                  <a:lnTo>
                    <a:pt x="14" y="33"/>
                  </a:lnTo>
                  <a:lnTo>
                    <a:pt x="14" y="35"/>
                  </a:lnTo>
                  <a:lnTo>
                    <a:pt x="12" y="35"/>
                  </a:lnTo>
                  <a:lnTo>
                    <a:pt x="12" y="35"/>
                  </a:lnTo>
                  <a:lnTo>
                    <a:pt x="12" y="35"/>
                  </a:lnTo>
                  <a:lnTo>
                    <a:pt x="12" y="33"/>
                  </a:lnTo>
                  <a:lnTo>
                    <a:pt x="12" y="33"/>
                  </a:lnTo>
                  <a:lnTo>
                    <a:pt x="9" y="33"/>
                  </a:lnTo>
                  <a:lnTo>
                    <a:pt x="9" y="33"/>
                  </a:lnTo>
                  <a:lnTo>
                    <a:pt x="9" y="33"/>
                  </a:lnTo>
                  <a:lnTo>
                    <a:pt x="9" y="33"/>
                  </a:lnTo>
                  <a:lnTo>
                    <a:pt x="9" y="31"/>
                  </a:lnTo>
                  <a:lnTo>
                    <a:pt x="9" y="31"/>
                  </a:lnTo>
                  <a:lnTo>
                    <a:pt x="7" y="31"/>
                  </a:lnTo>
                  <a:lnTo>
                    <a:pt x="5" y="28"/>
                  </a:lnTo>
                  <a:lnTo>
                    <a:pt x="5" y="31"/>
                  </a:lnTo>
                  <a:lnTo>
                    <a:pt x="2" y="31"/>
                  </a:lnTo>
                  <a:lnTo>
                    <a:pt x="2" y="31"/>
                  </a:lnTo>
                  <a:lnTo>
                    <a:pt x="0" y="31"/>
                  </a:lnTo>
                  <a:lnTo>
                    <a:pt x="2" y="31"/>
                  </a:lnTo>
                  <a:lnTo>
                    <a:pt x="2" y="31"/>
                  </a:lnTo>
                  <a:lnTo>
                    <a:pt x="2" y="33"/>
                  </a:lnTo>
                  <a:lnTo>
                    <a:pt x="0" y="35"/>
                  </a:lnTo>
                  <a:lnTo>
                    <a:pt x="2" y="35"/>
                  </a:lnTo>
                  <a:lnTo>
                    <a:pt x="2" y="35"/>
                  </a:lnTo>
                  <a:lnTo>
                    <a:pt x="2" y="38"/>
                  </a:lnTo>
                  <a:lnTo>
                    <a:pt x="2" y="38"/>
                  </a:lnTo>
                  <a:lnTo>
                    <a:pt x="2" y="38"/>
                  </a:lnTo>
                  <a:lnTo>
                    <a:pt x="2" y="38"/>
                  </a:lnTo>
                  <a:lnTo>
                    <a:pt x="2" y="40"/>
                  </a:lnTo>
                  <a:lnTo>
                    <a:pt x="2" y="40"/>
                  </a:lnTo>
                  <a:lnTo>
                    <a:pt x="2" y="40"/>
                  </a:lnTo>
                  <a:lnTo>
                    <a:pt x="2" y="40"/>
                  </a:lnTo>
                  <a:lnTo>
                    <a:pt x="5" y="40"/>
                  </a:lnTo>
                  <a:lnTo>
                    <a:pt x="7" y="40"/>
                  </a:lnTo>
                  <a:lnTo>
                    <a:pt x="7" y="42"/>
                  </a:lnTo>
                  <a:lnTo>
                    <a:pt x="7" y="42"/>
                  </a:lnTo>
                  <a:lnTo>
                    <a:pt x="9" y="42"/>
                  </a:lnTo>
                  <a:lnTo>
                    <a:pt x="12" y="45"/>
                  </a:lnTo>
                  <a:lnTo>
                    <a:pt x="12" y="45"/>
                  </a:lnTo>
                  <a:lnTo>
                    <a:pt x="14" y="42"/>
                  </a:lnTo>
                  <a:lnTo>
                    <a:pt x="17" y="42"/>
                  </a:lnTo>
                  <a:lnTo>
                    <a:pt x="17" y="42"/>
                  </a:lnTo>
                  <a:lnTo>
                    <a:pt x="17" y="45"/>
                  </a:lnTo>
                  <a:lnTo>
                    <a:pt x="17" y="45"/>
                  </a:lnTo>
                  <a:lnTo>
                    <a:pt x="19" y="45"/>
                  </a:lnTo>
                  <a:lnTo>
                    <a:pt x="21" y="45"/>
                  </a:lnTo>
                  <a:lnTo>
                    <a:pt x="21" y="45"/>
                  </a:lnTo>
                  <a:lnTo>
                    <a:pt x="24" y="45"/>
                  </a:lnTo>
                  <a:lnTo>
                    <a:pt x="24" y="47"/>
                  </a:lnTo>
                  <a:lnTo>
                    <a:pt x="26" y="45"/>
                  </a:lnTo>
                  <a:lnTo>
                    <a:pt x="26" y="45"/>
                  </a:lnTo>
                  <a:lnTo>
                    <a:pt x="26" y="45"/>
                  </a:lnTo>
                  <a:lnTo>
                    <a:pt x="28" y="42"/>
                  </a:lnTo>
                  <a:lnTo>
                    <a:pt x="28" y="42"/>
                  </a:lnTo>
                  <a:lnTo>
                    <a:pt x="33" y="42"/>
                  </a:lnTo>
                  <a:lnTo>
                    <a:pt x="33" y="42"/>
                  </a:lnTo>
                  <a:lnTo>
                    <a:pt x="35" y="42"/>
                  </a:lnTo>
                  <a:lnTo>
                    <a:pt x="38" y="42"/>
                  </a:lnTo>
                  <a:lnTo>
                    <a:pt x="38" y="42"/>
                  </a:lnTo>
                  <a:lnTo>
                    <a:pt x="40" y="40"/>
                  </a:lnTo>
                  <a:lnTo>
                    <a:pt x="45" y="40"/>
                  </a:lnTo>
                  <a:lnTo>
                    <a:pt x="45" y="40"/>
                  </a:lnTo>
                  <a:lnTo>
                    <a:pt x="45" y="40"/>
                  </a:lnTo>
                  <a:lnTo>
                    <a:pt x="45" y="40"/>
                  </a:lnTo>
                  <a:lnTo>
                    <a:pt x="45" y="42"/>
                  </a:lnTo>
                  <a:lnTo>
                    <a:pt x="45" y="42"/>
                  </a:lnTo>
                  <a:lnTo>
                    <a:pt x="47" y="45"/>
                  </a:lnTo>
                  <a:lnTo>
                    <a:pt x="47" y="47"/>
                  </a:lnTo>
                  <a:lnTo>
                    <a:pt x="47" y="47"/>
                  </a:lnTo>
                  <a:lnTo>
                    <a:pt x="50" y="47"/>
                  </a:lnTo>
                  <a:lnTo>
                    <a:pt x="52" y="49"/>
                  </a:lnTo>
                  <a:lnTo>
                    <a:pt x="54" y="49"/>
                  </a:lnTo>
                  <a:lnTo>
                    <a:pt x="54" y="49"/>
                  </a:lnTo>
                  <a:lnTo>
                    <a:pt x="61" y="49"/>
                  </a:lnTo>
                  <a:lnTo>
                    <a:pt x="64" y="49"/>
                  </a:lnTo>
                  <a:lnTo>
                    <a:pt x="66" y="49"/>
                  </a:lnTo>
                  <a:lnTo>
                    <a:pt x="71" y="52"/>
                  </a:lnTo>
                  <a:lnTo>
                    <a:pt x="71" y="52"/>
                  </a:lnTo>
                  <a:lnTo>
                    <a:pt x="73" y="52"/>
                  </a:lnTo>
                  <a:lnTo>
                    <a:pt x="73" y="52"/>
                  </a:lnTo>
                  <a:lnTo>
                    <a:pt x="75" y="52"/>
                  </a:lnTo>
                  <a:lnTo>
                    <a:pt x="75" y="52"/>
                  </a:lnTo>
                  <a:lnTo>
                    <a:pt x="80" y="52"/>
                  </a:lnTo>
                  <a:lnTo>
                    <a:pt x="83" y="52"/>
                  </a:lnTo>
                  <a:lnTo>
                    <a:pt x="83" y="54"/>
                  </a:lnTo>
                  <a:lnTo>
                    <a:pt x="83" y="54"/>
                  </a:lnTo>
                  <a:lnTo>
                    <a:pt x="85" y="54"/>
                  </a:lnTo>
                  <a:lnTo>
                    <a:pt x="85" y="54"/>
                  </a:lnTo>
                  <a:lnTo>
                    <a:pt x="85" y="52"/>
                  </a:lnTo>
                  <a:lnTo>
                    <a:pt x="87" y="52"/>
                  </a:lnTo>
                  <a:lnTo>
                    <a:pt x="87" y="52"/>
                  </a:lnTo>
                  <a:lnTo>
                    <a:pt x="87" y="49"/>
                  </a:lnTo>
                  <a:lnTo>
                    <a:pt x="90" y="49"/>
                  </a:lnTo>
                  <a:lnTo>
                    <a:pt x="90" y="49"/>
                  </a:lnTo>
                  <a:lnTo>
                    <a:pt x="90" y="49"/>
                  </a:lnTo>
                  <a:lnTo>
                    <a:pt x="92" y="49"/>
                  </a:lnTo>
                  <a:lnTo>
                    <a:pt x="94" y="49"/>
                  </a:lnTo>
                  <a:lnTo>
                    <a:pt x="99" y="49"/>
                  </a:lnTo>
                  <a:lnTo>
                    <a:pt x="101" y="49"/>
                  </a:lnTo>
                  <a:lnTo>
                    <a:pt x="101" y="47"/>
                  </a:lnTo>
                  <a:lnTo>
                    <a:pt x="104" y="47"/>
                  </a:lnTo>
                  <a:lnTo>
                    <a:pt x="104" y="47"/>
                  </a:lnTo>
                  <a:lnTo>
                    <a:pt x="106" y="47"/>
                  </a:lnTo>
                  <a:lnTo>
                    <a:pt x="108" y="47"/>
                  </a:lnTo>
                  <a:lnTo>
                    <a:pt x="108" y="47"/>
                  </a:lnTo>
                  <a:lnTo>
                    <a:pt x="108" y="45"/>
                  </a:lnTo>
                  <a:lnTo>
                    <a:pt x="108" y="45"/>
                  </a:lnTo>
                  <a:lnTo>
                    <a:pt x="108" y="45"/>
                  </a:lnTo>
                  <a:lnTo>
                    <a:pt x="111" y="42"/>
                  </a:lnTo>
                  <a:lnTo>
                    <a:pt x="113" y="40"/>
                  </a:lnTo>
                  <a:lnTo>
                    <a:pt x="116" y="42"/>
                  </a:lnTo>
                  <a:lnTo>
                    <a:pt x="116" y="40"/>
                  </a:lnTo>
                  <a:lnTo>
                    <a:pt x="116" y="40"/>
                  </a:lnTo>
                  <a:lnTo>
                    <a:pt x="116" y="40"/>
                  </a:lnTo>
                  <a:lnTo>
                    <a:pt x="116" y="40"/>
                  </a:lnTo>
                  <a:lnTo>
                    <a:pt x="116" y="38"/>
                  </a:lnTo>
                  <a:lnTo>
                    <a:pt x="116" y="38"/>
                  </a:lnTo>
                  <a:lnTo>
                    <a:pt x="116" y="38"/>
                  </a:lnTo>
                  <a:lnTo>
                    <a:pt x="113" y="38"/>
                  </a:lnTo>
                  <a:lnTo>
                    <a:pt x="116" y="35"/>
                  </a:lnTo>
                  <a:lnTo>
                    <a:pt x="116" y="35"/>
                  </a:lnTo>
                  <a:lnTo>
                    <a:pt x="116" y="33"/>
                  </a:lnTo>
                  <a:lnTo>
                    <a:pt x="116" y="33"/>
                  </a:lnTo>
                  <a:lnTo>
                    <a:pt x="116" y="33"/>
                  </a:lnTo>
                  <a:lnTo>
                    <a:pt x="118" y="33"/>
                  </a:lnTo>
                  <a:lnTo>
                    <a:pt x="118" y="33"/>
                  </a:lnTo>
                  <a:lnTo>
                    <a:pt x="118" y="31"/>
                  </a:lnTo>
                  <a:lnTo>
                    <a:pt x="118" y="31"/>
                  </a:lnTo>
                  <a:lnTo>
                    <a:pt x="118" y="28"/>
                  </a:lnTo>
                  <a:lnTo>
                    <a:pt x="113" y="28"/>
                  </a:lnTo>
                  <a:lnTo>
                    <a:pt x="113" y="28"/>
                  </a:lnTo>
                  <a:lnTo>
                    <a:pt x="116" y="26"/>
                  </a:lnTo>
                  <a:lnTo>
                    <a:pt x="116" y="26"/>
                  </a:lnTo>
                  <a:lnTo>
                    <a:pt x="116" y="26"/>
                  </a:lnTo>
                  <a:lnTo>
                    <a:pt x="118" y="26"/>
                  </a:lnTo>
                  <a:lnTo>
                    <a:pt x="118" y="26"/>
                  </a:lnTo>
                  <a:lnTo>
                    <a:pt x="120" y="26"/>
                  </a:lnTo>
                  <a:lnTo>
                    <a:pt x="120" y="28"/>
                  </a:lnTo>
                  <a:lnTo>
                    <a:pt x="120" y="26"/>
                  </a:lnTo>
                  <a:lnTo>
                    <a:pt x="120" y="26"/>
                  </a:lnTo>
                  <a:lnTo>
                    <a:pt x="123" y="26"/>
                  </a:lnTo>
                  <a:lnTo>
                    <a:pt x="125" y="26"/>
                  </a:lnTo>
                  <a:lnTo>
                    <a:pt x="125" y="26"/>
                  </a:lnTo>
                  <a:lnTo>
                    <a:pt x="125" y="23"/>
                  </a:lnTo>
                  <a:lnTo>
                    <a:pt x="125" y="23"/>
                  </a:lnTo>
                  <a:lnTo>
                    <a:pt x="125" y="23"/>
                  </a:lnTo>
                  <a:lnTo>
                    <a:pt x="125" y="23"/>
                  </a:lnTo>
                  <a:lnTo>
                    <a:pt x="125" y="21"/>
                  </a:lnTo>
                  <a:lnTo>
                    <a:pt x="125" y="21"/>
                  </a:lnTo>
                  <a:lnTo>
                    <a:pt x="125" y="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5" name="Freeform 391"/>
            <p:cNvSpPr>
              <a:spLocks noEditPoints="1"/>
            </p:cNvSpPr>
            <p:nvPr userDrawn="1"/>
          </p:nvSpPr>
          <p:spPr bwMode="auto">
            <a:xfrm>
              <a:off x="5687" y="3035"/>
              <a:ext cx="738" cy="692"/>
            </a:xfrm>
            <a:custGeom>
              <a:avLst/>
              <a:gdLst>
                <a:gd name="T0" fmla="*/ 469 w 738"/>
                <a:gd name="T1" fmla="*/ 681 h 692"/>
                <a:gd name="T2" fmla="*/ 490 w 738"/>
                <a:gd name="T3" fmla="*/ 638 h 692"/>
                <a:gd name="T4" fmla="*/ 457 w 738"/>
                <a:gd name="T5" fmla="*/ 633 h 692"/>
                <a:gd name="T6" fmla="*/ 443 w 738"/>
                <a:gd name="T7" fmla="*/ 664 h 692"/>
                <a:gd name="T8" fmla="*/ 452 w 738"/>
                <a:gd name="T9" fmla="*/ 692 h 692"/>
                <a:gd name="T10" fmla="*/ 476 w 738"/>
                <a:gd name="T11" fmla="*/ 676 h 692"/>
                <a:gd name="T12" fmla="*/ 495 w 738"/>
                <a:gd name="T13" fmla="*/ 659 h 692"/>
                <a:gd name="T14" fmla="*/ 509 w 738"/>
                <a:gd name="T15" fmla="*/ 643 h 692"/>
                <a:gd name="T16" fmla="*/ 382 w 738"/>
                <a:gd name="T17" fmla="*/ 527 h 692"/>
                <a:gd name="T18" fmla="*/ 391 w 738"/>
                <a:gd name="T19" fmla="*/ 527 h 692"/>
                <a:gd name="T20" fmla="*/ 259 w 738"/>
                <a:gd name="T21" fmla="*/ 94 h 692"/>
                <a:gd name="T22" fmla="*/ 488 w 738"/>
                <a:gd name="T23" fmla="*/ 64 h 692"/>
                <a:gd name="T24" fmla="*/ 375 w 738"/>
                <a:gd name="T25" fmla="*/ 21 h 692"/>
                <a:gd name="T26" fmla="*/ 386 w 738"/>
                <a:gd name="T27" fmla="*/ 26 h 692"/>
                <a:gd name="T28" fmla="*/ 377 w 738"/>
                <a:gd name="T29" fmla="*/ 11 h 692"/>
                <a:gd name="T30" fmla="*/ 709 w 738"/>
                <a:gd name="T31" fmla="*/ 272 h 692"/>
                <a:gd name="T32" fmla="*/ 693 w 738"/>
                <a:gd name="T33" fmla="*/ 246 h 692"/>
                <a:gd name="T34" fmla="*/ 674 w 738"/>
                <a:gd name="T35" fmla="*/ 194 h 692"/>
                <a:gd name="T36" fmla="*/ 646 w 738"/>
                <a:gd name="T37" fmla="*/ 153 h 692"/>
                <a:gd name="T38" fmla="*/ 636 w 738"/>
                <a:gd name="T39" fmla="*/ 82 h 692"/>
                <a:gd name="T40" fmla="*/ 610 w 738"/>
                <a:gd name="T41" fmla="*/ 30 h 692"/>
                <a:gd name="T42" fmla="*/ 589 w 738"/>
                <a:gd name="T43" fmla="*/ 23 h 692"/>
                <a:gd name="T44" fmla="*/ 577 w 738"/>
                <a:gd name="T45" fmla="*/ 68 h 692"/>
                <a:gd name="T46" fmla="*/ 523 w 738"/>
                <a:gd name="T47" fmla="*/ 139 h 692"/>
                <a:gd name="T48" fmla="*/ 481 w 738"/>
                <a:gd name="T49" fmla="*/ 104 h 692"/>
                <a:gd name="T50" fmla="*/ 483 w 738"/>
                <a:gd name="T51" fmla="*/ 49 h 692"/>
                <a:gd name="T52" fmla="*/ 478 w 738"/>
                <a:gd name="T53" fmla="*/ 30 h 692"/>
                <a:gd name="T54" fmla="*/ 450 w 738"/>
                <a:gd name="T55" fmla="*/ 26 h 692"/>
                <a:gd name="T56" fmla="*/ 403 w 738"/>
                <a:gd name="T57" fmla="*/ 11 h 692"/>
                <a:gd name="T58" fmla="*/ 401 w 738"/>
                <a:gd name="T59" fmla="*/ 33 h 692"/>
                <a:gd name="T60" fmla="*/ 375 w 738"/>
                <a:gd name="T61" fmla="*/ 40 h 692"/>
                <a:gd name="T62" fmla="*/ 356 w 738"/>
                <a:gd name="T63" fmla="*/ 82 h 692"/>
                <a:gd name="T64" fmla="*/ 332 w 738"/>
                <a:gd name="T65" fmla="*/ 85 h 692"/>
                <a:gd name="T66" fmla="*/ 313 w 738"/>
                <a:gd name="T67" fmla="*/ 66 h 692"/>
                <a:gd name="T68" fmla="*/ 290 w 738"/>
                <a:gd name="T69" fmla="*/ 78 h 692"/>
                <a:gd name="T70" fmla="*/ 273 w 738"/>
                <a:gd name="T71" fmla="*/ 87 h 692"/>
                <a:gd name="T72" fmla="*/ 261 w 738"/>
                <a:gd name="T73" fmla="*/ 94 h 692"/>
                <a:gd name="T74" fmla="*/ 259 w 738"/>
                <a:gd name="T75" fmla="*/ 118 h 692"/>
                <a:gd name="T76" fmla="*/ 240 w 738"/>
                <a:gd name="T77" fmla="*/ 127 h 692"/>
                <a:gd name="T78" fmla="*/ 224 w 738"/>
                <a:gd name="T79" fmla="*/ 123 h 692"/>
                <a:gd name="T80" fmla="*/ 188 w 738"/>
                <a:gd name="T81" fmla="*/ 182 h 692"/>
                <a:gd name="T82" fmla="*/ 82 w 738"/>
                <a:gd name="T83" fmla="*/ 220 h 692"/>
                <a:gd name="T84" fmla="*/ 35 w 738"/>
                <a:gd name="T85" fmla="*/ 262 h 692"/>
                <a:gd name="T86" fmla="*/ 23 w 738"/>
                <a:gd name="T87" fmla="*/ 326 h 692"/>
                <a:gd name="T88" fmla="*/ 16 w 738"/>
                <a:gd name="T89" fmla="*/ 324 h 692"/>
                <a:gd name="T90" fmla="*/ 26 w 738"/>
                <a:gd name="T91" fmla="*/ 411 h 692"/>
                <a:gd name="T92" fmla="*/ 2 w 738"/>
                <a:gd name="T93" fmla="*/ 496 h 692"/>
                <a:gd name="T94" fmla="*/ 99 w 738"/>
                <a:gd name="T95" fmla="*/ 489 h 692"/>
                <a:gd name="T96" fmla="*/ 205 w 738"/>
                <a:gd name="T97" fmla="*/ 454 h 692"/>
                <a:gd name="T98" fmla="*/ 339 w 738"/>
                <a:gd name="T99" fmla="*/ 451 h 692"/>
                <a:gd name="T100" fmla="*/ 356 w 738"/>
                <a:gd name="T101" fmla="*/ 503 h 692"/>
                <a:gd name="T102" fmla="*/ 377 w 738"/>
                <a:gd name="T103" fmla="*/ 491 h 692"/>
                <a:gd name="T104" fmla="*/ 401 w 738"/>
                <a:gd name="T105" fmla="*/ 487 h 692"/>
                <a:gd name="T106" fmla="*/ 405 w 738"/>
                <a:gd name="T107" fmla="*/ 494 h 692"/>
                <a:gd name="T108" fmla="*/ 412 w 738"/>
                <a:gd name="T109" fmla="*/ 525 h 692"/>
                <a:gd name="T110" fmla="*/ 424 w 738"/>
                <a:gd name="T111" fmla="*/ 584 h 692"/>
                <a:gd name="T112" fmla="*/ 481 w 738"/>
                <a:gd name="T113" fmla="*/ 577 h 692"/>
                <a:gd name="T114" fmla="*/ 492 w 738"/>
                <a:gd name="T115" fmla="*/ 591 h 692"/>
                <a:gd name="T116" fmla="*/ 528 w 738"/>
                <a:gd name="T117" fmla="*/ 581 h 692"/>
                <a:gd name="T118" fmla="*/ 608 w 738"/>
                <a:gd name="T119" fmla="*/ 525 h 692"/>
                <a:gd name="T120" fmla="*/ 639 w 738"/>
                <a:gd name="T121" fmla="*/ 489 h 692"/>
                <a:gd name="T122" fmla="*/ 679 w 738"/>
                <a:gd name="T123" fmla="*/ 449 h 692"/>
                <a:gd name="T124" fmla="*/ 733 w 738"/>
                <a:gd name="T125" fmla="*/ 32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8" h="692">
                  <a:moveTo>
                    <a:pt x="462" y="685"/>
                  </a:moveTo>
                  <a:lnTo>
                    <a:pt x="462" y="685"/>
                  </a:lnTo>
                  <a:lnTo>
                    <a:pt x="462" y="685"/>
                  </a:lnTo>
                  <a:lnTo>
                    <a:pt x="462" y="688"/>
                  </a:lnTo>
                  <a:lnTo>
                    <a:pt x="459" y="688"/>
                  </a:lnTo>
                  <a:lnTo>
                    <a:pt x="459" y="688"/>
                  </a:lnTo>
                  <a:lnTo>
                    <a:pt x="459" y="688"/>
                  </a:lnTo>
                  <a:lnTo>
                    <a:pt x="459" y="688"/>
                  </a:lnTo>
                  <a:lnTo>
                    <a:pt x="462" y="688"/>
                  </a:lnTo>
                  <a:lnTo>
                    <a:pt x="462" y="688"/>
                  </a:lnTo>
                  <a:lnTo>
                    <a:pt x="464" y="688"/>
                  </a:lnTo>
                  <a:lnTo>
                    <a:pt x="464" y="685"/>
                  </a:lnTo>
                  <a:lnTo>
                    <a:pt x="464" y="685"/>
                  </a:lnTo>
                  <a:lnTo>
                    <a:pt x="464" y="685"/>
                  </a:lnTo>
                  <a:lnTo>
                    <a:pt x="462" y="685"/>
                  </a:lnTo>
                  <a:close/>
                  <a:moveTo>
                    <a:pt x="467" y="681"/>
                  </a:moveTo>
                  <a:lnTo>
                    <a:pt x="467" y="681"/>
                  </a:lnTo>
                  <a:lnTo>
                    <a:pt x="467" y="683"/>
                  </a:lnTo>
                  <a:lnTo>
                    <a:pt x="467" y="683"/>
                  </a:lnTo>
                  <a:lnTo>
                    <a:pt x="467" y="683"/>
                  </a:lnTo>
                  <a:lnTo>
                    <a:pt x="467" y="683"/>
                  </a:lnTo>
                  <a:lnTo>
                    <a:pt x="467" y="683"/>
                  </a:lnTo>
                  <a:lnTo>
                    <a:pt x="469" y="681"/>
                  </a:lnTo>
                  <a:lnTo>
                    <a:pt x="469" y="681"/>
                  </a:lnTo>
                  <a:lnTo>
                    <a:pt x="467" y="681"/>
                  </a:lnTo>
                  <a:close/>
                  <a:moveTo>
                    <a:pt x="485" y="671"/>
                  </a:moveTo>
                  <a:lnTo>
                    <a:pt x="485" y="671"/>
                  </a:lnTo>
                  <a:lnTo>
                    <a:pt x="485" y="674"/>
                  </a:lnTo>
                  <a:lnTo>
                    <a:pt x="485" y="674"/>
                  </a:lnTo>
                  <a:lnTo>
                    <a:pt x="485" y="674"/>
                  </a:lnTo>
                  <a:lnTo>
                    <a:pt x="485" y="671"/>
                  </a:lnTo>
                  <a:lnTo>
                    <a:pt x="488" y="671"/>
                  </a:lnTo>
                  <a:lnTo>
                    <a:pt x="488" y="671"/>
                  </a:lnTo>
                  <a:lnTo>
                    <a:pt x="488" y="671"/>
                  </a:lnTo>
                  <a:lnTo>
                    <a:pt x="485" y="671"/>
                  </a:lnTo>
                  <a:close/>
                  <a:moveTo>
                    <a:pt x="509" y="633"/>
                  </a:moveTo>
                  <a:lnTo>
                    <a:pt x="509" y="633"/>
                  </a:lnTo>
                  <a:lnTo>
                    <a:pt x="504" y="636"/>
                  </a:lnTo>
                  <a:lnTo>
                    <a:pt x="504" y="636"/>
                  </a:lnTo>
                  <a:lnTo>
                    <a:pt x="502" y="633"/>
                  </a:lnTo>
                  <a:lnTo>
                    <a:pt x="499" y="636"/>
                  </a:lnTo>
                  <a:lnTo>
                    <a:pt x="497" y="638"/>
                  </a:lnTo>
                  <a:lnTo>
                    <a:pt x="497" y="638"/>
                  </a:lnTo>
                  <a:lnTo>
                    <a:pt x="495" y="638"/>
                  </a:lnTo>
                  <a:lnTo>
                    <a:pt x="495" y="636"/>
                  </a:lnTo>
                  <a:lnTo>
                    <a:pt x="495" y="636"/>
                  </a:lnTo>
                  <a:lnTo>
                    <a:pt x="492" y="638"/>
                  </a:lnTo>
                  <a:lnTo>
                    <a:pt x="490" y="638"/>
                  </a:lnTo>
                  <a:lnTo>
                    <a:pt x="488" y="638"/>
                  </a:lnTo>
                  <a:lnTo>
                    <a:pt x="488" y="638"/>
                  </a:lnTo>
                  <a:lnTo>
                    <a:pt x="485" y="638"/>
                  </a:lnTo>
                  <a:lnTo>
                    <a:pt x="485" y="640"/>
                  </a:lnTo>
                  <a:lnTo>
                    <a:pt x="483" y="640"/>
                  </a:lnTo>
                  <a:lnTo>
                    <a:pt x="483" y="640"/>
                  </a:lnTo>
                  <a:lnTo>
                    <a:pt x="483" y="640"/>
                  </a:lnTo>
                  <a:lnTo>
                    <a:pt x="481" y="640"/>
                  </a:lnTo>
                  <a:lnTo>
                    <a:pt x="481" y="640"/>
                  </a:lnTo>
                  <a:lnTo>
                    <a:pt x="476" y="640"/>
                  </a:lnTo>
                  <a:lnTo>
                    <a:pt x="471" y="640"/>
                  </a:lnTo>
                  <a:lnTo>
                    <a:pt x="469" y="638"/>
                  </a:lnTo>
                  <a:lnTo>
                    <a:pt x="469" y="638"/>
                  </a:lnTo>
                  <a:lnTo>
                    <a:pt x="467" y="636"/>
                  </a:lnTo>
                  <a:lnTo>
                    <a:pt x="467" y="636"/>
                  </a:lnTo>
                  <a:lnTo>
                    <a:pt x="467" y="636"/>
                  </a:lnTo>
                  <a:lnTo>
                    <a:pt x="464" y="636"/>
                  </a:lnTo>
                  <a:lnTo>
                    <a:pt x="464" y="636"/>
                  </a:lnTo>
                  <a:lnTo>
                    <a:pt x="464" y="636"/>
                  </a:lnTo>
                  <a:lnTo>
                    <a:pt x="462" y="633"/>
                  </a:lnTo>
                  <a:lnTo>
                    <a:pt x="462" y="633"/>
                  </a:lnTo>
                  <a:lnTo>
                    <a:pt x="462" y="633"/>
                  </a:lnTo>
                  <a:lnTo>
                    <a:pt x="459" y="633"/>
                  </a:lnTo>
                  <a:lnTo>
                    <a:pt x="457" y="633"/>
                  </a:lnTo>
                  <a:lnTo>
                    <a:pt x="455" y="631"/>
                  </a:lnTo>
                  <a:lnTo>
                    <a:pt x="455" y="631"/>
                  </a:lnTo>
                  <a:lnTo>
                    <a:pt x="452" y="633"/>
                  </a:lnTo>
                  <a:lnTo>
                    <a:pt x="448" y="638"/>
                  </a:lnTo>
                  <a:lnTo>
                    <a:pt x="448" y="640"/>
                  </a:lnTo>
                  <a:lnTo>
                    <a:pt x="448" y="640"/>
                  </a:lnTo>
                  <a:lnTo>
                    <a:pt x="445" y="645"/>
                  </a:lnTo>
                  <a:lnTo>
                    <a:pt x="445" y="645"/>
                  </a:lnTo>
                  <a:lnTo>
                    <a:pt x="445" y="645"/>
                  </a:lnTo>
                  <a:lnTo>
                    <a:pt x="445" y="650"/>
                  </a:lnTo>
                  <a:lnTo>
                    <a:pt x="445" y="655"/>
                  </a:lnTo>
                  <a:lnTo>
                    <a:pt x="445" y="659"/>
                  </a:lnTo>
                  <a:lnTo>
                    <a:pt x="445" y="659"/>
                  </a:lnTo>
                  <a:lnTo>
                    <a:pt x="443" y="662"/>
                  </a:lnTo>
                  <a:lnTo>
                    <a:pt x="445" y="662"/>
                  </a:lnTo>
                  <a:lnTo>
                    <a:pt x="445" y="662"/>
                  </a:lnTo>
                  <a:lnTo>
                    <a:pt x="445" y="662"/>
                  </a:lnTo>
                  <a:lnTo>
                    <a:pt x="445" y="664"/>
                  </a:lnTo>
                  <a:lnTo>
                    <a:pt x="445" y="666"/>
                  </a:lnTo>
                  <a:lnTo>
                    <a:pt x="445" y="666"/>
                  </a:lnTo>
                  <a:lnTo>
                    <a:pt x="443" y="669"/>
                  </a:lnTo>
                  <a:lnTo>
                    <a:pt x="445" y="666"/>
                  </a:lnTo>
                  <a:lnTo>
                    <a:pt x="445" y="664"/>
                  </a:lnTo>
                  <a:lnTo>
                    <a:pt x="443" y="664"/>
                  </a:lnTo>
                  <a:lnTo>
                    <a:pt x="441" y="666"/>
                  </a:lnTo>
                  <a:lnTo>
                    <a:pt x="441" y="669"/>
                  </a:lnTo>
                  <a:lnTo>
                    <a:pt x="438" y="678"/>
                  </a:lnTo>
                  <a:lnTo>
                    <a:pt x="438" y="678"/>
                  </a:lnTo>
                  <a:lnTo>
                    <a:pt x="441" y="678"/>
                  </a:lnTo>
                  <a:lnTo>
                    <a:pt x="441" y="678"/>
                  </a:lnTo>
                  <a:lnTo>
                    <a:pt x="441" y="681"/>
                  </a:lnTo>
                  <a:lnTo>
                    <a:pt x="441" y="683"/>
                  </a:lnTo>
                  <a:lnTo>
                    <a:pt x="441" y="685"/>
                  </a:lnTo>
                  <a:lnTo>
                    <a:pt x="443" y="685"/>
                  </a:lnTo>
                  <a:lnTo>
                    <a:pt x="445" y="685"/>
                  </a:lnTo>
                  <a:lnTo>
                    <a:pt x="445" y="685"/>
                  </a:lnTo>
                  <a:lnTo>
                    <a:pt x="445" y="685"/>
                  </a:lnTo>
                  <a:lnTo>
                    <a:pt x="445" y="685"/>
                  </a:lnTo>
                  <a:lnTo>
                    <a:pt x="443" y="685"/>
                  </a:lnTo>
                  <a:lnTo>
                    <a:pt x="441" y="685"/>
                  </a:lnTo>
                  <a:lnTo>
                    <a:pt x="441" y="688"/>
                  </a:lnTo>
                  <a:lnTo>
                    <a:pt x="441" y="688"/>
                  </a:lnTo>
                  <a:lnTo>
                    <a:pt x="441" y="690"/>
                  </a:lnTo>
                  <a:lnTo>
                    <a:pt x="443" y="690"/>
                  </a:lnTo>
                  <a:lnTo>
                    <a:pt x="445" y="690"/>
                  </a:lnTo>
                  <a:lnTo>
                    <a:pt x="450" y="690"/>
                  </a:lnTo>
                  <a:lnTo>
                    <a:pt x="450" y="690"/>
                  </a:lnTo>
                  <a:lnTo>
                    <a:pt x="452" y="692"/>
                  </a:lnTo>
                  <a:lnTo>
                    <a:pt x="452" y="690"/>
                  </a:lnTo>
                  <a:lnTo>
                    <a:pt x="455" y="690"/>
                  </a:lnTo>
                  <a:lnTo>
                    <a:pt x="459" y="685"/>
                  </a:lnTo>
                  <a:lnTo>
                    <a:pt x="459" y="685"/>
                  </a:lnTo>
                  <a:lnTo>
                    <a:pt x="462" y="685"/>
                  </a:lnTo>
                  <a:lnTo>
                    <a:pt x="459" y="683"/>
                  </a:lnTo>
                  <a:lnTo>
                    <a:pt x="459" y="683"/>
                  </a:lnTo>
                  <a:lnTo>
                    <a:pt x="462" y="683"/>
                  </a:lnTo>
                  <a:lnTo>
                    <a:pt x="462" y="683"/>
                  </a:lnTo>
                  <a:lnTo>
                    <a:pt x="464" y="683"/>
                  </a:lnTo>
                  <a:lnTo>
                    <a:pt x="467" y="681"/>
                  </a:lnTo>
                  <a:lnTo>
                    <a:pt x="467" y="681"/>
                  </a:lnTo>
                  <a:lnTo>
                    <a:pt x="467" y="678"/>
                  </a:lnTo>
                  <a:lnTo>
                    <a:pt x="469" y="678"/>
                  </a:lnTo>
                  <a:lnTo>
                    <a:pt x="469" y="678"/>
                  </a:lnTo>
                  <a:lnTo>
                    <a:pt x="469" y="678"/>
                  </a:lnTo>
                  <a:lnTo>
                    <a:pt x="471" y="676"/>
                  </a:lnTo>
                  <a:lnTo>
                    <a:pt x="471" y="674"/>
                  </a:lnTo>
                  <a:lnTo>
                    <a:pt x="471" y="676"/>
                  </a:lnTo>
                  <a:lnTo>
                    <a:pt x="471" y="678"/>
                  </a:lnTo>
                  <a:lnTo>
                    <a:pt x="471" y="678"/>
                  </a:lnTo>
                  <a:lnTo>
                    <a:pt x="474" y="678"/>
                  </a:lnTo>
                  <a:lnTo>
                    <a:pt x="474" y="676"/>
                  </a:lnTo>
                  <a:lnTo>
                    <a:pt x="476" y="676"/>
                  </a:lnTo>
                  <a:lnTo>
                    <a:pt x="476" y="676"/>
                  </a:lnTo>
                  <a:lnTo>
                    <a:pt x="478" y="678"/>
                  </a:lnTo>
                  <a:lnTo>
                    <a:pt x="478" y="678"/>
                  </a:lnTo>
                  <a:lnTo>
                    <a:pt x="476" y="678"/>
                  </a:lnTo>
                  <a:lnTo>
                    <a:pt x="476" y="678"/>
                  </a:lnTo>
                  <a:lnTo>
                    <a:pt x="476" y="678"/>
                  </a:lnTo>
                  <a:lnTo>
                    <a:pt x="474" y="678"/>
                  </a:lnTo>
                  <a:lnTo>
                    <a:pt x="474" y="681"/>
                  </a:lnTo>
                  <a:lnTo>
                    <a:pt x="474" y="683"/>
                  </a:lnTo>
                  <a:lnTo>
                    <a:pt x="474" y="683"/>
                  </a:lnTo>
                  <a:lnTo>
                    <a:pt x="476" y="683"/>
                  </a:lnTo>
                  <a:lnTo>
                    <a:pt x="478" y="683"/>
                  </a:lnTo>
                  <a:lnTo>
                    <a:pt x="481" y="678"/>
                  </a:lnTo>
                  <a:lnTo>
                    <a:pt x="481" y="676"/>
                  </a:lnTo>
                  <a:lnTo>
                    <a:pt x="483" y="671"/>
                  </a:lnTo>
                  <a:lnTo>
                    <a:pt x="485" y="669"/>
                  </a:lnTo>
                  <a:lnTo>
                    <a:pt x="485" y="669"/>
                  </a:lnTo>
                  <a:lnTo>
                    <a:pt x="488" y="666"/>
                  </a:lnTo>
                  <a:lnTo>
                    <a:pt x="488" y="666"/>
                  </a:lnTo>
                  <a:lnTo>
                    <a:pt x="490" y="664"/>
                  </a:lnTo>
                  <a:lnTo>
                    <a:pt x="492" y="662"/>
                  </a:lnTo>
                  <a:lnTo>
                    <a:pt x="495" y="659"/>
                  </a:lnTo>
                  <a:lnTo>
                    <a:pt x="495" y="659"/>
                  </a:lnTo>
                  <a:lnTo>
                    <a:pt x="495" y="659"/>
                  </a:lnTo>
                  <a:lnTo>
                    <a:pt x="495" y="659"/>
                  </a:lnTo>
                  <a:lnTo>
                    <a:pt x="497" y="657"/>
                  </a:lnTo>
                  <a:lnTo>
                    <a:pt x="497" y="659"/>
                  </a:lnTo>
                  <a:lnTo>
                    <a:pt x="495" y="659"/>
                  </a:lnTo>
                  <a:lnTo>
                    <a:pt x="495" y="659"/>
                  </a:lnTo>
                  <a:lnTo>
                    <a:pt x="497" y="659"/>
                  </a:lnTo>
                  <a:lnTo>
                    <a:pt x="495" y="662"/>
                  </a:lnTo>
                  <a:lnTo>
                    <a:pt x="495" y="662"/>
                  </a:lnTo>
                  <a:lnTo>
                    <a:pt x="495" y="662"/>
                  </a:lnTo>
                  <a:lnTo>
                    <a:pt x="495" y="664"/>
                  </a:lnTo>
                  <a:lnTo>
                    <a:pt x="495" y="664"/>
                  </a:lnTo>
                  <a:lnTo>
                    <a:pt x="497" y="662"/>
                  </a:lnTo>
                  <a:lnTo>
                    <a:pt x="497" y="662"/>
                  </a:lnTo>
                  <a:lnTo>
                    <a:pt x="497" y="659"/>
                  </a:lnTo>
                  <a:lnTo>
                    <a:pt x="497" y="659"/>
                  </a:lnTo>
                  <a:lnTo>
                    <a:pt x="497" y="659"/>
                  </a:lnTo>
                  <a:lnTo>
                    <a:pt x="497" y="659"/>
                  </a:lnTo>
                  <a:lnTo>
                    <a:pt x="499" y="657"/>
                  </a:lnTo>
                  <a:lnTo>
                    <a:pt x="499" y="655"/>
                  </a:lnTo>
                  <a:lnTo>
                    <a:pt x="502" y="650"/>
                  </a:lnTo>
                  <a:lnTo>
                    <a:pt x="504" y="650"/>
                  </a:lnTo>
                  <a:lnTo>
                    <a:pt x="504" y="648"/>
                  </a:lnTo>
                  <a:lnTo>
                    <a:pt x="507" y="645"/>
                  </a:lnTo>
                  <a:lnTo>
                    <a:pt x="509" y="643"/>
                  </a:lnTo>
                  <a:lnTo>
                    <a:pt x="509" y="640"/>
                  </a:lnTo>
                  <a:lnTo>
                    <a:pt x="509" y="640"/>
                  </a:lnTo>
                  <a:lnTo>
                    <a:pt x="511" y="636"/>
                  </a:lnTo>
                  <a:lnTo>
                    <a:pt x="511" y="636"/>
                  </a:lnTo>
                  <a:lnTo>
                    <a:pt x="509" y="633"/>
                  </a:lnTo>
                  <a:close/>
                  <a:moveTo>
                    <a:pt x="488" y="588"/>
                  </a:moveTo>
                  <a:lnTo>
                    <a:pt x="490" y="588"/>
                  </a:lnTo>
                  <a:lnTo>
                    <a:pt x="488" y="586"/>
                  </a:lnTo>
                  <a:lnTo>
                    <a:pt x="488" y="586"/>
                  </a:lnTo>
                  <a:lnTo>
                    <a:pt x="488" y="586"/>
                  </a:lnTo>
                  <a:lnTo>
                    <a:pt x="485" y="588"/>
                  </a:lnTo>
                  <a:lnTo>
                    <a:pt x="488" y="586"/>
                  </a:lnTo>
                  <a:lnTo>
                    <a:pt x="488" y="588"/>
                  </a:lnTo>
                  <a:close/>
                  <a:moveTo>
                    <a:pt x="492" y="584"/>
                  </a:moveTo>
                  <a:lnTo>
                    <a:pt x="492" y="584"/>
                  </a:lnTo>
                  <a:lnTo>
                    <a:pt x="490" y="584"/>
                  </a:lnTo>
                  <a:lnTo>
                    <a:pt x="490" y="584"/>
                  </a:lnTo>
                  <a:lnTo>
                    <a:pt x="490" y="584"/>
                  </a:lnTo>
                  <a:lnTo>
                    <a:pt x="490" y="586"/>
                  </a:lnTo>
                  <a:lnTo>
                    <a:pt x="492" y="584"/>
                  </a:lnTo>
                  <a:close/>
                  <a:moveTo>
                    <a:pt x="389" y="527"/>
                  </a:moveTo>
                  <a:lnTo>
                    <a:pt x="386" y="527"/>
                  </a:lnTo>
                  <a:lnTo>
                    <a:pt x="382" y="527"/>
                  </a:lnTo>
                  <a:lnTo>
                    <a:pt x="382" y="527"/>
                  </a:lnTo>
                  <a:lnTo>
                    <a:pt x="384" y="525"/>
                  </a:lnTo>
                  <a:lnTo>
                    <a:pt x="384" y="525"/>
                  </a:lnTo>
                  <a:lnTo>
                    <a:pt x="382" y="525"/>
                  </a:lnTo>
                  <a:lnTo>
                    <a:pt x="379" y="525"/>
                  </a:lnTo>
                  <a:lnTo>
                    <a:pt x="375" y="527"/>
                  </a:lnTo>
                  <a:lnTo>
                    <a:pt x="365" y="527"/>
                  </a:lnTo>
                  <a:lnTo>
                    <a:pt x="365" y="529"/>
                  </a:lnTo>
                  <a:lnTo>
                    <a:pt x="363" y="532"/>
                  </a:lnTo>
                  <a:lnTo>
                    <a:pt x="363" y="532"/>
                  </a:lnTo>
                  <a:lnTo>
                    <a:pt x="365" y="534"/>
                  </a:lnTo>
                  <a:lnTo>
                    <a:pt x="368" y="534"/>
                  </a:lnTo>
                  <a:lnTo>
                    <a:pt x="370" y="534"/>
                  </a:lnTo>
                  <a:lnTo>
                    <a:pt x="372" y="534"/>
                  </a:lnTo>
                  <a:lnTo>
                    <a:pt x="375" y="532"/>
                  </a:lnTo>
                  <a:lnTo>
                    <a:pt x="377" y="534"/>
                  </a:lnTo>
                  <a:lnTo>
                    <a:pt x="377" y="534"/>
                  </a:lnTo>
                  <a:lnTo>
                    <a:pt x="379" y="534"/>
                  </a:lnTo>
                  <a:lnTo>
                    <a:pt x="382" y="532"/>
                  </a:lnTo>
                  <a:lnTo>
                    <a:pt x="382" y="532"/>
                  </a:lnTo>
                  <a:lnTo>
                    <a:pt x="386" y="529"/>
                  </a:lnTo>
                  <a:lnTo>
                    <a:pt x="389" y="532"/>
                  </a:lnTo>
                  <a:lnTo>
                    <a:pt x="389" y="532"/>
                  </a:lnTo>
                  <a:lnTo>
                    <a:pt x="391" y="529"/>
                  </a:lnTo>
                  <a:lnTo>
                    <a:pt x="391" y="527"/>
                  </a:lnTo>
                  <a:lnTo>
                    <a:pt x="389" y="527"/>
                  </a:lnTo>
                  <a:close/>
                  <a:moveTo>
                    <a:pt x="525" y="125"/>
                  </a:moveTo>
                  <a:lnTo>
                    <a:pt x="525" y="125"/>
                  </a:lnTo>
                  <a:lnTo>
                    <a:pt x="528" y="125"/>
                  </a:lnTo>
                  <a:lnTo>
                    <a:pt x="528" y="125"/>
                  </a:lnTo>
                  <a:lnTo>
                    <a:pt x="528" y="125"/>
                  </a:lnTo>
                  <a:lnTo>
                    <a:pt x="530" y="123"/>
                  </a:lnTo>
                  <a:lnTo>
                    <a:pt x="532" y="123"/>
                  </a:lnTo>
                  <a:lnTo>
                    <a:pt x="535" y="120"/>
                  </a:lnTo>
                  <a:lnTo>
                    <a:pt x="532" y="118"/>
                  </a:lnTo>
                  <a:lnTo>
                    <a:pt x="532" y="118"/>
                  </a:lnTo>
                  <a:lnTo>
                    <a:pt x="530" y="120"/>
                  </a:lnTo>
                  <a:lnTo>
                    <a:pt x="528" y="120"/>
                  </a:lnTo>
                  <a:lnTo>
                    <a:pt x="525" y="123"/>
                  </a:lnTo>
                  <a:lnTo>
                    <a:pt x="523" y="123"/>
                  </a:lnTo>
                  <a:lnTo>
                    <a:pt x="523" y="125"/>
                  </a:lnTo>
                  <a:lnTo>
                    <a:pt x="523" y="127"/>
                  </a:lnTo>
                  <a:lnTo>
                    <a:pt x="525" y="125"/>
                  </a:lnTo>
                  <a:close/>
                  <a:moveTo>
                    <a:pt x="259" y="99"/>
                  </a:moveTo>
                  <a:lnTo>
                    <a:pt x="259" y="99"/>
                  </a:lnTo>
                  <a:lnTo>
                    <a:pt x="259" y="99"/>
                  </a:lnTo>
                  <a:lnTo>
                    <a:pt x="261" y="97"/>
                  </a:lnTo>
                  <a:lnTo>
                    <a:pt x="259" y="97"/>
                  </a:lnTo>
                  <a:lnTo>
                    <a:pt x="259" y="94"/>
                  </a:lnTo>
                  <a:lnTo>
                    <a:pt x="259" y="94"/>
                  </a:lnTo>
                  <a:lnTo>
                    <a:pt x="259" y="97"/>
                  </a:lnTo>
                  <a:lnTo>
                    <a:pt x="259" y="97"/>
                  </a:lnTo>
                  <a:lnTo>
                    <a:pt x="259" y="97"/>
                  </a:lnTo>
                  <a:lnTo>
                    <a:pt x="259" y="99"/>
                  </a:lnTo>
                  <a:close/>
                  <a:moveTo>
                    <a:pt x="273" y="80"/>
                  </a:moveTo>
                  <a:lnTo>
                    <a:pt x="273" y="80"/>
                  </a:lnTo>
                  <a:lnTo>
                    <a:pt x="273" y="78"/>
                  </a:lnTo>
                  <a:lnTo>
                    <a:pt x="273" y="78"/>
                  </a:lnTo>
                  <a:lnTo>
                    <a:pt x="273" y="78"/>
                  </a:lnTo>
                  <a:lnTo>
                    <a:pt x="271" y="80"/>
                  </a:lnTo>
                  <a:lnTo>
                    <a:pt x="273" y="82"/>
                  </a:lnTo>
                  <a:lnTo>
                    <a:pt x="273" y="80"/>
                  </a:lnTo>
                  <a:close/>
                  <a:moveTo>
                    <a:pt x="488" y="68"/>
                  </a:moveTo>
                  <a:lnTo>
                    <a:pt x="490" y="66"/>
                  </a:lnTo>
                  <a:lnTo>
                    <a:pt x="490" y="66"/>
                  </a:lnTo>
                  <a:lnTo>
                    <a:pt x="492" y="64"/>
                  </a:lnTo>
                  <a:lnTo>
                    <a:pt x="490" y="64"/>
                  </a:lnTo>
                  <a:lnTo>
                    <a:pt x="490" y="64"/>
                  </a:lnTo>
                  <a:lnTo>
                    <a:pt x="490" y="64"/>
                  </a:lnTo>
                  <a:lnTo>
                    <a:pt x="490" y="66"/>
                  </a:lnTo>
                  <a:lnTo>
                    <a:pt x="488" y="66"/>
                  </a:lnTo>
                  <a:lnTo>
                    <a:pt x="488" y="64"/>
                  </a:lnTo>
                  <a:lnTo>
                    <a:pt x="488" y="64"/>
                  </a:lnTo>
                  <a:lnTo>
                    <a:pt x="488" y="61"/>
                  </a:lnTo>
                  <a:lnTo>
                    <a:pt x="488" y="61"/>
                  </a:lnTo>
                  <a:lnTo>
                    <a:pt x="485" y="64"/>
                  </a:lnTo>
                  <a:lnTo>
                    <a:pt x="485" y="64"/>
                  </a:lnTo>
                  <a:lnTo>
                    <a:pt x="483" y="66"/>
                  </a:lnTo>
                  <a:lnTo>
                    <a:pt x="481" y="68"/>
                  </a:lnTo>
                  <a:lnTo>
                    <a:pt x="481" y="71"/>
                  </a:lnTo>
                  <a:lnTo>
                    <a:pt x="481" y="73"/>
                  </a:lnTo>
                  <a:lnTo>
                    <a:pt x="481" y="73"/>
                  </a:lnTo>
                  <a:lnTo>
                    <a:pt x="481" y="73"/>
                  </a:lnTo>
                  <a:lnTo>
                    <a:pt x="483" y="73"/>
                  </a:lnTo>
                  <a:lnTo>
                    <a:pt x="485" y="75"/>
                  </a:lnTo>
                  <a:lnTo>
                    <a:pt x="488" y="73"/>
                  </a:lnTo>
                  <a:lnTo>
                    <a:pt x="490" y="75"/>
                  </a:lnTo>
                  <a:lnTo>
                    <a:pt x="490" y="73"/>
                  </a:lnTo>
                  <a:lnTo>
                    <a:pt x="490" y="73"/>
                  </a:lnTo>
                  <a:lnTo>
                    <a:pt x="490" y="73"/>
                  </a:lnTo>
                  <a:lnTo>
                    <a:pt x="490" y="73"/>
                  </a:lnTo>
                  <a:lnTo>
                    <a:pt x="488" y="71"/>
                  </a:lnTo>
                  <a:lnTo>
                    <a:pt x="488" y="71"/>
                  </a:lnTo>
                  <a:lnTo>
                    <a:pt x="488" y="71"/>
                  </a:lnTo>
                  <a:lnTo>
                    <a:pt x="488" y="68"/>
                  </a:lnTo>
                  <a:close/>
                  <a:moveTo>
                    <a:pt x="372" y="23"/>
                  </a:moveTo>
                  <a:lnTo>
                    <a:pt x="375" y="21"/>
                  </a:lnTo>
                  <a:lnTo>
                    <a:pt x="379" y="23"/>
                  </a:lnTo>
                  <a:lnTo>
                    <a:pt x="379" y="23"/>
                  </a:lnTo>
                  <a:lnTo>
                    <a:pt x="379" y="21"/>
                  </a:lnTo>
                  <a:lnTo>
                    <a:pt x="379" y="21"/>
                  </a:lnTo>
                  <a:lnTo>
                    <a:pt x="379" y="21"/>
                  </a:lnTo>
                  <a:lnTo>
                    <a:pt x="377" y="19"/>
                  </a:lnTo>
                  <a:lnTo>
                    <a:pt x="377" y="19"/>
                  </a:lnTo>
                  <a:lnTo>
                    <a:pt x="377" y="16"/>
                  </a:lnTo>
                  <a:lnTo>
                    <a:pt x="377" y="14"/>
                  </a:lnTo>
                  <a:lnTo>
                    <a:pt x="377" y="11"/>
                  </a:lnTo>
                  <a:lnTo>
                    <a:pt x="375" y="11"/>
                  </a:lnTo>
                  <a:lnTo>
                    <a:pt x="375" y="11"/>
                  </a:lnTo>
                  <a:lnTo>
                    <a:pt x="372" y="16"/>
                  </a:lnTo>
                  <a:lnTo>
                    <a:pt x="372" y="16"/>
                  </a:lnTo>
                  <a:lnTo>
                    <a:pt x="372" y="19"/>
                  </a:lnTo>
                  <a:lnTo>
                    <a:pt x="372" y="19"/>
                  </a:lnTo>
                  <a:lnTo>
                    <a:pt x="370" y="19"/>
                  </a:lnTo>
                  <a:lnTo>
                    <a:pt x="370" y="21"/>
                  </a:lnTo>
                  <a:lnTo>
                    <a:pt x="370" y="23"/>
                  </a:lnTo>
                  <a:lnTo>
                    <a:pt x="372" y="23"/>
                  </a:lnTo>
                  <a:close/>
                  <a:moveTo>
                    <a:pt x="377" y="14"/>
                  </a:moveTo>
                  <a:lnTo>
                    <a:pt x="379" y="19"/>
                  </a:lnTo>
                  <a:lnTo>
                    <a:pt x="382" y="21"/>
                  </a:lnTo>
                  <a:lnTo>
                    <a:pt x="386" y="26"/>
                  </a:lnTo>
                  <a:lnTo>
                    <a:pt x="393" y="21"/>
                  </a:lnTo>
                  <a:lnTo>
                    <a:pt x="396" y="16"/>
                  </a:lnTo>
                  <a:lnTo>
                    <a:pt x="396" y="16"/>
                  </a:lnTo>
                  <a:lnTo>
                    <a:pt x="396" y="16"/>
                  </a:lnTo>
                  <a:lnTo>
                    <a:pt x="398" y="14"/>
                  </a:lnTo>
                  <a:lnTo>
                    <a:pt x="398" y="14"/>
                  </a:lnTo>
                  <a:lnTo>
                    <a:pt x="398" y="14"/>
                  </a:lnTo>
                  <a:lnTo>
                    <a:pt x="396" y="11"/>
                  </a:lnTo>
                  <a:lnTo>
                    <a:pt x="396" y="9"/>
                  </a:lnTo>
                  <a:lnTo>
                    <a:pt x="393" y="9"/>
                  </a:lnTo>
                  <a:lnTo>
                    <a:pt x="393" y="9"/>
                  </a:lnTo>
                  <a:lnTo>
                    <a:pt x="391" y="11"/>
                  </a:lnTo>
                  <a:lnTo>
                    <a:pt x="389" y="11"/>
                  </a:lnTo>
                  <a:lnTo>
                    <a:pt x="389" y="11"/>
                  </a:lnTo>
                  <a:lnTo>
                    <a:pt x="386" y="11"/>
                  </a:lnTo>
                  <a:lnTo>
                    <a:pt x="384" y="14"/>
                  </a:lnTo>
                  <a:lnTo>
                    <a:pt x="382" y="14"/>
                  </a:lnTo>
                  <a:lnTo>
                    <a:pt x="379" y="11"/>
                  </a:lnTo>
                  <a:lnTo>
                    <a:pt x="379" y="11"/>
                  </a:lnTo>
                  <a:lnTo>
                    <a:pt x="379" y="9"/>
                  </a:lnTo>
                  <a:lnTo>
                    <a:pt x="377" y="9"/>
                  </a:lnTo>
                  <a:lnTo>
                    <a:pt x="377" y="9"/>
                  </a:lnTo>
                  <a:lnTo>
                    <a:pt x="377" y="9"/>
                  </a:lnTo>
                  <a:lnTo>
                    <a:pt x="377" y="11"/>
                  </a:lnTo>
                  <a:lnTo>
                    <a:pt x="377" y="14"/>
                  </a:lnTo>
                  <a:close/>
                  <a:moveTo>
                    <a:pt x="735" y="319"/>
                  </a:moveTo>
                  <a:lnTo>
                    <a:pt x="735" y="319"/>
                  </a:lnTo>
                  <a:lnTo>
                    <a:pt x="733" y="314"/>
                  </a:lnTo>
                  <a:lnTo>
                    <a:pt x="735" y="309"/>
                  </a:lnTo>
                  <a:lnTo>
                    <a:pt x="733" y="307"/>
                  </a:lnTo>
                  <a:lnTo>
                    <a:pt x="733" y="305"/>
                  </a:lnTo>
                  <a:lnTo>
                    <a:pt x="730" y="302"/>
                  </a:lnTo>
                  <a:lnTo>
                    <a:pt x="730" y="300"/>
                  </a:lnTo>
                  <a:lnTo>
                    <a:pt x="730" y="298"/>
                  </a:lnTo>
                  <a:lnTo>
                    <a:pt x="730" y="295"/>
                  </a:lnTo>
                  <a:lnTo>
                    <a:pt x="728" y="295"/>
                  </a:lnTo>
                  <a:lnTo>
                    <a:pt x="728" y="295"/>
                  </a:lnTo>
                  <a:lnTo>
                    <a:pt x="726" y="293"/>
                  </a:lnTo>
                  <a:lnTo>
                    <a:pt x="726" y="290"/>
                  </a:lnTo>
                  <a:lnTo>
                    <a:pt x="723" y="283"/>
                  </a:lnTo>
                  <a:lnTo>
                    <a:pt x="723" y="281"/>
                  </a:lnTo>
                  <a:lnTo>
                    <a:pt x="721" y="281"/>
                  </a:lnTo>
                  <a:lnTo>
                    <a:pt x="719" y="281"/>
                  </a:lnTo>
                  <a:lnTo>
                    <a:pt x="716" y="279"/>
                  </a:lnTo>
                  <a:lnTo>
                    <a:pt x="714" y="276"/>
                  </a:lnTo>
                  <a:lnTo>
                    <a:pt x="712" y="274"/>
                  </a:lnTo>
                  <a:lnTo>
                    <a:pt x="712" y="274"/>
                  </a:lnTo>
                  <a:lnTo>
                    <a:pt x="709" y="272"/>
                  </a:lnTo>
                  <a:lnTo>
                    <a:pt x="709" y="269"/>
                  </a:lnTo>
                  <a:lnTo>
                    <a:pt x="709" y="267"/>
                  </a:lnTo>
                  <a:lnTo>
                    <a:pt x="709" y="262"/>
                  </a:lnTo>
                  <a:lnTo>
                    <a:pt x="709" y="257"/>
                  </a:lnTo>
                  <a:lnTo>
                    <a:pt x="712" y="250"/>
                  </a:lnTo>
                  <a:lnTo>
                    <a:pt x="709" y="246"/>
                  </a:lnTo>
                  <a:lnTo>
                    <a:pt x="709" y="246"/>
                  </a:lnTo>
                  <a:lnTo>
                    <a:pt x="709" y="246"/>
                  </a:lnTo>
                  <a:lnTo>
                    <a:pt x="707" y="248"/>
                  </a:lnTo>
                  <a:lnTo>
                    <a:pt x="707" y="248"/>
                  </a:lnTo>
                  <a:lnTo>
                    <a:pt x="707" y="248"/>
                  </a:lnTo>
                  <a:lnTo>
                    <a:pt x="705" y="248"/>
                  </a:lnTo>
                  <a:lnTo>
                    <a:pt x="702" y="246"/>
                  </a:lnTo>
                  <a:lnTo>
                    <a:pt x="702" y="243"/>
                  </a:lnTo>
                  <a:lnTo>
                    <a:pt x="700" y="241"/>
                  </a:lnTo>
                  <a:lnTo>
                    <a:pt x="700" y="241"/>
                  </a:lnTo>
                  <a:lnTo>
                    <a:pt x="700" y="241"/>
                  </a:lnTo>
                  <a:lnTo>
                    <a:pt x="697" y="243"/>
                  </a:lnTo>
                  <a:lnTo>
                    <a:pt x="697" y="248"/>
                  </a:lnTo>
                  <a:lnTo>
                    <a:pt x="697" y="248"/>
                  </a:lnTo>
                  <a:lnTo>
                    <a:pt x="695" y="248"/>
                  </a:lnTo>
                  <a:lnTo>
                    <a:pt x="695" y="246"/>
                  </a:lnTo>
                  <a:lnTo>
                    <a:pt x="693" y="246"/>
                  </a:lnTo>
                  <a:lnTo>
                    <a:pt x="693" y="246"/>
                  </a:lnTo>
                  <a:lnTo>
                    <a:pt x="693" y="243"/>
                  </a:lnTo>
                  <a:lnTo>
                    <a:pt x="690" y="243"/>
                  </a:lnTo>
                  <a:lnTo>
                    <a:pt x="690" y="238"/>
                  </a:lnTo>
                  <a:lnTo>
                    <a:pt x="690" y="231"/>
                  </a:lnTo>
                  <a:lnTo>
                    <a:pt x="693" y="229"/>
                  </a:lnTo>
                  <a:lnTo>
                    <a:pt x="690" y="227"/>
                  </a:lnTo>
                  <a:lnTo>
                    <a:pt x="690" y="222"/>
                  </a:lnTo>
                  <a:lnTo>
                    <a:pt x="690" y="222"/>
                  </a:lnTo>
                  <a:lnTo>
                    <a:pt x="690" y="220"/>
                  </a:lnTo>
                  <a:lnTo>
                    <a:pt x="688" y="215"/>
                  </a:lnTo>
                  <a:lnTo>
                    <a:pt x="686" y="212"/>
                  </a:lnTo>
                  <a:lnTo>
                    <a:pt x="683" y="210"/>
                  </a:lnTo>
                  <a:lnTo>
                    <a:pt x="683" y="208"/>
                  </a:lnTo>
                  <a:lnTo>
                    <a:pt x="683" y="205"/>
                  </a:lnTo>
                  <a:lnTo>
                    <a:pt x="686" y="205"/>
                  </a:lnTo>
                  <a:lnTo>
                    <a:pt x="686" y="205"/>
                  </a:lnTo>
                  <a:lnTo>
                    <a:pt x="686" y="203"/>
                  </a:lnTo>
                  <a:lnTo>
                    <a:pt x="686" y="201"/>
                  </a:lnTo>
                  <a:lnTo>
                    <a:pt x="683" y="198"/>
                  </a:lnTo>
                  <a:lnTo>
                    <a:pt x="681" y="198"/>
                  </a:lnTo>
                  <a:lnTo>
                    <a:pt x="679" y="196"/>
                  </a:lnTo>
                  <a:lnTo>
                    <a:pt x="676" y="194"/>
                  </a:lnTo>
                  <a:lnTo>
                    <a:pt x="674" y="194"/>
                  </a:lnTo>
                  <a:lnTo>
                    <a:pt x="674" y="194"/>
                  </a:lnTo>
                  <a:lnTo>
                    <a:pt x="672" y="191"/>
                  </a:lnTo>
                  <a:lnTo>
                    <a:pt x="672" y="191"/>
                  </a:lnTo>
                  <a:lnTo>
                    <a:pt x="669" y="191"/>
                  </a:lnTo>
                  <a:lnTo>
                    <a:pt x="667" y="186"/>
                  </a:lnTo>
                  <a:lnTo>
                    <a:pt x="664" y="184"/>
                  </a:lnTo>
                  <a:lnTo>
                    <a:pt x="664" y="182"/>
                  </a:lnTo>
                  <a:lnTo>
                    <a:pt x="664" y="182"/>
                  </a:lnTo>
                  <a:lnTo>
                    <a:pt x="662" y="182"/>
                  </a:lnTo>
                  <a:lnTo>
                    <a:pt x="662" y="182"/>
                  </a:lnTo>
                  <a:lnTo>
                    <a:pt x="660" y="182"/>
                  </a:lnTo>
                  <a:lnTo>
                    <a:pt x="657" y="182"/>
                  </a:lnTo>
                  <a:lnTo>
                    <a:pt x="657" y="179"/>
                  </a:lnTo>
                  <a:lnTo>
                    <a:pt x="655" y="179"/>
                  </a:lnTo>
                  <a:lnTo>
                    <a:pt x="653" y="177"/>
                  </a:lnTo>
                  <a:lnTo>
                    <a:pt x="650" y="177"/>
                  </a:lnTo>
                  <a:lnTo>
                    <a:pt x="648" y="175"/>
                  </a:lnTo>
                  <a:lnTo>
                    <a:pt x="648" y="172"/>
                  </a:lnTo>
                  <a:lnTo>
                    <a:pt x="646" y="170"/>
                  </a:lnTo>
                  <a:lnTo>
                    <a:pt x="648" y="168"/>
                  </a:lnTo>
                  <a:lnTo>
                    <a:pt x="648" y="165"/>
                  </a:lnTo>
                  <a:lnTo>
                    <a:pt x="646" y="163"/>
                  </a:lnTo>
                  <a:lnTo>
                    <a:pt x="643" y="158"/>
                  </a:lnTo>
                  <a:lnTo>
                    <a:pt x="643" y="156"/>
                  </a:lnTo>
                  <a:lnTo>
                    <a:pt x="646" y="153"/>
                  </a:lnTo>
                  <a:lnTo>
                    <a:pt x="648" y="144"/>
                  </a:lnTo>
                  <a:lnTo>
                    <a:pt x="648" y="139"/>
                  </a:lnTo>
                  <a:lnTo>
                    <a:pt x="646" y="132"/>
                  </a:lnTo>
                  <a:lnTo>
                    <a:pt x="646" y="130"/>
                  </a:lnTo>
                  <a:lnTo>
                    <a:pt x="646" y="130"/>
                  </a:lnTo>
                  <a:lnTo>
                    <a:pt x="643" y="130"/>
                  </a:lnTo>
                  <a:lnTo>
                    <a:pt x="643" y="125"/>
                  </a:lnTo>
                  <a:lnTo>
                    <a:pt x="641" y="123"/>
                  </a:lnTo>
                  <a:lnTo>
                    <a:pt x="641" y="123"/>
                  </a:lnTo>
                  <a:lnTo>
                    <a:pt x="639" y="120"/>
                  </a:lnTo>
                  <a:lnTo>
                    <a:pt x="641" y="118"/>
                  </a:lnTo>
                  <a:lnTo>
                    <a:pt x="641" y="116"/>
                  </a:lnTo>
                  <a:lnTo>
                    <a:pt x="641" y="111"/>
                  </a:lnTo>
                  <a:lnTo>
                    <a:pt x="641" y="108"/>
                  </a:lnTo>
                  <a:lnTo>
                    <a:pt x="641" y="104"/>
                  </a:lnTo>
                  <a:lnTo>
                    <a:pt x="641" y="99"/>
                  </a:lnTo>
                  <a:lnTo>
                    <a:pt x="641" y="97"/>
                  </a:lnTo>
                  <a:lnTo>
                    <a:pt x="641" y="94"/>
                  </a:lnTo>
                  <a:lnTo>
                    <a:pt x="641" y="92"/>
                  </a:lnTo>
                  <a:lnTo>
                    <a:pt x="641" y="90"/>
                  </a:lnTo>
                  <a:lnTo>
                    <a:pt x="643" y="87"/>
                  </a:lnTo>
                  <a:lnTo>
                    <a:pt x="641" y="87"/>
                  </a:lnTo>
                  <a:lnTo>
                    <a:pt x="639" y="85"/>
                  </a:lnTo>
                  <a:lnTo>
                    <a:pt x="636" y="82"/>
                  </a:lnTo>
                  <a:lnTo>
                    <a:pt x="631" y="78"/>
                  </a:lnTo>
                  <a:lnTo>
                    <a:pt x="631" y="75"/>
                  </a:lnTo>
                  <a:lnTo>
                    <a:pt x="629" y="73"/>
                  </a:lnTo>
                  <a:lnTo>
                    <a:pt x="627" y="75"/>
                  </a:lnTo>
                  <a:lnTo>
                    <a:pt x="624" y="75"/>
                  </a:lnTo>
                  <a:lnTo>
                    <a:pt x="622" y="78"/>
                  </a:lnTo>
                  <a:lnTo>
                    <a:pt x="620" y="78"/>
                  </a:lnTo>
                  <a:lnTo>
                    <a:pt x="617" y="78"/>
                  </a:lnTo>
                  <a:lnTo>
                    <a:pt x="615" y="75"/>
                  </a:lnTo>
                  <a:lnTo>
                    <a:pt x="615" y="71"/>
                  </a:lnTo>
                  <a:lnTo>
                    <a:pt x="615" y="68"/>
                  </a:lnTo>
                  <a:lnTo>
                    <a:pt x="615" y="66"/>
                  </a:lnTo>
                  <a:lnTo>
                    <a:pt x="615" y="64"/>
                  </a:lnTo>
                  <a:lnTo>
                    <a:pt x="615" y="56"/>
                  </a:lnTo>
                  <a:lnTo>
                    <a:pt x="615" y="54"/>
                  </a:lnTo>
                  <a:lnTo>
                    <a:pt x="615" y="49"/>
                  </a:lnTo>
                  <a:lnTo>
                    <a:pt x="615" y="45"/>
                  </a:lnTo>
                  <a:lnTo>
                    <a:pt x="615" y="42"/>
                  </a:lnTo>
                  <a:lnTo>
                    <a:pt x="615" y="40"/>
                  </a:lnTo>
                  <a:lnTo>
                    <a:pt x="613" y="37"/>
                  </a:lnTo>
                  <a:lnTo>
                    <a:pt x="613" y="35"/>
                  </a:lnTo>
                  <a:lnTo>
                    <a:pt x="610" y="33"/>
                  </a:lnTo>
                  <a:lnTo>
                    <a:pt x="610" y="33"/>
                  </a:lnTo>
                  <a:lnTo>
                    <a:pt x="610" y="30"/>
                  </a:lnTo>
                  <a:lnTo>
                    <a:pt x="610" y="30"/>
                  </a:lnTo>
                  <a:lnTo>
                    <a:pt x="610" y="28"/>
                  </a:lnTo>
                  <a:lnTo>
                    <a:pt x="613" y="26"/>
                  </a:lnTo>
                  <a:lnTo>
                    <a:pt x="610" y="23"/>
                  </a:lnTo>
                  <a:lnTo>
                    <a:pt x="608" y="23"/>
                  </a:lnTo>
                  <a:lnTo>
                    <a:pt x="608" y="23"/>
                  </a:lnTo>
                  <a:lnTo>
                    <a:pt x="608" y="23"/>
                  </a:lnTo>
                  <a:lnTo>
                    <a:pt x="608" y="19"/>
                  </a:lnTo>
                  <a:lnTo>
                    <a:pt x="608" y="14"/>
                  </a:lnTo>
                  <a:lnTo>
                    <a:pt x="608" y="11"/>
                  </a:lnTo>
                  <a:lnTo>
                    <a:pt x="608" y="9"/>
                  </a:lnTo>
                  <a:lnTo>
                    <a:pt x="608" y="7"/>
                  </a:lnTo>
                  <a:lnTo>
                    <a:pt x="606" y="4"/>
                  </a:lnTo>
                  <a:lnTo>
                    <a:pt x="603" y="2"/>
                  </a:lnTo>
                  <a:lnTo>
                    <a:pt x="603" y="2"/>
                  </a:lnTo>
                  <a:lnTo>
                    <a:pt x="603" y="0"/>
                  </a:lnTo>
                  <a:lnTo>
                    <a:pt x="603" y="0"/>
                  </a:lnTo>
                  <a:lnTo>
                    <a:pt x="601" y="0"/>
                  </a:lnTo>
                  <a:lnTo>
                    <a:pt x="601" y="0"/>
                  </a:lnTo>
                  <a:lnTo>
                    <a:pt x="598" y="2"/>
                  </a:lnTo>
                  <a:lnTo>
                    <a:pt x="596" y="4"/>
                  </a:lnTo>
                  <a:lnTo>
                    <a:pt x="594" y="11"/>
                  </a:lnTo>
                  <a:lnTo>
                    <a:pt x="591" y="19"/>
                  </a:lnTo>
                  <a:lnTo>
                    <a:pt x="589" y="23"/>
                  </a:lnTo>
                  <a:lnTo>
                    <a:pt x="589" y="26"/>
                  </a:lnTo>
                  <a:lnTo>
                    <a:pt x="589" y="28"/>
                  </a:lnTo>
                  <a:lnTo>
                    <a:pt x="589" y="26"/>
                  </a:lnTo>
                  <a:lnTo>
                    <a:pt x="589" y="26"/>
                  </a:lnTo>
                  <a:lnTo>
                    <a:pt x="587" y="28"/>
                  </a:lnTo>
                  <a:lnTo>
                    <a:pt x="584" y="33"/>
                  </a:lnTo>
                  <a:lnTo>
                    <a:pt x="582" y="37"/>
                  </a:lnTo>
                  <a:lnTo>
                    <a:pt x="584" y="37"/>
                  </a:lnTo>
                  <a:lnTo>
                    <a:pt x="584" y="37"/>
                  </a:lnTo>
                  <a:lnTo>
                    <a:pt x="587" y="37"/>
                  </a:lnTo>
                  <a:lnTo>
                    <a:pt x="587" y="40"/>
                  </a:lnTo>
                  <a:lnTo>
                    <a:pt x="587" y="40"/>
                  </a:lnTo>
                  <a:lnTo>
                    <a:pt x="587" y="42"/>
                  </a:lnTo>
                  <a:lnTo>
                    <a:pt x="587" y="42"/>
                  </a:lnTo>
                  <a:lnTo>
                    <a:pt x="587" y="42"/>
                  </a:lnTo>
                  <a:lnTo>
                    <a:pt x="584" y="42"/>
                  </a:lnTo>
                  <a:lnTo>
                    <a:pt x="584" y="45"/>
                  </a:lnTo>
                  <a:lnTo>
                    <a:pt x="580" y="47"/>
                  </a:lnTo>
                  <a:lnTo>
                    <a:pt x="580" y="52"/>
                  </a:lnTo>
                  <a:lnTo>
                    <a:pt x="580" y="56"/>
                  </a:lnTo>
                  <a:lnTo>
                    <a:pt x="577" y="59"/>
                  </a:lnTo>
                  <a:lnTo>
                    <a:pt x="575" y="64"/>
                  </a:lnTo>
                  <a:lnTo>
                    <a:pt x="575" y="66"/>
                  </a:lnTo>
                  <a:lnTo>
                    <a:pt x="577" y="68"/>
                  </a:lnTo>
                  <a:lnTo>
                    <a:pt x="577" y="71"/>
                  </a:lnTo>
                  <a:lnTo>
                    <a:pt x="575" y="75"/>
                  </a:lnTo>
                  <a:lnTo>
                    <a:pt x="575" y="78"/>
                  </a:lnTo>
                  <a:lnTo>
                    <a:pt x="575" y="87"/>
                  </a:lnTo>
                  <a:lnTo>
                    <a:pt x="575" y="90"/>
                  </a:lnTo>
                  <a:lnTo>
                    <a:pt x="573" y="94"/>
                  </a:lnTo>
                  <a:lnTo>
                    <a:pt x="570" y="101"/>
                  </a:lnTo>
                  <a:lnTo>
                    <a:pt x="568" y="108"/>
                  </a:lnTo>
                  <a:lnTo>
                    <a:pt x="568" y="113"/>
                  </a:lnTo>
                  <a:lnTo>
                    <a:pt x="565" y="116"/>
                  </a:lnTo>
                  <a:lnTo>
                    <a:pt x="563" y="120"/>
                  </a:lnTo>
                  <a:lnTo>
                    <a:pt x="561" y="125"/>
                  </a:lnTo>
                  <a:lnTo>
                    <a:pt x="556" y="132"/>
                  </a:lnTo>
                  <a:lnTo>
                    <a:pt x="554" y="137"/>
                  </a:lnTo>
                  <a:lnTo>
                    <a:pt x="551" y="142"/>
                  </a:lnTo>
                  <a:lnTo>
                    <a:pt x="547" y="144"/>
                  </a:lnTo>
                  <a:lnTo>
                    <a:pt x="544" y="144"/>
                  </a:lnTo>
                  <a:lnTo>
                    <a:pt x="540" y="146"/>
                  </a:lnTo>
                  <a:lnTo>
                    <a:pt x="535" y="146"/>
                  </a:lnTo>
                  <a:lnTo>
                    <a:pt x="535" y="146"/>
                  </a:lnTo>
                  <a:lnTo>
                    <a:pt x="532" y="144"/>
                  </a:lnTo>
                  <a:lnTo>
                    <a:pt x="530" y="144"/>
                  </a:lnTo>
                  <a:lnTo>
                    <a:pt x="525" y="139"/>
                  </a:lnTo>
                  <a:lnTo>
                    <a:pt x="523" y="139"/>
                  </a:lnTo>
                  <a:lnTo>
                    <a:pt x="521" y="134"/>
                  </a:lnTo>
                  <a:lnTo>
                    <a:pt x="521" y="134"/>
                  </a:lnTo>
                  <a:lnTo>
                    <a:pt x="521" y="132"/>
                  </a:lnTo>
                  <a:lnTo>
                    <a:pt x="521" y="130"/>
                  </a:lnTo>
                  <a:lnTo>
                    <a:pt x="516" y="130"/>
                  </a:lnTo>
                  <a:lnTo>
                    <a:pt x="514" y="127"/>
                  </a:lnTo>
                  <a:lnTo>
                    <a:pt x="511" y="127"/>
                  </a:lnTo>
                  <a:lnTo>
                    <a:pt x="507" y="125"/>
                  </a:lnTo>
                  <a:lnTo>
                    <a:pt x="504" y="123"/>
                  </a:lnTo>
                  <a:lnTo>
                    <a:pt x="502" y="120"/>
                  </a:lnTo>
                  <a:lnTo>
                    <a:pt x="499" y="116"/>
                  </a:lnTo>
                  <a:lnTo>
                    <a:pt x="495" y="113"/>
                  </a:lnTo>
                  <a:lnTo>
                    <a:pt x="492" y="111"/>
                  </a:lnTo>
                  <a:lnTo>
                    <a:pt x="490" y="111"/>
                  </a:lnTo>
                  <a:lnTo>
                    <a:pt x="488" y="108"/>
                  </a:lnTo>
                  <a:lnTo>
                    <a:pt x="488" y="108"/>
                  </a:lnTo>
                  <a:lnTo>
                    <a:pt x="485" y="108"/>
                  </a:lnTo>
                  <a:lnTo>
                    <a:pt x="483" y="108"/>
                  </a:lnTo>
                  <a:lnTo>
                    <a:pt x="481" y="106"/>
                  </a:lnTo>
                  <a:lnTo>
                    <a:pt x="481" y="106"/>
                  </a:lnTo>
                  <a:lnTo>
                    <a:pt x="481" y="106"/>
                  </a:lnTo>
                  <a:lnTo>
                    <a:pt x="483" y="104"/>
                  </a:lnTo>
                  <a:lnTo>
                    <a:pt x="481" y="104"/>
                  </a:lnTo>
                  <a:lnTo>
                    <a:pt x="481" y="104"/>
                  </a:lnTo>
                  <a:lnTo>
                    <a:pt x="481" y="104"/>
                  </a:lnTo>
                  <a:lnTo>
                    <a:pt x="481" y="104"/>
                  </a:lnTo>
                  <a:lnTo>
                    <a:pt x="478" y="104"/>
                  </a:lnTo>
                  <a:lnTo>
                    <a:pt x="474" y="101"/>
                  </a:lnTo>
                  <a:lnTo>
                    <a:pt x="474" y="99"/>
                  </a:lnTo>
                  <a:lnTo>
                    <a:pt x="474" y="99"/>
                  </a:lnTo>
                  <a:lnTo>
                    <a:pt x="469" y="94"/>
                  </a:lnTo>
                  <a:lnTo>
                    <a:pt x="467" y="92"/>
                  </a:lnTo>
                  <a:lnTo>
                    <a:pt x="462" y="90"/>
                  </a:lnTo>
                  <a:lnTo>
                    <a:pt x="462" y="87"/>
                  </a:lnTo>
                  <a:lnTo>
                    <a:pt x="462" y="87"/>
                  </a:lnTo>
                  <a:lnTo>
                    <a:pt x="462" y="85"/>
                  </a:lnTo>
                  <a:lnTo>
                    <a:pt x="462" y="82"/>
                  </a:lnTo>
                  <a:lnTo>
                    <a:pt x="464" y="80"/>
                  </a:lnTo>
                  <a:lnTo>
                    <a:pt x="469" y="75"/>
                  </a:lnTo>
                  <a:lnTo>
                    <a:pt x="469" y="73"/>
                  </a:lnTo>
                  <a:lnTo>
                    <a:pt x="471" y="71"/>
                  </a:lnTo>
                  <a:lnTo>
                    <a:pt x="474" y="66"/>
                  </a:lnTo>
                  <a:lnTo>
                    <a:pt x="474" y="64"/>
                  </a:lnTo>
                  <a:lnTo>
                    <a:pt x="474" y="61"/>
                  </a:lnTo>
                  <a:lnTo>
                    <a:pt x="476" y="54"/>
                  </a:lnTo>
                  <a:lnTo>
                    <a:pt x="481" y="52"/>
                  </a:lnTo>
                  <a:lnTo>
                    <a:pt x="481" y="52"/>
                  </a:lnTo>
                  <a:lnTo>
                    <a:pt x="483" y="49"/>
                  </a:lnTo>
                  <a:lnTo>
                    <a:pt x="483" y="52"/>
                  </a:lnTo>
                  <a:lnTo>
                    <a:pt x="483" y="52"/>
                  </a:lnTo>
                  <a:lnTo>
                    <a:pt x="485" y="52"/>
                  </a:lnTo>
                  <a:lnTo>
                    <a:pt x="488" y="47"/>
                  </a:lnTo>
                  <a:lnTo>
                    <a:pt x="488" y="45"/>
                  </a:lnTo>
                  <a:lnTo>
                    <a:pt x="488" y="45"/>
                  </a:lnTo>
                  <a:lnTo>
                    <a:pt x="488" y="42"/>
                  </a:lnTo>
                  <a:lnTo>
                    <a:pt x="497" y="33"/>
                  </a:lnTo>
                  <a:lnTo>
                    <a:pt x="495" y="30"/>
                  </a:lnTo>
                  <a:lnTo>
                    <a:pt x="495" y="30"/>
                  </a:lnTo>
                  <a:lnTo>
                    <a:pt x="492" y="30"/>
                  </a:lnTo>
                  <a:lnTo>
                    <a:pt x="490" y="28"/>
                  </a:lnTo>
                  <a:lnTo>
                    <a:pt x="490" y="26"/>
                  </a:lnTo>
                  <a:lnTo>
                    <a:pt x="488" y="26"/>
                  </a:lnTo>
                  <a:lnTo>
                    <a:pt x="483" y="28"/>
                  </a:lnTo>
                  <a:lnTo>
                    <a:pt x="483" y="30"/>
                  </a:lnTo>
                  <a:lnTo>
                    <a:pt x="485" y="30"/>
                  </a:lnTo>
                  <a:lnTo>
                    <a:pt x="485" y="33"/>
                  </a:lnTo>
                  <a:lnTo>
                    <a:pt x="483" y="35"/>
                  </a:lnTo>
                  <a:lnTo>
                    <a:pt x="483" y="35"/>
                  </a:lnTo>
                  <a:lnTo>
                    <a:pt x="481" y="35"/>
                  </a:lnTo>
                  <a:lnTo>
                    <a:pt x="478" y="33"/>
                  </a:lnTo>
                  <a:lnTo>
                    <a:pt x="478" y="30"/>
                  </a:lnTo>
                  <a:lnTo>
                    <a:pt x="478" y="30"/>
                  </a:lnTo>
                  <a:lnTo>
                    <a:pt x="476" y="30"/>
                  </a:lnTo>
                  <a:lnTo>
                    <a:pt x="476" y="30"/>
                  </a:lnTo>
                  <a:lnTo>
                    <a:pt x="474" y="30"/>
                  </a:lnTo>
                  <a:lnTo>
                    <a:pt x="474" y="30"/>
                  </a:lnTo>
                  <a:lnTo>
                    <a:pt x="474" y="30"/>
                  </a:lnTo>
                  <a:lnTo>
                    <a:pt x="476" y="28"/>
                  </a:lnTo>
                  <a:lnTo>
                    <a:pt x="478" y="26"/>
                  </a:lnTo>
                  <a:lnTo>
                    <a:pt x="478" y="26"/>
                  </a:lnTo>
                  <a:lnTo>
                    <a:pt x="476" y="26"/>
                  </a:lnTo>
                  <a:lnTo>
                    <a:pt x="476" y="23"/>
                  </a:lnTo>
                  <a:lnTo>
                    <a:pt x="478" y="23"/>
                  </a:lnTo>
                  <a:lnTo>
                    <a:pt x="478" y="23"/>
                  </a:lnTo>
                  <a:lnTo>
                    <a:pt x="476" y="23"/>
                  </a:lnTo>
                  <a:lnTo>
                    <a:pt x="474" y="26"/>
                  </a:lnTo>
                  <a:lnTo>
                    <a:pt x="471" y="28"/>
                  </a:lnTo>
                  <a:lnTo>
                    <a:pt x="467" y="28"/>
                  </a:lnTo>
                  <a:lnTo>
                    <a:pt x="464" y="30"/>
                  </a:lnTo>
                  <a:lnTo>
                    <a:pt x="462" y="30"/>
                  </a:lnTo>
                  <a:lnTo>
                    <a:pt x="457" y="28"/>
                  </a:lnTo>
                  <a:lnTo>
                    <a:pt x="457" y="28"/>
                  </a:lnTo>
                  <a:lnTo>
                    <a:pt x="457" y="26"/>
                  </a:lnTo>
                  <a:lnTo>
                    <a:pt x="452" y="28"/>
                  </a:lnTo>
                  <a:lnTo>
                    <a:pt x="450" y="28"/>
                  </a:lnTo>
                  <a:lnTo>
                    <a:pt x="450" y="26"/>
                  </a:lnTo>
                  <a:lnTo>
                    <a:pt x="448" y="26"/>
                  </a:lnTo>
                  <a:lnTo>
                    <a:pt x="445" y="26"/>
                  </a:lnTo>
                  <a:lnTo>
                    <a:pt x="441" y="23"/>
                  </a:lnTo>
                  <a:lnTo>
                    <a:pt x="436" y="21"/>
                  </a:lnTo>
                  <a:lnTo>
                    <a:pt x="434" y="23"/>
                  </a:lnTo>
                  <a:lnTo>
                    <a:pt x="434" y="21"/>
                  </a:lnTo>
                  <a:lnTo>
                    <a:pt x="431" y="21"/>
                  </a:lnTo>
                  <a:lnTo>
                    <a:pt x="429" y="21"/>
                  </a:lnTo>
                  <a:lnTo>
                    <a:pt x="426" y="19"/>
                  </a:lnTo>
                  <a:lnTo>
                    <a:pt x="426" y="14"/>
                  </a:lnTo>
                  <a:lnTo>
                    <a:pt x="424" y="14"/>
                  </a:lnTo>
                  <a:lnTo>
                    <a:pt x="422" y="14"/>
                  </a:lnTo>
                  <a:lnTo>
                    <a:pt x="419" y="14"/>
                  </a:lnTo>
                  <a:lnTo>
                    <a:pt x="419" y="16"/>
                  </a:lnTo>
                  <a:lnTo>
                    <a:pt x="417" y="14"/>
                  </a:lnTo>
                  <a:lnTo>
                    <a:pt x="412" y="9"/>
                  </a:lnTo>
                  <a:lnTo>
                    <a:pt x="412" y="9"/>
                  </a:lnTo>
                  <a:lnTo>
                    <a:pt x="412" y="9"/>
                  </a:lnTo>
                  <a:lnTo>
                    <a:pt x="410" y="11"/>
                  </a:lnTo>
                  <a:lnTo>
                    <a:pt x="410" y="11"/>
                  </a:lnTo>
                  <a:lnTo>
                    <a:pt x="410" y="11"/>
                  </a:lnTo>
                  <a:lnTo>
                    <a:pt x="408" y="9"/>
                  </a:lnTo>
                  <a:lnTo>
                    <a:pt x="408" y="9"/>
                  </a:lnTo>
                  <a:lnTo>
                    <a:pt x="403" y="11"/>
                  </a:lnTo>
                  <a:lnTo>
                    <a:pt x="403" y="11"/>
                  </a:lnTo>
                  <a:lnTo>
                    <a:pt x="405" y="11"/>
                  </a:lnTo>
                  <a:lnTo>
                    <a:pt x="408" y="14"/>
                  </a:lnTo>
                  <a:lnTo>
                    <a:pt x="410" y="16"/>
                  </a:lnTo>
                  <a:lnTo>
                    <a:pt x="412" y="14"/>
                  </a:lnTo>
                  <a:lnTo>
                    <a:pt x="415" y="16"/>
                  </a:lnTo>
                  <a:lnTo>
                    <a:pt x="419" y="19"/>
                  </a:lnTo>
                  <a:lnTo>
                    <a:pt x="417" y="21"/>
                  </a:lnTo>
                  <a:lnTo>
                    <a:pt x="417" y="23"/>
                  </a:lnTo>
                  <a:lnTo>
                    <a:pt x="417" y="26"/>
                  </a:lnTo>
                  <a:lnTo>
                    <a:pt x="417" y="26"/>
                  </a:lnTo>
                  <a:lnTo>
                    <a:pt x="419" y="28"/>
                  </a:lnTo>
                  <a:lnTo>
                    <a:pt x="417" y="28"/>
                  </a:lnTo>
                  <a:lnTo>
                    <a:pt x="417" y="28"/>
                  </a:lnTo>
                  <a:lnTo>
                    <a:pt x="415" y="28"/>
                  </a:lnTo>
                  <a:lnTo>
                    <a:pt x="412" y="30"/>
                  </a:lnTo>
                  <a:lnTo>
                    <a:pt x="412" y="33"/>
                  </a:lnTo>
                  <a:lnTo>
                    <a:pt x="412" y="30"/>
                  </a:lnTo>
                  <a:lnTo>
                    <a:pt x="410" y="30"/>
                  </a:lnTo>
                  <a:lnTo>
                    <a:pt x="408" y="30"/>
                  </a:lnTo>
                  <a:lnTo>
                    <a:pt x="405" y="33"/>
                  </a:lnTo>
                  <a:lnTo>
                    <a:pt x="405" y="30"/>
                  </a:lnTo>
                  <a:lnTo>
                    <a:pt x="403" y="30"/>
                  </a:lnTo>
                  <a:lnTo>
                    <a:pt x="401" y="33"/>
                  </a:lnTo>
                  <a:lnTo>
                    <a:pt x="393" y="33"/>
                  </a:lnTo>
                  <a:lnTo>
                    <a:pt x="393" y="30"/>
                  </a:lnTo>
                  <a:lnTo>
                    <a:pt x="393" y="28"/>
                  </a:lnTo>
                  <a:lnTo>
                    <a:pt x="393" y="28"/>
                  </a:lnTo>
                  <a:lnTo>
                    <a:pt x="391" y="28"/>
                  </a:lnTo>
                  <a:lnTo>
                    <a:pt x="391" y="30"/>
                  </a:lnTo>
                  <a:lnTo>
                    <a:pt x="386" y="30"/>
                  </a:lnTo>
                  <a:lnTo>
                    <a:pt x="386" y="30"/>
                  </a:lnTo>
                  <a:lnTo>
                    <a:pt x="386" y="33"/>
                  </a:lnTo>
                  <a:lnTo>
                    <a:pt x="386" y="33"/>
                  </a:lnTo>
                  <a:lnTo>
                    <a:pt x="386" y="33"/>
                  </a:lnTo>
                  <a:lnTo>
                    <a:pt x="384" y="33"/>
                  </a:lnTo>
                  <a:lnTo>
                    <a:pt x="384" y="35"/>
                  </a:lnTo>
                  <a:lnTo>
                    <a:pt x="384" y="37"/>
                  </a:lnTo>
                  <a:lnTo>
                    <a:pt x="384" y="37"/>
                  </a:lnTo>
                  <a:lnTo>
                    <a:pt x="382" y="37"/>
                  </a:lnTo>
                  <a:lnTo>
                    <a:pt x="382" y="35"/>
                  </a:lnTo>
                  <a:lnTo>
                    <a:pt x="379" y="35"/>
                  </a:lnTo>
                  <a:lnTo>
                    <a:pt x="379" y="35"/>
                  </a:lnTo>
                  <a:lnTo>
                    <a:pt x="379" y="37"/>
                  </a:lnTo>
                  <a:lnTo>
                    <a:pt x="379" y="40"/>
                  </a:lnTo>
                  <a:lnTo>
                    <a:pt x="377" y="40"/>
                  </a:lnTo>
                  <a:lnTo>
                    <a:pt x="375" y="40"/>
                  </a:lnTo>
                  <a:lnTo>
                    <a:pt x="375" y="40"/>
                  </a:lnTo>
                  <a:lnTo>
                    <a:pt x="372" y="45"/>
                  </a:lnTo>
                  <a:lnTo>
                    <a:pt x="370" y="47"/>
                  </a:lnTo>
                  <a:lnTo>
                    <a:pt x="370" y="49"/>
                  </a:lnTo>
                  <a:lnTo>
                    <a:pt x="368" y="49"/>
                  </a:lnTo>
                  <a:lnTo>
                    <a:pt x="370" y="54"/>
                  </a:lnTo>
                  <a:lnTo>
                    <a:pt x="370" y="56"/>
                  </a:lnTo>
                  <a:lnTo>
                    <a:pt x="368" y="56"/>
                  </a:lnTo>
                  <a:lnTo>
                    <a:pt x="365" y="56"/>
                  </a:lnTo>
                  <a:lnTo>
                    <a:pt x="363" y="59"/>
                  </a:lnTo>
                  <a:lnTo>
                    <a:pt x="363" y="59"/>
                  </a:lnTo>
                  <a:lnTo>
                    <a:pt x="360" y="61"/>
                  </a:lnTo>
                  <a:lnTo>
                    <a:pt x="360" y="64"/>
                  </a:lnTo>
                  <a:lnTo>
                    <a:pt x="360" y="64"/>
                  </a:lnTo>
                  <a:lnTo>
                    <a:pt x="358" y="66"/>
                  </a:lnTo>
                  <a:lnTo>
                    <a:pt x="358" y="68"/>
                  </a:lnTo>
                  <a:lnTo>
                    <a:pt x="356" y="68"/>
                  </a:lnTo>
                  <a:lnTo>
                    <a:pt x="353" y="73"/>
                  </a:lnTo>
                  <a:lnTo>
                    <a:pt x="351" y="78"/>
                  </a:lnTo>
                  <a:lnTo>
                    <a:pt x="353" y="78"/>
                  </a:lnTo>
                  <a:lnTo>
                    <a:pt x="356" y="80"/>
                  </a:lnTo>
                  <a:lnTo>
                    <a:pt x="356" y="80"/>
                  </a:lnTo>
                  <a:lnTo>
                    <a:pt x="356" y="80"/>
                  </a:lnTo>
                  <a:lnTo>
                    <a:pt x="353" y="82"/>
                  </a:lnTo>
                  <a:lnTo>
                    <a:pt x="356" y="82"/>
                  </a:lnTo>
                  <a:lnTo>
                    <a:pt x="356" y="85"/>
                  </a:lnTo>
                  <a:lnTo>
                    <a:pt x="358" y="85"/>
                  </a:lnTo>
                  <a:lnTo>
                    <a:pt x="358" y="85"/>
                  </a:lnTo>
                  <a:lnTo>
                    <a:pt x="356" y="87"/>
                  </a:lnTo>
                  <a:lnTo>
                    <a:pt x="353" y="87"/>
                  </a:lnTo>
                  <a:lnTo>
                    <a:pt x="353" y="87"/>
                  </a:lnTo>
                  <a:lnTo>
                    <a:pt x="353" y="90"/>
                  </a:lnTo>
                  <a:lnTo>
                    <a:pt x="353" y="92"/>
                  </a:lnTo>
                  <a:lnTo>
                    <a:pt x="353" y="92"/>
                  </a:lnTo>
                  <a:lnTo>
                    <a:pt x="353" y="92"/>
                  </a:lnTo>
                  <a:lnTo>
                    <a:pt x="353" y="90"/>
                  </a:lnTo>
                  <a:lnTo>
                    <a:pt x="351" y="87"/>
                  </a:lnTo>
                  <a:lnTo>
                    <a:pt x="349" y="87"/>
                  </a:lnTo>
                  <a:lnTo>
                    <a:pt x="349" y="87"/>
                  </a:lnTo>
                  <a:lnTo>
                    <a:pt x="346" y="87"/>
                  </a:lnTo>
                  <a:lnTo>
                    <a:pt x="346" y="92"/>
                  </a:lnTo>
                  <a:lnTo>
                    <a:pt x="346" y="92"/>
                  </a:lnTo>
                  <a:lnTo>
                    <a:pt x="346" y="92"/>
                  </a:lnTo>
                  <a:lnTo>
                    <a:pt x="346" y="90"/>
                  </a:lnTo>
                  <a:lnTo>
                    <a:pt x="344" y="87"/>
                  </a:lnTo>
                  <a:lnTo>
                    <a:pt x="337" y="85"/>
                  </a:lnTo>
                  <a:lnTo>
                    <a:pt x="335" y="85"/>
                  </a:lnTo>
                  <a:lnTo>
                    <a:pt x="332" y="85"/>
                  </a:lnTo>
                  <a:lnTo>
                    <a:pt x="332" y="85"/>
                  </a:lnTo>
                  <a:lnTo>
                    <a:pt x="332" y="87"/>
                  </a:lnTo>
                  <a:lnTo>
                    <a:pt x="330" y="87"/>
                  </a:lnTo>
                  <a:lnTo>
                    <a:pt x="330" y="87"/>
                  </a:lnTo>
                  <a:lnTo>
                    <a:pt x="327" y="90"/>
                  </a:lnTo>
                  <a:lnTo>
                    <a:pt x="327" y="90"/>
                  </a:lnTo>
                  <a:lnTo>
                    <a:pt x="327" y="92"/>
                  </a:lnTo>
                  <a:lnTo>
                    <a:pt x="327" y="94"/>
                  </a:lnTo>
                  <a:lnTo>
                    <a:pt x="327" y="94"/>
                  </a:lnTo>
                  <a:lnTo>
                    <a:pt x="327" y="97"/>
                  </a:lnTo>
                  <a:lnTo>
                    <a:pt x="327" y="94"/>
                  </a:lnTo>
                  <a:lnTo>
                    <a:pt x="325" y="94"/>
                  </a:lnTo>
                  <a:lnTo>
                    <a:pt x="325" y="97"/>
                  </a:lnTo>
                  <a:lnTo>
                    <a:pt x="325" y="97"/>
                  </a:lnTo>
                  <a:lnTo>
                    <a:pt x="325" y="92"/>
                  </a:lnTo>
                  <a:lnTo>
                    <a:pt x="327" y="87"/>
                  </a:lnTo>
                  <a:lnTo>
                    <a:pt x="327" y="85"/>
                  </a:lnTo>
                  <a:lnTo>
                    <a:pt x="327" y="85"/>
                  </a:lnTo>
                  <a:lnTo>
                    <a:pt x="327" y="82"/>
                  </a:lnTo>
                  <a:lnTo>
                    <a:pt x="323" y="78"/>
                  </a:lnTo>
                  <a:lnTo>
                    <a:pt x="320" y="75"/>
                  </a:lnTo>
                  <a:lnTo>
                    <a:pt x="320" y="73"/>
                  </a:lnTo>
                  <a:lnTo>
                    <a:pt x="318" y="71"/>
                  </a:lnTo>
                  <a:lnTo>
                    <a:pt x="316" y="68"/>
                  </a:lnTo>
                  <a:lnTo>
                    <a:pt x="313" y="66"/>
                  </a:lnTo>
                  <a:lnTo>
                    <a:pt x="311" y="66"/>
                  </a:lnTo>
                  <a:lnTo>
                    <a:pt x="309" y="64"/>
                  </a:lnTo>
                  <a:lnTo>
                    <a:pt x="306" y="64"/>
                  </a:lnTo>
                  <a:lnTo>
                    <a:pt x="304" y="64"/>
                  </a:lnTo>
                  <a:lnTo>
                    <a:pt x="304" y="66"/>
                  </a:lnTo>
                  <a:lnTo>
                    <a:pt x="304" y="68"/>
                  </a:lnTo>
                  <a:lnTo>
                    <a:pt x="302" y="71"/>
                  </a:lnTo>
                  <a:lnTo>
                    <a:pt x="299" y="71"/>
                  </a:lnTo>
                  <a:lnTo>
                    <a:pt x="299" y="71"/>
                  </a:lnTo>
                  <a:lnTo>
                    <a:pt x="297" y="68"/>
                  </a:lnTo>
                  <a:lnTo>
                    <a:pt x="297" y="71"/>
                  </a:lnTo>
                  <a:lnTo>
                    <a:pt x="294" y="71"/>
                  </a:lnTo>
                  <a:lnTo>
                    <a:pt x="294" y="71"/>
                  </a:lnTo>
                  <a:lnTo>
                    <a:pt x="294" y="71"/>
                  </a:lnTo>
                  <a:lnTo>
                    <a:pt x="292" y="68"/>
                  </a:lnTo>
                  <a:lnTo>
                    <a:pt x="292" y="68"/>
                  </a:lnTo>
                  <a:lnTo>
                    <a:pt x="290" y="68"/>
                  </a:lnTo>
                  <a:lnTo>
                    <a:pt x="292" y="71"/>
                  </a:lnTo>
                  <a:lnTo>
                    <a:pt x="292" y="71"/>
                  </a:lnTo>
                  <a:lnTo>
                    <a:pt x="292" y="73"/>
                  </a:lnTo>
                  <a:lnTo>
                    <a:pt x="290" y="73"/>
                  </a:lnTo>
                  <a:lnTo>
                    <a:pt x="290" y="75"/>
                  </a:lnTo>
                  <a:lnTo>
                    <a:pt x="290" y="75"/>
                  </a:lnTo>
                  <a:lnTo>
                    <a:pt x="290" y="78"/>
                  </a:lnTo>
                  <a:lnTo>
                    <a:pt x="287" y="80"/>
                  </a:lnTo>
                  <a:lnTo>
                    <a:pt x="285" y="82"/>
                  </a:lnTo>
                  <a:lnTo>
                    <a:pt x="285" y="80"/>
                  </a:lnTo>
                  <a:lnTo>
                    <a:pt x="285" y="80"/>
                  </a:lnTo>
                  <a:lnTo>
                    <a:pt x="285" y="78"/>
                  </a:lnTo>
                  <a:lnTo>
                    <a:pt x="283" y="78"/>
                  </a:lnTo>
                  <a:lnTo>
                    <a:pt x="283" y="80"/>
                  </a:lnTo>
                  <a:lnTo>
                    <a:pt x="283" y="80"/>
                  </a:lnTo>
                  <a:lnTo>
                    <a:pt x="283" y="80"/>
                  </a:lnTo>
                  <a:lnTo>
                    <a:pt x="283" y="78"/>
                  </a:lnTo>
                  <a:lnTo>
                    <a:pt x="283" y="75"/>
                  </a:lnTo>
                  <a:lnTo>
                    <a:pt x="283" y="75"/>
                  </a:lnTo>
                  <a:lnTo>
                    <a:pt x="283" y="73"/>
                  </a:lnTo>
                  <a:lnTo>
                    <a:pt x="283" y="75"/>
                  </a:lnTo>
                  <a:lnTo>
                    <a:pt x="280" y="75"/>
                  </a:lnTo>
                  <a:lnTo>
                    <a:pt x="280" y="78"/>
                  </a:lnTo>
                  <a:lnTo>
                    <a:pt x="280" y="80"/>
                  </a:lnTo>
                  <a:lnTo>
                    <a:pt x="278" y="80"/>
                  </a:lnTo>
                  <a:lnTo>
                    <a:pt x="276" y="80"/>
                  </a:lnTo>
                  <a:lnTo>
                    <a:pt x="276" y="80"/>
                  </a:lnTo>
                  <a:lnTo>
                    <a:pt x="276" y="82"/>
                  </a:lnTo>
                  <a:lnTo>
                    <a:pt x="273" y="82"/>
                  </a:lnTo>
                  <a:lnTo>
                    <a:pt x="273" y="85"/>
                  </a:lnTo>
                  <a:lnTo>
                    <a:pt x="273" y="87"/>
                  </a:lnTo>
                  <a:lnTo>
                    <a:pt x="273" y="87"/>
                  </a:lnTo>
                  <a:lnTo>
                    <a:pt x="276" y="90"/>
                  </a:lnTo>
                  <a:lnTo>
                    <a:pt x="276" y="92"/>
                  </a:lnTo>
                  <a:lnTo>
                    <a:pt x="276" y="92"/>
                  </a:lnTo>
                  <a:lnTo>
                    <a:pt x="273" y="92"/>
                  </a:lnTo>
                  <a:lnTo>
                    <a:pt x="271" y="90"/>
                  </a:lnTo>
                  <a:lnTo>
                    <a:pt x="271" y="90"/>
                  </a:lnTo>
                  <a:lnTo>
                    <a:pt x="269" y="90"/>
                  </a:lnTo>
                  <a:lnTo>
                    <a:pt x="269" y="90"/>
                  </a:lnTo>
                  <a:lnTo>
                    <a:pt x="269" y="92"/>
                  </a:lnTo>
                  <a:lnTo>
                    <a:pt x="269" y="92"/>
                  </a:lnTo>
                  <a:lnTo>
                    <a:pt x="266" y="92"/>
                  </a:lnTo>
                  <a:lnTo>
                    <a:pt x="266" y="92"/>
                  </a:lnTo>
                  <a:lnTo>
                    <a:pt x="266" y="94"/>
                  </a:lnTo>
                  <a:lnTo>
                    <a:pt x="266" y="94"/>
                  </a:lnTo>
                  <a:lnTo>
                    <a:pt x="266" y="97"/>
                  </a:lnTo>
                  <a:lnTo>
                    <a:pt x="269" y="97"/>
                  </a:lnTo>
                  <a:lnTo>
                    <a:pt x="269" y="97"/>
                  </a:lnTo>
                  <a:lnTo>
                    <a:pt x="269" y="97"/>
                  </a:lnTo>
                  <a:lnTo>
                    <a:pt x="269" y="99"/>
                  </a:lnTo>
                  <a:lnTo>
                    <a:pt x="269" y="99"/>
                  </a:lnTo>
                  <a:lnTo>
                    <a:pt x="266" y="99"/>
                  </a:lnTo>
                  <a:lnTo>
                    <a:pt x="264" y="97"/>
                  </a:lnTo>
                  <a:lnTo>
                    <a:pt x="261" y="94"/>
                  </a:lnTo>
                  <a:lnTo>
                    <a:pt x="261" y="97"/>
                  </a:lnTo>
                  <a:lnTo>
                    <a:pt x="261" y="97"/>
                  </a:lnTo>
                  <a:lnTo>
                    <a:pt x="261" y="99"/>
                  </a:lnTo>
                  <a:lnTo>
                    <a:pt x="259" y="99"/>
                  </a:lnTo>
                  <a:lnTo>
                    <a:pt x="259" y="99"/>
                  </a:lnTo>
                  <a:lnTo>
                    <a:pt x="257" y="99"/>
                  </a:lnTo>
                  <a:lnTo>
                    <a:pt x="257" y="104"/>
                  </a:lnTo>
                  <a:lnTo>
                    <a:pt x="254" y="106"/>
                  </a:lnTo>
                  <a:lnTo>
                    <a:pt x="257" y="108"/>
                  </a:lnTo>
                  <a:lnTo>
                    <a:pt x="257" y="111"/>
                  </a:lnTo>
                  <a:lnTo>
                    <a:pt x="259" y="106"/>
                  </a:lnTo>
                  <a:lnTo>
                    <a:pt x="259" y="106"/>
                  </a:lnTo>
                  <a:lnTo>
                    <a:pt x="259" y="108"/>
                  </a:lnTo>
                  <a:lnTo>
                    <a:pt x="259" y="108"/>
                  </a:lnTo>
                  <a:lnTo>
                    <a:pt x="259" y="111"/>
                  </a:lnTo>
                  <a:lnTo>
                    <a:pt x="257" y="113"/>
                  </a:lnTo>
                  <a:lnTo>
                    <a:pt x="257" y="113"/>
                  </a:lnTo>
                  <a:lnTo>
                    <a:pt x="254" y="113"/>
                  </a:lnTo>
                  <a:lnTo>
                    <a:pt x="254" y="113"/>
                  </a:lnTo>
                  <a:lnTo>
                    <a:pt x="254" y="116"/>
                  </a:lnTo>
                  <a:lnTo>
                    <a:pt x="254" y="118"/>
                  </a:lnTo>
                  <a:lnTo>
                    <a:pt x="254" y="118"/>
                  </a:lnTo>
                  <a:lnTo>
                    <a:pt x="257" y="118"/>
                  </a:lnTo>
                  <a:lnTo>
                    <a:pt x="259" y="118"/>
                  </a:lnTo>
                  <a:lnTo>
                    <a:pt x="259" y="118"/>
                  </a:lnTo>
                  <a:lnTo>
                    <a:pt x="259" y="118"/>
                  </a:lnTo>
                  <a:lnTo>
                    <a:pt x="259" y="118"/>
                  </a:lnTo>
                  <a:lnTo>
                    <a:pt x="257" y="118"/>
                  </a:lnTo>
                  <a:lnTo>
                    <a:pt x="254" y="118"/>
                  </a:lnTo>
                  <a:lnTo>
                    <a:pt x="252" y="118"/>
                  </a:lnTo>
                  <a:lnTo>
                    <a:pt x="250" y="118"/>
                  </a:lnTo>
                  <a:lnTo>
                    <a:pt x="250" y="116"/>
                  </a:lnTo>
                  <a:lnTo>
                    <a:pt x="247" y="116"/>
                  </a:lnTo>
                  <a:lnTo>
                    <a:pt x="245" y="116"/>
                  </a:lnTo>
                  <a:lnTo>
                    <a:pt x="245" y="118"/>
                  </a:lnTo>
                  <a:lnTo>
                    <a:pt x="243" y="118"/>
                  </a:lnTo>
                  <a:lnTo>
                    <a:pt x="243" y="116"/>
                  </a:lnTo>
                  <a:lnTo>
                    <a:pt x="240" y="113"/>
                  </a:lnTo>
                  <a:lnTo>
                    <a:pt x="240" y="116"/>
                  </a:lnTo>
                  <a:lnTo>
                    <a:pt x="240" y="118"/>
                  </a:lnTo>
                  <a:lnTo>
                    <a:pt x="240" y="120"/>
                  </a:lnTo>
                  <a:lnTo>
                    <a:pt x="238" y="120"/>
                  </a:lnTo>
                  <a:lnTo>
                    <a:pt x="238" y="120"/>
                  </a:lnTo>
                  <a:lnTo>
                    <a:pt x="236" y="120"/>
                  </a:lnTo>
                  <a:lnTo>
                    <a:pt x="238" y="123"/>
                  </a:lnTo>
                  <a:lnTo>
                    <a:pt x="238" y="125"/>
                  </a:lnTo>
                  <a:lnTo>
                    <a:pt x="240" y="125"/>
                  </a:lnTo>
                  <a:lnTo>
                    <a:pt x="240" y="127"/>
                  </a:lnTo>
                  <a:lnTo>
                    <a:pt x="240" y="130"/>
                  </a:lnTo>
                  <a:lnTo>
                    <a:pt x="243" y="130"/>
                  </a:lnTo>
                  <a:lnTo>
                    <a:pt x="243" y="130"/>
                  </a:lnTo>
                  <a:lnTo>
                    <a:pt x="240" y="132"/>
                  </a:lnTo>
                  <a:lnTo>
                    <a:pt x="240" y="134"/>
                  </a:lnTo>
                  <a:lnTo>
                    <a:pt x="240" y="134"/>
                  </a:lnTo>
                  <a:lnTo>
                    <a:pt x="240" y="134"/>
                  </a:lnTo>
                  <a:lnTo>
                    <a:pt x="238" y="132"/>
                  </a:lnTo>
                  <a:lnTo>
                    <a:pt x="238" y="132"/>
                  </a:lnTo>
                  <a:lnTo>
                    <a:pt x="236" y="132"/>
                  </a:lnTo>
                  <a:lnTo>
                    <a:pt x="236" y="134"/>
                  </a:lnTo>
                  <a:lnTo>
                    <a:pt x="236" y="137"/>
                  </a:lnTo>
                  <a:lnTo>
                    <a:pt x="236" y="142"/>
                  </a:lnTo>
                  <a:lnTo>
                    <a:pt x="236" y="142"/>
                  </a:lnTo>
                  <a:lnTo>
                    <a:pt x="236" y="142"/>
                  </a:lnTo>
                  <a:lnTo>
                    <a:pt x="233" y="142"/>
                  </a:lnTo>
                  <a:lnTo>
                    <a:pt x="233" y="139"/>
                  </a:lnTo>
                  <a:lnTo>
                    <a:pt x="231" y="137"/>
                  </a:lnTo>
                  <a:lnTo>
                    <a:pt x="231" y="132"/>
                  </a:lnTo>
                  <a:lnTo>
                    <a:pt x="228" y="130"/>
                  </a:lnTo>
                  <a:lnTo>
                    <a:pt x="228" y="125"/>
                  </a:lnTo>
                  <a:lnTo>
                    <a:pt x="226" y="120"/>
                  </a:lnTo>
                  <a:lnTo>
                    <a:pt x="226" y="120"/>
                  </a:lnTo>
                  <a:lnTo>
                    <a:pt x="224" y="123"/>
                  </a:lnTo>
                  <a:lnTo>
                    <a:pt x="221" y="125"/>
                  </a:lnTo>
                  <a:lnTo>
                    <a:pt x="221" y="127"/>
                  </a:lnTo>
                  <a:lnTo>
                    <a:pt x="219" y="130"/>
                  </a:lnTo>
                  <a:lnTo>
                    <a:pt x="217" y="130"/>
                  </a:lnTo>
                  <a:lnTo>
                    <a:pt x="214" y="132"/>
                  </a:lnTo>
                  <a:lnTo>
                    <a:pt x="214" y="132"/>
                  </a:lnTo>
                  <a:lnTo>
                    <a:pt x="212" y="134"/>
                  </a:lnTo>
                  <a:lnTo>
                    <a:pt x="210" y="139"/>
                  </a:lnTo>
                  <a:lnTo>
                    <a:pt x="210" y="142"/>
                  </a:lnTo>
                  <a:lnTo>
                    <a:pt x="207" y="144"/>
                  </a:lnTo>
                  <a:lnTo>
                    <a:pt x="210" y="146"/>
                  </a:lnTo>
                  <a:lnTo>
                    <a:pt x="210" y="151"/>
                  </a:lnTo>
                  <a:lnTo>
                    <a:pt x="210" y="153"/>
                  </a:lnTo>
                  <a:lnTo>
                    <a:pt x="210" y="153"/>
                  </a:lnTo>
                  <a:lnTo>
                    <a:pt x="210" y="156"/>
                  </a:lnTo>
                  <a:lnTo>
                    <a:pt x="210" y="156"/>
                  </a:lnTo>
                  <a:lnTo>
                    <a:pt x="203" y="160"/>
                  </a:lnTo>
                  <a:lnTo>
                    <a:pt x="200" y="163"/>
                  </a:lnTo>
                  <a:lnTo>
                    <a:pt x="198" y="165"/>
                  </a:lnTo>
                  <a:lnTo>
                    <a:pt x="198" y="168"/>
                  </a:lnTo>
                  <a:lnTo>
                    <a:pt x="195" y="170"/>
                  </a:lnTo>
                  <a:lnTo>
                    <a:pt x="193" y="172"/>
                  </a:lnTo>
                  <a:lnTo>
                    <a:pt x="191" y="177"/>
                  </a:lnTo>
                  <a:lnTo>
                    <a:pt x="188" y="182"/>
                  </a:lnTo>
                  <a:lnTo>
                    <a:pt x="184" y="184"/>
                  </a:lnTo>
                  <a:lnTo>
                    <a:pt x="181" y="186"/>
                  </a:lnTo>
                  <a:lnTo>
                    <a:pt x="179" y="189"/>
                  </a:lnTo>
                  <a:lnTo>
                    <a:pt x="170" y="191"/>
                  </a:lnTo>
                  <a:lnTo>
                    <a:pt x="165" y="194"/>
                  </a:lnTo>
                  <a:lnTo>
                    <a:pt x="158" y="194"/>
                  </a:lnTo>
                  <a:lnTo>
                    <a:pt x="153" y="196"/>
                  </a:lnTo>
                  <a:lnTo>
                    <a:pt x="148" y="196"/>
                  </a:lnTo>
                  <a:lnTo>
                    <a:pt x="144" y="196"/>
                  </a:lnTo>
                  <a:lnTo>
                    <a:pt x="137" y="201"/>
                  </a:lnTo>
                  <a:lnTo>
                    <a:pt x="132" y="203"/>
                  </a:lnTo>
                  <a:lnTo>
                    <a:pt x="127" y="203"/>
                  </a:lnTo>
                  <a:lnTo>
                    <a:pt x="125" y="203"/>
                  </a:lnTo>
                  <a:lnTo>
                    <a:pt x="120" y="208"/>
                  </a:lnTo>
                  <a:lnTo>
                    <a:pt x="115" y="208"/>
                  </a:lnTo>
                  <a:lnTo>
                    <a:pt x="111" y="210"/>
                  </a:lnTo>
                  <a:lnTo>
                    <a:pt x="108" y="210"/>
                  </a:lnTo>
                  <a:lnTo>
                    <a:pt x="106" y="208"/>
                  </a:lnTo>
                  <a:lnTo>
                    <a:pt x="104" y="208"/>
                  </a:lnTo>
                  <a:lnTo>
                    <a:pt x="101" y="208"/>
                  </a:lnTo>
                  <a:lnTo>
                    <a:pt x="99" y="208"/>
                  </a:lnTo>
                  <a:lnTo>
                    <a:pt x="96" y="210"/>
                  </a:lnTo>
                  <a:lnTo>
                    <a:pt x="85" y="217"/>
                  </a:lnTo>
                  <a:lnTo>
                    <a:pt x="82" y="220"/>
                  </a:lnTo>
                  <a:lnTo>
                    <a:pt x="80" y="222"/>
                  </a:lnTo>
                  <a:lnTo>
                    <a:pt x="75" y="224"/>
                  </a:lnTo>
                  <a:lnTo>
                    <a:pt x="73" y="227"/>
                  </a:lnTo>
                  <a:lnTo>
                    <a:pt x="68" y="229"/>
                  </a:lnTo>
                  <a:lnTo>
                    <a:pt x="61" y="231"/>
                  </a:lnTo>
                  <a:lnTo>
                    <a:pt x="59" y="234"/>
                  </a:lnTo>
                  <a:lnTo>
                    <a:pt x="56" y="236"/>
                  </a:lnTo>
                  <a:lnTo>
                    <a:pt x="52" y="243"/>
                  </a:lnTo>
                  <a:lnTo>
                    <a:pt x="49" y="243"/>
                  </a:lnTo>
                  <a:lnTo>
                    <a:pt x="49" y="246"/>
                  </a:lnTo>
                  <a:lnTo>
                    <a:pt x="47" y="248"/>
                  </a:lnTo>
                  <a:lnTo>
                    <a:pt x="45" y="248"/>
                  </a:lnTo>
                  <a:lnTo>
                    <a:pt x="47" y="243"/>
                  </a:lnTo>
                  <a:lnTo>
                    <a:pt x="45" y="241"/>
                  </a:lnTo>
                  <a:lnTo>
                    <a:pt x="47" y="236"/>
                  </a:lnTo>
                  <a:lnTo>
                    <a:pt x="47" y="234"/>
                  </a:lnTo>
                  <a:lnTo>
                    <a:pt x="45" y="234"/>
                  </a:lnTo>
                  <a:lnTo>
                    <a:pt x="45" y="236"/>
                  </a:lnTo>
                  <a:lnTo>
                    <a:pt x="40" y="243"/>
                  </a:lnTo>
                  <a:lnTo>
                    <a:pt x="38" y="250"/>
                  </a:lnTo>
                  <a:lnTo>
                    <a:pt x="38" y="255"/>
                  </a:lnTo>
                  <a:lnTo>
                    <a:pt x="38" y="257"/>
                  </a:lnTo>
                  <a:lnTo>
                    <a:pt x="38" y="260"/>
                  </a:lnTo>
                  <a:lnTo>
                    <a:pt x="35" y="262"/>
                  </a:lnTo>
                  <a:lnTo>
                    <a:pt x="35" y="264"/>
                  </a:lnTo>
                  <a:lnTo>
                    <a:pt x="35" y="267"/>
                  </a:lnTo>
                  <a:lnTo>
                    <a:pt x="30" y="274"/>
                  </a:lnTo>
                  <a:lnTo>
                    <a:pt x="28" y="276"/>
                  </a:lnTo>
                  <a:lnTo>
                    <a:pt x="26" y="281"/>
                  </a:lnTo>
                  <a:lnTo>
                    <a:pt x="26" y="286"/>
                  </a:lnTo>
                  <a:lnTo>
                    <a:pt x="26" y="288"/>
                  </a:lnTo>
                  <a:lnTo>
                    <a:pt x="26" y="293"/>
                  </a:lnTo>
                  <a:lnTo>
                    <a:pt x="28" y="293"/>
                  </a:lnTo>
                  <a:lnTo>
                    <a:pt x="28" y="300"/>
                  </a:lnTo>
                  <a:lnTo>
                    <a:pt x="28" y="305"/>
                  </a:lnTo>
                  <a:lnTo>
                    <a:pt x="30" y="312"/>
                  </a:lnTo>
                  <a:lnTo>
                    <a:pt x="33" y="319"/>
                  </a:lnTo>
                  <a:lnTo>
                    <a:pt x="33" y="321"/>
                  </a:lnTo>
                  <a:lnTo>
                    <a:pt x="33" y="324"/>
                  </a:lnTo>
                  <a:lnTo>
                    <a:pt x="33" y="328"/>
                  </a:lnTo>
                  <a:lnTo>
                    <a:pt x="30" y="328"/>
                  </a:lnTo>
                  <a:lnTo>
                    <a:pt x="28" y="331"/>
                  </a:lnTo>
                  <a:lnTo>
                    <a:pt x="28" y="328"/>
                  </a:lnTo>
                  <a:lnTo>
                    <a:pt x="28" y="326"/>
                  </a:lnTo>
                  <a:lnTo>
                    <a:pt x="28" y="321"/>
                  </a:lnTo>
                  <a:lnTo>
                    <a:pt x="26" y="321"/>
                  </a:lnTo>
                  <a:lnTo>
                    <a:pt x="26" y="324"/>
                  </a:lnTo>
                  <a:lnTo>
                    <a:pt x="23" y="326"/>
                  </a:lnTo>
                  <a:lnTo>
                    <a:pt x="23" y="324"/>
                  </a:lnTo>
                  <a:lnTo>
                    <a:pt x="23" y="324"/>
                  </a:lnTo>
                  <a:lnTo>
                    <a:pt x="23" y="324"/>
                  </a:lnTo>
                  <a:lnTo>
                    <a:pt x="23" y="321"/>
                  </a:lnTo>
                  <a:lnTo>
                    <a:pt x="26" y="319"/>
                  </a:lnTo>
                  <a:lnTo>
                    <a:pt x="23" y="317"/>
                  </a:lnTo>
                  <a:lnTo>
                    <a:pt x="23" y="314"/>
                  </a:lnTo>
                  <a:lnTo>
                    <a:pt x="21" y="314"/>
                  </a:lnTo>
                  <a:lnTo>
                    <a:pt x="21" y="314"/>
                  </a:lnTo>
                  <a:lnTo>
                    <a:pt x="19" y="317"/>
                  </a:lnTo>
                  <a:lnTo>
                    <a:pt x="21" y="319"/>
                  </a:lnTo>
                  <a:lnTo>
                    <a:pt x="21" y="324"/>
                  </a:lnTo>
                  <a:lnTo>
                    <a:pt x="23" y="326"/>
                  </a:lnTo>
                  <a:lnTo>
                    <a:pt x="23" y="326"/>
                  </a:lnTo>
                  <a:lnTo>
                    <a:pt x="26" y="328"/>
                  </a:lnTo>
                  <a:lnTo>
                    <a:pt x="23" y="333"/>
                  </a:lnTo>
                  <a:lnTo>
                    <a:pt x="23" y="333"/>
                  </a:lnTo>
                  <a:lnTo>
                    <a:pt x="21" y="333"/>
                  </a:lnTo>
                  <a:lnTo>
                    <a:pt x="19" y="333"/>
                  </a:lnTo>
                  <a:lnTo>
                    <a:pt x="19" y="331"/>
                  </a:lnTo>
                  <a:lnTo>
                    <a:pt x="19" y="326"/>
                  </a:lnTo>
                  <a:lnTo>
                    <a:pt x="19" y="324"/>
                  </a:lnTo>
                  <a:lnTo>
                    <a:pt x="16" y="324"/>
                  </a:lnTo>
                  <a:lnTo>
                    <a:pt x="16" y="324"/>
                  </a:lnTo>
                  <a:lnTo>
                    <a:pt x="16" y="326"/>
                  </a:lnTo>
                  <a:lnTo>
                    <a:pt x="16" y="326"/>
                  </a:lnTo>
                  <a:lnTo>
                    <a:pt x="16" y="326"/>
                  </a:lnTo>
                  <a:lnTo>
                    <a:pt x="14" y="326"/>
                  </a:lnTo>
                  <a:lnTo>
                    <a:pt x="14" y="326"/>
                  </a:lnTo>
                  <a:lnTo>
                    <a:pt x="14" y="326"/>
                  </a:lnTo>
                  <a:lnTo>
                    <a:pt x="14" y="326"/>
                  </a:lnTo>
                  <a:lnTo>
                    <a:pt x="16" y="331"/>
                  </a:lnTo>
                  <a:lnTo>
                    <a:pt x="21" y="340"/>
                  </a:lnTo>
                  <a:lnTo>
                    <a:pt x="23" y="350"/>
                  </a:lnTo>
                  <a:lnTo>
                    <a:pt x="23" y="354"/>
                  </a:lnTo>
                  <a:lnTo>
                    <a:pt x="23" y="364"/>
                  </a:lnTo>
                  <a:lnTo>
                    <a:pt x="23" y="366"/>
                  </a:lnTo>
                  <a:lnTo>
                    <a:pt x="23" y="371"/>
                  </a:lnTo>
                  <a:lnTo>
                    <a:pt x="26" y="376"/>
                  </a:lnTo>
                  <a:lnTo>
                    <a:pt x="26" y="378"/>
                  </a:lnTo>
                  <a:lnTo>
                    <a:pt x="26" y="380"/>
                  </a:lnTo>
                  <a:lnTo>
                    <a:pt x="26" y="383"/>
                  </a:lnTo>
                  <a:lnTo>
                    <a:pt x="28" y="387"/>
                  </a:lnTo>
                  <a:lnTo>
                    <a:pt x="28" y="395"/>
                  </a:lnTo>
                  <a:lnTo>
                    <a:pt x="28" y="397"/>
                  </a:lnTo>
                  <a:lnTo>
                    <a:pt x="28" y="399"/>
                  </a:lnTo>
                  <a:lnTo>
                    <a:pt x="26" y="406"/>
                  </a:lnTo>
                  <a:lnTo>
                    <a:pt x="26" y="411"/>
                  </a:lnTo>
                  <a:lnTo>
                    <a:pt x="26" y="418"/>
                  </a:lnTo>
                  <a:lnTo>
                    <a:pt x="26" y="423"/>
                  </a:lnTo>
                  <a:lnTo>
                    <a:pt x="26" y="425"/>
                  </a:lnTo>
                  <a:lnTo>
                    <a:pt x="26" y="432"/>
                  </a:lnTo>
                  <a:lnTo>
                    <a:pt x="28" y="442"/>
                  </a:lnTo>
                  <a:lnTo>
                    <a:pt x="28" y="447"/>
                  </a:lnTo>
                  <a:lnTo>
                    <a:pt x="23" y="456"/>
                  </a:lnTo>
                  <a:lnTo>
                    <a:pt x="23" y="461"/>
                  </a:lnTo>
                  <a:lnTo>
                    <a:pt x="21" y="461"/>
                  </a:lnTo>
                  <a:lnTo>
                    <a:pt x="21" y="463"/>
                  </a:lnTo>
                  <a:lnTo>
                    <a:pt x="19" y="470"/>
                  </a:lnTo>
                  <a:lnTo>
                    <a:pt x="19" y="473"/>
                  </a:lnTo>
                  <a:lnTo>
                    <a:pt x="16" y="477"/>
                  </a:lnTo>
                  <a:lnTo>
                    <a:pt x="14" y="480"/>
                  </a:lnTo>
                  <a:lnTo>
                    <a:pt x="9" y="482"/>
                  </a:lnTo>
                  <a:lnTo>
                    <a:pt x="7" y="482"/>
                  </a:lnTo>
                  <a:lnTo>
                    <a:pt x="5" y="482"/>
                  </a:lnTo>
                  <a:lnTo>
                    <a:pt x="5" y="480"/>
                  </a:lnTo>
                  <a:lnTo>
                    <a:pt x="2" y="487"/>
                  </a:lnTo>
                  <a:lnTo>
                    <a:pt x="0" y="491"/>
                  </a:lnTo>
                  <a:lnTo>
                    <a:pt x="0" y="494"/>
                  </a:lnTo>
                  <a:lnTo>
                    <a:pt x="0" y="496"/>
                  </a:lnTo>
                  <a:lnTo>
                    <a:pt x="0" y="499"/>
                  </a:lnTo>
                  <a:lnTo>
                    <a:pt x="2" y="496"/>
                  </a:lnTo>
                  <a:lnTo>
                    <a:pt x="2" y="496"/>
                  </a:lnTo>
                  <a:lnTo>
                    <a:pt x="7" y="499"/>
                  </a:lnTo>
                  <a:lnTo>
                    <a:pt x="9" y="501"/>
                  </a:lnTo>
                  <a:lnTo>
                    <a:pt x="12" y="508"/>
                  </a:lnTo>
                  <a:lnTo>
                    <a:pt x="16" y="508"/>
                  </a:lnTo>
                  <a:lnTo>
                    <a:pt x="19" y="510"/>
                  </a:lnTo>
                  <a:lnTo>
                    <a:pt x="26" y="513"/>
                  </a:lnTo>
                  <a:lnTo>
                    <a:pt x="30" y="513"/>
                  </a:lnTo>
                  <a:lnTo>
                    <a:pt x="38" y="513"/>
                  </a:lnTo>
                  <a:lnTo>
                    <a:pt x="40" y="513"/>
                  </a:lnTo>
                  <a:lnTo>
                    <a:pt x="42" y="513"/>
                  </a:lnTo>
                  <a:lnTo>
                    <a:pt x="45" y="513"/>
                  </a:lnTo>
                  <a:lnTo>
                    <a:pt x="49" y="510"/>
                  </a:lnTo>
                  <a:lnTo>
                    <a:pt x="56" y="506"/>
                  </a:lnTo>
                  <a:lnTo>
                    <a:pt x="66" y="501"/>
                  </a:lnTo>
                  <a:lnTo>
                    <a:pt x="68" y="501"/>
                  </a:lnTo>
                  <a:lnTo>
                    <a:pt x="73" y="501"/>
                  </a:lnTo>
                  <a:lnTo>
                    <a:pt x="75" y="499"/>
                  </a:lnTo>
                  <a:lnTo>
                    <a:pt x="82" y="491"/>
                  </a:lnTo>
                  <a:lnTo>
                    <a:pt x="82" y="491"/>
                  </a:lnTo>
                  <a:lnTo>
                    <a:pt x="87" y="489"/>
                  </a:lnTo>
                  <a:lnTo>
                    <a:pt x="92" y="489"/>
                  </a:lnTo>
                  <a:lnTo>
                    <a:pt x="96" y="489"/>
                  </a:lnTo>
                  <a:lnTo>
                    <a:pt x="99" y="489"/>
                  </a:lnTo>
                  <a:lnTo>
                    <a:pt x="104" y="487"/>
                  </a:lnTo>
                  <a:lnTo>
                    <a:pt x="115" y="487"/>
                  </a:lnTo>
                  <a:lnTo>
                    <a:pt x="120" y="487"/>
                  </a:lnTo>
                  <a:lnTo>
                    <a:pt x="125" y="487"/>
                  </a:lnTo>
                  <a:lnTo>
                    <a:pt x="125" y="487"/>
                  </a:lnTo>
                  <a:lnTo>
                    <a:pt x="127" y="489"/>
                  </a:lnTo>
                  <a:lnTo>
                    <a:pt x="139" y="489"/>
                  </a:lnTo>
                  <a:lnTo>
                    <a:pt x="141" y="487"/>
                  </a:lnTo>
                  <a:lnTo>
                    <a:pt x="144" y="489"/>
                  </a:lnTo>
                  <a:lnTo>
                    <a:pt x="146" y="489"/>
                  </a:lnTo>
                  <a:lnTo>
                    <a:pt x="148" y="489"/>
                  </a:lnTo>
                  <a:lnTo>
                    <a:pt x="151" y="489"/>
                  </a:lnTo>
                  <a:lnTo>
                    <a:pt x="153" y="487"/>
                  </a:lnTo>
                  <a:lnTo>
                    <a:pt x="160" y="482"/>
                  </a:lnTo>
                  <a:lnTo>
                    <a:pt x="162" y="480"/>
                  </a:lnTo>
                  <a:lnTo>
                    <a:pt x="167" y="473"/>
                  </a:lnTo>
                  <a:lnTo>
                    <a:pt x="170" y="470"/>
                  </a:lnTo>
                  <a:lnTo>
                    <a:pt x="174" y="468"/>
                  </a:lnTo>
                  <a:lnTo>
                    <a:pt x="177" y="468"/>
                  </a:lnTo>
                  <a:lnTo>
                    <a:pt x="181" y="468"/>
                  </a:lnTo>
                  <a:lnTo>
                    <a:pt x="191" y="461"/>
                  </a:lnTo>
                  <a:lnTo>
                    <a:pt x="195" y="461"/>
                  </a:lnTo>
                  <a:lnTo>
                    <a:pt x="198" y="458"/>
                  </a:lnTo>
                  <a:lnTo>
                    <a:pt x="205" y="454"/>
                  </a:lnTo>
                  <a:lnTo>
                    <a:pt x="210" y="454"/>
                  </a:lnTo>
                  <a:lnTo>
                    <a:pt x="221" y="454"/>
                  </a:lnTo>
                  <a:lnTo>
                    <a:pt x="226" y="454"/>
                  </a:lnTo>
                  <a:lnTo>
                    <a:pt x="231" y="454"/>
                  </a:lnTo>
                  <a:lnTo>
                    <a:pt x="238" y="451"/>
                  </a:lnTo>
                  <a:lnTo>
                    <a:pt x="245" y="449"/>
                  </a:lnTo>
                  <a:lnTo>
                    <a:pt x="254" y="447"/>
                  </a:lnTo>
                  <a:lnTo>
                    <a:pt x="264" y="442"/>
                  </a:lnTo>
                  <a:lnTo>
                    <a:pt x="269" y="442"/>
                  </a:lnTo>
                  <a:lnTo>
                    <a:pt x="276" y="439"/>
                  </a:lnTo>
                  <a:lnTo>
                    <a:pt x="285" y="439"/>
                  </a:lnTo>
                  <a:lnTo>
                    <a:pt x="297" y="439"/>
                  </a:lnTo>
                  <a:lnTo>
                    <a:pt x="299" y="439"/>
                  </a:lnTo>
                  <a:lnTo>
                    <a:pt x="302" y="439"/>
                  </a:lnTo>
                  <a:lnTo>
                    <a:pt x="304" y="437"/>
                  </a:lnTo>
                  <a:lnTo>
                    <a:pt x="306" y="437"/>
                  </a:lnTo>
                  <a:lnTo>
                    <a:pt x="309" y="439"/>
                  </a:lnTo>
                  <a:lnTo>
                    <a:pt x="313" y="442"/>
                  </a:lnTo>
                  <a:lnTo>
                    <a:pt x="320" y="449"/>
                  </a:lnTo>
                  <a:lnTo>
                    <a:pt x="320" y="449"/>
                  </a:lnTo>
                  <a:lnTo>
                    <a:pt x="327" y="447"/>
                  </a:lnTo>
                  <a:lnTo>
                    <a:pt x="330" y="447"/>
                  </a:lnTo>
                  <a:lnTo>
                    <a:pt x="335" y="451"/>
                  </a:lnTo>
                  <a:lnTo>
                    <a:pt x="339" y="451"/>
                  </a:lnTo>
                  <a:lnTo>
                    <a:pt x="342" y="451"/>
                  </a:lnTo>
                  <a:lnTo>
                    <a:pt x="344" y="454"/>
                  </a:lnTo>
                  <a:lnTo>
                    <a:pt x="344" y="454"/>
                  </a:lnTo>
                  <a:lnTo>
                    <a:pt x="346" y="456"/>
                  </a:lnTo>
                  <a:lnTo>
                    <a:pt x="351" y="461"/>
                  </a:lnTo>
                  <a:lnTo>
                    <a:pt x="351" y="463"/>
                  </a:lnTo>
                  <a:lnTo>
                    <a:pt x="349" y="463"/>
                  </a:lnTo>
                  <a:lnTo>
                    <a:pt x="349" y="463"/>
                  </a:lnTo>
                  <a:lnTo>
                    <a:pt x="346" y="463"/>
                  </a:lnTo>
                  <a:lnTo>
                    <a:pt x="346" y="468"/>
                  </a:lnTo>
                  <a:lnTo>
                    <a:pt x="346" y="473"/>
                  </a:lnTo>
                  <a:lnTo>
                    <a:pt x="353" y="473"/>
                  </a:lnTo>
                  <a:lnTo>
                    <a:pt x="353" y="475"/>
                  </a:lnTo>
                  <a:lnTo>
                    <a:pt x="353" y="477"/>
                  </a:lnTo>
                  <a:lnTo>
                    <a:pt x="353" y="480"/>
                  </a:lnTo>
                  <a:lnTo>
                    <a:pt x="353" y="482"/>
                  </a:lnTo>
                  <a:lnTo>
                    <a:pt x="356" y="487"/>
                  </a:lnTo>
                  <a:lnTo>
                    <a:pt x="356" y="489"/>
                  </a:lnTo>
                  <a:lnTo>
                    <a:pt x="356" y="489"/>
                  </a:lnTo>
                  <a:lnTo>
                    <a:pt x="356" y="494"/>
                  </a:lnTo>
                  <a:lnTo>
                    <a:pt x="356" y="494"/>
                  </a:lnTo>
                  <a:lnTo>
                    <a:pt x="356" y="499"/>
                  </a:lnTo>
                  <a:lnTo>
                    <a:pt x="356" y="503"/>
                  </a:lnTo>
                  <a:lnTo>
                    <a:pt x="356" y="503"/>
                  </a:lnTo>
                  <a:lnTo>
                    <a:pt x="353" y="503"/>
                  </a:lnTo>
                  <a:lnTo>
                    <a:pt x="353" y="501"/>
                  </a:lnTo>
                  <a:lnTo>
                    <a:pt x="351" y="501"/>
                  </a:lnTo>
                  <a:lnTo>
                    <a:pt x="351" y="501"/>
                  </a:lnTo>
                  <a:lnTo>
                    <a:pt x="351" y="501"/>
                  </a:lnTo>
                  <a:lnTo>
                    <a:pt x="349" y="503"/>
                  </a:lnTo>
                  <a:lnTo>
                    <a:pt x="351" y="503"/>
                  </a:lnTo>
                  <a:lnTo>
                    <a:pt x="351" y="503"/>
                  </a:lnTo>
                  <a:lnTo>
                    <a:pt x="353" y="503"/>
                  </a:lnTo>
                  <a:lnTo>
                    <a:pt x="353" y="506"/>
                  </a:lnTo>
                  <a:lnTo>
                    <a:pt x="353" y="506"/>
                  </a:lnTo>
                  <a:lnTo>
                    <a:pt x="356" y="510"/>
                  </a:lnTo>
                  <a:lnTo>
                    <a:pt x="358" y="510"/>
                  </a:lnTo>
                  <a:lnTo>
                    <a:pt x="358" y="508"/>
                  </a:lnTo>
                  <a:lnTo>
                    <a:pt x="360" y="510"/>
                  </a:lnTo>
                  <a:lnTo>
                    <a:pt x="360" y="510"/>
                  </a:lnTo>
                  <a:lnTo>
                    <a:pt x="363" y="510"/>
                  </a:lnTo>
                  <a:lnTo>
                    <a:pt x="363" y="506"/>
                  </a:lnTo>
                  <a:lnTo>
                    <a:pt x="363" y="506"/>
                  </a:lnTo>
                  <a:lnTo>
                    <a:pt x="363" y="503"/>
                  </a:lnTo>
                  <a:lnTo>
                    <a:pt x="363" y="503"/>
                  </a:lnTo>
                  <a:lnTo>
                    <a:pt x="365" y="503"/>
                  </a:lnTo>
                  <a:lnTo>
                    <a:pt x="368" y="499"/>
                  </a:lnTo>
                  <a:lnTo>
                    <a:pt x="377" y="491"/>
                  </a:lnTo>
                  <a:lnTo>
                    <a:pt x="379" y="489"/>
                  </a:lnTo>
                  <a:lnTo>
                    <a:pt x="382" y="489"/>
                  </a:lnTo>
                  <a:lnTo>
                    <a:pt x="386" y="487"/>
                  </a:lnTo>
                  <a:lnTo>
                    <a:pt x="389" y="484"/>
                  </a:lnTo>
                  <a:lnTo>
                    <a:pt x="391" y="484"/>
                  </a:lnTo>
                  <a:lnTo>
                    <a:pt x="393" y="484"/>
                  </a:lnTo>
                  <a:lnTo>
                    <a:pt x="396" y="482"/>
                  </a:lnTo>
                  <a:lnTo>
                    <a:pt x="398" y="477"/>
                  </a:lnTo>
                  <a:lnTo>
                    <a:pt x="403" y="473"/>
                  </a:lnTo>
                  <a:lnTo>
                    <a:pt x="405" y="470"/>
                  </a:lnTo>
                  <a:lnTo>
                    <a:pt x="408" y="468"/>
                  </a:lnTo>
                  <a:lnTo>
                    <a:pt x="412" y="465"/>
                  </a:lnTo>
                  <a:lnTo>
                    <a:pt x="412" y="463"/>
                  </a:lnTo>
                  <a:lnTo>
                    <a:pt x="412" y="461"/>
                  </a:lnTo>
                  <a:lnTo>
                    <a:pt x="415" y="463"/>
                  </a:lnTo>
                  <a:lnTo>
                    <a:pt x="415" y="465"/>
                  </a:lnTo>
                  <a:lnTo>
                    <a:pt x="412" y="470"/>
                  </a:lnTo>
                  <a:lnTo>
                    <a:pt x="410" y="473"/>
                  </a:lnTo>
                  <a:lnTo>
                    <a:pt x="410" y="473"/>
                  </a:lnTo>
                  <a:lnTo>
                    <a:pt x="408" y="475"/>
                  </a:lnTo>
                  <a:lnTo>
                    <a:pt x="408" y="480"/>
                  </a:lnTo>
                  <a:lnTo>
                    <a:pt x="408" y="482"/>
                  </a:lnTo>
                  <a:lnTo>
                    <a:pt x="403" y="484"/>
                  </a:lnTo>
                  <a:lnTo>
                    <a:pt x="401" y="487"/>
                  </a:lnTo>
                  <a:lnTo>
                    <a:pt x="396" y="494"/>
                  </a:lnTo>
                  <a:lnTo>
                    <a:pt x="393" y="496"/>
                  </a:lnTo>
                  <a:lnTo>
                    <a:pt x="393" y="499"/>
                  </a:lnTo>
                  <a:lnTo>
                    <a:pt x="391" y="501"/>
                  </a:lnTo>
                  <a:lnTo>
                    <a:pt x="391" y="503"/>
                  </a:lnTo>
                  <a:lnTo>
                    <a:pt x="389" y="506"/>
                  </a:lnTo>
                  <a:lnTo>
                    <a:pt x="386" y="510"/>
                  </a:lnTo>
                  <a:lnTo>
                    <a:pt x="384" y="510"/>
                  </a:lnTo>
                  <a:lnTo>
                    <a:pt x="384" y="510"/>
                  </a:lnTo>
                  <a:lnTo>
                    <a:pt x="382" y="510"/>
                  </a:lnTo>
                  <a:lnTo>
                    <a:pt x="379" y="510"/>
                  </a:lnTo>
                  <a:lnTo>
                    <a:pt x="375" y="517"/>
                  </a:lnTo>
                  <a:lnTo>
                    <a:pt x="377" y="517"/>
                  </a:lnTo>
                  <a:lnTo>
                    <a:pt x="377" y="517"/>
                  </a:lnTo>
                  <a:lnTo>
                    <a:pt x="379" y="517"/>
                  </a:lnTo>
                  <a:lnTo>
                    <a:pt x="382" y="515"/>
                  </a:lnTo>
                  <a:lnTo>
                    <a:pt x="386" y="515"/>
                  </a:lnTo>
                  <a:lnTo>
                    <a:pt x="386" y="515"/>
                  </a:lnTo>
                  <a:lnTo>
                    <a:pt x="389" y="515"/>
                  </a:lnTo>
                  <a:lnTo>
                    <a:pt x="396" y="506"/>
                  </a:lnTo>
                  <a:lnTo>
                    <a:pt x="401" y="501"/>
                  </a:lnTo>
                  <a:lnTo>
                    <a:pt x="403" y="499"/>
                  </a:lnTo>
                  <a:lnTo>
                    <a:pt x="403" y="496"/>
                  </a:lnTo>
                  <a:lnTo>
                    <a:pt x="405" y="494"/>
                  </a:lnTo>
                  <a:lnTo>
                    <a:pt x="405" y="496"/>
                  </a:lnTo>
                  <a:lnTo>
                    <a:pt x="405" y="499"/>
                  </a:lnTo>
                  <a:lnTo>
                    <a:pt x="408" y="503"/>
                  </a:lnTo>
                  <a:lnTo>
                    <a:pt x="408" y="506"/>
                  </a:lnTo>
                  <a:lnTo>
                    <a:pt x="405" y="513"/>
                  </a:lnTo>
                  <a:lnTo>
                    <a:pt x="401" y="517"/>
                  </a:lnTo>
                  <a:lnTo>
                    <a:pt x="398" y="520"/>
                  </a:lnTo>
                  <a:lnTo>
                    <a:pt x="396" y="522"/>
                  </a:lnTo>
                  <a:lnTo>
                    <a:pt x="393" y="525"/>
                  </a:lnTo>
                  <a:lnTo>
                    <a:pt x="398" y="525"/>
                  </a:lnTo>
                  <a:lnTo>
                    <a:pt x="401" y="525"/>
                  </a:lnTo>
                  <a:lnTo>
                    <a:pt x="403" y="525"/>
                  </a:lnTo>
                  <a:lnTo>
                    <a:pt x="405" y="522"/>
                  </a:lnTo>
                  <a:lnTo>
                    <a:pt x="408" y="522"/>
                  </a:lnTo>
                  <a:lnTo>
                    <a:pt x="408" y="522"/>
                  </a:lnTo>
                  <a:lnTo>
                    <a:pt x="410" y="522"/>
                  </a:lnTo>
                  <a:lnTo>
                    <a:pt x="412" y="520"/>
                  </a:lnTo>
                  <a:lnTo>
                    <a:pt x="415" y="520"/>
                  </a:lnTo>
                  <a:lnTo>
                    <a:pt x="415" y="520"/>
                  </a:lnTo>
                  <a:lnTo>
                    <a:pt x="415" y="520"/>
                  </a:lnTo>
                  <a:lnTo>
                    <a:pt x="415" y="520"/>
                  </a:lnTo>
                  <a:lnTo>
                    <a:pt x="415" y="522"/>
                  </a:lnTo>
                  <a:lnTo>
                    <a:pt x="412" y="525"/>
                  </a:lnTo>
                  <a:lnTo>
                    <a:pt x="412" y="525"/>
                  </a:lnTo>
                  <a:lnTo>
                    <a:pt x="412" y="522"/>
                  </a:lnTo>
                  <a:lnTo>
                    <a:pt x="410" y="522"/>
                  </a:lnTo>
                  <a:lnTo>
                    <a:pt x="410" y="525"/>
                  </a:lnTo>
                  <a:lnTo>
                    <a:pt x="408" y="525"/>
                  </a:lnTo>
                  <a:lnTo>
                    <a:pt x="408" y="525"/>
                  </a:lnTo>
                  <a:lnTo>
                    <a:pt x="408" y="527"/>
                  </a:lnTo>
                  <a:lnTo>
                    <a:pt x="410" y="529"/>
                  </a:lnTo>
                  <a:lnTo>
                    <a:pt x="412" y="534"/>
                  </a:lnTo>
                  <a:lnTo>
                    <a:pt x="412" y="534"/>
                  </a:lnTo>
                  <a:lnTo>
                    <a:pt x="415" y="541"/>
                  </a:lnTo>
                  <a:lnTo>
                    <a:pt x="412" y="548"/>
                  </a:lnTo>
                  <a:lnTo>
                    <a:pt x="412" y="548"/>
                  </a:lnTo>
                  <a:lnTo>
                    <a:pt x="410" y="553"/>
                  </a:lnTo>
                  <a:lnTo>
                    <a:pt x="408" y="555"/>
                  </a:lnTo>
                  <a:lnTo>
                    <a:pt x="408" y="558"/>
                  </a:lnTo>
                  <a:lnTo>
                    <a:pt x="405" y="560"/>
                  </a:lnTo>
                  <a:lnTo>
                    <a:pt x="408" y="562"/>
                  </a:lnTo>
                  <a:lnTo>
                    <a:pt x="410" y="570"/>
                  </a:lnTo>
                  <a:lnTo>
                    <a:pt x="410" y="574"/>
                  </a:lnTo>
                  <a:lnTo>
                    <a:pt x="412" y="577"/>
                  </a:lnTo>
                  <a:lnTo>
                    <a:pt x="419" y="577"/>
                  </a:lnTo>
                  <a:lnTo>
                    <a:pt x="422" y="579"/>
                  </a:lnTo>
                  <a:lnTo>
                    <a:pt x="424" y="584"/>
                  </a:lnTo>
                  <a:lnTo>
                    <a:pt x="424" y="584"/>
                  </a:lnTo>
                  <a:lnTo>
                    <a:pt x="426" y="584"/>
                  </a:lnTo>
                  <a:lnTo>
                    <a:pt x="429" y="581"/>
                  </a:lnTo>
                  <a:lnTo>
                    <a:pt x="434" y="581"/>
                  </a:lnTo>
                  <a:lnTo>
                    <a:pt x="436" y="584"/>
                  </a:lnTo>
                  <a:lnTo>
                    <a:pt x="438" y="584"/>
                  </a:lnTo>
                  <a:lnTo>
                    <a:pt x="441" y="584"/>
                  </a:lnTo>
                  <a:lnTo>
                    <a:pt x="443" y="586"/>
                  </a:lnTo>
                  <a:lnTo>
                    <a:pt x="445" y="588"/>
                  </a:lnTo>
                  <a:lnTo>
                    <a:pt x="448" y="591"/>
                  </a:lnTo>
                  <a:lnTo>
                    <a:pt x="450" y="591"/>
                  </a:lnTo>
                  <a:lnTo>
                    <a:pt x="452" y="593"/>
                  </a:lnTo>
                  <a:lnTo>
                    <a:pt x="455" y="593"/>
                  </a:lnTo>
                  <a:lnTo>
                    <a:pt x="457" y="593"/>
                  </a:lnTo>
                  <a:lnTo>
                    <a:pt x="462" y="591"/>
                  </a:lnTo>
                  <a:lnTo>
                    <a:pt x="469" y="586"/>
                  </a:lnTo>
                  <a:lnTo>
                    <a:pt x="474" y="584"/>
                  </a:lnTo>
                  <a:lnTo>
                    <a:pt x="476" y="584"/>
                  </a:lnTo>
                  <a:lnTo>
                    <a:pt x="478" y="581"/>
                  </a:lnTo>
                  <a:lnTo>
                    <a:pt x="481" y="581"/>
                  </a:lnTo>
                  <a:lnTo>
                    <a:pt x="481" y="579"/>
                  </a:lnTo>
                  <a:lnTo>
                    <a:pt x="478" y="579"/>
                  </a:lnTo>
                  <a:lnTo>
                    <a:pt x="476" y="579"/>
                  </a:lnTo>
                  <a:lnTo>
                    <a:pt x="478" y="579"/>
                  </a:lnTo>
                  <a:lnTo>
                    <a:pt x="481" y="577"/>
                  </a:lnTo>
                  <a:lnTo>
                    <a:pt x="488" y="574"/>
                  </a:lnTo>
                  <a:lnTo>
                    <a:pt x="490" y="574"/>
                  </a:lnTo>
                  <a:lnTo>
                    <a:pt x="490" y="577"/>
                  </a:lnTo>
                  <a:lnTo>
                    <a:pt x="490" y="579"/>
                  </a:lnTo>
                  <a:lnTo>
                    <a:pt x="488" y="581"/>
                  </a:lnTo>
                  <a:lnTo>
                    <a:pt x="485" y="581"/>
                  </a:lnTo>
                  <a:lnTo>
                    <a:pt x="483" y="584"/>
                  </a:lnTo>
                  <a:lnTo>
                    <a:pt x="481" y="584"/>
                  </a:lnTo>
                  <a:lnTo>
                    <a:pt x="481" y="584"/>
                  </a:lnTo>
                  <a:lnTo>
                    <a:pt x="481" y="586"/>
                  </a:lnTo>
                  <a:lnTo>
                    <a:pt x="483" y="586"/>
                  </a:lnTo>
                  <a:lnTo>
                    <a:pt x="488" y="584"/>
                  </a:lnTo>
                  <a:lnTo>
                    <a:pt x="490" y="581"/>
                  </a:lnTo>
                  <a:lnTo>
                    <a:pt x="490" y="581"/>
                  </a:lnTo>
                  <a:lnTo>
                    <a:pt x="492" y="581"/>
                  </a:lnTo>
                  <a:lnTo>
                    <a:pt x="495" y="581"/>
                  </a:lnTo>
                  <a:lnTo>
                    <a:pt x="495" y="584"/>
                  </a:lnTo>
                  <a:lnTo>
                    <a:pt x="495" y="584"/>
                  </a:lnTo>
                  <a:lnTo>
                    <a:pt x="492" y="586"/>
                  </a:lnTo>
                  <a:lnTo>
                    <a:pt x="490" y="586"/>
                  </a:lnTo>
                  <a:lnTo>
                    <a:pt x="490" y="588"/>
                  </a:lnTo>
                  <a:lnTo>
                    <a:pt x="492" y="588"/>
                  </a:lnTo>
                  <a:lnTo>
                    <a:pt x="492" y="591"/>
                  </a:lnTo>
                  <a:lnTo>
                    <a:pt x="492" y="591"/>
                  </a:lnTo>
                  <a:lnTo>
                    <a:pt x="495" y="591"/>
                  </a:lnTo>
                  <a:lnTo>
                    <a:pt x="495" y="593"/>
                  </a:lnTo>
                  <a:lnTo>
                    <a:pt x="495" y="596"/>
                  </a:lnTo>
                  <a:lnTo>
                    <a:pt x="497" y="596"/>
                  </a:lnTo>
                  <a:lnTo>
                    <a:pt x="497" y="593"/>
                  </a:lnTo>
                  <a:lnTo>
                    <a:pt x="499" y="596"/>
                  </a:lnTo>
                  <a:lnTo>
                    <a:pt x="499" y="596"/>
                  </a:lnTo>
                  <a:lnTo>
                    <a:pt x="499" y="598"/>
                  </a:lnTo>
                  <a:lnTo>
                    <a:pt x="499" y="600"/>
                  </a:lnTo>
                  <a:lnTo>
                    <a:pt x="499" y="600"/>
                  </a:lnTo>
                  <a:lnTo>
                    <a:pt x="502" y="600"/>
                  </a:lnTo>
                  <a:lnTo>
                    <a:pt x="502" y="598"/>
                  </a:lnTo>
                  <a:lnTo>
                    <a:pt x="504" y="598"/>
                  </a:lnTo>
                  <a:lnTo>
                    <a:pt x="504" y="593"/>
                  </a:lnTo>
                  <a:lnTo>
                    <a:pt x="504" y="593"/>
                  </a:lnTo>
                  <a:lnTo>
                    <a:pt x="502" y="596"/>
                  </a:lnTo>
                  <a:lnTo>
                    <a:pt x="502" y="593"/>
                  </a:lnTo>
                  <a:lnTo>
                    <a:pt x="502" y="593"/>
                  </a:lnTo>
                  <a:lnTo>
                    <a:pt x="502" y="591"/>
                  </a:lnTo>
                  <a:lnTo>
                    <a:pt x="504" y="591"/>
                  </a:lnTo>
                  <a:lnTo>
                    <a:pt x="504" y="591"/>
                  </a:lnTo>
                  <a:lnTo>
                    <a:pt x="507" y="591"/>
                  </a:lnTo>
                  <a:lnTo>
                    <a:pt x="514" y="591"/>
                  </a:lnTo>
                  <a:lnTo>
                    <a:pt x="528" y="581"/>
                  </a:lnTo>
                  <a:lnTo>
                    <a:pt x="532" y="577"/>
                  </a:lnTo>
                  <a:lnTo>
                    <a:pt x="540" y="574"/>
                  </a:lnTo>
                  <a:lnTo>
                    <a:pt x="544" y="572"/>
                  </a:lnTo>
                  <a:lnTo>
                    <a:pt x="547" y="572"/>
                  </a:lnTo>
                  <a:lnTo>
                    <a:pt x="558" y="572"/>
                  </a:lnTo>
                  <a:lnTo>
                    <a:pt x="565" y="572"/>
                  </a:lnTo>
                  <a:lnTo>
                    <a:pt x="568" y="572"/>
                  </a:lnTo>
                  <a:lnTo>
                    <a:pt x="570" y="570"/>
                  </a:lnTo>
                  <a:lnTo>
                    <a:pt x="575" y="567"/>
                  </a:lnTo>
                  <a:lnTo>
                    <a:pt x="577" y="567"/>
                  </a:lnTo>
                  <a:lnTo>
                    <a:pt x="580" y="565"/>
                  </a:lnTo>
                  <a:lnTo>
                    <a:pt x="580" y="565"/>
                  </a:lnTo>
                  <a:lnTo>
                    <a:pt x="582" y="562"/>
                  </a:lnTo>
                  <a:lnTo>
                    <a:pt x="582" y="560"/>
                  </a:lnTo>
                  <a:lnTo>
                    <a:pt x="584" y="555"/>
                  </a:lnTo>
                  <a:lnTo>
                    <a:pt x="587" y="551"/>
                  </a:lnTo>
                  <a:lnTo>
                    <a:pt x="589" y="548"/>
                  </a:lnTo>
                  <a:lnTo>
                    <a:pt x="591" y="546"/>
                  </a:lnTo>
                  <a:lnTo>
                    <a:pt x="594" y="541"/>
                  </a:lnTo>
                  <a:lnTo>
                    <a:pt x="598" y="536"/>
                  </a:lnTo>
                  <a:lnTo>
                    <a:pt x="598" y="532"/>
                  </a:lnTo>
                  <a:lnTo>
                    <a:pt x="601" y="529"/>
                  </a:lnTo>
                  <a:lnTo>
                    <a:pt x="606" y="527"/>
                  </a:lnTo>
                  <a:lnTo>
                    <a:pt x="608" y="525"/>
                  </a:lnTo>
                  <a:lnTo>
                    <a:pt x="615" y="515"/>
                  </a:lnTo>
                  <a:lnTo>
                    <a:pt x="615" y="515"/>
                  </a:lnTo>
                  <a:lnTo>
                    <a:pt x="617" y="515"/>
                  </a:lnTo>
                  <a:lnTo>
                    <a:pt x="617" y="515"/>
                  </a:lnTo>
                  <a:lnTo>
                    <a:pt x="617" y="515"/>
                  </a:lnTo>
                  <a:lnTo>
                    <a:pt x="617" y="515"/>
                  </a:lnTo>
                  <a:lnTo>
                    <a:pt x="617" y="513"/>
                  </a:lnTo>
                  <a:lnTo>
                    <a:pt x="617" y="513"/>
                  </a:lnTo>
                  <a:lnTo>
                    <a:pt x="620" y="513"/>
                  </a:lnTo>
                  <a:lnTo>
                    <a:pt x="620" y="513"/>
                  </a:lnTo>
                  <a:lnTo>
                    <a:pt x="620" y="513"/>
                  </a:lnTo>
                  <a:lnTo>
                    <a:pt x="620" y="510"/>
                  </a:lnTo>
                  <a:lnTo>
                    <a:pt x="622" y="510"/>
                  </a:lnTo>
                  <a:lnTo>
                    <a:pt x="624" y="506"/>
                  </a:lnTo>
                  <a:lnTo>
                    <a:pt x="627" y="501"/>
                  </a:lnTo>
                  <a:lnTo>
                    <a:pt x="629" y="499"/>
                  </a:lnTo>
                  <a:lnTo>
                    <a:pt x="631" y="496"/>
                  </a:lnTo>
                  <a:lnTo>
                    <a:pt x="634" y="494"/>
                  </a:lnTo>
                  <a:lnTo>
                    <a:pt x="639" y="491"/>
                  </a:lnTo>
                  <a:lnTo>
                    <a:pt x="636" y="491"/>
                  </a:lnTo>
                  <a:lnTo>
                    <a:pt x="636" y="491"/>
                  </a:lnTo>
                  <a:lnTo>
                    <a:pt x="636" y="489"/>
                  </a:lnTo>
                  <a:lnTo>
                    <a:pt x="639" y="489"/>
                  </a:lnTo>
                  <a:lnTo>
                    <a:pt x="639" y="489"/>
                  </a:lnTo>
                  <a:lnTo>
                    <a:pt x="639" y="489"/>
                  </a:lnTo>
                  <a:lnTo>
                    <a:pt x="641" y="487"/>
                  </a:lnTo>
                  <a:lnTo>
                    <a:pt x="643" y="484"/>
                  </a:lnTo>
                  <a:lnTo>
                    <a:pt x="643" y="482"/>
                  </a:lnTo>
                  <a:lnTo>
                    <a:pt x="646" y="480"/>
                  </a:lnTo>
                  <a:lnTo>
                    <a:pt x="646" y="480"/>
                  </a:lnTo>
                  <a:lnTo>
                    <a:pt x="648" y="477"/>
                  </a:lnTo>
                  <a:lnTo>
                    <a:pt x="648" y="477"/>
                  </a:lnTo>
                  <a:lnTo>
                    <a:pt x="650" y="475"/>
                  </a:lnTo>
                  <a:lnTo>
                    <a:pt x="653" y="473"/>
                  </a:lnTo>
                  <a:lnTo>
                    <a:pt x="655" y="470"/>
                  </a:lnTo>
                  <a:lnTo>
                    <a:pt x="660" y="468"/>
                  </a:lnTo>
                  <a:lnTo>
                    <a:pt x="662" y="465"/>
                  </a:lnTo>
                  <a:lnTo>
                    <a:pt x="667" y="463"/>
                  </a:lnTo>
                  <a:lnTo>
                    <a:pt x="667" y="463"/>
                  </a:lnTo>
                  <a:lnTo>
                    <a:pt x="667" y="463"/>
                  </a:lnTo>
                  <a:lnTo>
                    <a:pt x="667" y="463"/>
                  </a:lnTo>
                  <a:lnTo>
                    <a:pt x="667" y="463"/>
                  </a:lnTo>
                  <a:lnTo>
                    <a:pt x="669" y="461"/>
                  </a:lnTo>
                  <a:lnTo>
                    <a:pt x="672" y="461"/>
                  </a:lnTo>
                  <a:lnTo>
                    <a:pt x="674" y="458"/>
                  </a:lnTo>
                  <a:lnTo>
                    <a:pt x="676" y="456"/>
                  </a:lnTo>
                  <a:lnTo>
                    <a:pt x="679" y="454"/>
                  </a:lnTo>
                  <a:lnTo>
                    <a:pt x="679" y="449"/>
                  </a:lnTo>
                  <a:lnTo>
                    <a:pt x="686" y="444"/>
                  </a:lnTo>
                  <a:lnTo>
                    <a:pt x="693" y="437"/>
                  </a:lnTo>
                  <a:lnTo>
                    <a:pt x="695" y="432"/>
                  </a:lnTo>
                  <a:lnTo>
                    <a:pt x="695" y="430"/>
                  </a:lnTo>
                  <a:lnTo>
                    <a:pt x="697" y="425"/>
                  </a:lnTo>
                  <a:lnTo>
                    <a:pt x="700" y="421"/>
                  </a:lnTo>
                  <a:lnTo>
                    <a:pt x="700" y="418"/>
                  </a:lnTo>
                  <a:lnTo>
                    <a:pt x="707" y="409"/>
                  </a:lnTo>
                  <a:lnTo>
                    <a:pt x="709" y="406"/>
                  </a:lnTo>
                  <a:lnTo>
                    <a:pt x="712" y="404"/>
                  </a:lnTo>
                  <a:lnTo>
                    <a:pt x="714" y="395"/>
                  </a:lnTo>
                  <a:lnTo>
                    <a:pt x="716" y="392"/>
                  </a:lnTo>
                  <a:lnTo>
                    <a:pt x="721" y="385"/>
                  </a:lnTo>
                  <a:lnTo>
                    <a:pt x="726" y="383"/>
                  </a:lnTo>
                  <a:lnTo>
                    <a:pt x="726" y="378"/>
                  </a:lnTo>
                  <a:lnTo>
                    <a:pt x="726" y="376"/>
                  </a:lnTo>
                  <a:lnTo>
                    <a:pt x="728" y="369"/>
                  </a:lnTo>
                  <a:lnTo>
                    <a:pt x="728" y="364"/>
                  </a:lnTo>
                  <a:lnTo>
                    <a:pt x="728" y="361"/>
                  </a:lnTo>
                  <a:lnTo>
                    <a:pt x="728" y="359"/>
                  </a:lnTo>
                  <a:lnTo>
                    <a:pt x="728" y="352"/>
                  </a:lnTo>
                  <a:lnTo>
                    <a:pt x="728" y="347"/>
                  </a:lnTo>
                  <a:lnTo>
                    <a:pt x="730" y="343"/>
                  </a:lnTo>
                  <a:lnTo>
                    <a:pt x="733" y="328"/>
                  </a:lnTo>
                  <a:lnTo>
                    <a:pt x="738" y="321"/>
                  </a:lnTo>
                  <a:lnTo>
                    <a:pt x="735" y="319"/>
                  </a:lnTo>
                  <a:lnTo>
                    <a:pt x="735" y="319"/>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6" name="Freeform 392"/>
            <p:cNvSpPr>
              <a:spLocks noEditPoints="1"/>
            </p:cNvSpPr>
            <p:nvPr userDrawn="1"/>
          </p:nvSpPr>
          <p:spPr bwMode="auto">
            <a:xfrm>
              <a:off x="4409" y="1938"/>
              <a:ext cx="59" cy="47"/>
            </a:xfrm>
            <a:custGeom>
              <a:avLst/>
              <a:gdLst>
                <a:gd name="T0" fmla="*/ 38 w 59"/>
                <a:gd name="T1" fmla="*/ 14 h 47"/>
                <a:gd name="T2" fmla="*/ 38 w 59"/>
                <a:gd name="T3" fmla="*/ 11 h 47"/>
                <a:gd name="T4" fmla="*/ 59 w 59"/>
                <a:gd name="T5" fmla="*/ 40 h 47"/>
                <a:gd name="T6" fmla="*/ 59 w 59"/>
                <a:gd name="T7" fmla="*/ 40 h 47"/>
                <a:gd name="T8" fmla="*/ 57 w 59"/>
                <a:gd name="T9" fmla="*/ 37 h 47"/>
                <a:gd name="T10" fmla="*/ 57 w 59"/>
                <a:gd name="T11" fmla="*/ 35 h 47"/>
                <a:gd name="T12" fmla="*/ 55 w 59"/>
                <a:gd name="T13" fmla="*/ 33 h 47"/>
                <a:gd name="T14" fmla="*/ 50 w 59"/>
                <a:gd name="T15" fmla="*/ 30 h 47"/>
                <a:gd name="T16" fmla="*/ 45 w 59"/>
                <a:gd name="T17" fmla="*/ 26 h 47"/>
                <a:gd name="T18" fmla="*/ 41 w 59"/>
                <a:gd name="T19" fmla="*/ 26 h 47"/>
                <a:gd name="T20" fmla="*/ 41 w 59"/>
                <a:gd name="T21" fmla="*/ 23 h 47"/>
                <a:gd name="T22" fmla="*/ 43 w 59"/>
                <a:gd name="T23" fmla="*/ 26 h 47"/>
                <a:gd name="T24" fmla="*/ 45 w 59"/>
                <a:gd name="T25" fmla="*/ 26 h 47"/>
                <a:gd name="T26" fmla="*/ 48 w 59"/>
                <a:gd name="T27" fmla="*/ 21 h 47"/>
                <a:gd name="T28" fmla="*/ 38 w 59"/>
                <a:gd name="T29" fmla="*/ 14 h 47"/>
                <a:gd name="T30" fmla="*/ 36 w 59"/>
                <a:gd name="T31" fmla="*/ 11 h 47"/>
                <a:gd name="T32" fmla="*/ 38 w 59"/>
                <a:gd name="T33" fmla="*/ 9 h 47"/>
                <a:gd name="T34" fmla="*/ 36 w 59"/>
                <a:gd name="T35" fmla="*/ 4 h 47"/>
                <a:gd name="T36" fmla="*/ 29 w 59"/>
                <a:gd name="T37" fmla="*/ 4 h 47"/>
                <a:gd name="T38" fmla="*/ 29 w 59"/>
                <a:gd name="T39" fmla="*/ 2 h 47"/>
                <a:gd name="T40" fmla="*/ 31 w 59"/>
                <a:gd name="T41" fmla="*/ 2 h 47"/>
                <a:gd name="T42" fmla="*/ 26 w 59"/>
                <a:gd name="T43" fmla="*/ 0 h 47"/>
                <a:gd name="T44" fmla="*/ 24 w 59"/>
                <a:gd name="T45" fmla="*/ 0 h 47"/>
                <a:gd name="T46" fmla="*/ 19 w 59"/>
                <a:gd name="T47" fmla="*/ 0 h 47"/>
                <a:gd name="T48" fmla="*/ 12 w 59"/>
                <a:gd name="T49" fmla="*/ 0 h 47"/>
                <a:gd name="T50" fmla="*/ 8 w 59"/>
                <a:gd name="T51" fmla="*/ 2 h 47"/>
                <a:gd name="T52" fmla="*/ 0 w 59"/>
                <a:gd name="T53" fmla="*/ 2 h 47"/>
                <a:gd name="T54" fmla="*/ 3 w 59"/>
                <a:gd name="T55" fmla="*/ 7 h 47"/>
                <a:gd name="T56" fmla="*/ 8 w 59"/>
                <a:gd name="T57" fmla="*/ 11 h 47"/>
                <a:gd name="T58" fmla="*/ 5 w 59"/>
                <a:gd name="T59" fmla="*/ 16 h 47"/>
                <a:gd name="T60" fmla="*/ 5 w 59"/>
                <a:gd name="T61" fmla="*/ 18 h 47"/>
                <a:gd name="T62" fmla="*/ 8 w 59"/>
                <a:gd name="T63" fmla="*/ 23 h 47"/>
                <a:gd name="T64" fmla="*/ 12 w 59"/>
                <a:gd name="T65" fmla="*/ 26 h 47"/>
                <a:gd name="T66" fmla="*/ 19 w 59"/>
                <a:gd name="T67" fmla="*/ 26 h 47"/>
                <a:gd name="T68" fmla="*/ 26 w 59"/>
                <a:gd name="T69" fmla="*/ 30 h 47"/>
                <a:gd name="T70" fmla="*/ 31 w 59"/>
                <a:gd name="T71" fmla="*/ 28 h 47"/>
                <a:gd name="T72" fmla="*/ 33 w 59"/>
                <a:gd name="T73" fmla="*/ 30 h 47"/>
                <a:gd name="T74" fmla="*/ 36 w 59"/>
                <a:gd name="T75" fmla="*/ 33 h 47"/>
                <a:gd name="T76" fmla="*/ 41 w 59"/>
                <a:gd name="T77" fmla="*/ 35 h 47"/>
                <a:gd name="T78" fmla="*/ 45 w 59"/>
                <a:gd name="T79" fmla="*/ 33 h 47"/>
                <a:gd name="T80" fmla="*/ 45 w 59"/>
                <a:gd name="T81" fmla="*/ 37 h 47"/>
                <a:gd name="T82" fmla="*/ 50 w 59"/>
                <a:gd name="T83" fmla="*/ 40 h 47"/>
                <a:gd name="T84" fmla="*/ 52 w 59"/>
                <a:gd name="T85" fmla="*/ 44 h 47"/>
                <a:gd name="T86" fmla="*/ 55 w 59"/>
                <a:gd name="T87" fmla="*/ 47 h 47"/>
                <a:gd name="T88" fmla="*/ 59 w 59"/>
                <a:gd name="T89" fmla="*/ 44 h 47"/>
                <a:gd name="T90" fmla="*/ 57 w 59"/>
                <a:gd name="T91" fmla="*/ 42 h 47"/>
                <a:gd name="T92" fmla="*/ 59 w 59"/>
                <a:gd name="T93" fmla="*/ 40 h 47"/>
                <a:gd name="T94" fmla="*/ 26 w 59"/>
                <a:gd name="T95" fmla="*/ 4 h 47"/>
                <a:gd name="T96" fmla="*/ 26 w 59"/>
                <a:gd name="T97" fmla="*/ 2 h 47"/>
                <a:gd name="T98" fmla="*/ 29 w 59"/>
                <a:gd name="T9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 h="47">
                  <a:moveTo>
                    <a:pt x="38" y="11"/>
                  </a:moveTo>
                  <a:lnTo>
                    <a:pt x="38" y="11"/>
                  </a:lnTo>
                  <a:lnTo>
                    <a:pt x="38" y="14"/>
                  </a:lnTo>
                  <a:lnTo>
                    <a:pt x="38" y="14"/>
                  </a:lnTo>
                  <a:lnTo>
                    <a:pt x="38" y="14"/>
                  </a:lnTo>
                  <a:lnTo>
                    <a:pt x="38" y="11"/>
                  </a:lnTo>
                  <a:lnTo>
                    <a:pt x="38" y="11"/>
                  </a:lnTo>
                  <a:lnTo>
                    <a:pt x="38" y="11"/>
                  </a:lnTo>
                  <a:close/>
                  <a:moveTo>
                    <a:pt x="59" y="40"/>
                  </a:moveTo>
                  <a:lnTo>
                    <a:pt x="59" y="40"/>
                  </a:lnTo>
                  <a:lnTo>
                    <a:pt x="59" y="40"/>
                  </a:lnTo>
                  <a:lnTo>
                    <a:pt x="59" y="40"/>
                  </a:lnTo>
                  <a:lnTo>
                    <a:pt x="57" y="37"/>
                  </a:lnTo>
                  <a:lnTo>
                    <a:pt x="57" y="37"/>
                  </a:lnTo>
                  <a:lnTo>
                    <a:pt x="57" y="37"/>
                  </a:lnTo>
                  <a:lnTo>
                    <a:pt x="57" y="37"/>
                  </a:lnTo>
                  <a:lnTo>
                    <a:pt x="57" y="35"/>
                  </a:lnTo>
                  <a:lnTo>
                    <a:pt x="57" y="35"/>
                  </a:lnTo>
                  <a:lnTo>
                    <a:pt x="57" y="35"/>
                  </a:lnTo>
                  <a:lnTo>
                    <a:pt x="57" y="33"/>
                  </a:lnTo>
                  <a:lnTo>
                    <a:pt x="55" y="33"/>
                  </a:lnTo>
                  <a:lnTo>
                    <a:pt x="52" y="33"/>
                  </a:lnTo>
                  <a:lnTo>
                    <a:pt x="50" y="30"/>
                  </a:lnTo>
                  <a:lnTo>
                    <a:pt x="50" y="30"/>
                  </a:lnTo>
                  <a:lnTo>
                    <a:pt x="48" y="28"/>
                  </a:lnTo>
                  <a:lnTo>
                    <a:pt x="45" y="28"/>
                  </a:lnTo>
                  <a:lnTo>
                    <a:pt x="45" y="26"/>
                  </a:lnTo>
                  <a:lnTo>
                    <a:pt x="43" y="26"/>
                  </a:lnTo>
                  <a:lnTo>
                    <a:pt x="41" y="26"/>
                  </a:lnTo>
                  <a:lnTo>
                    <a:pt x="41" y="26"/>
                  </a:lnTo>
                  <a:lnTo>
                    <a:pt x="41" y="26"/>
                  </a:lnTo>
                  <a:lnTo>
                    <a:pt x="41" y="26"/>
                  </a:lnTo>
                  <a:lnTo>
                    <a:pt x="41" y="23"/>
                  </a:lnTo>
                  <a:lnTo>
                    <a:pt x="41" y="26"/>
                  </a:lnTo>
                  <a:lnTo>
                    <a:pt x="43" y="26"/>
                  </a:lnTo>
                  <a:lnTo>
                    <a:pt x="43" y="26"/>
                  </a:lnTo>
                  <a:lnTo>
                    <a:pt x="45" y="26"/>
                  </a:lnTo>
                  <a:lnTo>
                    <a:pt x="45" y="26"/>
                  </a:lnTo>
                  <a:lnTo>
                    <a:pt x="45" y="26"/>
                  </a:lnTo>
                  <a:lnTo>
                    <a:pt x="48" y="23"/>
                  </a:lnTo>
                  <a:lnTo>
                    <a:pt x="48" y="21"/>
                  </a:lnTo>
                  <a:lnTo>
                    <a:pt x="48" y="21"/>
                  </a:lnTo>
                  <a:lnTo>
                    <a:pt x="43" y="18"/>
                  </a:lnTo>
                  <a:lnTo>
                    <a:pt x="41" y="16"/>
                  </a:lnTo>
                  <a:lnTo>
                    <a:pt x="38" y="14"/>
                  </a:lnTo>
                  <a:lnTo>
                    <a:pt x="36" y="11"/>
                  </a:lnTo>
                  <a:lnTo>
                    <a:pt x="36" y="11"/>
                  </a:lnTo>
                  <a:lnTo>
                    <a:pt x="36" y="11"/>
                  </a:lnTo>
                  <a:lnTo>
                    <a:pt x="38" y="9"/>
                  </a:lnTo>
                  <a:lnTo>
                    <a:pt x="38" y="9"/>
                  </a:lnTo>
                  <a:lnTo>
                    <a:pt x="38" y="9"/>
                  </a:lnTo>
                  <a:lnTo>
                    <a:pt x="38" y="7"/>
                  </a:lnTo>
                  <a:lnTo>
                    <a:pt x="36" y="7"/>
                  </a:lnTo>
                  <a:lnTo>
                    <a:pt x="36" y="4"/>
                  </a:lnTo>
                  <a:lnTo>
                    <a:pt x="33" y="4"/>
                  </a:lnTo>
                  <a:lnTo>
                    <a:pt x="33" y="4"/>
                  </a:lnTo>
                  <a:lnTo>
                    <a:pt x="29" y="4"/>
                  </a:lnTo>
                  <a:lnTo>
                    <a:pt x="29" y="4"/>
                  </a:lnTo>
                  <a:lnTo>
                    <a:pt x="29" y="2"/>
                  </a:lnTo>
                  <a:lnTo>
                    <a:pt x="29" y="2"/>
                  </a:lnTo>
                  <a:lnTo>
                    <a:pt x="31" y="2"/>
                  </a:lnTo>
                  <a:lnTo>
                    <a:pt x="31" y="2"/>
                  </a:lnTo>
                  <a:lnTo>
                    <a:pt x="31" y="2"/>
                  </a:lnTo>
                  <a:lnTo>
                    <a:pt x="29" y="2"/>
                  </a:lnTo>
                  <a:lnTo>
                    <a:pt x="26" y="0"/>
                  </a:lnTo>
                  <a:lnTo>
                    <a:pt x="26" y="0"/>
                  </a:lnTo>
                  <a:lnTo>
                    <a:pt x="26" y="0"/>
                  </a:lnTo>
                  <a:lnTo>
                    <a:pt x="24" y="0"/>
                  </a:lnTo>
                  <a:lnTo>
                    <a:pt x="24" y="0"/>
                  </a:lnTo>
                  <a:lnTo>
                    <a:pt x="24" y="0"/>
                  </a:lnTo>
                  <a:lnTo>
                    <a:pt x="24" y="0"/>
                  </a:lnTo>
                  <a:lnTo>
                    <a:pt x="19" y="0"/>
                  </a:lnTo>
                  <a:lnTo>
                    <a:pt x="19" y="2"/>
                  </a:lnTo>
                  <a:lnTo>
                    <a:pt x="15" y="0"/>
                  </a:lnTo>
                  <a:lnTo>
                    <a:pt x="12" y="0"/>
                  </a:lnTo>
                  <a:lnTo>
                    <a:pt x="12" y="2"/>
                  </a:lnTo>
                  <a:lnTo>
                    <a:pt x="10" y="2"/>
                  </a:lnTo>
                  <a:lnTo>
                    <a:pt x="8" y="2"/>
                  </a:lnTo>
                  <a:lnTo>
                    <a:pt x="5" y="2"/>
                  </a:lnTo>
                  <a:lnTo>
                    <a:pt x="3" y="2"/>
                  </a:lnTo>
                  <a:lnTo>
                    <a:pt x="0" y="2"/>
                  </a:lnTo>
                  <a:lnTo>
                    <a:pt x="0" y="4"/>
                  </a:lnTo>
                  <a:lnTo>
                    <a:pt x="3" y="4"/>
                  </a:lnTo>
                  <a:lnTo>
                    <a:pt x="3" y="7"/>
                  </a:lnTo>
                  <a:lnTo>
                    <a:pt x="5" y="7"/>
                  </a:lnTo>
                  <a:lnTo>
                    <a:pt x="5" y="9"/>
                  </a:lnTo>
                  <a:lnTo>
                    <a:pt x="8" y="11"/>
                  </a:lnTo>
                  <a:lnTo>
                    <a:pt x="8" y="11"/>
                  </a:lnTo>
                  <a:lnTo>
                    <a:pt x="8" y="14"/>
                  </a:lnTo>
                  <a:lnTo>
                    <a:pt x="5" y="16"/>
                  </a:lnTo>
                  <a:lnTo>
                    <a:pt x="5" y="16"/>
                  </a:lnTo>
                  <a:lnTo>
                    <a:pt x="5" y="18"/>
                  </a:lnTo>
                  <a:lnTo>
                    <a:pt x="5" y="18"/>
                  </a:lnTo>
                  <a:lnTo>
                    <a:pt x="8" y="21"/>
                  </a:lnTo>
                  <a:lnTo>
                    <a:pt x="8" y="23"/>
                  </a:lnTo>
                  <a:lnTo>
                    <a:pt x="8" y="23"/>
                  </a:lnTo>
                  <a:lnTo>
                    <a:pt x="8" y="23"/>
                  </a:lnTo>
                  <a:lnTo>
                    <a:pt x="10" y="23"/>
                  </a:lnTo>
                  <a:lnTo>
                    <a:pt x="12" y="26"/>
                  </a:lnTo>
                  <a:lnTo>
                    <a:pt x="15" y="26"/>
                  </a:lnTo>
                  <a:lnTo>
                    <a:pt x="17" y="26"/>
                  </a:lnTo>
                  <a:lnTo>
                    <a:pt x="19" y="26"/>
                  </a:lnTo>
                  <a:lnTo>
                    <a:pt x="22" y="23"/>
                  </a:lnTo>
                  <a:lnTo>
                    <a:pt x="24" y="26"/>
                  </a:lnTo>
                  <a:lnTo>
                    <a:pt x="26" y="30"/>
                  </a:lnTo>
                  <a:lnTo>
                    <a:pt x="29" y="30"/>
                  </a:lnTo>
                  <a:lnTo>
                    <a:pt x="29" y="30"/>
                  </a:lnTo>
                  <a:lnTo>
                    <a:pt x="31" y="28"/>
                  </a:lnTo>
                  <a:lnTo>
                    <a:pt x="33" y="30"/>
                  </a:lnTo>
                  <a:lnTo>
                    <a:pt x="33" y="30"/>
                  </a:lnTo>
                  <a:lnTo>
                    <a:pt x="33" y="30"/>
                  </a:lnTo>
                  <a:lnTo>
                    <a:pt x="36" y="33"/>
                  </a:lnTo>
                  <a:lnTo>
                    <a:pt x="36" y="33"/>
                  </a:lnTo>
                  <a:lnTo>
                    <a:pt x="36" y="33"/>
                  </a:lnTo>
                  <a:lnTo>
                    <a:pt x="38" y="33"/>
                  </a:lnTo>
                  <a:lnTo>
                    <a:pt x="38" y="35"/>
                  </a:lnTo>
                  <a:lnTo>
                    <a:pt x="41" y="35"/>
                  </a:lnTo>
                  <a:lnTo>
                    <a:pt x="43" y="33"/>
                  </a:lnTo>
                  <a:lnTo>
                    <a:pt x="43" y="33"/>
                  </a:lnTo>
                  <a:lnTo>
                    <a:pt x="45" y="33"/>
                  </a:lnTo>
                  <a:lnTo>
                    <a:pt x="45" y="33"/>
                  </a:lnTo>
                  <a:lnTo>
                    <a:pt x="45" y="35"/>
                  </a:lnTo>
                  <a:lnTo>
                    <a:pt x="45" y="37"/>
                  </a:lnTo>
                  <a:lnTo>
                    <a:pt x="45" y="37"/>
                  </a:lnTo>
                  <a:lnTo>
                    <a:pt x="48" y="37"/>
                  </a:lnTo>
                  <a:lnTo>
                    <a:pt x="50" y="40"/>
                  </a:lnTo>
                  <a:lnTo>
                    <a:pt x="50" y="40"/>
                  </a:lnTo>
                  <a:lnTo>
                    <a:pt x="50" y="42"/>
                  </a:lnTo>
                  <a:lnTo>
                    <a:pt x="52" y="44"/>
                  </a:lnTo>
                  <a:lnTo>
                    <a:pt x="52" y="47"/>
                  </a:lnTo>
                  <a:lnTo>
                    <a:pt x="52" y="47"/>
                  </a:lnTo>
                  <a:lnTo>
                    <a:pt x="55" y="47"/>
                  </a:lnTo>
                  <a:lnTo>
                    <a:pt x="57" y="47"/>
                  </a:lnTo>
                  <a:lnTo>
                    <a:pt x="59" y="47"/>
                  </a:lnTo>
                  <a:lnTo>
                    <a:pt x="59" y="44"/>
                  </a:lnTo>
                  <a:lnTo>
                    <a:pt x="59" y="44"/>
                  </a:lnTo>
                  <a:lnTo>
                    <a:pt x="59" y="42"/>
                  </a:lnTo>
                  <a:lnTo>
                    <a:pt x="57" y="42"/>
                  </a:lnTo>
                  <a:lnTo>
                    <a:pt x="57" y="42"/>
                  </a:lnTo>
                  <a:lnTo>
                    <a:pt x="57" y="40"/>
                  </a:lnTo>
                  <a:lnTo>
                    <a:pt x="59" y="40"/>
                  </a:lnTo>
                  <a:close/>
                  <a:moveTo>
                    <a:pt x="29" y="4"/>
                  </a:moveTo>
                  <a:lnTo>
                    <a:pt x="29" y="4"/>
                  </a:lnTo>
                  <a:lnTo>
                    <a:pt x="26" y="4"/>
                  </a:lnTo>
                  <a:lnTo>
                    <a:pt x="26" y="4"/>
                  </a:lnTo>
                  <a:lnTo>
                    <a:pt x="26" y="4"/>
                  </a:lnTo>
                  <a:lnTo>
                    <a:pt x="26" y="2"/>
                  </a:lnTo>
                  <a:lnTo>
                    <a:pt x="29" y="4"/>
                  </a:lnTo>
                  <a:lnTo>
                    <a:pt x="29" y="4"/>
                  </a:lnTo>
                  <a:lnTo>
                    <a:pt x="29" y="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7" name="Freeform 393"/>
            <p:cNvSpPr>
              <a:spLocks noEditPoints="1"/>
            </p:cNvSpPr>
            <p:nvPr userDrawn="1"/>
          </p:nvSpPr>
          <p:spPr bwMode="auto">
            <a:xfrm>
              <a:off x="2409" y="3269"/>
              <a:ext cx="285" cy="693"/>
            </a:xfrm>
            <a:custGeom>
              <a:avLst/>
              <a:gdLst>
                <a:gd name="T0" fmla="*/ 278 w 285"/>
                <a:gd name="T1" fmla="*/ 688 h 693"/>
                <a:gd name="T2" fmla="*/ 209 w 285"/>
                <a:gd name="T3" fmla="*/ 664 h 693"/>
                <a:gd name="T4" fmla="*/ 195 w 285"/>
                <a:gd name="T5" fmla="*/ 657 h 693"/>
                <a:gd name="T6" fmla="*/ 247 w 285"/>
                <a:gd name="T7" fmla="*/ 690 h 693"/>
                <a:gd name="T8" fmla="*/ 268 w 285"/>
                <a:gd name="T9" fmla="*/ 307 h 693"/>
                <a:gd name="T10" fmla="*/ 228 w 285"/>
                <a:gd name="T11" fmla="*/ 262 h 693"/>
                <a:gd name="T12" fmla="*/ 223 w 285"/>
                <a:gd name="T13" fmla="*/ 222 h 693"/>
                <a:gd name="T14" fmla="*/ 223 w 285"/>
                <a:gd name="T15" fmla="*/ 198 h 693"/>
                <a:gd name="T16" fmla="*/ 228 w 285"/>
                <a:gd name="T17" fmla="*/ 170 h 693"/>
                <a:gd name="T18" fmla="*/ 249 w 285"/>
                <a:gd name="T19" fmla="*/ 139 h 693"/>
                <a:gd name="T20" fmla="*/ 261 w 285"/>
                <a:gd name="T21" fmla="*/ 127 h 693"/>
                <a:gd name="T22" fmla="*/ 275 w 285"/>
                <a:gd name="T23" fmla="*/ 116 h 693"/>
                <a:gd name="T24" fmla="*/ 278 w 285"/>
                <a:gd name="T25" fmla="*/ 87 h 693"/>
                <a:gd name="T26" fmla="*/ 263 w 285"/>
                <a:gd name="T27" fmla="*/ 94 h 693"/>
                <a:gd name="T28" fmla="*/ 249 w 285"/>
                <a:gd name="T29" fmla="*/ 116 h 693"/>
                <a:gd name="T30" fmla="*/ 226 w 285"/>
                <a:gd name="T31" fmla="*/ 118 h 693"/>
                <a:gd name="T32" fmla="*/ 200 w 285"/>
                <a:gd name="T33" fmla="*/ 104 h 693"/>
                <a:gd name="T34" fmla="*/ 207 w 285"/>
                <a:gd name="T35" fmla="*/ 83 h 693"/>
                <a:gd name="T36" fmla="*/ 186 w 285"/>
                <a:gd name="T37" fmla="*/ 61 h 693"/>
                <a:gd name="T38" fmla="*/ 129 w 285"/>
                <a:gd name="T39" fmla="*/ 30 h 693"/>
                <a:gd name="T40" fmla="*/ 89 w 285"/>
                <a:gd name="T41" fmla="*/ 4 h 693"/>
                <a:gd name="T42" fmla="*/ 70 w 285"/>
                <a:gd name="T43" fmla="*/ 7 h 693"/>
                <a:gd name="T44" fmla="*/ 37 w 285"/>
                <a:gd name="T45" fmla="*/ 7 h 693"/>
                <a:gd name="T46" fmla="*/ 23 w 285"/>
                <a:gd name="T47" fmla="*/ 47 h 693"/>
                <a:gd name="T48" fmla="*/ 11 w 285"/>
                <a:gd name="T49" fmla="*/ 71 h 693"/>
                <a:gd name="T50" fmla="*/ 21 w 285"/>
                <a:gd name="T51" fmla="*/ 109 h 693"/>
                <a:gd name="T52" fmla="*/ 7 w 285"/>
                <a:gd name="T53" fmla="*/ 132 h 693"/>
                <a:gd name="T54" fmla="*/ 4 w 285"/>
                <a:gd name="T55" fmla="*/ 172 h 693"/>
                <a:gd name="T56" fmla="*/ 2 w 285"/>
                <a:gd name="T57" fmla="*/ 194 h 693"/>
                <a:gd name="T58" fmla="*/ 7 w 285"/>
                <a:gd name="T59" fmla="*/ 215 h 693"/>
                <a:gd name="T60" fmla="*/ 18 w 285"/>
                <a:gd name="T61" fmla="*/ 241 h 693"/>
                <a:gd name="T62" fmla="*/ 23 w 285"/>
                <a:gd name="T63" fmla="*/ 265 h 693"/>
                <a:gd name="T64" fmla="*/ 25 w 285"/>
                <a:gd name="T65" fmla="*/ 291 h 693"/>
                <a:gd name="T66" fmla="*/ 21 w 285"/>
                <a:gd name="T67" fmla="*/ 312 h 693"/>
                <a:gd name="T68" fmla="*/ 33 w 285"/>
                <a:gd name="T69" fmla="*/ 350 h 693"/>
                <a:gd name="T70" fmla="*/ 30 w 285"/>
                <a:gd name="T71" fmla="*/ 373 h 693"/>
                <a:gd name="T72" fmla="*/ 33 w 285"/>
                <a:gd name="T73" fmla="*/ 390 h 693"/>
                <a:gd name="T74" fmla="*/ 44 w 285"/>
                <a:gd name="T75" fmla="*/ 423 h 693"/>
                <a:gd name="T76" fmla="*/ 47 w 285"/>
                <a:gd name="T77" fmla="*/ 447 h 693"/>
                <a:gd name="T78" fmla="*/ 61 w 285"/>
                <a:gd name="T79" fmla="*/ 466 h 693"/>
                <a:gd name="T80" fmla="*/ 63 w 285"/>
                <a:gd name="T81" fmla="*/ 482 h 693"/>
                <a:gd name="T82" fmla="*/ 80 w 285"/>
                <a:gd name="T83" fmla="*/ 506 h 693"/>
                <a:gd name="T84" fmla="*/ 84 w 285"/>
                <a:gd name="T85" fmla="*/ 532 h 693"/>
                <a:gd name="T86" fmla="*/ 84 w 285"/>
                <a:gd name="T87" fmla="*/ 560 h 693"/>
                <a:gd name="T88" fmla="*/ 84 w 285"/>
                <a:gd name="T89" fmla="*/ 586 h 693"/>
                <a:gd name="T90" fmla="*/ 108 w 285"/>
                <a:gd name="T91" fmla="*/ 603 h 693"/>
                <a:gd name="T92" fmla="*/ 127 w 285"/>
                <a:gd name="T93" fmla="*/ 629 h 693"/>
                <a:gd name="T94" fmla="*/ 186 w 285"/>
                <a:gd name="T95" fmla="*/ 636 h 693"/>
                <a:gd name="T96" fmla="*/ 162 w 285"/>
                <a:gd name="T97" fmla="*/ 610 h 693"/>
                <a:gd name="T98" fmla="*/ 157 w 285"/>
                <a:gd name="T99" fmla="*/ 591 h 693"/>
                <a:gd name="T100" fmla="*/ 174 w 285"/>
                <a:gd name="T101" fmla="*/ 570 h 693"/>
                <a:gd name="T102" fmla="*/ 188 w 285"/>
                <a:gd name="T103" fmla="*/ 544 h 693"/>
                <a:gd name="T104" fmla="*/ 148 w 285"/>
                <a:gd name="T105" fmla="*/ 499 h 693"/>
                <a:gd name="T106" fmla="*/ 172 w 285"/>
                <a:gd name="T107" fmla="*/ 468 h 693"/>
                <a:gd name="T108" fmla="*/ 167 w 285"/>
                <a:gd name="T109" fmla="*/ 437 h 693"/>
                <a:gd name="T110" fmla="*/ 179 w 285"/>
                <a:gd name="T111" fmla="*/ 428 h 693"/>
                <a:gd name="T112" fmla="*/ 160 w 285"/>
                <a:gd name="T113" fmla="*/ 425 h 693"/>
                <a:gd name="T114" fmla="*/ 174 w 285"/>
                <a:gd name="T115" fmla="*/ 406 h 693"/>
                <a:gd name="T116" fmla="*/ 193 w 285"/>
                <a:gd name="T117" fmla="*/ 373 h 693"/>
                <a:gd name="T118" fmla="*/ 228 w 285"/>
                <a:gd name="T119" fmla="*/ 359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5" h="693">
                  <a:moveTo>
                    <a:pt x="285" y="685"/>
                  </a:moveTo>
                  <a:lnTo>
                    <a:pt x="282" y="685"/>
                  </a:lnTo>
                  <a:lnTo>
                    <a:pt x="280" y="685"/>
                  </a:lnTo>
                  <a:lnTo>
                    <a:pt x="280" y="685"/>
                  </a:lnTo>
                  <a:lnTo>
                    <a:pt x="280" y="685"/>
                  </a:lnTo>
                  <a:lnTo>
                    <a:pt x="278" y="685"/>
                  </a:lnTo>
                  <a:lnTo>
                    <a:pt x="275" y="685"/>
                  </a:lnTo>
                  <a:lnTo>
                    <a:pt x="273" y="685"/>
                  </a:lnTo>
                  <a:lnTo>
                    <a:pt x="273" y="685"/>
                  </a:lnTo>
                  <a:lnTo>
                    <a:pt x="273" y="688"/>
                  </a:lnTo>
                  <a:lnTo>
                    <a:pt x="271" y="688"/>
                  </a:lnTo>
                  <a:lnTo>
                    <a:pt x="271" y="688"/>
                  </a:lnTo>
                  <a:lnTo>
                    <a:pt x="271" y="688"/>
                  </a:lnTo>
                  <a:lnTo>
                    <a:pt x="273" y="690"/>
                  </a:lnTo>
                  <a:lnTo>
                    <a:pt x="275" y="688"/>
                  </a:lnTo>
                  <a:lnTo>
                    <a:pt x="275" y="688"/>
                  </a:lnTo>
                  <a:lnTo>
                    <a:pt x="278" y="688"/>
                  </a:lnTo>
                  <a:lnTo>
                    <a:pt x="282" y="688"/>
                  </a:lnTo>
                  <a:lnTo>
                    <a:pt x="282" y="688"/>
                  </a:lnTo>
                  <a:lnTo>
                    <a:pt x="285" y="685"/>
                  </a:lnTo>
                  <a:lnTo>
                    <a:pt x="285" y="685"/>
                  </a:lnTo>
                  <a:close/>
                  <a:moveTo>
                    <a:pt x="259" y="683"/>
                  </a:moveTo>
                  <a:lnTo>
                    <a:pt x="254" y="683"/>
                  </a:lnTo>
                  <a:lnTo>
                    <a:pt x="249" y="683"/>
                  </a:lnTo>
                  <a:lnTo>
                    <a:pt x="245" y="681"/>
                  </a:lnTo>
                  <a:lnTo>
                    <a:pt x="240" y="681"/>
                  </a:lnTo>
                  <a:lnTo>
                    <a:pt x="235" y="678"/>
                  </a:lnTo>
                  <a:lnTo>
                    <a:pt x="230" y="676"/>
                  </a:lnTo>
                  <a:lnTo>
                    <a:pt x="228" y="674"/>
                  </a:lnTo>
                  <a:lnTo>
                    <a:pt x="223" y="671"/>
                  </a:lnTo>
                  <a:lnTo>
                    <a:pt x="219" y="669"/>
                  </a:lnTo>
                  <a:lnTo>
                    <a:pt x="214" y="667"/>
                  </a:lnTo>
                  <a:lnTo>
                    <a:pt x="212" y="664"/>
                  </a:lnTo>
                  <a:lnTo>
                    <a:pt x="209" y="664"/>
                  </a:lnTo>
                  <a:lnTo>
                    <a:pt x="207" y="662"/>
                  </a:lnTo>
                  <a:lnTo>
                    <a:pt x="202" y="657"/>
                  </a:lnTo>
                  <a:lnTo>
                    <a:pt x="202" y="657"/>
                  </a:lnTo>
                  <a:lnTo>
                    <a:pt x="198" y="657"/>
                  </a:lnTo>
                  <a:lnTo>
                    <a:pt x="198" y="657"/>
                  </a:lnTo>
                  <a:lnTo>
                    <a:pt x="195" y="655"/>
                  </a:lnTo>
                  <a:lnTo>
                    <a:pt x="195" y="655"/>
                  </a:lnTo>
                  <a:lnTo>
                    <a:pt x="195" y="652"/>
                  </a:lnTo>
                  <a:lnTo>
                    <a:pt x="195" y="652"/>
                  </a:lnTo>
                  <a:lnTo>
                    <a:pt x="198" y="652"/>
                  </a:lnTo>
                  <a:lnTo>
                    <a:pt x="200" y="652"/>
                  </a:lnTo>
                  <a:lnTo>
                    <a:pt x="198" y="650"/>
                  </a:lnTo>
                  <a:lnTo>
                    <a:pt x="195" y="650"/>
                  </a:lnTo>
                  <a:lnTo>
                    <a:pt x="190" y="645"/>
                  </a:lnTo>
                  <a:lnTo>
                    <a:pt x="188" y="645"/>
                  </a:lnTo>
                  <a:lnTo>
                    <a:pt x="190" y="650"/>
                  </a:lnTo>
                  <a:lnTo>
                    <a:pt x="195" y="657"/>
                  </a:lnTo>
                  <a:lnTo>
                    <a:pt x="198" y="662"/>
                  </a:lnTo>
                  <a:lnTo>
                    <a:pt x="200" y="667"/>
                  </a:lnTo>
                  <a:lnTo>
                    <a:pt x="202" y="671"/>
                  </a:lnTo>
                  <a:lnTo>
                    <a:pt x="205" y="678"/>
                  </a:lnTo>
                  <a:lnTo>
                    <a:pt x="207" y="683"/>
                  </a:lnTo>
                  <a:lnTo>
                    <a:pt x="209" y="688"/>
                  </a:lnTo>
                  <a:lnTo>
                    <a:pt x="212" y="688"/>
                  </a:lnTo>
                  <a:lnTo>
                    <a:pt x="212" y="688"/>
                  </a:lnTo>
                  <a:lnTo>
                    <a:pt x="214" y="688"/>
                  </a:lnTo>
                  <a:lnTo>
                    <a:pt x="216" y="688"/>
                  </a:lnTo>
                  <a:lnTo>
                    <a:pt x="221" y="688"/>
                  </a:lnTo>
                  <a:lnTo>
                    <a:pt x="223" y="688"/>
                  </a:lnTo>
                  <a:lnTo>
                    <a:pt x="235" y="690"/>
                  </a:lnTo>
                  <a:lnTo>
                    <a:pt x="238" y="690"/>
                  </a:lnTo>
                  <a:lnTo>
                    <a:pt x="242" y="693"/>
                  </a:lnTo>
                  <a:lnTo>
                    <a:pt x="245" y="693"/>
                  </a:lnTo>
                  <a:lnTo>
                    <a:pt x="247" y="690"/>
                  </a:lnTo>
                  <a:lnTo>
                    <a:pt x="249" y="690"/>
                  </a:lnTo>
                  <a:lnTo>
                    <a:pt x="249" y="690"/>
                  </a:lnTo>
                  <a:lnTo>
                    <a:pt x="252" y="690"/>
                  </a:lnTo>
                  <a:lnTo>
                    <a:pt x="252" y="690"/>
                  </a:lnTo>
                  <a:lnTo>
                    <a:pt x="254" y="690"/>
                  </a:lnTo>
                  <a:lnTo>
                    <a:pt x="256" y="690"/>
                  </a:lnTo>
                  <a:lnTo>
                    <a:pt x="259" y="690"/>
                  </a:lnTo>
                  <a:lnTo>
                    <a:pt x="261" y="690"/>
                  </a:lnTo>
                  <a:lnTo>
                    <a:pt x="261" y="688"/>
                  </a:lnTo>
                  <a:lnTo>
                    <a:pt x="263" y="688"/>
                  </a:lnTo>
                  <a:lnTo>
                    <a:pt x="263" y="685"/>
                  </a:lnTo>
                  <a:lnTo>
                    <a:pt x="261" y="683"/>
                  </a:lnTo>
                  <a:lnTo>
                    <a:pt x="259" y="683"/>
                  </a:lnTo>
                  <a:close/>
                  <a:moveTo>
                    <a:pt x="271" y="317"/>
                  </a:moveTo>
                  <a:lnTo>
                    <a:pt x="271" y="314"/>
                  </a:lnTo>
                  <a:lnTo>
                    <a:pt x="268" y="307"/>
                  </a:lnTo>
                  <a:lnTo>
                    <a:pt x="268" y="307"/>
                  </a:lnTo>
                  <a:lnTo>
                    <a:pt x="268" y="307"/>
                  </a:lnTo>
                  <a:lnTo>
                    <a:pt x="263" y="307"/>
                  </a:lnTo>
                  <a:lnTo>
                    <a:pt x="261" y="305"/>
                  </a:lnTo>
                  <a:lnTo>
                    <a:pt x="256" y="302"/>
                  </a:lnTo>
                  <a:lnTo>
                    <a:pt x="256" y="300"/>
                  </a:lnTo>
                  <a:lnTo>
                    <a:pt x="254" y="298"/>
                  </a:lnTo>
                  <a:lnTo>
                    <a:pt x="254" y="293"/>
                  </a:lnTo>
                  <a:lnTo>
                    <a:pt x="256" y="288"/>
                  </a:lnTo>
                  <a:lnTo>
                    <a:pt x="254" y="286"/>
                  </a:lnTo>
                  <a:lnTo>
                    <a:pt x="252" y="281"/>
                  </a:lnTo>
                  <a:lnTo>
                    <a:pt x="247" y="279"/>
                  </a:lnTo>
                  <a:lnTo>
                    <a:pt x="242" y="276"/>
                  </a:lnTo>
                  <a:lnTo>
                    <a:pt x="233" y="272"/>
                  </a:lnTo>
                  <a:lnTo>
                    <a:pt x="228" y="267"/>
                  </a:lnTo>
                  <a:lnTo>
                    <a:pt x="228" y="267"/>
                  </a:lnTo>
                  <a:lnTo>
                    <a:pt x="226" y="262"/>
                  </a:lnTo>
                  <a:lnTo>
                    <a:pt x="228" y="262"/>
                  </a:lnTo>
                  <a:lnTo>
                    <a:pt x="228" y="262"/>
                  </a:lnTo>
                  <a:lnTo>
                    <a:pt x="228" y="260"/>
                  </a:lnTo>
                  <a:lnTo>
                    <a:pt x="228" y="257"/>
                  </a:lnTo>
                  <a:lnTo>
                    <a:pt x="226" y="255"/>
                  </a:lnTo>
                  <a:lnTo>
                    <a:pt x="226" y="255"/>
                  </a:lnTo>
                  <a:lnTo>
                    <a:pt x="223" y="250"/>
                  </a:lnTo>
                  <a:lnTo>
                    <a:pt x="223" y="250"/>
                  </a:lnTo>
                  <a:lnTo>
                    <a:pt x="223" y="241"/>
                  </a:lnTo>
                  <a:lnTo>
                    <a:pt x="223" y="239"/>
                  </a:lnTo>
                  <a:lnTo>
                    <a:pt x="223" y="236"/>
                  </a:lnTo>
                  <a:lnTo>
                    <a:pt x="223" y="236"/>
                  </a:lnTo>
                  <a:lnTo>
                    <a:pt x="226" y="236"/>
                  </a:lnTo>
                  <a:lnTo>
                    <a:pt x="226" y="236"/>
                  </a:lnTo>
                  <a:lnTo>
                    <a:pt x="226" y="234"/>
                  </a:lnTo>
                  <a:lnTo>
                    <a:pt x="223" y="227"/>
                  </a:lnTo>
                  <a:lnTo>
                    <a:pt x="223" y="224"/>
                  </a:lnTo>
                  <a:lnTo>
                    <a:pt x="223" y="222"/>
                  </a:lnTo>
                  <a:lnTo>
                    <a:pt x="223" y="220"/>
                  </a:lnTo>
                  <a:lnTo>
                    <a:pt x="223" y="217"/>
                  </a:lnTo>
                  <a:lnTo>
                    <a:pt x="223" y="217"/>
                  </a:lnTo>
                  <a:lnTo>
                    <a:pt x="223" y="215"/>
                  </a:lnTo>
                  <a:lnTo>
                    <a:pt x="221" y="215"/>
                  </a:lnTo>
                  <a:lnTo>
                    <a:pt x="221" y="213"/>
                  </a:lnTo>
                  <a:lnTo>
                    <a:pt x="221" y="213"/>
                  </a:lnTo>
                  <a:lnTo>
                    <a:pt x="223" y="210"/>
                  </a:lnTo>
                  <a:lnTo>
                    <a:pt x="223" y="210"/>
                  </a:lnTo>
                  <a:lnTo>
                    <a:pt x="223" y="208"/>
                  </a:lnTo>
                  <a:lnTo>
                    <a:pt x="223" y="205"/>
                  </a:lnTo>
                  <a:lnTo>
                    <a:pt x="223" y="205"/>
                  </a:lnTo>
                  <a:lnTo>
                    <a:pt x="223" y="205"/>
                  </a:lnTo>
                  <a:lnTo>
                    <a:pt x="221" y="203"/>
                  </a:lnTo>
                  <a:lnTo>
                    <a:pt x="221" y="201"/>
                  </a:lnTo>
                  <a:lnTo>
                    <a:pt x="223" y="198"/>
                  </a:lnTo>
                  <a:lnTo>
                    <a:pt x="223" y="198"/>
                  </a:lnTo>
                  <a:lnTo>
                    <a:pt x="223" y="196"/>
                  </a:lnTo>
                  <a:lnTo>
                    <a:pt x="223" y="194"/>
                  </a:lnTo>
                  <a:lnTo>
                    <a:pt x="223" y="194"/>
                  </a:lnTo>
                  <a:lnTo>
                    <a:pt x="223" y="191"/>
                  </a:lnTo>
                  <a:lnTo>
                    <a:pt x="223" y="191"/>
                  </a:lnTo>
                  <a:lnTo>
                    <a:pt x="223" y="191"/>
                  </a:lnTo>
                  <a:lnTo>
                    <a:pt x="223" y="187"/>
                  </a:lnTo>
                  <a:lnTo>
                    <a:pt x="221" y="184"/>
                  </a:lnTo>
                  <a:lnTo>
                    <a:pt x="221" y="182"/>
                  </a:lnTo>
                  <a:lnTo>
                    <a:pt x="223" y="179"/>
                  </a:lnTo>
                  <a:lnTo>
                    <a:pt x="223" y="179"/>
                  </a:lnTo>
                  <a:lnTo>
                    <a:pt x="223" y="177"/>
                  </a:lnTo>
                  <a:lnTo>
                    <a:pt x="223" y="177"/>
                  </a:lnTo>
                  <a:lnTo>
                    <a:pt x="226" y="175"/>
                  </a:lnTo>
                  <a:lnTo>
                    <a:pt x="228" y="172"/>
                  </a:lnTo>
                  <a:lnTo>
                    <a:pt x="228" y="170"/>
                  </a:lnTo>
                  <a:lnTo>
                    <a:pt x="228" y="170"/>
                  </a:lnTo>
                  <a:lnTo>
                    <a:pt x="230" y="168"/>
                  </a:lnTo>
                  <a:lnTo>
                    <a:pt x="233" y="165"/>
                  </a:lnTo>
                  <a:lnTo>
                    <a:pt x="235" y="163"/>
                  </a:lnTo>
                  <a:lnTo>
                    <a:pt x="238" y="161"/>
                  </a:lnTo>
                  <a:lnTo>
                    <a:pt x="238" y="158"/>
                  </a:lnTo>
                  <a:lnTo>
                    <a:pt x="238" y="156"/>
                  </a:lnTo>
                  <a:lnTo>
                    <a:pt x="240" y="153"/>
                  </a:lnTo>
                  <a:lnTo>
                    <a:pt x="240" y="153"/>
                  </a:lnTo>
                  <a:lnTo>
                    <a:pt x="242" y="151"/>
                  </a:lnTo>
                  <a:lnTo>
                    <a:pt x="242" y="149"/>
                  </a:lnTo>
                  <a:lnTo>
                    <a:pt x="245" y="146"/>
                  </a:lnTo>
                  <a:lnTo>
                    <a:pt x="245" y="144"/>
                  </a:lnTo>
                  <a:lnTo>
                    <a:pt x="247" y="142"/>
                  </a:lnTo>
                  <a:lnTo>
                    <a:pt x="247" y="142"/>
                  </a:lnTo>
                  <a:lnTo>
                    <a:pt x="247" y="139"/>
                  </a:lnTo>
                  <a:lnTo>
                    <a:pt x="247" y="139"/>
                  </a:lnTo>
                  <a:lnTo>
                    <a:pt x="249" y="139"/>
                  </a:lnTo>
                  <a:lnTo>
                    <a:pt x="249" y="139"/>
                  </a:lnTo>
                  <a:lnTo>
                    <a:pt x="249" y="137"/>
                  </a:lnTo>
                  <a:lnTo>
                    <a:pt x="249" y="137"/>
                  </a:lnTo>
                  <a:lnTo>
                    <a:pt x="249" y="137"/>
                  </a:lnTo>
                  <a:lnTo>
                    <a:pt x="252" y="137"/>
                  </a:lnTo>
                  <a:lnTo>
                    <a:pt x="252" y="137"/>
                  </a:lnTo>
                  <a:lnTo>
                    <a:pt x="252" y="137"/>
                  </a:lnTo>
                  <a:lnTo>
                    <a:pt x="252" y="137"/>
                  </a:lnTo>
                  <a:lnTo>
                    <a:pt x="252" y="135"/>
                  </a:lnTo>
                  <a:lnTo>
                    <a:pt x="252" y="135"/>
                  </a:lnTo>
                  <a:lnTo>
                    <a:pt x="254" y="132"/>
                  </a:lnTo>
                  <a:lnTo>
                    <a:pt x="254" y="132"/>
                  </a:lnTo>
                  <a:lnTo>
                    <a:pt x="256" y="130"/>
                  </a:lnTo>
                  <a:lnTo>
                    <a:pt x="256" y="130"/>
                  </a:lnTo>
                  <a:lnTo>
                    <a:pt x="259" y="127"/>
                  </a:lnTo>
                  <a:lnTo>
                    <a:pt x="261" y="127"/>
                  </a:lnTo>
                  <a:lnTo>
                    <a:pt x="261" y="127"/>
                  </a:lnTo>
                  <a:lnTo>
                    <a:pt x="261" y="125"/>
                  </a:lnTo>
                  <a:lnTo>
                    <a:pt x="261" y="125"/>
                  </a:lnTo>
                  <a:lnTo>
                    <a:pt x="263" y="125"/>
                  </a:lnTo>
                  <a:lnTo>
                    <a:pt x="263" y="123"/>
                  </a:lnTo>
                  <a:lnTo>
                    <a:pt x="263" y="123"/>
                  </a:lnTo>
                  <a:lnTo>
                    <a:pt x="263" y="120"/>
                  </a:lnTo>
                  <a:lnTo>
                    <a:pt x="266" y="120"/>
                  </a:lnTo>
                  <a:lnTo>
                    <a:pt x="266" y="120"/>
                  </a:lnTo>
                  <a:lnTo>
                    <a:pt x="266" y="120"/>
                  </a:lnTo>
                  <a:lnTo>
                    <a:pt x="268" y="120"/>
                  </a:lnTo>
                  <a:lnTo>
                    <a:pt x="268" y="118"/>
                  </a:lnTo>
                  <a:lnTo>
                    <a:pt x="271" y="118"/>
                  </a:lnTo>
                  <a:lnTo>
                    <a:pt x="271" y="118"/>
                  </a:lnTo>
                  <a:lnTo>
                    <a:pt x="271" y="118"/>
                  </a:lnTo>
                  <a:lnTo>
                    <a:pt x="273" y="118"/>
                  </a:lnTo>
                  <a:lnTo>
                    <a:pt x="275" y="118"/>
                  </a:lnTo>
                  <a:lnTo>
                    <a:pt x="275" y="116"/>
                  </a:lnTo>
                  <a:lnTo>
                    <a:pt x="275" y="113"/>
                  </a:lnTo>
                  <a:lnTo>
                    <a:pt x="278" y="116"/>
                  </a:lnTo>
                  <a:lnTo>
                    <a:pt x="278" y="113"/>
                  </a:lnTo>
                  <a:lnTo>
                    <a:pt x="280" y="113"/>
                  </a:lnTo>
                  <a:lnTo>
                    <a:pt x="280" y="113"/>
                  </a:lnTo>
                  <a:lnTo>
                    <a:pt x="282" y="111"/>
                  </a:lnTo>
                  <a:lnTo>
                    <a:pt x="282" y="109"/>
                  </a:lnTo>
                  <a:lnTo>
                    <a:pt x="282" y="106"/>
                  </a:lnTo>
                  <a:lnTo>
                    <a:pt x="282" y="104"/>
                  </a:lnTo>
                  <a:lnTo>
                    <a:pt x="282" y="104"/>
                  </a:lnTo>
                  <a:lnTo>
                    <a:pt x="282" y="101"/>
                  </a:lnTo>
                  <a:lnTo>
                    <a:pt x="282" y="97"/>
                  </a:lnTo>
                  <a:lnTo>
                    <a:pt x="282" y="94"/>
                  </a:lnTo>
                  <a:lnTo>
                    <a:pt x="282" y="94"/>
                  </a:lnTo>
                  <a:lnTo>
                    <a:pt x="282" y="92"/>
                  </a:lnTo>
                  <a:lnTo>
                    <a:pt x="280" y="90"/>
                  </a:lnTo>
                  <a:lnTo>
                    <a:pt x="278" y="87"/>
                  </a:lnTo>
                  <a:lnTo>
                    <a:pt x="278" y="83"/>
                  </a:lnTo>
                  <a:lnTo>
                    <a:pt x="275" y="80"/>
                  </a:lnTo>
                  <a:lnTo>
                    <a:pt x="275" y="80"/>
                  </a:lnTo>
                  <a:lnTo>
                    <a:pt x="273" y="78"/>
                  </a:lnTo>
                  <a:lnTo>
                    <a:pt x="273" y="78"/>
                  </a:lnTo>
                  <a:lnTo>
                    <a:pt x="271" y="78"/>
                  </a:lnTo>
                  <a:lnTo>
                    <a:pt x="271" y="78"/>
                  </a:lnTo>
                  <a:lnTo>
                    <a:pt x="271" y="78"/>
                  </a:lnTo>
                  <a:lnTo>
                    <a:pt x="271" y="78"/>
                  </a:lnTo>
                  <a:lnTo>
                    <a:pt x="268" y="78"/>
                  </a:lnTo>
                  <a:lnTo>
                    <a:pt x="268" y="78"/>
                  </a:lnTo>
                  <a:lnTo>
                    <a:pt x="266" y="80"/>
                  </a:lnTo>
                  <a:lnTo>
                    <a:pt x="266" y="80"/>
                  </a:lnTo>
                  <a:lnTo>
                    <a:pt x="263" y="78"/>
                  </a:lnTo>
                  <a:lnTo>
                    <a:pt x="263" y="78"/>
                  </a:lnTo>
                  <a:lnTo>
                    <a:pt x="263" y="87"/>
                  </a:lnTo>
                  <a:lnTo>
                    <a:pt x="263" y="94"/>
                  </a:lnTo>
                  <a:lnTo>
                    <a:pt x="263" y="99"/>
                  </a:lnTo>
                  <a:lnTo>
                    <a:pt x="261" y="101"/>
                  </a:lnTo>
                  <a:lnTo>
                    <a:pt x="261" y="101"/>
                  </a:lnTo>
                  <a:lnTo>
                    <a:pt x="261" y="101"/>
                  </a:lnTo>
                  <a:lnTo>
                    <a:pt x="261" y="104"/>
                  </a:lnTo>
                  <a:lnTo>
                    <a:pt x="259" y="104"/>
                  </a:lnTo>
                  <a:lnTo>
                    <a:pt x="259" y="106"/>
                  </a:lnTo>
                  <a:lnTo>
                    <a:pt x="256" y="106"/>
                  </a:lnTo>
                  <a:lnTo>
                    <a:pt x="256" y="106"/>
                  </a:lnTo>
                  <a:lnTo>
                    <a:pt x="256" y="109"/>
                  </a:lnTo>
                  <a:lnTo>
                    <a:pt x="254" y="109"/>
                  </a:lnTo>
                  <a:lnTo>
                    <a:pt x="252" y="109"/>
                  </a:lnTo>
                  <a:lnTo>
                    <a:pt x="252" y="111"/>
                  </a:lnTo>
                  <a:lnTo>
                    <a:pt x="252" y="111"/>
                  </a:lnTo>
                  <a:lnTo>
                    <a:pt x="249" y="111"/>
                  </a:lnTo>
                  <a:lnTo>
                    <a:pt x="249" y="113"/>
                  </a:lnTo>
                  <a:lnTo>
                    <a:pt x="249" y="116"/>
                  </a:lnTo>
                  <a:lnTo>
                    <a:pt x="249" y="116"/>
                  </a:lnTo>
                  <a:lnTo>
                    <a:pt x="249" y="118"/>
                  </a:lnTo>
                  <a:lnTo>
                    <a:pt x="247" y="118"/>
                  </a:lnTo>
                  <a:lnTo>
                    <a:pt x="245" y="116"/>
                  </a:lnTo>
                  <a:lnTo>
                    <a:pt x="245" y="116"/>
                  </a:lnTo>
                  <a:lnTo>
                    <a:pt x="242" y="116"/>
                  </a:lnTo>
                  <a:lnTo>
                    <a:pt x="240" y="116"/>
                  </a:lnTo>
                  <a:lnTo>
                    <a:pt x="240" y="116"/>
                  </a:lnTo>
                  <a:lnTo>
                    <a:pt x="238" y="118"/>
                  </a:lnTo>
                  <a:lnTo>
                    <a:pt x="238" y="120"/>
                  </a:lnTo>
                  <a:lnTo>
                    <a:pt x="235" y="120"/>
                  </a:lnTo>
                  <a:lnTo>
                    <a:pt x="235" y="118"/>
                  </a:lnTo>
                  <a:lnTo>
                    <a:pt x="233" y="118"/>
                  </a:lnTo>
                  <a:lnTo>
                    <a:pt x="230" y="120"/>
                  </a:lnTo>
                  <a:lnTo>
                    <a:pt x="228" y="118"/>
                  </a:lnTo>
                  <a:lnTo>
                    <a:pt x="228" y="118"/>
                  </a:lnTo>
                  <a:lnTo>
                    <a:pt x="226" y="118"/>
                  </a:lnTo>
                  <a:lnTo>
                    <a:pt x="223" y="118"/>
                  </a:lnTo>
                  <a:lnTo>
                    <a:pt x="219" y="118"/>
                  </a:lnTo>
                  <a:lnTo>
                    <a:pt x="209" y="116"/>
                  </a:lnTo>
                  <a:lnTo>
                    <a:pt x="205" y="116"/>
                  </a:lnTo>
                  <a:lnTo>
                    <a:pt x="195" y="116"/>
                  </a:lnTo>
                  <a:lnTo>
                    <a:pt x="195" y="113"/>
                  </a:lnTo>
                  <a:lnTo>
                    <a:pt x="195" y="111"/>
                  </a:lnTo>
                  <a:lnTo>
                    <a:pt x="198" y="111"/>
                  </a:lnTo>
                  <a:lnTo>
                    <a:pt x="198" y="109"/>
                  </a:lnTo>
                  <a:lnTo>
                    <a:pt x="198" y="109"/>
                  </a:lnTo>
                  <a:lnTo>
                    <a:pt x="198" y="106"/>
                  </a:lnTo>
                  <a:lnTo>
                    <a:pt x="200" y="106"/>
                  </a:lnTo>
                  <a:lnTo>
                    <a:pt x="200" y="106"/>
                  </a:lnTo>
                  <a:lnTo>
                    <a:pt x="200" y="106"/>
                  </a:lnTo>
                  <a:lnTo>
                    <a:pt x="200" y="104"/>
                  </a:lnTo>
                  <a:lnTo>
                    <a:pt x="200" y="104"/>
                  </a:lnTo>
                  <a:lnTo>
                    <a:pt x="200" y="104"/>
                  </a:lnTo>
                  <a:lnTo>
                    <a:pt x="200" y="101"/>
                  </a:lnTo>
                  <a:lnTo>
                    <a:pt x="200" y="101"/>
                  </a:lnTo>
                  <a:lnTo>
                    <a:pt x="202" y="101"/>
                  </a:lnTo>
                  <a:lnTo>
                    <a:pt x="202" y="99"/>
                  </a:lnTo>
                  <a:lnTo>
                    <a:pt x="200" y="97"/>
                  </a:lnTo>
                  <a:lnTo>
                    <a:pt x="200" y="97"/>
                  </a:lnTo>
                  <a:lnTo>
                    <a:pt x="200" y="94"/>
                  </a:lnTo>
                  <a:lnTo>
                    <a:pt x="200" y="94"/>
                  </a:lnTo>
                  <a:lnTo>
                    <a:pt x="202" y="92"/>
                  </a:lnTo>
                  <a:lnTo>
                    <a:pt x="202" y="92"/>
                  </a:lnTo>
                  <a:lnTo>
                    <a:pt x="202" y="92"/>
                  </a:lnTo>
                  <a:lnTo>
                    <a:pt x="202" y="90"/>
                  </a:lnTo>
                  <a:lnTo>
                    <a:pt x="205" y="90"/>
                  </a:lnTo>
                  <a:lnTo>
                    <a:pt x="205" y="87"/>
                  </a:lnTo>
                  <a:lnTo>
                    <a:pt x="205" y="87"/>
                  </a:lnTo>
                  <a:lnTo>
                    <a:pt x="205" y="85"/>
                  </a:lnTo>
                  <a:lnTo>
                    <a:pt x="207" y="83"/>
                  </a:lnTo>
                  <a:lnTo>
                    <a:pt x="207" y="83"/>
                  </a:lnTo>
                  <a:lnTo>
                    <a:pt x="207" y="80"/>
                  </a:lnTo>
                  <a:lnTo>
                    <a:pt x="207" y="80"/>
                  </a:lnTo>
                  <a:lnTo>
                    <a:pt x="209" y="80"/>
                  </a:lnTo>
                  <a:lnTo>
                    <a:pt x="209" y="78"/>
                  </a:lnTo>
                  <a:lnTo>
                    <a:pt x="209" y="75"/>
                  </a:lnTo>
                  <a:lnTo>
                    <a:pt x="209" y="75"/>
                  </a:lnTo>
                  <a:lnTo>
                    <a:pt x="207" y="73"/>
                  </a:lnTo>
                  <a:lnTo>
                    <a:pt x="205" y="68"/>
                  </a:lnTo>
                  <a:lnTo>
                    <a:pt x="200" y="68"/>
                  </a:lnTo>
                  <a:lnTo>
                    <a:pt x="198" y="66"/>
                  </a:lnTo>
                  <a:lnTo>
                    <a:pt x="195" y="66"/>
                  </a:lnTo>
                  <a:lnTo>
                    <a:pt x="195" y="66"/>
                  </a:lnTo>
                  <a:lnTo>
                    <a:pt x="193" y="66"/>
                  </a:lnTo>
                  <a:lnTo>
                    <a:pt x="193" y="64"/>
                  </a:lnTo>
                  <a:lnTo>
                    <a:pt x="190" y="64"/>
                  </a:lnTo>
                  <a:lnTo>
                    <a:pt x="186" y="61"/>
                  </a:lnTo>
                  <a:lnTo>
                    <a:pt x="176" y="56"/>
                  </a:lnTo>
                  <a:lnTo>
                    <a:pt x="174" y="54"/>
                  </a:lnTo>
                  <a:lnTo>
                    <a:pt x="172" y="54"/>
                  </a:lnTo>
                  <a:lnTo>
                    <a:pt x="169" y="52"/>
                  </a:lnTo>
                  <a:lnTo>
                    <a:pt x="165" y="47"/>
                  </a:lnTo>
                  <a:lnTo>
                    <a:pt x="160" y="45"/>
                  </a:lnTo>
                  <a:lnTo>
                    <a:pt x="157" y="45"/>
                  </a:lnTo>
                  <a:lnTo>
                    <a:pt x="153" y="45"/>
                  </a:lnTo>
                  <a:lnTo>
                    <a:pt x="146" y="42"/>
                  </a:lnTo>
                  <a:lnTo>
                    <a:pt x="141" y="40"/>
                  </a:lnTo>
                  <a:lnTo>
                    <a:pt x="141" y="38"/>
                  </a:lnTo>
                  <a:lnTo>
                    <a:pt x="139" y="35"/>
                  </a:lnTo>
                  <a:lnTo>
                    <a:pt x="134" y="33"/>
                  </a:lnTo>
                  <a:lnTo>
                    <a:pt x="132" y="33"/>
                  </a:lnTo>
                  <a:lnTo>
                    <a:pt x="132" y="33"/>
                  </a:lnTo>
                  <a:lnTo>
                    <a:pt x="132" y="30"/>
                  </a:lnTo>
                  <a:lnTo>
                    <a:pt x="129" y="30"/>
                  </a:lnTo>
                  <a:lnTo>
                    <a:pt x="127" y="28"/>
                  </a:lnTo>
                  <a:lnTo>
                    <a:pt x="124" y="26"/>
                  </a:lnTo>
                  <a:lnTo>
                    <a:pt x="120" y="21"/>
                  </a:lnTo>
                  <a:lnTo>
                    <a:pt x="117" y="16"/>
                  </a:lnTo>
                  <a:lnTo>
                    <a:pt x="115" y="12"/>
                  </a:lnTo>
                  <a:lnTo>
                    <a:pt x="110" y="12"/>
                  </a:lnTo>
                  <a:lnTo>
                    <a:pt x="110" y="9"/>
                  </a:lnTo>
                  <a:lnTo>
                    <a:pt x="108" y="9"/>
                  </a:lnTo>
                  <a:lnTo>
                    <a:pt x="108" y="9"/>
                  </a:lnTo>
                  <a:lnTo>
                    <a:pt x="108" y="7"/>
                  </a:lnTo>
                  <a:lnTo>
                    <a:pt x="106" y="7"/>
                  </a:lnTo>
                  <a:lnTo>
                    <a:pt x="106" y="4"/>
                  </a:lnTo>
                  <a:lnTo>
                    <a:pt x="106" y="2"/>
                  </a:lnTo>
                  <a:lnTo>
                    <a:pt x="106" y="2"/>
                  </a:lnTo>
                  <a:lnTo>
                    <a:pt x="96" y="2"/>
                  </a:lnTo>
                  <a:lnTo>
                    <a:pt x="89" y="2"/>
                  </a:lnTo>
                  <a:lnTo>
                    <a:pt x="89" y="4"/>
                  </a:lnTo>
                  <a:lnTo>
                    <a:pt x="87" y="4"/>
                  </a:lnTo>
                  <a:lnTo>
                    <a:pt x="87" y="2"/>
                  </a:lnTo>
                  <a:lnTo>
                    <a:pt x="87" y="4"/>
                  </a:lnTo>
                  <a:lnTo>
                    <a:pt x="84" y="4"/>
                  </a:lnTo>
                  <a:lnTo>
                    <a:pt x="84" y="4"/>
                  </a:lnTo>
                  <a:lnTo>
                    <a:pt x="82" y="12"/>
                  </a:lnTo>
                  <a:lnTo>
                    <a:pt x="82" y="14"/>
                  </a:lnTo>
                  <a:lnTo>
                    <a:pt x="80" y="16"/>
                  </a:lnTo>
                  <a:lnTo>
                    <a:pt x="80" y="21"/>
                  </a:lnTo>
                  <a:lnTo>
                    <a:pt x="80" y="21"/>
                  </a:lnTo>
                  <a:lnTo>
                    <a:pt x="80" y="19"/>
                  </a:lnTo>
                  <a:lnTo>
                    <a:pt x="77" y="16"/>
                  </a:lnTo>
                  <a:lnTo>
                    <a:pt x="75" y="14"/>
                  </a:lnTo>
                  <a:lnTo>
                    <a:pt x="75" y="12"/>
                  </a:lnTo>
                  <a:lnTo>
                    <a:pt x="73" y="7"/>
                  </a:lnTo>
                  <a:lnTo>
                    <a:pt x="70" y="7"/>
                  </a:lnTo>
                  <a:lnTo>
                    <a:pt x="70" y="7"/>
                  </a:lnTo>
                  <a:lnTo>
                    <a:pt x="68" y="7"/>
                  </a:lnTo>
                  <a:lnTo>
                    <a:pt x="66" y="4"/>
                  </a:lnTo>
                  <a:lnTo>
                    <a:pt x="66" y="4"/>
                  </a:lnTo>
                  <a:lnTo>
                    <a:pt x="56" y="4"/>
                  </a:lnTo>
                  <a:lnTo>
                    <a:pt x="56" y="4"/>
                  </a:lnTo>
                  <a:lnTo>
                    <a:pt x="54" y="4"/>
                  </a:lnTo>
                  <a:lnTo>
                    <a:pt x="51" y="4"/>
                  </a:lnTo>
                  <a:lnTo>
                    <a:pt x="49" y="4"/>
                  </a:lnTo>
                  <a:lnTo>
                    <a:pt x="47" y="0"/>
                  </a:lnTo>
                  <a:lnTo>
                    <a:pt x="44" y="0"/>
                  </a:lnTo>
                  <a:lnTo>
                    <a:pt x="44" y="0"/>
                  </a:lnTo>
                  <a:lnTo>
                    <a:pt x="42" y="0"/>
                  </a:lnTo>
                  <a:lnTo>
                    <a:pt x="42" y="0"/>
                  </a:lnTo>
                  <a:lnTo>
                    <a:pt x="42" y="2"/>
                  </a:lnTo>
                  <a:lnTo>
                    <a:pt x="42" y="4"/>
                  </a:lnTo>
                  <a:lnTo>
                    <a:pt x="40" y="4"/>
                  </a:lnTo>
                  <a:lnTo>
                    <a:pt x="37" y="7"/>
                  </a:lnTo>
                  <a:lnTo>
                    <a:pt x="35" y="7"/>
                  </a:lnTo>
                  <a:lnTo>
                    <a:pt x="35" y="7"/>
                  </a:lnTo>
                  <a:lnTo>
                    <a:pt x="35" y="9"/>
                  </a:lnTo>
                  <a:lnTo>
                    <a:pt x="35" y="12"/>
                  </a:lnTo>
                  <a:lnTo>
                    <a:pt x="33" y="12"/>
                  </a:lnTo>
                  <a:lnTo>
                    <a:pt x="30" y="14"/>
                  </a:lnTo>
                  <a:lnTo>
                    <a:pt x="30" y="14"/>
                  </a:lnTo>
                  <a:lnTo>
                    <a:pt x="30" y="16"/>
                  </a:lnTo>
                  <a:lnTo>
                    <a:pt x="28" y="19"/>
                  </a:lnTo>
                  <a:lnTo>
                    <a:pt x="28" y="21"/>
                  </a:lnTo>
                  <a:lnTo>
                    <a:pt x="30" y="23"/>
                  </a:lnTo>
                  <a:lnTo>
                    <a:pt x="30" y="30"/>
                  </a:lnTo>
                  <a:lnTo>
                    <a:pt x="30" y="38"/>
                  </a:lnTo>
                  <a:lnTo>
                    <a:pt x="28" y="45"/>
                  </a:lnTo>
                  <a:lnTo>
                    <a:pt x="28" y="45"/>
                  </a:lnTo>
                  <a:lnTo>
                    <a:pt x="28" y="47"/>
                  </a:lnTo>
                  <a:lnTo>
                    <a:pt x="23" y="47"/>
                  </a:lnTo>
                  <a:lnTo>
                    <a:pt x="18" y="49"/>
                  </a:lnTo>
                  <a:lnTo>
                    <a:pt x="16" y="52"/>
                  </a:lnTo>
                  <a:lnTo>
                    <a:pt x="14" y="54"/>
                  </a:lnTo>
                  <a:lnTo>
                    <a:pt x="11" y="54"/>
                  </a:lnTo>
                  <a:lnTo>
                    <a:pt x="11" y="56"/>
                  </a:lnTo>
                  <a:lnTo>
                    <a:pt x="9" y="56"/>
                  </a:lnTo>
                  <a:lnTo>
                    <a:pt x="9" y="59"/>
                  </a:lnTo>
                  <a:lnTo>
                    <a:pt x="9" y="59"/>
                  </a:lnTo>
                  <a:lnTo>
                    <a:pt x="9" y="61"/>
                  </a:lnTo>
                  <a:lnTo>
                    <a:pt x="9" y="64"/>
                  </a:lnTo>
                  <a:lnTo>
                    <a:pt x="9" y="64"/>
                  </a:lnTo>
                  <a:lnTo>
                    <a:pt x="11" y="66"/>
                  </a:lnTo>
                  <a:lnTo>
                    <a:pt x="11" y="66"/>
                  </a:lnTo>
                  <a:lnTo>
                    <a:pt x="11" y="68"/>
                  </a:lnTo>
                  <a:lnTo>
                    <a:pt x="11" y="68"/>
                  </a:lnTo>
                  <a:lnTo>
                    <a:pt x="11" y="68"/>
                  </a:lnTo>
                  <a:lnTo>
                    <a:pt x="11" y="71"/>
                  </a:lnTo>
                  <a:lnTo>
                    <a:pt x="11" y="71"/>
                  </a:lnTo>
                  <a:lnTo>
                    <a:pt x="9" y="71"/>
                  </a:lnTo>
                  <a:lnTo>
                    <a:pt x="9" y="75"/>
                  </a:lnTo>
                  <a:lnTo>
                    <a:pt x="9" y="78"/>
                  </a:lnTo>
                  <a:lnTo>
                    <a:pt x="11" y="80"/>
                  </a:lnTo>
                  <a:lnTo>
                    <a:pt x="11" y="83"/>
                  </a:lnTo>
                  <a:lnTo>
                    <a:pt x="16" y="90"/>
                  </a:lnTo>
                  <a:lnTo>
                    <a:pt x="16" y="92"/>
                  </a:lnTo>
                  <a:lnTo>
                    <a:pt x="14" y="94"/>
                  </a:lnTo>
                  <a:lnTo>
                    <a:pt x="14" y="94"/>
                  </a:lnTo>
                  <a:lnTo>
                    <a:pt x="14" y="97"/>
                  </a:lnTo>
                  <a:lnTo>
                    <a:pt x="14" y="97"/>
                  </a:lnTo>
                  <a:lnTo>
                    <a:pt x="14" y="99"/>
                  </a:lnTo>
                  <a:lnTo>
                    <a:pt x="16" y="101"/>
                  </a:lnTo>
                  <a:lnTo>
                    <a:pt x="18" y="104"/>
                  </a:lnTo>
                  <a:lnTo>
                    <a:pt x="21" y="106"/>
                  </a:lnTo>
                  <a:lnTo>
                    <a:pt x="21" y="109"/>
                  </a:lnTo>
                  <a:lnTo>
                    <a:pt x="21" y="109"/>
                  </a:lnTo>
                  <a:lnTo>
                    <a:pt x="18" y="111"/>
                  </a:lnTo>
                  <a:lnTo>
                    <a:pt x="16" y="111"/>
                  </a:lnTo>
                  <a:lnTo>
                    <a:pt x="16" y="111"/>
                  </a:lnTo>
                  <a:lnTo>
                    <a:pt x="14" y="111"/>
                  </a:lnTo>
                  <a:lnTo>
                    <a:pt x="14" y="111"/>
                  </a:lnTo>
                  <a:lnTo>
                    <a:pt x="14" y="111"/>
                  </a:lnTo>
                  <a:lnTo>
                    <a:pt x="11" y="111"/>
                  </a:lnTo>
                  <a:lnTo>
                    <a:pt x="11" y="113"/>
                  </a:lnTo>
                  <a:lnTo>
                    <a:pt x="11" y="118"/>
                  </a:lnTo>
                  <a:lnTo>
                    <a:pt x="9" y="118"/>
                  </a:lnTo>
                  <a:lnTo>
                    <a:pt x="9" y="120"/>
                  </a:lnTo>
                  <a:lnTo>
                    <a:pt x="9" y="125"/>
                  </a:lnTo>
                  <a:lnTo>
                    <a:pt x="9" y="127"/>
                  </a:lnTo>
                  <a:lnTo>
                    <a:pt x="9" y="127"/>
                  </a:lnTo>
                  <a:lnTo>
                    <a:pt x="7" y="130"/>
                  </a:lnTo>
                  <a:lnTo>
                    <a:pt x="7" y="132"/>
                  </a:lnTo>
                  <a:lnTo>
                    <a:pt x="4" y="135"/>
                  </a:lnTo>
                  <a:lnTo>
                    <a:pt x="4" y="135"/>
                  </a:lnTo>
                  <a:lnTo>
                    <a:pt x="4" y="135"/>
                  </a:lnTo>
                  <a:lnTo>
                    <a:pt x="4" y="137"/>
                  </a:lnTo>
                  <a:lnTo>
                    <a:pt x="2" y="139"/>
                  </a:lnTo>
                  <a:lnTo>
                    <a:pt x="2" y="142"/>
                  </a:lnTo>
                  <a:lnTo>
                    <a:pt x="2" y="144"/>
                  </a:lnTo>
                  <a:lnTo>
                    <a:pt x="2" y="146"/>
                  </a:lnTo>
                  <a:lnTo>
                    <a:pt x="2" y="151"/>
                  </a:lnTo>
                  <a:lnTo>
                    <a:pt x="2" y="153"/>
                  </a:lnTo>
                  <a:lnTo>
                    <a:pt x="0" y="153"/>
                  </a:lnTo>
                  <a:lnTo>
                    <a:pt x="0" y="156"/>
                  </a:lnTo>
                  <a:lnTo>
                    <a:pt x="0" y="158"/>
                  </a:lnTo>
                  <a:lnTo>
                    <a:pt x="2" y="163"/>
                  </a:lnTo>
                  <a:lnTo>
                    <a:pt x="2" y="168"/>
                  </a:lnTo>
                  <a:lnTo>
                    <a:pt x="4" y="170"/>
                  </a:lnTo>
                  <a:lnTo>
                    <a:pt x="4" y="172"/>
                  </a:lnTo>
                  <a:lnTo>
                    <a:pt x="4" y="175"/>
                  </a:lnTo>
                  <a:lnTo>
                    <a:pt x="4" y="175"/>
                  </a:lnTo>
                  <a:lnTo>
                    <a:pt x="7" y="175"/>
                  </a:lnTo>
                  <a:lnTo>
                    <a:pt x="7" y="175"/>
                  </a:lnTo>
                  <a:lnTo>
                    <a:pt x="7" y="177"/>
                  </a:lnTo>
                  <a:lnTo>
                    <a:pt x="7" y="177"/>
                  </a:lnTo>
                  <a:lnTo>
                    <a:pt x="4" y="179"/>
                  </a:lnTo>
                  <a:lnTo>
                    <a:pt x="2" y="179"/>
                  </a:lnTo>
                  <a:lnTo>
                    <a:pt x="2" y="179"/>
                  </a:lnTo>
                  <a:lnTo>
                    <a:pt x="2" y="179"/>
                  </a:lnTo>
                  <a:lnTo>
                    <a:pt x="2" y="182"/>
                  </a:lnTo>
                  <a:lnTo>
                    <a:pt x="2" y="182"/>
                  </a:lnTo>
                  <a:lnTo>
                    <a:pt x="2" y="187"/>
                  </a:lnTo>
                  <a:lnTo>
                    <a:pt x="2" y="189"/>
                  </a:lnTo>
                  <a:lnTo>
                    <a:pt x="0" y="191"/>
                  </a:lnTo>
                  <a:lnTo>
                    <a:pt x="2" y="191"/>
                  </a:lnTo>
                  <a:lnTo>
                    <a:pt x="2" y="194"/>
                  </a:lnTo>
                  <a:lnTo>
                    <a:pt x="2" y="194"/>
                  </a:lnTo>
                  <a:lnTo>
                    <a:pt x="2" y="194"/>
                  </a:lnTo>
                  <a:lnTo>
                    <a:pt x="2" y="196"/>
                  </a:lnTo>
                  <a:lnTo>
                    <a:pt x="0" y="196"/>
                  </a:lnTo>
                  <a:lnTo>
                    <a:pt x="0" y="196"/>
                  </a:lnTo>
                  <a:lnTo>
                    <a:pt x="0" y="196"/>
                  </a:lnTo>
                  <a:lnTo>
                    <a:pt x="0" y="198"/>
                  </a:lnTo>
                  <a:lnTo>
                    <a:pt x="0" y="201"/>
                  </a:lnTo>
                  <a:lnTo>
                    <a:pt x="0" y="203"/>
                  </a:lnTo>
                  <a:lnTo>
                    <a:pt x="0" y="205"/>
                  </a:lnTo>
                  <a:lnTo>
                    <a:pt x="2" y="208"/>
                  </a:lnTo>
                  <a:lnTo>
                    <a:pt x="4" y="210"/>
                  </a:lnTo>
                  <a:lnTo>
                    <a:pt x="4" y="213"/>
                  </a:lnTo>
                  <a:lnTo>
                    <a:pt x="7" y="213"/>
                  </a:lnTo>
                  <a:lnTo>
                    <a:pt x="7" y="213"/>
                  </a:lnTo>
                  <a:lnTo>
                    <a:pt x="7" y="213"/>
                  </a:lnTo>
                  <a:lnTo>
                    <a:pt x="7" y="215"/>
                  </a:lnTo>
                  <a:lnTo>
                    <a:pt x="7" y="215"/>
                  </a:lnTo>
                  <a:lnTo>
                    <a:pt x="7" y="215"/>
                  </a:lnTo>
                  <a:lnTo>
                    <a:pt x="7" y="217"/>
                  </a:lnTo>
                  <a:lnTo>
                    <a:pt x="9" y="220"/>
                  </a:lnTo>
                  <a:lnTo>
                    <a:pt x="9" y="220"/>
                  </a:lnTo>
                  <a:lnTo>
                    <a:pt x="11" y="222"/>
                  </a:lnTo>
                  <a:lnTo>
                    <a:pt x="11" y="224"/>
                  </a:lnTo>
                  <a:lnTo>
                    <a:pt x="11" y="227"/>
                  </a:lnTo>
                  <a:lnTo>
                    <a:pt x="14" y="231"/>
                  </a:lnTo>
                  <a:lnTo>
                    <a:pt x="16" y="231"/>
                  </a:lnTo>
                  <a:lnTo>
                    <a:pt x="16" y="234"/>
                  </a:lnTo>
                  <a:lnTo>
                    <a:pt x="16" y="234"/>
                  </a:lnTo>
                  <a:lnTo>
                    <a:pt x="16" y="236"/>
                  </a:lnTo>
                  <a:lnTo>
                    <a:pt x="16" y="239"/>
                  </a:lnTo>
                  <a:lnTo>
                    <a:pt x="16" y="239"/>
                  </a:lnTo>
                  <a:lnTo>
                    <a:pt x="18" y="241"/>
                  </a:lnTo>
                  <a:lnTo>
                    <a:pt x="18" y="241"/>
                  </a:lnTo>
                  <a:lnTo>
                    <a:pt x="21" y="241"/>
                  </a:lnTo>
                  <a:lnTo>
                    <a:pt x="23" y="241"/>
                  </a:lnTo>
                  <a:lnTo>
                    <a:pt x="23" y="243"/>
                  </a:lnTo>
                  <a:lnTo>
                    <a:pt x="23" y="243"/>
                  </a:lnTo>
                  <a:lnTo>
                    <a:pt x="23" y="246"/>
                  </a:lnTo>
                  <a:lnTo>
                    <a:pt x="23" y="248"/>
                  </a:lnTo>
                  <a:lnTo>
                    <a:pt x="23" y="250"/>
                  </a:lnTo>
                  <a:lnTo>
                    <a:pt x="25" y="255"/>
                  </a:lnTo>
                  <a:lnTo>
                    <a:pt x="25" y="257"/>
                  </a:lnTo>
                  <a:lnTo>
                    <a:pt x="25" y="260"/>
                  </a:lnTo>
                  <a:lnTo>
                    <a:pt x="28" y="262"/>
                  </a:lnTo>
                  <a:lnTo>
                    <a:pt x="25" y="262"/>
                  </a:lnTo>
                  <a:lnTo>
                    <a:pt x="25" y="262"/>
                  </a:lnTo>
                  <a:lnTo>
                    <a:pt x="25" y="262"/>
                  </a:lnTo>
                  <a:lnTo>
                    <a:pt x="23" y="262"/>
                  </a:lnTo>
                  <a:lnTo>
                    <a:pt x="23" y="265"/>
                  </a:lnTo>
                  <a:lnTo>
                    <a:pt x="23" y="265"/>
                  </a:lnTo>
                  <a:lnTo>
                    <a:pt x="23" y="267"/>
                  </a:lnTo>
                  <a:lnTo>
                    <a:pt x="23" y="269"/>
                  </a:lnTo>
                  <a:lnTo>
                    <a:pt x="23" y="272"/>
                  </a:lnTo>
                  <a:lnTo>
                    <a:pt x="23" y="272"/>
                  </a:lnTo>
                  <a:lnTo>
                    <a:pt x="23" y="272"/>
                  </a:lnTo>
                  <a:lnTo>
                    <a:pt x="23" y="274"/>
                  </a:lnTo>
                  <a:lnTo>
                    <a:pt x="23" y="276"/>
                  </a:lnTo>
                  <a:lnTo>
                    <a:pt x="23" y="281"/>
                  </a:lnTo>
                  <a:lnTo>
                    <a:pt x="21" y="281"/>
                  </a:lnTo>
                  <a:lnTo>
                    <a:pt x="21" y="281"/>
                  </a:lnTo>
                  <a:lnTo>
                    <a:pt x="21" y="283"/>
                  </a:lnTo>
                  <a:lnTo>
                    <a:pt x="21" y="283"/>
                  </a:lnTo>
                  <a:lnTo>
                    <a:pt x="23" y="283"/>
                  </a:lnTo>
                  <a:lnTo>
                    <a:pt x="23" y="286"/>
                  </a:lnTo>
                  <a:lnTo>
                    <a:pt x="23" y="288"/>
                  </a:lnTo>
                  <a:lnTo>
                    <a:pt x="25" y="288"/>
                  </a:lnTo>
                  <a:lnTo>
                    <a:pt x="25" y="291"/>
                  </a:lnTo>
                  <a:lnTo>
                    <a:pt x="25" y="295"/>
                  </a:lnTo>
                  <a:lnTo>
                    <a:pt x="25" y="295"/>
                  </a:lnTo>
                  <a:lnTo>
                    <a:pt x="28" y="298"/>
                  </a:lnTo>
                  <a:lnTo>
                    <a:pt x="28" y="300"/>
                  </a:lnTo>
                  <a:lnTo>
                    <a:pt x="28" y="302"/>
                  </a:lnTo>
                  <a:lnTo>
                    <a:pt x="25" y="302"/>
                  </a:lnTo>
                  <a:lnTo>
                    <a:pt x="25" y="305"/>
                  </a:lnTo>
                  <a:lnTo>
                    <a:pt x="23" y="305"/>
                  </a:lnTo>
                  <a:lnTo>
                    <a:pt x="23" y="307"/>
                  </a:lnTo>
                  <a:lnTo>
                    <a:pt x="23" y="307"/>
                  </a:lnTo>
                  <a:lnTo>
                    <a:pt x="23" y="307"/>
                  </a:lnTo>
                  <a:lnTo>
                    <a:pt x="23" y="307"/>
                  </a:lnTo>
                  <a:lnTo>
                    <a:pt x="21" y="307"/>
                  </a:lnTo>
                  <a:lnTo>
                    <a:pt x="21" y="309"/>
                  </a:lnTo>
                  <a:lnTo>
                    <a:pt x="18" y="309"/>
                  </a:lnTo>
                  <a:lnTo>
                    <a:pt x="18" y="312"/>
                  </a:lnTo>
                  <a:lnTo>
                    <a:pt x="21" y="312"/>
                  </a:lnTo>
                  <a:lnTo>
                    <a:pt x="18" y="314"/>
                  </a:lnTo>
                  <a:lnTo>
                    <a:pt x="18" y="317"/>
                  </a:lnTo>
                  <a:lnTo>
                    <a:pt x="18" y="317"/>
                  </a:lnTo>
                  <a:lnTo>
                    <a:pt x="21" y="319"/>
                  </a:lnTo>
                  <a:lnTo>
                    <a:pt x="21" y="321"/>
                  </a:lnTo>
                  <a:lnTo>
                    <a:pt x="21" y="324"/>
                  </a:lnTo>
                  <a:lnTo>
                    <a:pt x="21" y="326"/>
                  </a:lnTo>
                  <a:lnTo>
                    <a:pt x="21" y="326"/>
                  </a:lnTo>
                  <a:lnTo>
                    <a:pt x="23" y="328"/>
                  </a:lnTo>
                  <a:lnTo>
                    <a:pt x="23" y="331"/>
                  </a:lnTo>
                  <a:lnTo>
                    <a:pt x="23" y="333"/>
                  </a:lnTo>
                  <a:lnTo>
                    <a:pt x="23" y="333"/>
                  </a:lnTo>
                  <a:lnTo>
                    <a:pt x="25" y="338"/>
                  </a:lnTo>
                  <a:lnTo>
                    <a:pt x="28" y="340"/>
                  </a:lnTo>
                  <a:lnTo>
                    <a:pt x="30" y="343"/>
                  </a:lnTo>
                  <a:lnTo>
                    <a:pt x="30" y="347"/>
                  </a:lnTo>
                  <a:lnTo>
                    <a:pt x="33" y="350"/>
                  </a:lnTo>
                  <a:lnTo>
                    <a:pt x="33" y="352"/>
                  </a:lnTo>
                  <a:lnTo>
                    <a:pt x="35" y="352"/>
                  </a:lnTo>
                  <a:lnTo>
                    <a:pt x="35" y="354"/>
                  </a:lnTo>
                  <a:lnTo>
                    <a:pt x="35" y="354"/>
                  </a:lnTo>
                  <a:lnTo>
                    <a:pt x="35" y="357"/>
                  </a:lnTo>
                  <a:lnTo>
                    <a:pt x="35" y="357"/>
                  </a:lnTo>
                  <a:lnTo>
                    <a:pt x="33" y="359"/>
                  </a:lnTo>
                  <a:lnTo>
                    <a:pt x="33" y="359"/>
                  </a:lnTo>
                  <a:lnTo>
                    <a:pt x="30" y="359"/>
                  </a:lnTo>
                  <a:lnTo>
                    <a:pt x="30" y="362"/>
                  </a:lnTo>
                  <a:lnTo>
                    <a:pt x="28" y="362"/>
                  </a:lnTo>
                  <a:lnTo>
                    <a:pt x="28" y="364"/>
                  </a:lnTo>
                  <a:lnTo>
                    <a:pt x="30" y="369"/>
                  </a:lnTo>
                  <a:lnTo>
                    <a:pt x="30" y="369"/>
                  </a:lnTo>
                  <a:lnTo>
                    <a:pt x="30" y="371"/>
                  </a:lnTo>
                  <a:lnTo>
                    <a:pt x="30" y="373"/>
                  </a:lnTo>
                  <a:lnTo>
                    <a:pt x="30" y="373"/>
                  </a:lnTo>
                  <a:lnTo>
                    <a:pt x="30" y="376"/>
                  </a:lnTo>
                  <a:lnTo>
                    <a:pt x="30" y="376"/>
                  </a:lnTo>
                  <a:lnTo>
                    <a:pt x="30" y="376"/>
                  </a:lnTo>
                  <a:lnTo>
                    <a:pt x="30" y="376"/>
                  </a:lnTo>
                  <a:lnTo>
                    <a:pt x="28" y="376"/>
                  </a:lnTo>
                  <a:lnTo>
                    <a:pt x="28" y="376"/>
                  </a:lnTo>
                  <a:lnTo>
                    <a:pt x="30" y="378"/>
                  </a:lnTo>
                  <a:lnTo>
                    <a:pt x="30" y="380"/>
                  </a:lnTo>
                  <a:lnTo>
                    <a:pt x="33" y="383"/>
                  </a:lnTo>
                  <a:lnTo>
                    <a:pt x="33" y="383"/>
                  </a:lnTo>
                  <a:lnTo>
                    <a:pt x="33" y="383"/>
                  </a:lnTo>
                  <a:lnTo>
                    <a:pt x="33" y="385"/>
                  </a:lnTo>
                  <a:lnTo>
                    <a:pt x="30" y="385"/>
                  </a:lnTo>
                  <a:lnTo>
                    <a:pt x="30" y="385"/>
                  </a:lnTo>
                  <a:lnTo>
                    <a:pt x="30" y="388"/>
                  </a:lnTo>
                  <a:lnTo>
                    <a:pt x="30" y="388"/>
                  </a:lnTo>
                  <a:lnTo>
                    <a:pt x="33" y="390"/>
                  </a:lnTo>
                  <a:lnTo>
                    <a:pt x="35" y="390"/>
                  </a:lnTo>
                  <a:lnTo>
                    <a:pt x="35" y="390"/>
                  </a:lnTo>
                  <a:lnTo>
                    <a:pt x="33" y="392"/>
                  </a:lnTo>
                  <a:lnTo>
                    <a:pt x="33" y="392"/>
                  </a:lnTo>
                  <a:lnTo>
                    <a:pt x="33" y="395"/>
                  </a:lnTo>
                  <a:lnTo>
                    <a:pt x="33" y="395"/>
                  </a:lnTo>
                  <a:lnTo>
                    <a:pt x="33" y="397"/>
                  </a:lnTo>
                  <a:lnTo>
                    <a:pt x="33" y="399"/>
                  </a:lnTo>
                  <a:lnTo>
                    <a:pt x="35" y="402"/>
                  </a:lnTo>
                  <a:lnTo>
                    <a:pt x="35" y="404"/>
                  </a:lnTo>
                  <a:lnTo>
                    <a:pt x="37" y="409"/>
                  </a:lnTo>
                  <a:lnTo>
                    <a:pt x="37" y="411"/>
                  </a:lnTo>
                  <a:lnTo>
                    <a:pt x="40" y="416"/>
                  </a:lnTo>
                  <a:lnTo>
                    <a:pt x="40" y="416"/>
                  </a:lnTo>
                  <a:lnTo>
                    <a:pt x="40" y="416"/>
                  </a:lnTo>
                  <a:lnTo>
                    <a:pt x="42" y="421"/>
                  </a:lnTo>
                  <a:lnTo>
                    <a:pt x="44" y="423"/>
                  </a:lnTo>
                  <a:lnTo>
                    <a:pt x="47" y="425"/>
                  </a:lnTo>
                  <a:lnTo>
                    <a:pt x="47" y="425"/>
                  </a:lnTo>
                  <a:lnTo>
                    <a:pt x="44" y="428"/>
                  </a:lnTo>
                  <a:lnTo>
                    <a:pt x="44" y="428"/>
                  </a:lnTo>
                  <a:lnTo>
                    <a:pt x="42" y="428"/>
                  </a:lnTo>
                  <a:lnTo>
                    <a:pt x="42" y="428"/>
                  </a:lnTo>
                  <a:lnTo>
                    <a:pt x="42" y="428"/>
                  </a:lnTo>
                  <a:lnTo>
                    <a:pt x="42" y="430"/>
                  </a:lnTo>
                  <a:lnTo>
                    <a:pt x="42" y="430"/>
                  </a:lnTo>
                  <a:lnTo>
                    <a:pt x="42" y="432"/>
                  </a:lnTo>
                  <a:lnTo>
                    <a:pt x="44" y="435"/>
                  </a:lnTo>
                  <a:lnTo>
                    <a:pt x="44" y="435"/>
                  </a:lnTo>
                  <a:lnTo>
                    <a:pt x="44" y="437"/>
                  </a:lnTo>
                  <a:lnTo>
                    <a:pt x="44" y="437"/>
                  </a:lnTo>
                  <a:lnTo>
                    <a:pt x="44" y="440"/>
                  </a:lnTo>
                  <a:lnTo>
                    <a:pt x="47" y="444"/>
                  </a:lnTo>
                  <a:lnTo>
                    <a:pt x="47" y="447"/>
                  </a:lnTo>
                  <a:lnTo>
                    <a:pt x="49" y="447"/>
                  </a:lnTo>
                  <a:lnTo>
                    <a:pt x="51" y="447"/>
                  </a:lnTo>
                  <a:lnTo>
                    <a:pt x="54" y="449"/>
                  </a:lnTo>
                  <a:lnTo>
                    <a:pt x="56" y="449"/>
                  </a:lnTo>
                  <a:lnTo>
                    <a:pt x="56" y="451"/>
                  </a:lnTo>
                  <a:lnTo>
                    <a:pt x="54" y="451"/>
                  </a:lnTo>
                  <a:lnTo>
                    <a:pt x="54" y="451"/>
                  </a:lnTo>
                  <a:lnTo>
                    <a:pt x="54" y="454"/>
                  </a:lnTo>
                  <a:lnTo>
                    <a:pt x="56" y="456"/>
                  </a:lnTo>
                  <a:lnTo>
                    <a:pt x="58" y="456"/>
                  </a:lnTo>
                  <a:lnTo>
                    <a:pt x="58" y="458"/>
                  </a:lnTo>
                  <a:lnTo>
                    <a:pt x="58" y="458"/>
                  </a:lnTo>
                  <a:lnTo>
                    <a:pt x="58" y="461"/>
                  </a:lnTo>
                  <a:lnTo>
                    <a:pt x="61" y="463"/>
                  </a:lnTo>
                  <a:lnTo>
                    <a:pt x="61" y="463"/>
                  </a:lnTo>
                  <a:lnTo>
                    <a:pt x="61" y="466"/>
                  </a:lnTo>
                  <a:lnTo>
                    <a:pt x="61" y="466"/>
                  </a:lnTo>
                  <a:lnTo>
                    <a:pt x="61" y="468"/>
                  </a:lnTo>
                  <a:lnTo>
                    <a:pt x="61" y="468"/>
                  </a:lnTo>
                  <a:lnTo>
                    <a:pt x="61" y="470"/>
                  </a:lnTo>
                  <a:lnTo>
                    <a:pt x="63" y="473"/>
                  </a:lnTo>
                  <a:lnTo>
                    <a:pt x="63" y="473"/>
                  </a:lnTo>
                  <a:lnTo>
                    <a:pt x="73" y="473"/>
                  </a:lnTo>
                  <a:lnTo>
                    <a:pt x="75" y="475"/>
                  </a:lnTo>
                  <a:lnTo>
                    <a:pt x="75" y="475"/>
                  </a:lnTo>
                  <a:lnTo>
                    <a:pt x="75" y="477"/>
                  </a:lnTo>
                  <a:lnTo>
                    <a:pt x="75" y="477"/>
                  </a:lnTo>
                  <a:lnTo>
                    <a:pt x="75" y="480"/>
                  </a:lnTo>
                  <a:lnTo>
                    <a:pt x="75" y="482"/>
                  </a:lnTo>
                  <a:lnTo>
                    <a:pt x="73" y="480"/>
                  </a:lnTo>
                  <a:lnTo>
                    <a:pt x="70" y="480"/>
                  </a:lnTo>
                  <a:lnTo>
                    <a:pt x="70" y="480"/>
                  </a:lnTo>
                  <a:lnTo>
                    <a:pt x="68" y="480"/>
                  </a:lnTo>
                  <a:lnTo>
                    <a:pt x="63" y="482"/>
                  </a:lnTo>
                  <a:lnTo>
                    <a:pt x="63" y="480"/>
                  </a:lnTo>
                  <a:lnTo>
                    <a:pt x="63" y="482"/>
                  </a:lnTo>
                  <a:lnTo>
                    <a:pt x="63" y="484"/>
                  </a:lnTo>
                  <a:lnTo>
                    <a:pt x="68" y="484"/>
                  </a:lnTo>
                  <a:lnTo>
                    <a:pt x="73" y="484"/>
                  </a:lnTo>
                  <a:lnTo>
                    <a:pt x="73" y="489"/>
                  </a:lnTo>
                  <a:lnTo>
                    <a:pt x="75" y="492"/>
                  </a:lnTo>
                  <a:lnTo>
                    <a:pt x="77" y="492"/>
                  </a:lnTo>
                  <a:lnTo>
                    <a:pt x="80" y="494"/>
                  </a:lnTo>
                  <a:lnTo>
                    <a:pt x="77" y="496"/>
                  </a:lnTo>
                  <a:lnTo>
                    <a:pt x="77" y="499"/>
                  </a:lnTo>
                  <a:lnTo>
                    <a:pt x="75" y="499"/>
                  </a:lnTo>
                  <a:lnTo>
                    <a:pt x="75" y="499"/>
                  </a:lnTo>
                  <a:lnTo>
                    <a:pt x="75" y="501"/>
                  </a:lnTo>
                  <a:lnTo>
                    <a:pt x="77" y="503"/>
                  </a:lnTo>
                  <a:lnTo>
                    <a:pt x="77" y="506"/>
                  </a:lnTo>
                  <a:lnTo>
                    <a:pt x="80" y="506"/>
                  </a:lnTo>
                  <a:lnTo>
                    <a:pt x="80" y="508"/>
                  </a:lnTo>
                  <a:lnTo>
                    <a:pt x="77" y="510"/>
                  </a:lnTo>
                  <a:lnTo>
                    <a:pt x="77" y="510"/>
                  </a:lnTo>
                  <a:lnTo>
                    <a:pt x="77" y="513"/>
                  </a:lnTo>
                  <a:lnTo>
                    <a:pt x="80" y="513"/>
                  </a:lnTo>
                  <a:lnTo>
                    <a:pt x="80" y="515"/>
                  </a:lnTo>
                  <a:lnTo>
                    <a:pt x="82" y="518"/>
                  </a:lnTo>
                  <a:lnTo>
                    <a:pt x="84" y="520"/>
                  </a:lnTo>
                  <a:lnTo>
                    <a:pt x="84" y="522"/>
                  </a:lnTo>
                  <a:lnTo>
                    <a:pt x="84" y="522"/>
                  </a:lnTo>
                  <a:lnTo>
                    <a:pt x="82" y="525"/>
                  </a:lnTo>
                  <a:lnTo>
                    <a:pt x="82" y="525"/>
                  </a:lnTo>
                  <a:lnTo>
                    <a:pt x="82" y="527"/>
                  </a:lnTo>
                  <a:lnTo>
                    <a:pt x="82" y="529"/>
                  </a:lnTo>
                  <a:lnTo>
                    <a:pt x="84" y="529"/>
                  </a:lnTo>
                  <a:lnTo>
                    <a:pt x="84" y="532"/>
                  </a:lnTo>
                  <a:lnTo>
                    <a:pt x="84" y="532"/>
                  </a:lnTo>
                  <a:lnTo>
                    <a:pt x="84" y="532"/>
                  </a:lnTo>
                  <a:lnTo>
                    <a:pt x="84" y="534"/>
                  </a:lnTo>
                  <a:lnTo>
                    <a:pt x="84" y="536"/>
                  </a:lnTo>
                  <a:lnTo>
                    <a:pt x="82" y="536"/>
                  </a:lnTo>
                  <a:lnTo>
                    <a:pt x="80" y="539"/>
                  </a:lnTo>
                  <a:lnTo>
                    <a:pt x="82" y="541"/>
                  </a:lnTo>
                  <a:lnTo>
                    <a:pt x="82" y="544"/>
                  </a:lnTo>
                  <a:lnTo>
                    <a:pt x="82" y="544"/>
                  </a:lnTo>
                  <a:lnTo>
                    <a:pt x="82" y="546"/>
                  </a:lnTo>
                  <a:lnTo>
                    <a:pt x="82" y="548"/>
                  </a:lnTo>
                  <a:lnTo>
                    <a:pt x="84" y="548"/>
                  </a:lnTo>
                  <a:lnTo>
                    <a:pt x="87" y="551"/>
                  </a:lnTo>
                  <a:lnTo>
                    <a:pt x="89" y="553"/>
                  </a:lnTo>
                  <a:lnTo>
                    <a:pt x="89" y="555"/>
                  </a:lnTo>
                  <a:lnTo>
                    <a:pt x="87" y="558"/>
                  </a:lnTo>
                  <a:lnTo>
                    <a:pt x="84" y="558"/>
                  </a:lnTo>
                  <a:lnTo>
                    <a:pt x="84" y="560"/>
                  </a:lnTo>
                  <a:lnTo>
                    <a:pt x="87" y="562"/>
                  </a:lnTo>
                  <a:lnTo>
                    <a:pt x="87" y="565"/>
                  </a:lnTo>
                  <a:lnTo>
                    <a:pt x="87" y="565"/>
                  </a:lnTo>
                  <a:lnTo>
                    <a:pt x="87" y="567"/>
                  </a:lnTo>
                  <a:lnTo>
                    <a:pt x="87" y="567"/>
                  </a:lnTo>
                  <a:lnTo>
                    <a:pt x="84" y="570"/>
                  </a:lnTo>
                  <a:lnTo>
                    <a:pt x="84" y="570"/>
                  </a:lnTo>
                  <a:lnTo>
                    <a:pt x="82" y="570"/>
                  </a:lnTo>
                  <a:lnTo>
                    <a:pt x="82" y="572"/>
                  </a:lnTo>
                  <a:lnTo>
                    <a:pt x="82" y="574"/>
                  </a:lnTo>
                  <a:lnTo>
                    <a:pt x="84" y="577"/>
                  </a:lnTo>
                  <a:lnTo>
                    <a:pt x="80" y="577"/>
                  </a:lnTo>
                  <a:lnTo>
                    <a:pt x="80" y="577"/>
                  </a:lnTo>
                  <a:lnTo>
                    <a:pt x="80" y="579"/>
                  </a:lnTo>
                  <a:lnTo>
                    <a:pt x="80" y="581"/>
                  </a:lnTo>
                  <a:lnTo>
                    <a:pt x="82" y="584"/>
                  </a:lnTo>
                  <a:lnTo>
                    <a:pt x="84" y="586"/>
                  </a:lnTo>
                  <a:lnTo>
                    <a:pt x="84" y="589"/>
                  </a:lnTo>
                  <a:lnTo>
                    <a:pt x="84" y="591"/>
                  </a:lnTo>
                  <a:lnTo>
                    <a:pt x="87" y="593"/>
                  </a:lnTo>
                  <a:lnTo>
                    <a:pt x="89" y="596"/>
                  </a:lnTo>
                  <a:lnTo>
                    <a:pt x="91" y="598"/>
                  </a:lnTo>
                  <a:lnTo>
                    <a:pt x="94" y="600"/>
                  </a:lnTo>
                  <a:lnTo>
                    <a:pt x="94" y="603"/>
                  </a:lnTo>
                  <a:lnTo>
                    <a:pt x="96" y="603"/>
                  </a:lnTo>
                  <a:lnTo>
                    <a:pt x="96" y="605"/>
                  </a:lnTo>
                  <a:lnTo>
                    <a:pt x="99" y="605"/>
                  </a:lnTo>
                  <a:lnTo>
                    <a:pt x="99" y="605"/>
                  </a:lnTo>
                  <a:lnTo>
                    <a:pt x="101" y="605"/>
                  </a:lnTo>
                  <a:lnTo>
                    <a:pt x="101" y="603"/>
                  </a:lnTo>
                  <a:lnTo>
                    <a:pt x="103" y="603"/>
                  </a:lnTo>
                  <a:lnTo>
                    <a:pt x="106" y="603"/>
                  </a:lnTo>
                  <a:lnTo>
                    <a:pt x="106" y="603"/>
                  </a:lnTo>
                  <a:lnTo>
                    <a:pt x="108" y="603"/>
                  </a:lnTo>
                  <a:lnTo>
                    <a:pt x="108" y="603"/>
                  </a:lnTo>
                  <a:lnTo>
                    <a:pt x="110" y="605"/>
                  </a:lnTo>
                  <a:lnTo>
                    <a:pt x="113" y="607"/>
                  </a:lnTo>
                  <a:lnTo>
                    <a:pt x="113" y="610"/>
                  </a:lnTo>
                  <a:lnTo>
                    <a:pt x="115" y="612"/>
                  </a:lnTo>
                  <a:lnTo>
                    <a:pt x="113" y="612"/>
                  </a:lnTo>
                  <a:lnTo>
                    <a:pt x="113" y="612"/>
                  </a:lnTo>
                  <a:lnTo>
                    <a:pt x="115" y="615"/>
                  </a:lnTo>
                  <a:lnTo>
                    <a:pt x="115" y="615"/>
                  </a:lnTo>
                  <a:lnTo>
                    <a:pt x="117" y="617"/>
                  </a:lnTo>
                  <a:lnTo>
                    <a:pt x="117" y="619"/>
                  </a:lnTo>
                  <a:lnTo>
                    <a:pt x="117" y="622"/>
                  </a:lnTo>
                  <a:lnTo>
                    <a:pt x="120" y="624"/>
                  </a:lnTo>
                  <a:lnTo>
                    <a:pt x="122" y="624"/>
                  </a:lnTo>
                  <a:lnTo>
                    <a:pt x="124" y="626"/>
                  </a:lnTo>
                  <a:lnTo>
                    <a:pt x="127" y="626"/>
                  </a:lnTo>
                  <a:lnTo>
                    <a:pt x="127" y="629"/>
                  </a:lnTo>
                  <a:lnTo>
                    <a:pt x="129" y="631"/>
                  </a:lnTo>
                  <a:lnTo>
                    <a:pt x="129" y="631"/>
                  </a:lnTo>
                  <a:lnTo>
                    <a:pt x="134" y="631"/>
                  </a:lnTo>
                  <a:lnTo>
                    <a:pt x="139" y="631"/>
                  </a:lnTo>
                  <a:lnTo>
                    <a:pt x="146" y="631"/>
                  </a:lnTo>
                  <a:lnTo>
                    <a:pt x="153" y="631"/>
                  </a:lnTo>
                  <a:lnTo>
                    <a:pt x="160" y="631"/>
                  </a:lnTo>
                  <a:lnTo>
                    <a:pt x="165" y="633"/>
                  </a:lnTo>
                  <a:lnTo>
                    <a:pt x="169" y="633"/>
                  </a:lnTo>
                  <a:lnTo>
                    <a:pt x="174" y="633"/>
                  </a:lnTo>
                  <a:lnTo>
                    <a:pt x="179" y="636"/>
                  </a:lnTo>
                  <a:lnTo>
                    <a:pt x="183" y="636"/>
                  </a:lnTo>
                  <a:lnTo>
                    <a:pt x="186" y="636"/>
                  </a:lnTo>
                  <a:lnTo>
                    <a:pt x="188" y="636"/>
                  </a:lnTo>
                  <a:lnTo>
                    <a:pt x="188" y="638"/>
                  </a:lnTo>
                  <a:lnTo>
                    <a:pt x="188" y="638"/>
                  </a:lnTo>
                  <a:lnTo>
                    <a:pt x="186" y="636"/>
                  </a:lnTo>
                  <a:lnTo>
                    <a:pt x="181" y="631"/>
                  </a:lnTo>
                  <a:lnTo>
                    <a:pt x="174" y="624"/>
                  </a:lnTo>
                  <a:lnTo>
                    <a:pt x="174" y="624"/>
                  </a:lnTo>
                  <a:lnTo>
                    <a:pt x="172" y="624"/>
                  </a:lnTo>
                  <a:lnTo>
                    <a:pt x="169" y="624"/>
                  </a:lnTo>
                  <a:lnTo>
                    <a:pt x="167" y="624"/>
                  </a:lnTo>
                  <a:lnTo>
                    <a:pt x="167" y="624"/>
                  </a:lnTo>
                  <a:lnTo>
                    <a:pt x="165" y="622"/>
                  </a:lnTo>
                  <a:lnTo>
                    <a:pt x="167" y="622"/>
                  </a:lnTo>
                  <a:lnTo>
                    <a:pt x="169" y="622"/>
                  </a:lnTo>
                  <a:lnTo>
                    <a:pt x="172" y="622"/>
                  </a:lnTo>
                  <a:lnTo>
                    <a:pt x="172" y="622"/>
                  </a:lnTo>
                  <a:lnTo>
                    <a:pt x="169" y="619"/>
                  </a:lnTo>
                  <a:lnTo>
                    <a:pt x="169" y="617"/>
                  </a:lnTo>
                  <a:lnTo>
                    <a:pt x="165" y="612"/>
                  </a:lnTo>
                  <a:lnTo>
                    <a:pt x="162" y="610"/>
                  </a:lnTo>
                  <a:lnTo>
                    <a:pt x="162" y="610"/>
                  </a:lnTo>
                  <a:lnTo>
                    <a:pt x="162" y="612"/>
                  </a:lnTo>
                  <a:lnTo>
                    <a:pt x="162" y="612"/>
                  </a:lnTo>
                  <a:lnTo>
                    <a:pt x="162" y="610"/>
                  </a:lnTo>
                  <a:lnTo>
                    <a:pt x="162" y="607"/>
                  </a:lnTo>
                  <a:lnTo>
                    <a:pt x="162" y="605"/>
                  </a:lnTo>
                  <a:lnTo>
                    <a:pt x="162" y="603"/>
                  </a:lnTo>
                  <a:lnTo>
                    <a:pt x="162" y="600"/>
                  </a:lnTo>
                  <a:lnTo>
                    <a:pt x="162" y="598"/>
                  </a:lnTo>
                  <a:lnTo>
                    <a:pt x="165" y="596"/>
                  </a:lnTo>
                  <a:lnTo>
                    <a:pt x="167" y="596"/>
                  </a:lnTo>
                  <a:lnTo>
                    <a:pt x="167" y="593"/>
                  </a:lnTo>
                  <a:lnTo>
                    <a:pt x="169" y="593"/>
                  </a:lnTo>
                  <a:lnTo>
                    <a:pt x="167" y="593"/>
                  </a:lnTo>
                  <a:lnTo>
                    <a:pt x="165" y="591"/>
                  </a:lnTo>
                  <a:lnTo>
                    <a:pt x="165" y="591"/>
                  </a:lnTo>
                  <a:lnTo>
                    <a:pt x="162" y="591"/>
                  </a:lnTo>
                  <a:lnTo>
                    <a:pt x="157" y="591"/>
                  </a:lnTo>
                  <a:lnTo>
                    <a:pt x="157" y="589"/>
                  </a:lnTo>
                  <a:lnTo>
                    <a:pt x="162" y="589"/>
                  </a:lnTo>
                  <a:lnTo>
                    <a:pt x="162" y="589"/>
                  </a:lnTo>
                  <a:lnTo>
                    <a:pt x="160" y="586"/>
                  </a:lnTo>
                  <a:lnTo>
                    <a:pt x="160" y="586"/>
                  </a:lnTo>
                  <a:lnTo>
                    <a:pt x="162" y="589"/>
                  </a:lnTo>
                  <a:lnTo>
                    <a:pt x="165" y="591"/>
                  </a:lnTo>
                  <a:lnTo>
                    <a:pt x="167" y="591"/>
                  </a:lnTo>
                  <a:lnTo>
                    <a:pt x="169" y="593"/>
                  </a:lnTo>
                  <a:lnTo>
                    <a:pt x="172" y="593"/>
                  </a:lnTo>
                  <a:lnTo>
                    <a:pt x="174" y="591"/>
                  </a:lnTo>
                  <a:lnTo>
                    <a:pt x="176" y="589"/>
                  </a:lnTo>
                  <a:lnTo>
                    <a:pt x="176" y="586"/>
                  </a:lnTo>
                  <a:lnTo>
                    <a:pt x="174" y="577"/>
                  </a:lnTo>
                  <a:lnTo>
                    <a:pt x="172" y="577"/>
                  </a:lnTo>
                  <a:lnTo>
                    <a:pt x="172" y="574"/>
                  </a:lnTo>
                  <a:lnTo>
                    <a:pt x="174" y="570"/>
                  </a:lnTo>
                  <a:lnTo>
                    <a:pt x="174" y="565"/>
                  </a:lnTo>
                  <a:lnTo>
                    <a:pt x="176" y="562"/>
                  </a:lnTo>
                  <a:lnTo>
                    <a:pt x="176" y="562"/>
                  </a:lnTo>
                  <a:lnTo>
                    <a:pt x="181" y="560"/>
                  </a:lnTo>
                  <a:lnTo>
                    <a:pt x="183" y="558"/>
                  </a:lnTo>
                  <a:lnTo>
                    <a:pt x="186" y="555"/>
                  </a:lnTo>
                  <a:lnTo>
                    <a:pt x="190" y="551"/>
                  </a:lnTo>
                  <a:lnTo>
                    <a:pt x="190" y="548"/>
                  </a:lnTo>
                  <a:lnTo>
                    <a:pt x="190" y="548"/>
                  </a:lnTo>
                  <a:lnTo>
                    <a:pt x="190" y="548"/>
                  </a:lnTo>
                  <a:lnTo>
                    <a:pt x="190" y="546"/>
                  </a:lnTo>
                  <a:lnTo>
                    <a:pt x="188" y="546"/>
                  </a:lnTo>
                  <a:lnTo>
                    <a:pt x="186" y="546"/>
                  </a:lnTo>
                  <a:lnTo>
                    <a:pt x="186" y="546"/>
                  </a:lnTo>
                  <a:lnTo>
                    <a:pt x="183" y="546"/>
                  </a:lnTo>
                  <a:lnTo>
                    <a:pt x="186" y="544"/>
                  </a:lnTo>
                  <a:lnTo>
                    <a:pt x="188" y="544"/>
                  </a:lnTo>
                  <a:lnTo>
                    <a:pt x="188" y="541"/>
                  </a:lnTo>
                  <a:lnTo>
                    <a:pt x="188" y="541"/>
                  </a:lnTo>
                  <a:lnTo>
                    <a:pt x="188" y="536"/>
                  </a:lnTo>
                  <a:lnTo>
                    <a:pt x="186" y="534"/>
                  </a:lnTo>
                  <a:lnTo>
                    <a:pt x="183" y="532"/>
                  </a:lnTo>
                  <a:lnTo>
                    <a:pt x="181" y="529"/>
                  </a:lnTo>
                  <a:lnTo>
                    <a:pt x="172" y="529"/>
                  </a:lnTo>
                  <a:lnTo>
                    <a:pt x="169" y="529"/>
                  </a:lnTo>
                  <a:lnTo>
                    <a:pt x="155" y="520"/>
                  </a:lnTo>
                  <a:lnTo>
                    <a:pt x="153" y="518"/>
                  </a:lnTo>
                  <a:lnTo>
                    <a:pt x="150" y="515"/>
                  </a:lnTo>
                  <a:lnTo>
                    <a:pt x="148" y="513"/>
                  </a:lnTo>
                  <a:lnTo>
                    <a:pt x="148" y="510"/>
                  </a:lnTo>
                  <a:lnTo>
                    <a:pt x="148" y="508"/>
                  </a:lnTo>
                  <a:lnTo>
                    <a:pt x="148" y="508"/>
                  </a:lnTo>
                  <a:lnTo>
                    <a:pt x="148" y="503"/>
                  </a:lnTo>
                  <a:lnTo>
                    <a:pt x="148" y="499"/>
                  </a:lnTo>
                  <a:lnTo>
                    <a:pt x="153" y="492"/>
                  </a:lnTo>
                  <a:lnTo>
                    <a:pt x="153" y="492"/>
                  </a:lnTo>
                  <a:lnTo>
                    <a:pt x="157" y="492"/>
                  </a:lnTo>
                  <a:lnTo>
                    <a:pt x="157" y="492"/>
                  </a:lnTo>
                  <a:lnTo>
                    <a:pt x="157" y="489"/>
                  </a:lnTo>
                  <a:lnTo>
                    <a:pt x="160" y="487"/>
                  </a:lnTo>
                  <a:lnTo>
                    <a:pt x="162" y="484"/>
                  </a:lnTo>
                  <a:lnTo>
                    <a:pt x="169" y="487"/>
                  </a:lnTo>
                  <a:lnTo>
                    <a:pt x="172" y="487"/>
                  </a:lnTo>
                  <a:lnTo>
                    <a:pt x="172" y="484"/>
                  </a:lnTo>
                  <a:lnTo>
                    <a:pt x="172" y="482"/>
                  </a:lnTo>
                  <a:lnTo>
                    <a:pt x="169" y="482"/>
                  </a:lnTo>
                  <a:lnTo>
                    <a:pt x="169" y="480"/>
                  </a:lnTo>
                  <a:lnTo>
                    <a:pt x="172" y="475"/>
                  </a:lnTo>
                  <a:lnTo>
                    <a:pt x="172" y="473"/>
                  </a:lnTo>
                  <a:lnTo>
                    <a:pt x="172" y="470"/>
                  </a:lnTo>
                  <a:lnTo>
                    <a:pt x="172" y="468"/>
                  </a:lnTo>
                  <a:lnTo>
                    <a:pt x="172" y="466"/>
                  </a:lnTo>
                  <a:lnTo>
                    <a:pt x="167" y="461"/>
                  </a:lnTo>
                  <a:lnTo>
                    <a:pt x="167" y="458"/>
                  </a:lnTo>
                  <a:lnTo>
                    <a:pt x="167" y="456"/>
                  </a:lnTo>
                  <a:lnTo>
                    <a:pt x="167" y="456"/>
                  </a:lnTo>
                  <a:lnTo>
                    <a:pt x="169" y="451"/>
                  </a:lnTo>
                  <a:lnTo>
                    <a:pt x="172" y="449"/>
                  </a:lnTo>
                  <a:lnTo>
                    <a:pt x="174" y="447"/>
                  </a:lnTo>
                  <a:lnTo>
                    <a:pt x="176" y="447"/>
                  </a:lnTo>
                  <a:lnTo>
                    <a:pt x="179" y="444"/>
                  </a:lnTo>
                  <a:lnTo>
                    <a:pt x="179" y="444"/>
                  </a:lnTo>
                  <a:lnTo>
                    <a:pt x="176" y="444"/>
                  </a:lnTo>
                  <a:lnTo>
                    <a:pt x="176" y="444"/>
                  </a:lnTo>
                  <a:lnTo>
                    <a:pt x="172" y="442"/>
                  </a:lnTo>
                  <a:lnTo>
                    <a:pt x="165" y="440"/>
                  </a:lnTo>
                  <a:lnTo>
                    <a:pt x="165" y="437"/>
                  </a:lnTo>
                  <a:lnTo>
                    <a:pt x="167" y="437"/>
                  </a:lnTo>
                  <a:lnTo>
                    <a:pt x="169" y="435"/>
                  </a:lnTo>
                  <a:lnTo>
                    <a:pt x="172" y="435"/>
                  </a:lnTo>
                  <a:lnTo>
                    <a:pt x="176" y="435"/>
                  </a:lnTo>
                  <a:lnTo>
                    <a:pt x="176" y="437"/>
                  </a:lnTo>
                  <a:lnTo>
                    <a:pt x="179" y="440"/>
                  </a:lnTo>
                  <a:lnTo>
                    <a:pt x="181" y="442"/>
                  </a:lnTo>
                  <a:lnTo>
                    <a:pt x="183" y="442"/>
                  </a:lnTo>
                  <a:lnTo>
                    <a:pt x="188" y="440"/>
                  </a:lnTo>
                  <a:lnTo>
                    <a:pt x="188" y="440"/>
                  </a:lnTo>
                  <a:lnTo>
                    <a:pt x="188" y="440"/>
                  </a:lnTo>
                  <a:lnTo>
                    <a:pt x="188" y="435"/>
                  </a:lnTo>
                  <a:lnTo>
                    <a:pt x="186" y="432"/>
                  </a:lnTo>
                  <a:lnTo>
                    <a:pt x="186" y="430"/>
                  </a:lnTo>
                  <a:lnTo>
                    <a:pt x="183" y="428"/>
                  </a:lnTo>
                  <a:lnTo>
                    <a:pt x="183" y="428"/>
                  </a:lnTo>
                  <a:lnTo>
                    <a:pt x="181" y="428"/>
                  </a:lnTo>
                  <a:lnTo>
                    <a:pt x="179" y="428"/>
                  </a:lnTo>
                  <a:lnTo>
                    <a:pt x="176" y="428"/>
                  </a:lnTo>
                  <a:lnTo>
                    <a:pt x="174" y="428"/>
                  </a:lnTo>
                  <a:lnTo>
                    <a:pt x="174" y="430"/>
                  </a:lnTo>
                  <a:lnTo>
                    <a:pt x="179" y="430"/>
                  </a:lnTo>
                  <a:lnTo>
                    <a:pt x="179" y="432"/>
                  </a:lnTo>
                  <a:lnTo>
                    <a:pt x="179" y="432"/>
                  </a:lnTo>
                  <a:lnTo>
                    <a:pt x="176" y="432"/>
                  </a:lnTo>
                  <a:lnTo>
                    <a:pt x="172" y="432"/>
                  </a:lnTo>
                  <a:lnTo>
                    <a:pt x="169" y="432"/>
                  </a:lnTo>
                  <a:lnTo>
                    <a:pt x="169" y="432"/>
                  </a:lnTo>
                  <a:lnTo>
                    <a:pt x="169" y="430"/>
                  </a:lnTo>
                  <a:lnTo>
                    <a:pt x="169" y="430"/>
                  </a:lnTo>
                  <a:lnTo>
                    <a:pt x="169" y="430"/>
                  </a:lnTo>
                  <a:lnTo>
                    <a:pt x="169" y="430"/>
                  </a:lnTo>
                  <a:lnTo>
                    <a:pt x="167" y="428"/>
                  </a:lnTo>
                  <a:lnTo>
                    <a:pt x="162" y="428"/>
                  </a:lnTo>
                  <a:lnTo>
                    <a:pt x="160" y="425"/>
                  </a:lnTo>
                  <a:lnTo>
                    <a:pt x="157" y="423"/>
                  </a:lnTo>
                  <a:lnTo>
                    <a:pt x="157" y="418"/>
                  </a:lnTo>
                  <a:lnTo>
                    <a:pt x="157" y="416"/>
                  </a:lnTo>
                  <a:lnTo>
                    <a:pt x="153" y="409"/>
                  </a:lnTo>
                  <a:lnTo>
                    <a:pt x="150" y="406"/>
                  </a:lnTo>
                  <a:lnTo>
                    <a:pt x="150" y="402"/>
                  </a:lnTo>
                  <a:lnTo>
                    <a:pt x="150" y="402"/>
                  </a:lnTo>
                  <a:lnTo>
                    <a:pt x="150" y="399"/>
                  </a:lnTo>
                  <a:lnTo>
                    <a:pt x="153" y="397"/>
                  </a:lnTo>
                  <a:lnTo>
                    <a:pt x="153" y="399"/>
                  </a:lnTo>
                  <a:lnTo>
                    <a:pt x="155" y="399"/>
                  </a:lnTo>
                  <a:lnTo>
                    <a:pt x="155" y="399"/>
                  </a:lnTo>
                  <a:lnTo>
                    <a:pt x="155" y="399"/>
                  </a:lnTo>
                  <a:lnTo>
                    <a:pt x="157" y="402"/>
                  </a:lnTo>
                  <a:lnTo>
                    <a:pt x="162" y="402"/>
                  </a:lnTo>
                  <a:lnTo>
                    <a:pt x="167" y="404"/>
                  </a:lnTo>
                  <a:lnTo>
                    <a:pt x="174" y="406"/>
                  </a:lnTo>
                  <a:lnTo>
                    <a:pt x="176" y="406"/>
                  </a:lnTo>
                  <a:lnTo>
                    <a:pt x="183" y="406"/>
                  </a:lnTo>
                  <a:lnTo>
                    <a:pt x="188" y="406"/>
                  </a:lnTo>
                  <a:lnTo>
                    <a:pt x="190" y="404"/>
                  </a:lnTo>
                  <a:lnTo>
                    <a:pt x="198" y="402"/>
                  </a:lnTo>
                  <a:lnTo>
                    <a:pt x="198" y="399"/>
                  </a:lnTo>
                  <a:lnTo>
                    <a:pt x="198" y="397"/>
                  </a:lnTo>
                  <a:lnTo>
                    <a:pt x="193" y="392"/>
                  </a:lnTo>
                  <a:lnTo>
                    <a:pt x="193" y="390"/>
                  </a:lnTo>
                  <a:lnTo>
                    <a:pt x="193" y="388"/>
                  </a:lnTo>
                  <a:lnTo>
                    <a:pt x="190" y="383"/>
                  </a:lnTo>
                  <a:lnTo>
                    <a:pt x="193" y="383"/>
                  </a:lnTo>
                  <a:lnTo>
                    <a:pt x="193" y="383"/>
                  </a:lnTo>
                  <a:lnTo>
                    <a:pt x="195" y="380"/>
                  </a:lnTo>
                  <a:lnTo>
                    <a:pt x="193" y="376"/>
                  </a:lnTo>
                  <a:lnTo>
                    <a:pt x="193" y="373"/>
                  </a:lnTo>
                  <a:lnTo>
                    <a:pt x="193" y="373"/>
                  </a:lnTo>
                  <a:lnTo>
                    <a:pt x="190" y="371"/>
                  </a:lnTo>
                  <a:lnTo>
                    <a:pt x="193" y="371"/>
                  </a:lnTo>
                  <a:lnTo>
                    <a:pt x="190" y="371"/>
                  </a:lnTo>
                  <a:lnTo>
                    <a:pt x="188" y="369"/>
                  </a:lnTo>
                  <a:lnTo>
                    <a:pt x="188" y="369"/>
                  </a:lnTo>
                  <a:lnTo>
                    <a:pt x="186" y="366"/>
                  </a:lnTo>
                  <a:lnTo>
                    <a:pt x="186" y="364"/>
                  </a:lnTo>
                  <a:lnTo>
                    <a:pt x="183" y="359"/>
                  </a:lnTo>
                  <a:lnTo>
                    <a:pt x="183" y="359"/>
                  </a:lnTo>
                  <a:lnTo>
                    <a:pt x="186" y="359"/>
                  </a:lnTo>
                  <a:lnTo>
                    <a:pt x="190" y="362"/>
                  </a:lnTo>
                  <a:lnTo>
                    <a:pt x="193" y="362"/>
                  </a:lnTo>
                  <a:lnTo>
                    <a:pt x="198" y="364"/>
                  </a:lnTo>
                  <a:lnTo>
                    <a:pt x="202" y="364"/>
                  </a:lnTo>
                  <a:lnTo>
                    <a:pt x="207" y="364"/>
                  </a:lnTo>
                  <a:lnTo>
                    <a:pt x="209" y="364"/>
                  </a:lnTo>
                  <a:lnTo>
                    <a:pt x="228" y="359"/>
                  </a:lnTo>
                  <a:lnTo>
                    <a:pt x="230" y="359"/>
                  </a:lnTo>
                  <a:lnTo>
                    <a:pt x="240" y="357"/>
                  </a:lnTo>
                  <a:lnTo>
                    <a:pt x="254" y="352"/>
                  </a:lnTo>
                  <a:lnTo>
                    <a:pt x="261" y="345"/>
                  </a:lnTo>
                  <a:lnTo>
                    <a:pt x="263" y="345"/>
                  </a:lnTo>
                  <a:lnTo>
                    <a:pt x="263" y="340"/>
                  </a:lnTo>
                  <a:lnTo>
                    <a:pt x="263" y="336"/>
                  </a:lnTo>
                  <a:lnTo>
                    <a:pt x="268" y="331"/>
                  </a:lnTo>
                  <a:lnTo>
                    <a:pt x="271" y="319"/>
                  </a:lnTo>
                  <a:lnTo>
                    <a:pt x="271" y="317"/>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8" name="Freeform 394"/>
            <p:cNvSpPr>
              <a:spLocks/>
            </p:cNvSpPr>
            <p:nvPr userDrawn="1"/>
          </p:nvSpPr>
          <p:spPr bwMode="auto">
            <a:xfrm>
              <a:off x="2519" y="2446"/>
              <a:ext cx="5" cy="2"/>
            </a:xfrm>
            <a:custGeom>
              <a:avLst/>
              <a:gdLst>
                <a:gd name="T0" fmla="*/ 3 w 5"/>
                <a:gd name="T1" fmla="*/ 0 h 2"/>
                <a:gd name="T2" fmla="*/ 3 w 5"/>
                <a:gd name="T3" fmla="*/ 0 h 2"/>
                <a:gd name="T4" fmla="*/ 0 w 5"/>
                <a:gd name="T5" fmla="*/ 0 h 2"/>
                <a:gd name="T6" fmla="*/ 0 w 5"/>
                <a:gd name="T7" fmla="*/ 2 h 2"/>
                <a:gd name="T8" fmla="*/ 0 w 5"/>
                <a:gd name="T9" fmla="*/ 2 h 2"/>
                <a:gd name="T10" fmla="*/ 3 w 5"/>
                <a:gd name="T11" fmla="*/ 2 h 2"/>
                <a:gd name="T12" fmla="*/ 5 w 5"/>
                <a:gd name="T13" fmla="*/ 2 h 2"/>
                <a:gd name="T14" fmla="*/ 5 w 5"/>
                <a:gd name="T15" fmla="*/ 2 h 2"/>
                <a:gd name="T16" fmla="*/ 5 w 5"/>
                <a:gd name="T17" fmla="*/ 2 h 2"/>
                <a:gd name="T18" fmla="*/ 5 w 5"/>
                <a:gd name="T19" fmla="*/ 0 h 2"/>
                <a:gd name="T20" fmla="*/ 5 w 5"/>
                <a:gd name="T21" fmla="*/ 0 h 2"/>
                <a:gd name="T22" fmla="*/ 3 w 5"/>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2">
                  <a:moveTo>
                    <a:pt x="3" y="0"/>
                  </a:moveTo>
                  <a:lnTo>
                    <a:pt x="3" y="0"/>
                  </a:lnTo>
                  <a:lnTo>
                    <a:pt x="0" y="0"/>
                  </a:lnTo>
                  <a:lnTo>
                    <a:pt x="0" y="2"/>
                  </a:lnTo>
                  <a:lnTo>
                    <a:pt x="0" y="2"/>
                  </a:lnTo>
                  <a:lnTo>
                    <a:pt x="3" y="2"/>
                  </a:lnTo>
                  <a:lnTo>
                    <a:pt x="5" y="2"/>
                  </a:lnTo>
                  <a:lnTo>
                    <a:pt x="5" y="2"/>
                  </a:lnTo>
                  <a:lnTo>
                    <a:pt x="5" y="2"/>
                  </a:lnTo>
                  <a:lnTo>
                    <a:pt x="5" y="0"/>
                  </a:lnTo>
                  <a:lnTo>
                    <a:pt x="5" y="0"/>
                  </a:lnTo>
                  <a:lnTo>
                    <a:pt x="3"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9" name="Freeform 395"/>
            <p:cNvSpPr>
              <a:spLocks noEditPoints="1"/>
            </p:cNvSpPr>
            <p:nvPr userDrawn="1"/>
          </p:nvSpPr>
          <p:spPr bwMode="auto">
            <a:xfrm>
              <a:off x="3872" y="2902"/>
              <a:ext cx="226" cy="286"/>
            </a:xfrm>
            <a:custGeom>
              <a:avLst/>
              <a:gdLst>
                <a:gd name="T0" fmla="*/ 224 w 226"/>
                <a:gd name="T1" fmla="*/ 135 h 286"/>
                <a:gd name="T2" fmla="*/ 217 w 226"/>
                <a:gd name="T3" fmla="*/ 137 h 286"/>
                <a:gd name="T4" fmla="*/ 198 w 226"/>
                <a:gd name="T5" fmla="*/ 140 h 286"/>
                <a:gd name="T6" fmla="*/ 193 w 226"/>
                <a:gd name="T7" fmla="*/ 140 h 286"/>
                <a:gd name="T8" fmla="*/ 193 w 226"/>
                <a:gd name="T9" fmla="*/ 128 h 286"/>
                <a:gd name="T10" fmla="*/ 189 w 226"/>
                <a:gd name="T11" fmla="*/ 111 h 286"/>
                <a:gd name="T12" fmla="*/ 186 w 226"/>
                <a:gd name="T13" fmla="*/ 83 h 286"/>
                <a:gd name="T14" fmla="*/ 186 w 226"/>
                <a:gd name="T15" fmla="*/ 59 h 286"/>
                <a:gd name="T16" fmla="*/ 163 w 226"/>
                <a:gd name="T17" fmla="*/ 59 h 286"/>
                <a:gd name="T18" fmla="*/ 156 w 226"/>
                <a:gd name="T19" fmla="*/ 52 h 286"/>
                <a:gd name="T20" fmla="*/ 142 w 226"/>
                <a:gd name="T21" fmla="*/ 62 h 286"/>
                <a:gd name="T22" fmla="*/ 137 w 226"/>
                <a:gd name="T23" fmla="*/ 74 h 286"/>
                <a:gd name="T24" fmla="*/ 120 w 226"/>
                <a:gd name="T25" fmla="*/ 74 h 286"/>
                <a:gd name="T26" fmla="*/ 109 w 226"/>
                <a:gd name="T27" fmla="*/ 76 h 286"/>
                <a:gd name="T28" fmla="*/ 99 w 226"/>
                <a:gd name="T29" fmla="*/ 62 h 286"/>
                <a:gd name="T30" fmla="*/ 92 w 226"/>
                <a:gd name="T31" fmla="*/ 48 h 286"/>
                <a:gd name="T32" fmla="*/ 90 w 226"/>
                <a:gd name="T33" fmla="*/ 36 h 286"/>
                <a:gd name="T34" fmla="*/ 80 w 226"/>
                <a:gd name="T35" fmla="*/ 29 h 286"/>
                <a:gd name="T36" fmla="*/ 47 w 226"/>
                <a:gd name="T37" fmla="*/ 31 h 286"/>
                <a:gd name="T38" fmla="*/ 28 w 226"/>
                <a:gd name="T39" fmla="*/ 29 h 286"/>
                <a:gd name="T40" fmla="*/ 19 w 226"/>
                <a:gd name="T41" fmla="*/ 33 h 286"/>
                <a:gd name="T42" fmla="*/ 12 w 226"/>
                <a:gd name="T43" fmla="*/ 40 h 286"/>
                <a:gd name="T44" fmla="*/ 28 w 226"/>
                <a:gd name="T45" fmla="*/ 85 h 286"/>
                <a:gd name="T46" fmla="*/ 24 w 226"/>
                <a:gd name="T47" fmla="*/ 95 h 286"/>
                <a:gd name="T48" fmla="*/ 26 w 226"/>
                <a:gd name="T49" fmla="*/ 104 h 286"/>
                <a:gd name="T50" fmla="*/ 33 w 226"/>
                <a:gd name="T51" fmla="*/ 126 h 286"/>
                <a:gd name="T52" fmla="*/ 38 w 226"/>
                <a:gd name="T53" fmla="*/ 149 h 286"/>
                <a:gd name="T54" fmla="*/ 21 w 226"/>
                <a:gd name="T55" fmla="*/ 175 h 286"/>
                <a:gd name="T56" fmla="*/ 5 w 226"/>
                <a:gd name="T57" fmla="*/ 227 h 286"/>
                <a:gd name="T58" fmla="*/ 0 w 226"/>
                <a:gd name="T59" fmla="*/ 241 h 286"/>
                <a:gd name="T60" fmla="*/ 2 w 226"/>
                <a:gd name="T61" fmla="*/ 270 h 286"/>
                <a:gd name="T62" fmla="*/ 14 w 226"/>
                <a:gd name="T63" fmla="*/ 270 h 286"/>
                <a:gd name="T64" fmla="*/ 26 w 226"/>
                <a:gd name="T65" fmla="*/ 265 h 286"/>
                <a:gd name="T66" fmla="*/ 35 w 226"/>
                <a:gd name="T67" fmla="*/ 270 h 286"/>
                <a:gd name="T68" fmla="*/ 47 w 226"/>
                <a:gd name="T69" fmla="*/ 272 h 286"/>
                <a:gd name="T70" fmla="*/ 101 w 226"/>
                <a:gd name="T71" fmla="*/ 272 h 286"/>
                <a:gd name="T72" fmla="*/ 123 w 226"/>
                <a:gd name="T73" fmla="*/ 275 h 286"/>
                <a:gd name="T74" fmla="*/ 134 w 226"/>
                <a:gd name="T75" fmla="*/ 282 h 286"/>
                <a:gd name="T76" fmla="*/ 158 w 226"/>
                <a:gd name="T77" fmla="*/ 284 h 286"/>
                <a:gd name="T78" fmla="*/ 175 w 226"/>
                <a:gd name="T79" fmla="*/ 284 h 286"/>
                <a:gd name="T80" fmla="*/ 198 w 226"/>
                <a:gd name="T81" fmla="*/ 282 h 286"/>
                <a:gd name="T82" fmla="*/ 198 w 226"/>
                <a:gd name="T83" fmla="*/ 263 h 286"/>
                <a:gd name="T84" fmla="*/ 186 w 226"/>
                <a:gd name="T85" fmla="*/ 241 h 286"/>
                <a:gd name="T86" fmla="*/ 189 w 226"/>
                <a:gd name="T87" fmla="*/ 204 h 286"/>
                <a:gd name="T88" fmla="*/ 224 w 226"/>
                <a:gd name="T89" fmla="*/ 180 h 286"/>
                <a:gd name="T90" fmla="*/ 224 w 226"/>
                <a:gd name="T91" fmla="*/ 170 h 286"/>
                <a:gd name="T92" fmla="*/ 226 w 226"/>
                <a:gd name="T93" fmla="*/ 154 h 286"/>
                <a:gd name="T94" fmla="*/ 226 w 226"/>
                <a:gd name="T95" fmla="*/ 147 h 286"/>
                <a:gd name="T96" fmla="*/ 7 w 226"/>
                <a:gd name="T97" fmla="*/ 26 h 286"/>
                <a:gd name="T98" fmla="*/ 14 w 226"/>
                <a:gd name="T99" fmla="*/ 19 h 286"/>
                <a:gd name="T100" fmla="*/ 14 w 226"/>
                <a:gd name="T101" fmla="*/ 12 h 286"/>
                <a:gd name="T102" fmla="*/ 24 w 226"/>
                <a:gd name="T103" fmla="*/ 3 h 286"/>
                <a:gd name="T104" fmla="*/ 17 w 226"/>
                <a:gd name="T105" fmla="*/ 0 h 286"/>
                <a:gd name="T106" fmla="*/ 10 w 226"/>
                <a:gd name="T107" fmla="*/ 7 h 286"/>
                <a:gd name="T108" fmla="*/ 5 w 226"/>
                <a:gd name="T109" fmla="*/ 1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6" h="286">
                  <a:moveTo>
                    <a:pt x="226" y="147"/>
                  </a:moveTo>
                  <a:lnTo>
                    <a:pt x="226" y="144"/>
                  </a:lnTo>
                  <a:lnTo>
                    <a:pt x="226" y="142"/>
                  </a:lnTo>
                  <a:lnTo>
                    <a:pt x="226" y="137"/>
                  </a:lnTo>
                  <a:lnTo>
                    <a:pt x="224" y="135"/>
                  </a:lnTo>
                  <a:lnTo>
                    <a:pt x="224" y="135"/>
                  </a:lnTo>
                  <a:lnTo>
                    <a:pt x="224" y="137"/>
                  </a:lnTo>
                  <a:lnTo>
                    <a:pt x="224" y="137"/>
                  </a:lnTo>
                  <a:lnTo>
                    <a:pt x="222" y="137"/>
                  </a:lnTo>
                  <a:lnTo>
                    <a:pt x="219" y="137"/>
                  </a:lnTo>
                  <a:lnTo>
                    <a:pt x="217" y="137"/>
                  </a:lnTo>
                  <a:lnTo>
                    <a:pt x="217" y="137"/>
                  </a:lnTo>
                  <a:lnTo>
                    <a:pt x="215" y="137"/>
                  </a:lnTo>
                  <a:lnTo>
                    <a:pt x="210" y="140"/>
                  </a:lnTo>
                  <a:lnTo>
                    <a:pt x="208" y="140"/>
                  </a:lnTo>
                  <a:lnTo>
                    <a:pt x="203" y="140"/>
                  </a:lnTo>
                  <a:lnTo>
                    <a:pt x="200" y="140"/>
                  </a:lnTo>
                  <a:lnTo>
                    <a:pt x="198" y="140"/>
                  </a:lnTo>
                  <a:lnTo>
                    <a:pt x="198" y="140"/>
                  </a:lnTo>
                  <a:lnTo>
                    <a:pt x="196" y="142"/>
                  </a:lnTo>
                  <a:lnTo>
                    <a:pt x="193" y="142"/>
                  </a:lnTo>
                  <a:lnTo>
                    <a:pt x="193" y="142"/>
                  </a:lnTo>
                  <a:lnTo>
                    <a:pt x="193" y="142"/>
                  </a:lnTo>
                  <a:lnTo>
                    <a:pt x="193" y="140"/>
                  </a:lnTo>
                  <a:lnTo>
                    <a:pt x="193" y="137"/>
                  </a:lnTo>
                  <a:lnTo>
                    <a:pt x="191" y="135"/>
                  </a:lnTo>
                  <a:lnTo>
                    <a:pt x="193" y="135"/>
                  </a:lnTo>
                  <a:lnTo>
                    <a:pt x="193" y="133"/>
                  </a:lnTo>
                  <a:lnTo>
                    <a:pt x="193" y="130"/>
                  </a:lnTo>
                  <a:lnTo>
                    <a:pt x="193" y="128"/>
                  </a:lnTo>
                  <a:lnTo>
                    <a:pt x="193" y="126"/>
                  </a:lnTo>
                  <a:lnTo>
                    <a:pt x="193" y="126"/>
                  </a:lnTo>
                  <a:lnTo>
                    <a:pt x="193" y="123"/>
                  </a:lnTo>
                  <a:lnTo>
                    <a:pt x="193" y="118"/>
                  </a:lnTo>
                  <a:lnTo>
                    <a:pt x="191" y="114"/>
                  </a:lnTo>
                  <a:lnTo>
                    <a:pt x="189" y="111"/>
                  </a:lnTo>
                  <a:lnTo>
                    <a:pt x="186" y="109"/>
                  </a:lnTo>
                  <a:lnTo>
                    <a:pt x="186" y="107"/>
                  </a:lnTo>
                  <a:lnTo>
                    <a:pt x="186" y="100"/>
                  </a:lnTo>
                  <a:lnTo>
                    <a:pt x="186" y="95"/>
                  </a:lnTo>
                  <a:lnTo>
                    <a:pt x="186" y="90"/>
                  </a:lnTo>
                  <a:lnTo>
                    <a:pt x="186" y="83"/>
                  </a:lnTo>
                  <a:lnTo>
                    <a:pt x="186" y="76"/>
                  </a:lnTo>
                  <a:lnTo>
                    <a:pt x="186" y="71"/>
                  </a:lnTo>
                  <a:lnTo>
                    <a:pt x="186" y="66"/>
                  </a:lnTo>
                  <a:lnTo>
                    <a:pt x="186" y="62"/>
                  </a:lnTo>
                  <a:lnTo>
                    <a:pt x="186" y="59"/>
                  </a:lnTo>
                  <a:lnTo>
                    <a:pt x="186" y="59"/>
                  </a:lnTo>
                  <a:lnTo>
                    <a:pt x="184" y="59"/>
                  </a:lnTo>
                  <a:lnTo>
                    <a:pt x="179" y="59"/>
                  </a:lnTo>
                  <a:lnTo>
                    <a:pt x="175" y="59"/>
                  </a:lnTo>
                  <a:lnTo>
                    <a:pt x="170" y="59"/>
                  </a:lnTo>
                  <a:lnTo>
                    <a:pt x="163" y="59"/>
                  </a:lnTo>
                  <a:lnTo>
                    <a:pt x="163" y="59"/>
                  </a:lnTo>
                  <a:lnTo>
                    <a:pt x="163" y="57"/>
                  </a:lnTo>
                  <a:lnTo>
                    <a:pt x="163" y="57"/>
                  </a:lnTo>
                  <a:lnTo>
                    <a:pt x="163" y="52"/>
                  </a:lnTo>
                  <a:lnTo>
                    <a:pt x="163" y="52"/>
                  </a:lnTo>
                  <a:lnTo>
                    <a:pt x="160" y="52"/>
                  </a:lnTo>
                  <a:lnTo>
                    <a:pt x="156" y="52"/>
                  </a:lnTo>
                  <a:lnTo>
                    <a:pt x="153" y="52"/>
                  </a:lnTo>
                  <a:lnTo>
                    <a:pt x="151" y="52"/>
                  </a:lnTo>
                  <a:lnTo>
                    <a:pt x="146" y="55"/>
                  </a:lnTo>
                  <a:lnTo>
                    <a:pt x="144" y="57"/>
                  </a:lnTo>
                  <a:lnTo>
                    <a:pt x="142" y="59"/>
                  </a:lnTo>
                  <a:lnTo>
                    <a:pt x="142" y="62"/>
                  </a:lnTo>
                  <a:lnTo>
                    <a:pt x="142" y="64"/>
                  </a:lnTo>
                  <a:lnTo>
                    <a:pt x="142" y="66"/>
                  </a:lnTo>
                  <a:lnTo>
                    <a:pt x="142" y="66"/>
                  </a:lnTo>
                  <a:lnTo>
                    <a:pt x="142" y="69"/>
                  </a:lnTo>
                  <a:lnTo>
                    <a:pt x="139" y="74"/>
                  </a:lnTo>
                  <a:lnTo>
                    <a:pt x="137" y="74"/>
                  </a:lnTo>
                  <a:lnTo>
                    <a:pt x="132" y="74"/>
                  </a:lnTo>
                  <a:lnTo>
                    <a:pt x="132" y="74"/>
                  </a:lnTo>
                  <a:lnTo>
                    <a:pt x="127" y="74"/>
                  </a:lnTo>
                  <a:lnTo>
                    <a:pt x="125" y="74"/>
                  </a:lnTo>
                  <a:lnTo>
                    <a:pt x="125" y="74"/>
                  </a:lnTo>
                  <a:lnTo>
                    <a:pt x="120" y="74"/>
                  </a:lnTo>
                  <a:lnTo>
                    <a:pt x="118" y="76"/>
                  </a:lnTo>
                  <a:lnTo>
                    <a:pt x="116" y="76"/>
                  </a:lnTo>
                  <a:lnTo>
                    <a:pt x="116" y="76"/>
                  </a:lnTo>
                  <a:lnTo>
                    <a:pt x="113" y="76"/>
                  </a:lnTo>
                  <a:lnTo>
                    <a:pt x="111" y="76"/>
                  </a:lnTo>
                  <a:lnTo>
                    <a:pt x="109" y="76"/>
                  </a:lnTo>
                  <a:lnTo>
                    <a:pt x="106" y="76"/>
                  </a:lnTo>
                  <a:lnTo>
                    <a:pt x="106" y="76"/>
                  </a:lnTo>
                  <a:lnTo>
                    <a:pt x="104" y="71"/>
                  </a:lnTo>
                  <a:lnTo>
                    <a:pt x="101" y="66"/>
                  </a:lnTo>
                  <a:lnTo>
                    <a:pt x="99" y="64"/>
                  </a:lnTo>
                  <a:lnTo>
                    <a:pt x="99" y="62"/>
                  </a:lnTo>
                  <a:lnTo>
                    <a:pt x="97" y="62"/>
                  </a:lnTo>
                  <a:lnTo>
                    <a:pt x="97" y="59"/>
                  </a:lnTo>
                  <a:lnTo>
                    <a:pt x="97" y="57"/>
                  </a:lnTo>
                  <a:lnTo>
                    <a:pt x="97" y="55"/>
                  </a:lnTo>
                  <a:lnTo>
                    <a:pt x="94" y="52"/>
                  </a:lnTo>
                  <a:lnTo>
                    <a:pt x="92" y="48"/>
                  </a:lnTo>
                  <a:lnTo>
                    <a:pt x="92" y="45"/>
                  </a:lnTo>
                  <a:lnTo>
                    <a:pt x="92" y="43"/>
                  </a:lnTo>
                  <a:lnTo>
                    <a:pt x="92" y="40"/>
                  </a:lnTo>
                  <a:lnTo>
                    <a:pt x="92" y="38"/>
                  </a:lnTo>
                  <a:lnTo>
                    <a:pt x="92" y="36"/>
                  </a:lnTo>
                  <a:lnTo>
                    <a:pt x="90" y="36"/>
                  </a:lnTo>
                  <a:lnTo>
                    <a:pt x="90" y="33"/>
                  </a:lnTo>
                  <a:lnTo>
                    <a:pt x="90" y="33"/>
                  </a:lnTo>
                  <a:lnTo>
                    <a:pt x="87" y="31"/>
                  </a:lnTo>
                  <a:lnTo>
                    <a:pt x="85" y="31"/>
                  </a:lnTo>
                  <a:lnTo>
                    <a:pt x="85" y="29"/>
                  </a:lnTo>
                  <a:lnTo>
                    <a:pt x="80" y="29"/>
                  </a:lnTo>
                  <a:lnTo>
                    <a:pt x="73" y="29"/>
                  </a:lnTo>
                  <a:lnTo>
                    <a:pt x="68" y="29"/>
                  </a:lnTo>
                  <a:lnTo>
                    <a:pt x="61" y="29"/>
                  </a:lnTo>
                  <a:lnTo>
                    <a:pt x="54" y="31"/>
                  </a:lnTo>
                  <a:lnTo>
                    <a:pt x="54" y="31"/>
                  </a:lnTo>
                  <a:lnTo>
                    <a:pt x="47" y="31"/>
                  </a:lnTo>
                  <a:lnTo>
                    <a:pt x="45" y="29"/>
                  </a:lnTo>
                  <a:lnTo>
                    <a:pt x="43" y="29"/>
                  </a:lnTo>
                  <a:lnTo>
                    <a:pt x="40" y="29"/>
                  </a:lnTo>
                  <a:lnTo>
                    <a:pt x="35" y="29"/>
                  </a:lnTo>
                  <a:lnTo>
                    <a:pt x="35" y="29"/>
                  </a:lnTo>
                  <a:lnTo>
                    <a:pt x="28" y="29"/>
                  </a:lnTo>
                  <a:lnTo>
                    <a:pt x="28" y="29"/>
                  </a:lnTo>
                  <a:lnTo>
                    <a:pt x="28" y="31"/>
                  </a:lnTo>
                  <a:lnTo>
                    <a:pt x="26" y="29"/>
                  </a:lnTo>
                  <a:lnTo>
                    <a:pt x="24" y="29"/>
                  </a:lnTo>
                  <a:lnTo>
                    <a:pt x="24" y="31"/>
                  </a:lnTo>
                  <a:lnTo>
                    <a:pt x="19" y="33"/>
                  </a:lnTo>
                  <a:lnTo>
                    <a:pt x="14" y="33"/>
                  </a:lnTo>
                  <a:lnTo>
                    <a:pt x="12" y="33"/>
                  </a:lnTo>
                  <a:lnTo>
                    <a:pt x="10" y="33"/>
                  </a:lnTo>
                  <a:lnTo>
                    <a:pt x="10" y="36"/>
                  </a:lnTo>
                  <a:lnTo>
                    <a:pt x="10" y="36"/>
                  </a:lnTo>
                  <a:lnTo>
                    <a:pt x="12" y="40"/>
                  </a:lnTo>
                  <a:lnTo>
                    <a:pt x="14" y="45"/>
                  </a:lnTo>
                  <a:lnTo>
                    <a:pt x="19" y="52"/>
                  </a:lnTo>
                  <a:lnTo>
                    <a:pt x="19" y="59"/>
                  </a:lnTo>
                  <a:lnTo>
                    <a:pt x="24" y="69"/>
                  </a:lnTo>
                  <a:lnTo>
                    <a:pt x="28" y="83"/>
                  </a:lnTo>
                  <a:lnTo>
                    <a:pt x="28" y="85"/>
                  </a:lnTo>
                  <a:lnTo>
                    <a:pt x="28" y="85"/>
                  </a:lnTo>
                  <a:lnTo>
                    <a:pt x="28" y="88"/>
                  </a:lnTo>
                  <a:lnTo>
                    <a:pt x="28" y="90"/>
                  </a:lnTo>
                  <a:lnTo>
                    <a:pt x="24" y="95"/>
                  </a:lnTo>
                  <a:lnTo>
                    <a:pt x="24" y="95"/>
                  </a:lnTo>
                  <a:lnTo>
                    <a:pt x="24" y="95"/>
                  </a:lnTo>
                  <a:lnTo>
                    <a:pt x="24" y="92"/>
                  </a:lnTo>
                  <a:lnTo>
                    <a:pt x="24" y="95"/>
                  </a:lnTo>
                  <a:lnTo>
                    <a:pt x="21" y="95"/>
                  </a:lnTo>
                  <a:lnTo>
                    <a:pt x="21" y="97"/>
                  </a:lnTo>
                  <a:lnTo>
                    <a:pt x="24" y="100"/>
                  </a:lnTo>
                  <a:lnTo>
                    <a:pt x="26" y="104"/>
                  </a:lnTo>
                  <a:lnTo>
                    <a:pt x="26" y="107"/>
                  </a:lnTo>
                  <a:lnTo>
                    <a:pt x="26" y="111"/>
                  </a:lnTo>
                  <a:lnTo>
                    <a:pt x="28" y="114"/>
                  </a:lnTo>
                  <a:lnTo>
                    <a:pt x="28" y="116"/>
                  </a:lnTo>
                  <a:lnTo>
                    <a:pt x="31" y="123"/>
                  </a:lnTo>
                  <a:lnTo>
                    <a:pt x="33" y="126"/>
                  </a:lnTo>
                  <a:lnTo>
                    <a:pt x="33" y="128"/>
                  </a:lnTo>
                  <a:lnTo>
                    <a:pt x="35" y="130"/>
                  </a:lnTo>
                  <a:lnTo>
                    <a:pt x="35" y="133"/>
                  </a:lnTo>
                  <a:lnTo>
                    <a:pt x="38" y="137"/>
                  </a:lnTo>
                  <a:lnTo>
                    <a:pt x="38" y="140"/>
                  </a:lnTo>
                  <a:lnTo>
                    <a:pt x="38" y="149"/>
                  </a:lnTo>
                  <a:lnTo>
                    <a:pt x="38" y="154"/>
                  </a:lnTo>
                  <a:lnTo>
                    <a:pt x="35" y="161"/>
                  </a:lnTo>
                  <a:lnTo>
                    <a:pt x="33" y="166"/>
                  </a:lnTo>
                  <a:lnTo>
                    <a:pt x="31" y="170"/>
                  </a:lnTo>
                  <a:lnTo>
                    <a:pt x="26" y="173"/>
                  </a:lnTo>
                  <a:lnTo>
                    <a:pt x="21" y="175"/>
                  </a:lnTo>
                  <a:lnTo>
                    <a:pt x="21" y="180"/>
                  </a:lnTo>
                  <a:lnTo>
                    <a:pt x="14" y="189"/>
                  </a:lnTo>
                  <a:lnTo>
                    <a:pt x="12" y="197"/>
                  </a:lnTo>
                  <a:lnTo>
                    <a:pt x="12" y="201"/>
                  </a:lnTo>
                  <a:lnTo>
                    <a:pt x="10" y="215"/>
                  </a:lnTo>
                  <a:lnTo>
                    <a:pt x="5" y="227"/>
                  </a:lnTo>
                  <a:lnTo>
                    <a:pt x="5" y="234"/>
                  </a:lnTo>
                  <a:lnTo>
                    <a:pt x="2" y="237"/>
                  </a:lnTo>
                  <a:lnTo>
                    <a:pt x="2" y="237"/>
                  </a:lnTo>
                  <a:lnTo>
                    <a:pt x="0" y="239"/>
                  </a:lnTo>
                  <a:lnTo>
                    <a:pt x="0" y="239"/>
                  </a:lnTo>
                  <a:lnTo>
                    <a:pt x="0" y="241"/>
                  </a:lnTo>
                  <a:lnTo>
                    <a:pt x="0" y="244"/>
                  </a:lnTo>
                  <a:lnTo>
                    <a:pt x="0" y="253"/>
                  </a:lnTo>
                  <a:lnTo>
                    <a:pt x="0" y="258"/>
                  </a:lnTo>
                  <a:lnTo>
                    <a:pt x="0" y="263"/>
                  </a:lnTo>
                  <a:lnTo>
                    <a:pt x="0" y="270"/>
                  </a:lnTo>
                  <a:lnTo>
                    <a:pt x="2" y="270"/>
                  </a:lnTo>
                  <a:lnTo>
                    <a:pt x="5" y="267"/>
                  </a:lnTo>
                  <a:lnTo>
                    <a:pt x="5" y="267"/>
                  </a:lnTo>
                  <a:lnTo>
                    <a:pt x="7" y="270"/>
                  </a:lnTo>
                  <a:lnTo>
                    <a:pt x="10" y="270"/>
                  </a:lnTo>
                  <a:lnTo>
                    <a:pt x="10" y="270"/>
                  </a:lnTo>
                  <a:lnTo>
                    <a:pt x="14" y="270"/>
                  </a:lnTo>
                  <a:lnTo>
                    <a:pt x="17" y="267"/>
                  </a:lnTo>
                  <a:lnTo>
                    <a:pt x="19" y="267"/>
                  </a:lnTo>
                  <a:lnTo>
                    <a:pt x="19" y="265"/>
                  </a:lnTo>
                  <a:lnTo>
                    <a:pt x="21" y="265"/>
                  </a:lnTo>
                  <a:lnTo>
                    <a:pt x="24" y="265"/>
                  </a:lnTo>
                  <a:lnTo>
                    <a:pt x="26" y="265"/>
                  </a:lnTo>
                  <a:lnTo>
                    <a:pt x="26" y="265"/>
                  </a:lnTo>
                  <a:lnTo>
                    <a:pt x="28" y="265"/>
                  </a:lnTo>
                  <a:lnTo>
                    <a:pt x="31" y="265"/>
                  </a:lnTo>
                  <a:lnTo>
                    <a:pt x="33" y="267"/>
                  </a:lnTo>
                  <a:lnTo>
                    <a:pt x="35" y="270"/>
                  </a:lnTo>
                  <a:lnTo>
                    <a:pt x="35" y="270"/>
                  </a:lnTo>
                  <a:lnTo>
                    <a:pt x="38" y="272"/>
                  </a:lnTo>
                  <a:lnTo>
                    <a:pt x="40" y="272"/>
                  </a:lnTo>
                  <a:lnTo>
                    <a:pt x="40" y="272"/>
                  </a:lnTo>
                  <a:lnTo>
                    <a:pt x="40" y="272"/>
                  </a:lnTo>
                  <a:lnTo>
                    <a:pt x="45" y="272"/>
                  </a:lnTo>
                  <a:lnTo>
                    <a:pt x="47" y="272"/>
                  </a:lnTo>
                  <a:lnTo>
                    <a:pt x="52" y="272"/>
                  </a:lnTo>
                  <a:lnTo>
                    <a:pt x="66" y="272"/>
                  </a:lnTo>
                  <a:lnTo>
                    <a:pt x="73" y="272"/>
                  </a:lnTo>
                  <a:lnTo>
                    <a:pt x="80" y="272"/>
                  </a:lnTo>
                  <a:lnTo>
                    <a:pt x="94" y="272"/>
                  </a:lnTo>
                  <a:lnTo>
                    <a:pt x="101" y="272"/>
                  </a:lnTo>
                  <a:lnTo>
                    <a:pt x="109" y="272"/>
                  </a:lnTo>
                  <a:lnTo>
                    <a:pt x="111" y="272"/>
                  </a:lnTo>
                  <a:lnTo>
                    <a:pt x="116" y="272"/>
                  </a:lnTo>
                  <a:lnTo>
                    <a:pt x="120" y="272"/>
                  </a:lnTo>
                  <a:lnTo>
                    <a:pt x="123" y="272"/>
                  </a:lnTo>
                  <a:lnTo>
                    <a:pt x="123" y="275"/>
                  </a:lnTo>
                  <a:lnTo>
                    <a:pt x="123" y="275"/>
                  </a:lnTo>
                  <a:lnTo>
                    <a:pt x="125" y="277"/>
                  </a:lnTo>
                  <a:lnTo>
                    <a:pt x="127" y="279"/>
                  </a:lnTo>
                  <a:lnTo>
                    <a:pt x="130" y="282"/>
                  </a:lnTo>
                  <a:lnTo>
                    <a:pt x="132" y="282"/>
                  </a:lnTo>
                  <a:lnTo>
                    <a:pt x="134" y="282"/>
                  </a:lnTo>
                  <a:lnTo>
                    <a:pt x="134" y="282"/>
                  </a:lnTo>
                  <a:lnTo>
                    <a:pt x="139" y="282"/>
                  </a:lnTo>
                  <a:lnTo>
                    <a:pt x="144" y="284"/>
                  </a:lnTo>
                  <a:lnTo>
                    <a:pt x="149" y="284"/>
                  </a:lnTo>
                  <a:lnTo>
                    <a:pt x="153" y="284"/>
                  </a:lnTo>
                  <a:lnTo>
                    <a:pt x="158" y="284"/>
                  </a:lnTo>
                  <a:lnTo>
                    <a:pt x="160" y="284"/>
                  </a:lnTo>
                  <a:lnTo>
                    <a:pt x="163" y="286"/>
                  </a:lnTo>
                  <a:lnTo>
                    <a:pt x="163" y="286"/>
                  </a:lnTo>
                  <a:lnTo>
                    <a:pt x="167" y="286"/>
                  </a:lnTo>
                  <a:lnTo>
                    <a:pt x="170" y="284"/>
                  </a:lnTo>
                  <a:lnTo>
                    <a:pt x="175" y="284"/>
                  </a:lnTo>
                  <a:lnTo>
                    <a:pt x="175" y="286"/>
                  </a:lnTo>
                  <a:lnTo>
                    <a:pt x="177" y="286"/>
                  </a:lnTo>
                  <a:lnTo>
                    <a:pt x="182" y="284"/>
                  </a:lnTo>
                  <a:lnTo>
                    <a:pt x="186" y="284"/>
                  </a:lnTo>
                  <a:lnTo>
                    <a:pt x="193" y="282"/>
                  </a:lnTo>
                  <a:lnTo>
                    <a:pt x="198" y="282"/>
                  </a:lnTo>
                  <a:lnTo>
                    <a:pt x="208" y="279"/>
                  </a:lnTo>
                  <a:lnTo>
                    <a:pt x="212" y="279"/>
                  </a:lnTo>
                  <a:lnTo>
                    <a:pt x="210" y="275"/>
                  </a:lnTo>
                  <a:lnTo>
                    <a:pt x="205" y="270"/>
                  </a:lnTo>
                  <a:lnTo>
                    <a:pt x="200" y="265"/>
                  </a:lnTo>
                  <a:lnTo>
                    <a:pt x="198" y="263"/>
                  </a:lnTo>
                  <a:lnTo>
                    <a:pt x="196" y="260"/>
                  </a:lnTo>
                  <a:lnTo>
                    <a:pt x="193" y="258"/>
                  </a:lnTo>
                  <a:lnTo>
                    <a:pt x="191" y="256"/>
                  </a:lnTo>
                  <a:lnTo>
                    <a:pt x="191" y="256"/>
                  </a:lnTo>
                  <a:lnTo>
                    <a:pt x="189" y="249"/>
                  </a:lnTo>
                  <a:lnTo>
                    <a:pt x="186" y="241"/>
                  </a:lnTo>
                  <a:lnTo>
                    <a:pt x="186" y="237"/>
                  </a:lnTo>
                  <a:lnTo>
                    <a:pt x="186" y="232"/>
                  </a:lnTo>
                  <a:lnTo>
                    <a:pt x="186" y="225"/>
                  </a:lnTo>
                  <a:lnTo>
                    <a:pt x="186" y="218"/>
                  </a:lnTo>
                  <a:lnTo>
                    <a:pt x="189" y="211"/>
                  </a:lnTo>
                  <a:lnTo>
                    <a:pt x="189" y="204"/>
                  </a:lnTo>
                  <a:lnTo>
                    <a:pt x="189" y="197"/>
                  </a:lnTo>
                  <a:lnTo>
                    <a:pt x="189" y="189"/>
                  </a:lnTo>
                  <a:lnTo>
                    <a:pt x="189" y="182"/>
                  </a:lnTo>
                  <a:lnTo>
                    <a:pt x="189" y="180"/>
                  </a:lnTo>
                  <a:lnTo>
                    <a:pt x="222" y="180"/>
                  </a:lnTo>
                  <a:lnTo>
                    <a:pt x="224" y="180"/>
                  </a:lnTo>
                  <a:lnTo>
                    <a:pt x="224" y="180"/>
                  </a:lnTo>
                  <a:lnTo>
                    <a:pt x="224" y="180"/>
                  </a:lnTo>
                  <a:lnTo>
                    <a:pt x="224" y="175"/>
                  </a:lnTo>
                  <a:lnTo>
                    <a:pt x="224" y="175"/>
                  </a:lnTo>
                  <a:lnTo>
                    <a:pt x="224" y="173"/>
                  </a:lnTo>
                  <a:lnTo>
                    <a:pt x="224" y="170"/>
                  </a:lnTo>
                  <a:lnTo>
                    <a:pt x="224" y="168"/>
                  </a:lnTo>
                  <a:lnTo>
                    <a:pt x="226" y="166"/>
                  </a:lnTo>
                  <a:lnTo>
                    <a:pt x="224" y="161"/>
                  </a:lnTo>
                  <a:lnTo>
                    <a:pt x="224" y="159"/>
                  </a:lnTo>
                  <a:lnTo>
                    <a:pt x="224" y="156"/>
                  </a:lnTo>
                  <a:lnTo>
                    <a:pt x="226" y="154"/>
                  </a:lnTo>
                  <a:lnTo>
                    <a:pt x="224" y="152"/>
                  </a:lnTo>
                  <a:lnTo>
                    <a:pt x="226" y="149"/>
                  </a:lnTo>
                  <a:lnTo>
                    <a:pt x="226" y="149"/>
                  </a:lnTo>
                  <a:lnTo>
                    <a:pt x="226" y="147"/>
                  </a:lnTo>
                  <a:lnTo>
                    <a:pt x="226" y="147"/>
                  </a:lnTo>
                  <a:lnTo>
                    <a:pt x="226" y="147"/>
                  </a:lnTo>
                  <a:close/>
                  <a:moveTo>
                    <a:pt x="5" y="14"/>
                  </a:moveTo>
                  <a:lnTo>
                    <a:pt x="7" y="19"/>
                  </a:lnTo>
                  <a:lnTo>
                    <a:pt x="7" y="22"/>
                  </a:lnTo>
                  <a:lnTo>
                    <a:pt x="7" y="22"/>
                  </a:lnTo>
                  <a:lnTo>
                    <a:pt x="7" y="24"/>
                  </a:lnTo>
                  <a:lnTo>
                    <a:pt x="7" y="26"/>
                  </a:lnTo>
                  <a:lnTo>
                    <a:pt x="7" y="26"/>
                  </a:lnTo>
                  <a:lnTo>
                    <a:pt x="10" y="26"/>
                  </a:lnTo>
                  <a:lnTo>
                    <a:pt x="12" y="26"/>
                  </a:lnTo>
                  <a:lnTo>
                    <a:pt x="12" y="26"/>
                  </a:lnTo>
                  <a:lnTo>
                    <a:pt x="14" y="26"/>
                  </a:lnTo>
                  <a:lnTo>
                    <a:pt x="14" y="19"/>
                  </a:lnTo>
                  <a:lnTo>
                    <a:pt x="14" y="14"/>
                  </a:lnTo>
                  <a:lnTo>
                    <a:pt x="12" y="14"/>
                  </a:lnTo>
                  <a:lnTo>
                    <a:pt x="12" y="12"/>
                  </a:lnTo>
                  <a:lnTo>
                    <a:pt x="12" y="12"/>
                  </a:lnTo>
                  <a:lnTo>
                    <a:pt x="14" y="12"/>
                  </a:lnTo>
                  <a:lnTo>
                    <a:pt x="14" y="12"/>
                  </a:lnTo>
                  <a:lnTo>
                    <a:pt x="14" y="10"/>
                  </a:lnTo>
                  <a:lnTo>
                    <a:pt x="17" y="10"/>
                  </a:lnTo>
                  <a:lnTo>
                    <a:pt x="19" y="5"/>
                  </a:lnTo>
                  <a:lnTo>
                    <a:pt x="21" y="5"/>
                  </a:lnTo>
                  <a:lnTo>
                    <a:pt x="24" y="5"/>
                  </a:lnTo>
                  <a:lnTo>
                    <a:pt x="24" y="3"/>
                  </a:lnTo>
                  <a:lnTo>
                    <a:pt x="24" y="3"/>
                  </a:lnTo>
                  <a:lnTo>
                    <a:pt x="21" y="3"/>
                  </a:lnTo>
                  <a:lnTo>
                    <a:pt x="21" y="0"/>
                  </a:lnTo>
                  <a:lnTo>
                    <a:pt x="19" y="0"/>
                  </a:lnTo>
                  <a:lnTo>
                    <a:pt x="19" y="0"/>
                  </a:lnTo>
                  <a:lnTo>
                    <a:pt x="17" y="0"/>
                  </a:lnTo>
                  <a:lnTo>
                    <a:pt x="17" y="0"/>
                  </a:lnTo>
                  <a:lnTo>
                    <a:pt x="14" y="3"/>
                  </a:lnTo>
                  <a:lnTo>
                    <a:pt x="12" y="3"/>
                  </a:lnTo>
                  <a:lnTo>
                    <a:pt x="12" y="5"/>
                  </a:lnTo>
                  <a:lnTo>
                    <a:pt x="10" y="5"/>
                  </a:lnTo>
                  <a:lnTo>
                    <a:pt x="10" y="7"/>
                  </a:lnTo>
                  <a:lnTo>
                    <a:pt x="7" y="7"/>
                  </a:lnTo>
                  <a:lnTo>
                    <a:pt x="7" y="7"/>
                  </a:lnTo>
                  <a:lnTo>
                    <a:pt x="5" y="10"/>
                  </a:lnTo>
                  <a:lnTo>
                    <a:pt x="5" y="12"/>
                  </a:lnTo>
                  <a:lnTo>
                    <a:pt x="5" y="12"/>
                  </a:lnTo>
                  <a:lnTo>
                    <a:pt x="5" y="14"/>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0" name="Freeform 396"/>
            <p:cNvSpPr>
              <a:spLocks/>
            </p:cNvSpPr>
            <p:nvPr userDrawn="1"/>
          </p:nvSpPr>
          <p:spPr bwMode="auto">
            <a:xfrm>
              <a:off x="3695" y="1909"/>
              <a:ext cx="5" cy="5"/>
            </a:xfrm>
            <a:custGeom>
              <a:avLst/>
              <a:gdLst>
                <a:gd name="T0" fmla="*/ 5 w 5"/>
                <a:gd name="T1" fmla="*/ 0 h 5"/>
                <a:gd name="T2" fmla="*/ 3 w 5"/>
                <a:gd name="T3" fmla="*/ 0 h 5"/>
                <a:gd name="T4" fmla="*/ 3 w 5"/>
                <a:gd name="T5" fmla="*/ 0 h 5"/>
                <a:gd name="T6" fmla="*/ 0 w 5"/>
                <a:gd name="T7" fmla="*/ 0 h 5"/>
                <a:gd name="T8" fmla="*/ 0 w 5"/>
                <a:gd name="T9" fmla="*/ 0 h 5"/>
                <a:gd name="T10" fmla="*/ 0 w 5"/>
                <a:gd name="T11" fmla="*/ 3 h 5"/>
                <a:gd name="T12" fmla="*/ 0 w 5"/>
                <a:gd name="T13" fmla="*/ 3 h 5"/>
                <a:gd name="T14" fmla="*/ 0 w 5"/>
                <a:gd name="T15" fmla="*/ 3 h 5"/>
                <a:gd name="T16" fmla="*/ 0 w 5"/>
                <a:gd name="T17" fmla="*/ 5 h 5"/>
                <a:gd name="T18" fmla="*/ 0 w 5"/>
                <a:gd name="T19" fmla="*/ 5 h 5"/>
                <a:gd name="T20" fmla="*/ 0 w 5"/>
                <a:gd name="T21" fmla="*/ 5 h 5"/>
                <a:gd name="T22" fmla="*/ 3 w 5"/>
                <a:gd name="T23" fmla="*/ 5 h 5"/>
                <a:gd name="T24" fmla="*/ 3 w 5"/>
                <a:gd name="T25" fmla="*/ 5 h 5"/>
                <a:gd name="T26" fmla="*/ 5 w 5"/>
                <a:gd name="T27" fmla="*/ 3 h 5"/>
                <a:gd name="T28" fmla="*/ 5 w 5"/>
                <a:gd name="T29" fmla="*/ 3 h 5"/>
                <a:gd name="T30" fmla="*/ 5 w 5"/>
                <a:gd name="T31" fmla="*/ 3 h 5"/>
                <a:gd name="T32" fmla="*/ 5 w 5"/>
                <a:gd name="T33" fmla="*/ 3 h 5"/>
                <a:gd name="T34" fmla="*/ 5 w 5"/>
                <a:gd name="T35" fmla="*/ 3 h 5"/>
                <a:gd name="T36" fmla="*/ 5 w 5"/>
                <a:gd name="T3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5">
                  <a:moveTo>
                    <a:pt x="5" y="0"/>
                  </a:moveTo>
                  <a:lnTo>
                    <a:pt x="3" y="0"/>
                  </a:lnTo>
                  <a:lnTo>
                    <a:pt x="3" y="0"/>
                  </a:lnTo>
                  <a:lnTo>
                    <a:pt x="0" y="0"/>
                  </a:lnTo>
                  <a:lnTo>
                    <a:pt x="0" y="0"/>
                  </a:lnTo>
                  <a:lnTo>
                    <a:pt x="0" y="3"/>
                  </a:lnTo>
                  <a:lnTo>
                    <a:pt x="0" y="3"/>
                  </a:lnTo>
                  <a:lnTo>
                    <a:pt x="0" y="3"/>
                  </a:lnTo>
                  <a:lnTo>
                    <a:pt x="0" y="5"/>
                  </a:lnTo>
                  <a:lnTo>
                    <a:pt x="0" y="5"/>
                  </a:lnTo>
                  <a:lnTo>
                    <a:pt x="0" y="5"/>
                  </a:lnTo>
                  <a:lnTo>
                    <a:pt x="3" y="5"/>
                  </a:lnTo>
                  <a:lnTo>
                    <a:pt x="3" y="5"/>
                  </a:lnTo>
                  <a:lnTo>
                    <a:pt x="5" y="3"/>
                  </a:lnTo>
                  <a:lnTo>
                    <a:pt x="5" y="3"/>
                  </a:lnTo>
                  <a:lnTo>
                    <a:pt x="5" y="3"/>
                  </a:lnTo>
                  <a:lnTo>
                    <a:pt x="5" y="3"/>
                  </a:lnTo>
                  <a:lnTo>
                    <a:pt x="5" y="3"/>
                  </a:lnTo>
                  <a:lnTo>
                    <a:pt x="5" y="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1" name="Freeform 397"/>
            <p:cNvSpPr>
              <a:spLocks/>
            </p:cNvSpPr>
            <p:nvPr userDrawn="1"/>
          </p:nvSpPr>
          <p:spPr bwMode="auto">
            <a:xfrm>
              <a:off x="3502" y="2025"/>
              <a:ext cx="372" cy="383"/>
            </a:xfrm>
            <a:custGeom>
              <a:avLst/>
              <a:gdLst>
                <a:gd name="T0" fmla="*/ 358 w 372"/>
                <a:gd name="T1" fmla="*/ 267 h 383"/>
                <a:gd name="T2" fmla="*/ 342 w 372"/>
                <a:gd name="T3" fmla="*/ 262 h 383"/>
                <a:gd name="T4" fmla="*/ 330 w 372"/>
                <a:gd name="T5" fmla="*/ 236 h 383"/>
                <a:gd name="T6" fmla="*/ 335 w 372"/>
                <a:gd name="T7" fmla="*/ 222 h 383"/>
                <a:gd name="T8" fmla="*/ 332 w 372"/>
                <a:gd name="T9" fmla="*/ 206 h 383"/>
                <a:gd name="T10" fmla="*/ 335 w 372"/>
                <a:gd name="T11" fmla="*/ 168 h 383"/>
                <a:gd name="T12" fmla="*/ 328 w 372"/>
                <a:gd name="T13" fmla="*/ 149 h 383"/>
                <a:gd name="T14" fmla="*/ 325 w 372"/>
                <a:gd name="T15" fmla="*/ 132 h 383"/>
                <a:gd name="T16" fmla="*/ 321 w 372"/>
                <a:gd name="T17" fmla="*/ 104 h 383"/>
                <a:gd name="T18" fmla="*/ 306 w 372"/>
                <a:gd name="T19" fmla="*/ 88 h 383"/>
                <a:gd name="T20" fmla="*/ 297 w 372"/>
                <a:gd name="T21" fmla="*/ 78 h 383"/>
                <a:gd name="T22" fmla="*/ 295 w 372"/>
                <a:gd name="T23" fmla="*/ 62 h 383"/>
                <a:gd name="T24" fmla="*/ 306 w 372"/>
                <a:gd name="T25" fmla="*/ 52 h 383"/>
                <a:gd name="T26" fmla="*/ 309 w 372"/>
                <a:gd name="T27" fmla="*/ 38 h 383"/>
                <a:gd name="T28" fmla="*/ 306 w 372"/>
                <a:gd name="T29" fmla="*/ 26 h 383"/>
                <a:gd name="T30" fmla="*/ 306 w 372"/>
                <a:gd name="T31" fmla="*/ 12 h 383"/>
                <a:gd name="T32" fmla="*/ 314 w 372"/>
                <a:gd name="T33" fmla="*/ 5 h 383"/>
                <a:gd name="T34" fmla="*/ 297 w 372"/>
                <a:gd name="T35" fmla="*/ 0 h 383"/>
                <a:gd name="T36" fmla="*/ 278 w 372"/>
                <a:gd name="T37" fmla="*/ 0 h 383"/>
                <a:gd name="T38" fmla="*/ 259 w 372"/>
                <a:gd name="T39" fmla="*/ 7 h 383"/>
                <a:gd name="T40" fmla="*/ 229 w 372"/>
                <a:gd name="T41" fmla="*/ 2 h 383"/>
                <a:gd name="T42" fmla="*/ 198 w 372"/>
                <a:gd name="T43" fmla="*/ 9 h 383"/>
                <a:gd name="T44" fmla="*/ 165 w 372"/>
                <a:gd name="T45" fmla="*/ 21 h 383"/>
                <a:gd name="T46" fmla="*/ 146 w 372"/>
                <a:gd name="T47" fmla="*/ 28 h 383"/>
                <a:gd name="T48" fmla="*/ 130 w 372"/>
                <a:gd name="T49" fmla="*/ 43 h 383"/>
                <a:gd name="T50" fmla="*/ 130 w 372"/>
                <a:gd name="T51" fmla="*/ 50 h 383"/>
                <a:gd name="T52" fmla="*/ 132 w 372"/>
                <a:gd name="T53" fmla="*/ 54 h 383"/>
                <a:gd name="T54" fmla="*/ 132 w 372"/>
                <a:gd name="T55" fmla="*/ 69 h 383"/>
                <a:gd name="T56" fmla="*/ 134 w 372"/>
                <a:gd name="T57" fmla="*/ 90 h 383"/>
                <a:gd name="T58" fmla="*/ 141 w 372"/>
                <a:gd name="T59" fmla="*/ 97 h 383"/>
                <a:gd name="T60" fmla="*/ 137 w 372"/>
                <a:gd name="T61" fmla="*/ 106 h 383"/>
                <a:gd name="T62" fmla="*/ 118 w 372"/>
                <a:gd name="T63" fmla="*/ 104 h 383"/>
                <a:gd name="T64" fmla="*/ 109 w 372"/>
                <a:gd name="T65" fmla="*/ 109 h 383"/>
                <a:gd name="T66" fmla="*/ 94 w 372"/>
                <a:gd name="T67" fmla="*/ 114 h 383"/>
                <a:gd name="T68" fmla="*/ 92 w 372"/>
                <a:gd name="T69" fmla="*/ 121 h 383"/>
                <a:gd name="T70" fmla="*/ 94 w 372"/>
                <a:gd name="T71" fmla="*/ 125 h 383"/>
                <a:gd name="T72" fmla="*/ 92 w 372"/>
                <a:gd name="T73" fmla="*/ 130 h 383"/>
                <a:gd name="T74" fmla="*/ 73 w 372"/>
                <a:gd name="T75" fmla="*/ 137 h 383"/>
                <a:gd name="T76" fmla="*/ 59 w 372"/>
                <a:gd name="T77" fmla="*/ 151 h 383"/>
                <a:gd name="T78" fmla="*/ 45 w 372"/>
                <a:gd name="T79" fmla="*/ 154 h 383"/>
                <a:gd name="T80" fmla="*/ 43 w 372"/>
                <a:gd name="T81" fmla="*/ 158 h 383"/>
                <a:gd name="T82" fmla="*/ 31 w 372"/>
                <a:gd name="T83" fmla="*/ 158 h 383"/>
                <a:gd name="T84" fmla="*/ 21 w 372"/>
                <a:gd name="T85" fmla="*/ 163 h 383"/>
                <a:gd name="T86" fmla="*/ 7 w 372"/>
                <a:gd name="T87" fmla="*/ 173 h 383"/>
                <a:gd name="T88" fmla="*/ 2 w 372"/>
                <a:gd name="T89" fmla="*/ 184 h 383"/>
                <a:gd name="T90" fmla="*/ 5 w 372"/>
                <a:gd name="T91" fmla="*/ 208 h 383"/>
                <a:gd name="T92" fmla="*/ 24 w 372"/>
                <a:gd name="T93" fmla="*/ 222 h 383"/>
                <a:gd name="T94" fmla="*/ 45 w 372"/>
                <a:gd name="T95" fmla="*/ 236 h 383"/>
                <a:gd name="T96" fmla="*/ 66 w 372"/>
                <a:gd name="T97" fmla="*/ 253 h 383"/>
                <a:gd name="T98" fmla="*/ 97 w 372"/>
                <a:gd name="T99" fmla="*/ 277 h 383"/>
                <a:gd name="T100" fmla="*/ 132 w 372"/>
                <a:gd name="T101" fmla="*/ 303 h 383"/>
                <a:gd name="T102" fmla="*/ 167 w 372"/>
                <a:gd name="T103" fmla="*/ 331 h 383"/>
                <a:gd name="T104" fmla="*/ 177 w 372"/>
                <a:gd name="T105" fmla="*/ 343 h 383"/>
                <a:gd name="T106" fmla="*/ 186 w 372"/>
                <a:gd name="T107" fmla="*/ 352 h 383"/>
                <a:gd name="T108" fmla="*/ 198 w 372"/>
                <a:gd name="T109" fmla="*/ 359 h 383"/>
                <a:gd name="T110" fmla="*/ 212 w 372"/>
                <a:gd name="T111" fmla="*/ 364 h 383"/>
                <a:gd name="T112" fmla="*/ 215 w 372"/>
                <a:gd name="T113" fmla="*/ 374 h 383"/>
                <a:gd name="T114" fmla="*/ 210 w 372"/>
                <a:gd name="T115" fmla="*/ 378 h 383"/>
                <a:gd name="T116" fmla="*/ 217 w 372"/>
                <a:gd name="T117" fmla="*/ 381 h 383"/>
                <a:gd name="T118" fmla="*/ 240 w 372"/>
                <a:gd name="T119" fmla="*/ 376 h 383"/>
                <a:gd name="T120" fmla="*/ 269 w 372"/>
                <a:gd name="T121" fmla="*/ 364 h 383"/>
                <a:gd name="T122" fmla="*/ 297 w 372"/>
                <a:gd name="T123" fmla="*/ 338 h 383"/>
                <a:gd name="T124" fmla="*/ 354 w 372"/>
                <a:gd name="T125" fmla="*/ 30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2" h="383">
                  <a:moveTo>
                    <a:pt x="370" y="281"/>
                  </a:moveTo>
                  <a:lnTo>
                    <a:pt x="370" y="279"/>
                  </a:lnTo>
                  <a:lnTo>
                    <a:pt x="368" y="274"/>
                  </a:lnTo>
                  <a:lnTo>
                    <a:pt x="365" y="270"/>
                  </a:lnTo>
                  <a:lnTo>
                    <a:pt x="365" y="270"/>
                  </a:lnTo>
                  <a:lnTo>
                    <a:pt x="358" y="267"/>
                  </a:lnTo>
                  <a:lnTo>
                    <a:pt x="349" y="265"/>
                  </a:lnTo>
                  <a:lnTo>
                    <a:pt x="344" y="265"/>
                  </a:lnTo>
                  <a:lnTo>
                    <a:pt x="344" y="265"/>
                  </a:lnTo>
                  <a:lnTo>
                    <a:pt x="344" y="265"/>
                  </a:lnTo>
                  <a:lnTo>
                    <a:pt x="342" y="262"/>
                  </a:lnTo>
                  <a:lnTo>
                    <a:pt x="342" y="262"/>
                  </a:lnTo>
                  <a:lnTo>
                    <a:pt x="339" y="260"/>
                  </a:lnTo>
                  <a:lnTo>
                    <a:pt x="337" y="253"/>
                  </a:lnTo>
                  <a:lnTo>
                    <a:pt x="337" y="251"/>
                  </a:lnTo>
                  <a:lnTo>
                    <a:pt x="337" y="248"/>
                  </a:lnTo>
                  <a:lnTo>
                    <a:pt x="332" y="241"/>
                  </a:lnTo>
                  <a:lnTo>
                    <a:pt x="330" y="236"/>
                  </a:lnTo>
                  <a:lnTo>
                    <a:pt x="328" y="232"/>
                  </a:lnTo>
                  <a:lnTo>
                    <a:pt x="328" y="232"/>
                  </a:lnTo>
                  <a:lnTo>
                    <a:pt x="328" y="229"/>
                  </a:lnTo>
                  <a:lnTo>
                    <a:pt x="328" y="227"/>
                  </a:lnTo>
                  <a:lnTo>
                    <a:pt x="332" y="225"/>
                  </a:lnTo>
                  <a:lnTo>
                    <a:pt x="335" y="222"/>
                  </a:lnTo>
                  <a:lnTo>
                    <a:pt x="335" y="220"/>
                  </a:lnTo>
                  <a:lnTo>
                    <a:pt x="335" y="215"/>
                  </a:lnTo>
                  <a:lnTo>
                    <a:pt x="335" y="215"/>
                  </a:lnTo>
                  <a:lnTo>
                    <a:pt x="335" y="213"/>
                  </a:lnTo>
                  <a:lnTo>
                    <a:pt x="332" y="208"/>
                  </a:lnTo>
                  <a:lnTo>
                    <a:pt x="332" y="206"/>
                  </a:lnTo>
                  <a:lnTo>
                    <a:pt x="335" y="201"/>
                  </a:lnTo>
                  <a:lnTo>
                    <a:pt x="335" y="196"/>
                  </a:lnTo>
                  <a:lnTo>
                    <a:pt x="335" y="192"/>
                  </a:lnTo>
                  <a:lnTo>
                    <a:pt x="335" y="180"/>
                  </a:lnTo>
                  <a:lnTo>
                    <a:pt x="335" y="170"/>
                  </a:lnTo>
                  <a:lnTo>
                    <a:pt x="335" y="168"/>
                  </a:lnTo>
                  <a:lnTo>
                    <a:pt x="335" y="168"/>
                  </a:lnTo>
                  <a:lnTo>
                    <a:pt x="332" y="163"/>
                  </a:lnTo>
                  <a:lnTo>
                    <a:pt x="332" y="158"/>
                  </a:lnTo>
                  <a:lnTo>
                    <a:pt x="330" y="156"/>
                  </a:lnTo>
                  <a:lnTo>
                    <a:pt x="330" y="154"/>
                  </a:lnTo>
                  <a:lnTo>
                    <a:pt x="328" y="149"/>
                  </a:lnTo>
                  <a:lnTo>
                    <a:pt x="325" y="147"/>
                  </a:lnTo>
                  <a:lnTo>
                    <a:pt x="328" y="147"/>
                  </a:lnTo>
                  <a:lnTo>
                    <a:pt x="330" y="144"/>
                  </a:lnTo>
                  <a:lnTo>
                    <a:pt x="328" y="140"/>
                  </a:lnTo>
                  <a:lnTo>
                    <a:pt x="328" y="135"/>
                  </a:lnTo>
                  <a:lnTo>
                    <a:pt x="325" y="132"/>
                  </a:lnTo>
                  <a:lnTo>
                    <a:pt x="325" y="125"/>
                  </a:lnTo>
                  <a:lnTo>
                    <a:pt x="323" y="121"/>
                  </a:lnTo>
                  <a:lnTo>
                    <a:pt x="323" y="116"/>
                  </a:lnTo>
                  <a:lnTo>
                    <a:pt x="321" y="111"/>
                  </a:lnTo>
                  <a:lnTo>
                    <a:pt x="321" y="106"/>
                  </a:lnTo>
                  <a:lnTo>
                    <a:pt x="321" y="104"/>
                  </a:lnTo>
                  <a:lnTo>
                    <a:pt x="318" y="104"/>
                  </a:lnTo>
                  <a:lnTo>
                    <a:pt x="314" y="102"/>
                  </a:lnTo>
                  <a:lnTo>
                    <a:pt x="311" y="99"/>
                  </a:lnTo>
                  <a:lnTo>
                    <a:pt x="309" y="97"/>
                  </a:lnTo>
                  <a:lnTo>
                    <a:pt x="306" y="92"/>
                  </a:lnTo>
                  <a:lnTo>
                    <a:pt x="306" y="88"/>
                  </a:lnTo>
                  <a:lnTo>
                    <a:pt x="304" y="85"/>
                  </a:lnTo>
                  <a:lnTo>
                    <a:pt x="304" y="85"/>
                  </a:lnTo>
                  <a:lnTo>
                    <a:pt x="299" y="83"/>
                  </a:lnTo>
                  <a:lnTo>
                    <a:pt x="297" y="80"/>
                  </a:lnTo>
                  <a:lnTo>
                    <a:pt x="297" y="80"/>
                  </a:lnTo>
                  <a:lnTo>
                    <a:pt x="297" y="78"/>
                  </a:lnTo>
                  <a:lnTo>
                    <a:pt x="295" y="76"/>
                  </a:lnTo>
                  <a:lnTo>
                    <a:pt x="295" y="71"/>
                  </a:lnTo>
                  <a:lnTo>
                    <a:pt x="295" y="69"/>
                  </a:lnTo>
                  <a:lnTo>
                    <a:pt x="295" y="66"/>
                  </a:lnTo>
                  <a:lnTo>
                    <a:pt x="295" y="64"/>
                  </a:lnTo>
                  <a:lnTo>
                    <a:pt x="295" y="62"/>
                  </a:lnTo>
                  <a:lnTo>
                    <a:pt x="297" y="59"/>
                  </a:lnTo>
                  <a:lnTo>
                    <a:pt x="299" y="57"/>
                  </a:lnTo>
                  <a:lnTo>
                    <a:pt x="302" y="54"/>
                  </a:lnTo>
                  <a:lnTo>
                    <a:pt x="304" y="54"/>
                  </a:lnTo>
                  <a:lnTo>
                    <a:pt x="304" y="52"/>
                  </a:lnTo>
                  <a:lnTo>
                    <a:pt x="306" y="52"/>
                  </a:lnTo>
                  <a:lnTo>
                    <a:pt x="306" y="50"/>
                  </a:lnTo>
                  <a:lnTo>
                    <a:pt x="306" y="47"/>
                  </a:lnTo>
                  <a:lnTo>
                    <a:pt x="306" y="45"/>
                  </a:lnTo>
                  <a:lnTo>
                    <a:pt x="309" y="43"/>
                  </a:lnTo>
                  <a:lnTo>
                    <a:pt x="309" y="40"/>
                  </a:lnTo>
                  <a:lnTo>
                    <a:pt x="309" y="38"/>
                  </a:lnTo>
                  <a:lnTo>
                    <a:pt x="309" y="35"/>
                  </a:lnTo>
                  <a:lnTo>
                    <a:pt x="309" y="31"/>
                  </a:lnTo>
                  <a:lnTo>
                    <a:pt x="309" y="31"/>
                  </a:lnTo>
                  <a:lnTo>
                    <a:pt x="309" y="28"/>
                  </a:lnTo>
                  <a:lnTo>
                    <a:pt x="306" y="26"/>
                  </a:lnTo>
                  <a:lnTo>
                    <a:pt x="306" y="26"/>
                  </a:lnTo>
                  <a:lnTo>
                    <a:pt x="309" y="21"/>
                  </a:lnTo>
                  <a:lnTo>
                    <a:pt x="309" y="19"/>
                  </a:lnTo>
                  <a:lnTo>
                    <a:pt x="309" y="14"/>
                  </a:lnTo>
                  <a:lnTo>
                    <a:pt x="309" y="14"/>
                  </a:lnTo>
                  <a:lnTo>
                    <a:pt x="309" y="12"/>
                  </a:lnTo>
                  <a:lnTo>
                    <a:pt x="306" y="12"/>
                  </a:lnTo>
                  <a:lnTo>
                    <a:pt x="306" y="12"/>
                  </a:lnTo>
                  <a:lnTo>
                    <a:pt x="306" y="12"/>
                  </a:lnTo>
                  <a:lnTo>
                    <a:pt x="309" y="9"/>
                  </a:lnTo>
                  <a:lnTo>
                    <a:pt x="311" y="7"/>
                  </a:lnTo>
                  <a:lnTo>
                    <a:pt x="311" y="5"/>
                  </a:lnTo>
                  <a:lnTo>
                    <a:pt x="314" y="5"/>
                  </a:lnTo>
                  <a:lnTo>
                    <a:pt x="314" y="2"/>
                  </a:lnTo>
                  <a:lnTo>
                    <a:pt x="314" y="2"/>
                  </a:lnTo>
                  <a:lnTo>
                    <a:pt x="306" y="2"/>
                  </a:lnTo>
                  <a:lnTo>
                    <a:pt x="302" y="5"/>
                  </a:lnTo>
                  <a:lnTo>
                    <a:pt x="299" y="2"/>
                  </a:lnTo>
                  <a:lnTo>
                    <a:pt x="297" y="0"/>
                  </a:lnTo>
                  <a:lnTo>
                    <a:pt x="292" y="0"/>
                  </a:lnTo>
                  <a:lnTo>
                    <a:pt x="290" y="0"/>
                  </a:lnTo>
                  <a:lnTo>
                    <a:pt x="290" y="2"/>
                  </a:lnTo>
                  <a:lnTo>
                    <a:pt x="288" y="2"/>
                  </a:lnTo>
                  <a:lnTo>
                    <a:pt x="285" y="2"/>
                  </a:lnTo>
                  <a:lnTo>
                    <a:pt x="278" y="0"/>
                  </a:lnTo>
                  <a:lnTo>
                    <a:pt x="276" y="0"/>
                  </a:lnTo>
                  <a:lnTo>
                    <a:pt x="273" y="0"/>
                  </a:lnTo>
                  <a:lnTo>
                    <a:pt x="273" y="2"/>
                  </a:lnTo>
                  <a:lnTo>
                    <a:pt x="269" y="5"/>
                  </a:lnTo>
                  <a:lnTo>
                    <a:pt x="264" y="5"/>
                  </a:lnTo>
                  <a:lnTo>
                    <a:pt x="259" y="7"/>
                  </a:lnTo>
                  <a:lnTo>
                    <a:pt x="257" y="9"/>
                  </a:lnTo>
                  <a:lnTo>
                    <a:pt x="255" y="7"/>
                  </a:lnTo>
                  <a:lnTo>
                    <a:pt x="250" y="5"/>
                  </a:lnTo>
                  <a:lnTo>
                    <a:pt x="250" y="5"/>
                  </a:lnTo>
                  <a:lnTo>
                    <a:pt x="248" y="2"/>
                  </a:lnTo>
                  <a:lnTo>
                    <a:pt x="229" y="2"/>
                  </a:lnTo>
                  <a:lnTo>
                    <a:pt x="226" y="5"/>
                  </a:lnTo>
                  <a:lnTo>
                    <a:pt x="215" y="5"/>
                  </a:lnTo>
                  <a:lnTo>
                    <a:pt x="215" y="7"/>
                  </a:lnTo>
                  <a:lnTo>
                    <a:pt x="210" y="9"/>
                  </a:lnTo>
                  <a:lnTo>
                    <a:pt x="205" y="9"/>
                  </a:lnTo>
                  <a:lnTo>
                    <a:pt x="198" y="9"/>
                  </a:lnTo>
                  <a:lnTo>
                    <a:pt x="186" y="12"/>
                  </a:lnTo>
                  <a:lnTo>
                    <a:pt x="182" y="12"/>
                  </a:lnTo>
                  <a:lnTo>
                    <a:pt x="177" y="14"/>
                  </a:lnTo>
                  <a:lnTo>
                    <a:pt x="172" y="17"/>
                  </a:lnTo>
                  <a:lnTo>
                    <a:pt x="170" y="19"/>
                  </a:lnTo>
                  <a:lnTo>
                    <a:pt x="165" y="21"/>
                  </a:lnTo>
                  <a:lnTo>
                    <a:pt x="165" y="24"/>
                  </a:lnTo>
                  <a:lnTo>
                    <a:pt x="163" y="26"/>
                  </a:lnTo>
                  <a:lnTo>
                    <a:pt x="160" y="26"/>
                  </a:lnTo>
                  <a:lnTo>
                    <a:pt x="158" y="26"/>
                  </a:lnTo>
                  <a:lnTo>
                    <a:pt x="156" y="26"/>
                  </a:lnTo>
                  <a:lnTo>
                    <a:pt x="146" y="28"/>
                  </a:lnTo>
                  <a:lnTo>
                    <a:pt x="144" y="31"/>
                  </a:lnTo>
                  <a:lnTo>
                    <a:pt x="141" y="33"/>
                  </a:lnTo>
                  <a:lnTo>
                    <a:pt x="139" y="35"/>
                  </a:lnTo>
                  <a:lnTo>
                    <a:pt x="137" y="38"/>
                  </a:lnTo>
                  <a:lnTo>
                    <a:pt x="134" y="40"/>
                  </a:lnTo>
                  <a:lnTo>
                    <a:pt x="130" y="43"/>
                  </a:lnTo>
                  <a:lnTo>
                    <a:pt x="127" y="43"/>
                  </a:lnTo>
                  <a:lnTo>
                    <a:pt x="123" y="43"/>
                  </a:lnTo>
                  <a:lnTo>
                    <a:pt x="125" y="43"/>
                  </a:lnTo>
                  <a:lnTo>
                    <a:pt x="125" y="45"/>
                  </a:lnTo>
                  <a:lnTo>
                    <a:pt x="130" y="47"/>
                  </a:lnTo>
                  <a:lnTo>
                    <a:pt x="130" y="50"/>
                  </a:lnTo>
                  <a:lnTo>
                    <a:pt x="130" y="50"/>
                  </a:lnTo>
                  <a:lnTo>
                    <a:pt x="130" y="52"/>
                  </a:lnTo>
                  <a:lnTo>
                    <a:pt x="130" y="52"/>
                  </a:lnTo>
                  <a:lnTo>
                    <a:pt x="130" y="54"/>
                  </a:lnTo>
                  <a:lnTo>
                    <a:pt x="132" y="54"/>
                  </a:lnTo>
                  <a:lnTo>
                    <a:pt x="132" y="54"/>
                  </a:lnTo>
                  <a:lnTo>
                    <a:pt x="132" y="57"/>
                  </a:lnTo>
                  <a:lnTo>
                    <a:pt x="130" y="57"/>
                  </a:lnTo>
                  <a:lnTo>
                    <a:pt x="132" y="62"/>
                  </a:lnTo>
                  <a:lnTo>
                    <a:pt x="132" y="66"/>
                  </a:lnTo>
                  <a:lnTo>
                    <a:pt x="132" y="69"/>
                  </a:lnTo>
                  <a:lnTo>
                    <a:pt x="132" y="69"/>
                  </a:lnTo>
                  <a:lnTo>
                    <a:pt x="132" y="71"/>
                  </a:lnTo>
                  <a:lnTo>
                    <a:pt x="132" y="73"/>
                  </a:lnTo>
                  <a:lnTo>
                    <a:pt x="132" y="80"/>
                  </a:lnTo>
                  <a:lnTo>
                    <a:pt x="132" y="83"/>
                  </a:lnTo>
                  <a:lnTo>
                    <a:pt x="134" y="85"/>
                  </a:lnTo>
                  <a:lnTo>
                    <a:pt x="134" y="90"/>
                  </a:lnTo>
                  <a:lnTo>
                    <a:pt x="134" y="90"/>
                  </a:lnTo>
                  <a:lnTo>
                    <a:pt x="137" y="92"/>
                  </a:lnTo>
                  <a:lnTo>
                    <a:pt x="137" y="92"/>
                  </a:lnTo>
                  <a:lnTo>
                    <a:pt x="139" y="95"/>
                  </a:lnTo>
                  <a:lnTo>
                    <a:pt x="141" y="95"/>
                  </a:lnTo>
                  <a:lnTo>
                    <a:pt x="141" y="97"/>
                  </a:lnTo>
                  <a:lnTo>
                    <a:pt x="139" y="99"/>
                  </a:lnTo>
                  <a:lnTo>
                    <a:pt x="139" y="99"/>
                  </a:lnTo>
                  <a:lnTo>
                    <a:pt x="139" y="102"/>
                  </a:lnTo>
                  <a:lnTo>
                    <a:pt x="139" y="104"/>
                  </a:lnTo>
                  <a:lnTo>
                    <a:pt x="139" y="104"/>
                  </a:lnTo>
                  <a:lnTo>
                    <a:pt x="137" y="106"/>
                  </a:lnTo>
                  <a:lnTo>
                    <a:pt x="134" y="106"/>
                  </a:lnTo>
                  <a:lnTo>
                    <a:pt x="132" y="106"/>
                  </a:lnTo>
                  <a:lnTo>
                    <a:pt x="127" y="104"/>
                  </a:lnTo>
                  <a:lnTo>
                    <a:pt x="123" y="104"/>
                  </a:lnTo>
                  <a:lnTo>
                    <a:pt x="120" y="104"/>
                  </a:lnTo>
                  <a:lnTo>
                    <a:pt x="118" y="104"/>
                  </a:lnTo>
                  <a:lnTo>
                    <a:pt x="116" y="104"/>
                  </a:lnTo>
                  <a:lnTo>
                    <a:pt x="113" y="106"/>
                  </a:lnTo>
                  <a:lnTo>
                    <a:pt x="109" y="106"/>
                  </a:lnTo>
                  <a:lnTo>
                    <a:pt x="109" y="106"/>
                  </a:lnTo>
                  <a:lnTo>
                    <a:pt x="109" y="106"/>
                  </a:lnTo>
                  <a:lnTo>
                    <a:pt x="109" y="109"/>
                  </a:lnTo>
                  <a:lnTo>
                    <a:pt x="106" y="111"/>
                  </a:lnTo>
                  <a:lnTo>
                    <a:pt x="106" y="111"/>
                  </a:lnTo>
                  <a:lnTo>
                    <a:pt x="99" y="114"/>
                  </a:lnTo>
                  <a:lnTo>
                    <a:pt x="97" y="114"/>
                  </a:lnTo>
                  <a:lnTo>
                    <a:pt x="94" y="114"/>
                  </a:lnTo>
                  <a:lnTo>
                    <a:pt x="94" y="114"/>
                  </a:lnTo>
                  <a:lnTo>
                    <a:pt x="92" y="114"/>
                  </a:lnTo>
                  <a:lnTo>
                    <a:pt x="92" y="116"/>
                  </a:lnTo>
                  <a:lnTo>
                    <a:pt x="92" y="116"/>
                  </a:lnTo>
                  <a:lnTo>
                    <a:pt x="92" y="118"/>
                  </a:lnTo>
                  <a:lnTo>
                    <a:pt x="92" y="118"/>
                  </a:lnTo>
                  <a:lnTo>
                    <a:pt x="92" y="121"/>
                  </a:lnTo>
                  <a:lnTo>
                    <a:pt x="92" y="123"/>
                  </a:lnTo>
                  <a:lnTo>
                    <a:pt x="92" y="123"/>
                  </a:lnTo>
                  <a:lnTo>
                    <a:pt x="92" y="125"/>
                  </a:lnTo>
                  <a:lnTo>
                    <a:pt x="92" y="125"/>
                  </a:lnTo>
                  <a:lnTo>
                    <a:pt x="92" y="125"/>
                  </a:lnTo>
                  <a:lnTo>
                    <a:pt x="94" y="125"/>
                  </a:lnTo>
                  <a:lnTo>
                    <a:pt x="94" y="125"/>
                  </a:lnTo>
                  <a:lnTo>
                    <a:pt x="94" y="128"/>
                  </a:lnTo>
                  <a:lnTo>
                    <a:pt x="94" y="128"/>
                  </a:lnTo>
                  <a:lnTo>
                    <a:pt x="94" y="130"/>
                  </a:lnTo>
                  <a:lnTo>
                    <a:pt x="94" y="130"/>
                  </a:lnTo>
                  <a:lnTo>
                    <a:pt x="92" y="130"/>
                  </a:lnTo>
                  <a:lnTo>
                    <a:pt x="90" y="130"/>
                  </a:lnTo>
                  <a:lnTo>
                    <a:pt x="85" y="132"/>
                  </a:lnTo>
                  <a:lnTo>
                    <a:pt x="83" y="135"/>
                  </a:lnTo>
                  <a:lnTo>
                    <a:pt x="78" y="137"/>
                  </a:lnTo>
                  <a:lnTo>
                    <a:pt x="78" y="137"/>
                  </a:lnTo>
                  <a:lnTo>
                    <a:pt x="73" y="137"/>
                  </a:lnTo>
                  <a:lnTo>
                    <a:pt x="71" y="140"/>
                  </a:lnTo>
                  <a:lnTo>
                    <a:pt x="68" y="142"/>
                  </a:lnTo>
                  <a:lnTo>
                    <a:pt x="66" y="147"/>
                  </a:lnTo>
                  <a:lnTo>
                    <a:pt x="64" y="149"/>
                  </a:lnTo>
                  <a:lnTo>
                    <a:pt x="61" y="151"/>
                  </a:lnTo>
                  <a:lnTo>
                    <a:pt x="59" y="151"/>
                  </a:lnTo>
                  <a:lnTo>
                    <a:pt x="57" y="151"/>
                  </a:lnTo>
                  <a:lnTo>
                    <a:pt x="52" y="154"/>
                  </a:lnTo>
                  <a:lnTo>
                    <a:pt x="50" y="154"/>
                  </a:lnTo>
                  <a:lnTo>
                    <a:pt x="47" y="154"/>
                  </a:lnTo>
                  <a:lnTo>
                    <a:pt x="45" y="154"/>
                  </a:lnTo>
                  <a:lnTo>
                    <a:pt x="45" y="154"/>
                  </a:lnTo>
                  <a:lnTo>
                    <a:pt x="43" y="154"/>
                  </a:lnTo>
                  <a:lnTo>
                    <a:pt x="43" y="154"/>
                  </a:lnTo>
                  <a:lnTo>
                    <a:pt x="43" y="154"/>
                  </a:lnTo>
                  <a:lnTo>
                    <a:pt x="43" y="156"/>
                  </a:lnTo>
                  <a:lnTo>
                    <a:pt x="43" y="156"/>
                  </a:lnTo>
                  <a:lnTo>
                    <a:pt x="43" y="158"/>
                  </a:lnTo>
                  <a:lnTo>
                    <a:pt x="40" y="158"/>
                  </a:lnTo>
                  <a:lnTo>
                    <a:pt x="40" y="158"/>
                  </a:lnTo>
                  <a:lnTo>
                    <a:pt x="38" y="158"/>
                  </a:lnTo>
                  <a:lnTo>
                    <a:pt x="35" y="158"/>
                  </a:lnTo>
                  <a:lnTo>
                    <a:pt x="33" y="158"/>
                  </a:lnTo>
                  <a:lnTo>
                    <a:pt x="31" y="158"/>
                  </a:lnTo>
                  <a:lnTo>
                    <a:pt x="31" y="158"/>
                  </a:lnTo>
                  <a:lnTo>
                    <a:pt x="28" y="158"/>
                  </a:lnTo>
                  <a:lnTo>
                    <a:pt x="28" y="161"/>
                  </a:lnTo>
                  <a:lnTo>
                    <a:pt x="26" y="161"/>
                  </a:lnTo>
                  <a:lnTo>
                    <a:pt x="24" y="163"/>
                  </a:lnTo>
                  <a:lnTo>
                    <a:pt x="21" y="163"/>
                  </a:lnTo>
                  <a:lnTo>
                    <a:pt x="21" y="163"/>
                  </a:lnTo>
                  <a:lnTo>
                    <a:pt x="17" y="168"/>
                  </a:lnTo>
                  <a:lnTo>
                    <a:pt x="14" y="168"/>
                  </a:lnTo>
                  <a:lnTo>
                    <a:pt x="10" y="170"/>
                  </a:lnTo>
                  <a:lnTo>
                    <a:pt x="10" y="173"/>
                  </a:lnTo>
                  <a:lnTo>
                    <a:pt x="7" y="173"/>
                  </a:lnTo>
                  <a:lnTo>
                    <a:pt x="5" y="175"/>
                  </a:lnTo>
                  <a:lnTo>
                    <a:pt x="2" y="177"/>
                  </a:lnTo>
                  <a:lnTo>
                    <a:pt x="2" y="177"/>
                  </a:lnTo>
                  <a:lnTo>
                    <a:pt x="2" y="177"/>
                  </a:lnTo>
                  <a:lnTo>
                    <a:pt x="2" y="182"/>
                  </a:lnTo>
                  <a:lnTo>
                    <a:pt x="2" y="184"/>
                  </a:lnTo>
                  <a:lnTo>
                    <a:pt x="2" y="189"/>
                  </a:lnTo>
                  <a:lnTo>
                    <a:pt x="2" y="194"/>
                  </a:lnTo>
                  <a:lnTo>
                    <a:pt x="2" y="199"/>
                  </a:lnTo>
                  <a:lnTo>
                    <a:pt x="2" y="203"/>
                  </a:lnTo>
                  <a:lnTo>
                    <a:pt x="0" y="206"/>
                  </a:lnTo>
                  <a:lnTo>
                    <a:pt x="5" y="208"/>
                  </a:lnTo>
                  <a:lnTo>
                    <a:pt x="7" y="210"/>
                  </a:lnTo>
                  <a:lnTo>
                    <a:pt x="12" y="213"/>
                  </a:lnTo>
                  <a:lnTo>
                    <a:pt x="14" y="215"/>
                  </a:lnTo>
                  <a:lnTo>
                    <a:pt x="17" y="218"/>
                  </a:lnTo>
                  <a:lnTo>
                    <a:pt x="21" y="220"/>
                  </a:lnTo>
                  <a:lnTo>
                    <a:pt x="24" y="222"/>
                  </a:lnTo>
                  <a:lnTo>
                    <a:pt x="28" y="225"/>
                  </a:lnTo>
                  <a:lnTo>
                    <a:pt x="31" y="227"/>
                  </a:lnTo>
                  <a:lnTo>
                    <a:pt x="33" y="229"/>
                  </a:lnTo>
                  <a:lnTo>
                    <a:pt x="38" y="232"/>
                  </a:lnTo>
                  <a:lnTo>
                    <a:pt x="40" y="234"/>
                  </a:lnTo>
                  <a:lnTo>
                    <a:pt x="45" y="236"/>
                  </a:lnTo>
                  <a:lnTo>
                    <a:pt x="47" y="239"/>
                  </a:lnTo>
                  <a:lnTo>
                    <a:pt x="50" y="241"/>
                  </a:lnTo>
                  <a:lnTo>
                    <a:pt x="54" y="244"/>
                  </a:lnTo>
                  <a:lnTo>
                    <a:pt x="57" y="246"/>
                  </a:lnTo>
                  <a:lnTo>
                    <a:pt x="61" y="248"/>
                  </a:lnTo>
                  <a:lnTo>
                    <a:pt x="66" y="253"/>
                  </a:lnTo>
                  <a:lnTo>
                    <a:pt x="68" y="255"/>
                  </a:lnTo>
                  <a:lnTo>
                    <a:pt x="76" y="260"/>
                  </a:lnTo>
                  <a:lnTo>
                    <a:pt x="80" y="262"/>
                  </a:lnTo>
                  <a:lnTo>
                    <a:pt x="85" y="267"/>
                  </a:lnTo>
                  <a:lnTo>
                    <a:pt x="92" y="272"/>
                  </a:lnTo>
                  <a:lnTo>
                    <a:pt x="97" y="277"/>
                  </a:lnTo>
                  <a:lnTo>
                    <a:pt x="104" y="281"/>
                  </a:lnTo>
                  <a:lnTo>
                    <a:pt x="109" y="286"/>
                  </a:lnTo>
                  <a:lnTo>
                    <a:pt x="113" y="291"/>
                  </a:lnTo>
                  <a:lnTo>
                    <a:pt x="120" y="296"/>
                  </a:lnTo>
                  <a:lnTo>
                    <a:pt x="125" y="298"/>
                  </a:lnTo>
                  <a:lnTo>
                    <a:pt x="132" y="303"/>
                  </a:lnTo>
                  <a:lnTo>
                    <a:pt x="137" y="307"/>
                  </a:lnTo>
                  <a:lnTo>
                    <a:pt x="144" y="312"/>
                  </a:lnTo>
                  <a:lnTo>
                    <a:pt x="149" y="317"/>
                  </a:lnTo>
                  <a:lnTo>
                    <a:pt x="156" y="322"/>
                  </a:lnTo>
                  <a:lnTo>
                    <a:pt x="160" y="326"/>
                  </a:lnTo>
                  <a:lnTo>
                    <a:pt x="167" y="331"/>
                  </a:lnTo>
                  <a:lnTo>
                    <a:pt x="172" y="336"/>
                  </a:lnTo>
                  <a:lnTo>
                    <a:pt x="177" y="338"/>
                  </a:lnTo>
                  <a:lnTo>
                    <a:pt x="177" y="338"/>
                  </a:lnTo>
                  <a:lnTo>
                    <a:pt x="177" y="341"/>
                  </a:lnTo>
                  <a:lnTo>
                    <a:pt x="177" y="343"/>
                  </a:lnTo>
                  <a:lnTo>
                    <a:pt x="177" y="343"/>
                  </a:lnTo>
                  <a:lnTo>
                    <a:pt x="177" y="345"/>
                  </a:lnTo>
                  <a:lnTo>
                    <a:pt x="179" y="345"/>
                  </a:lnTo>
                  <a:lnTo>
                    <a:pt x="184" y="350"/>
                  </a:lnTo>
                  <a:lnTo>
                    <a:pt x="184" y="350"/>
                  </a:lnTo>
                  <a:lnTo>
                    <a:pt x="184" y="350"/>
                  </a:lnTo>
                  <a:lnTo>
                    <a:pt x="186" y="352"/>
                  </a:lnTo>
                  <a:lnTo>
                    <a:pt x="186" y="355"/>
                  </a:lnTo>
                  <a:lnTo>
                    <a:pt x="189" y="355"/>
                  </a:lnTo>
                  <a:lnTo>
                    <a:pt x="189" y="355"/>
                  </a:lnTo>
                  <a:lnTo>
                    <a:pt x="196" y="355"/>
                  </a:lnTo>
                  <a:lnTo>
                    <a:pt x="196" y="357"/>
                  </a:lnTo>
                  <a:lnTo>
                    <a:pt x="198" y="359"/>
                  </a:lnTo>
                  <a:lnTo>
                    <a:pt x="200" y="359"/>
                  </a:lnTo>
                  <a:lnTo>
                    <a:pt x="203" y="362"/>
                  </a:lnTo>
                  <a:lnTo>
                    <a:pt x="205" y="362"/>
                  </a:lnTo>
                  <a:lnTo>
                    <a:pt x="207" y="362"/>
                  </a:lnTo>
                  <a:lnTo>
                    <a:pt x="210" y="362"/>
                  </a:lnTo>
                  <a:lnTo>
                    <a:pt x="212" y="364"/>
                  </a:lnTo>
                  <a:lnTo>
                    <a:pt x="212" y="364"/>
                  </a:lnTo>
                  <a:lnTo>
                    <a:pt x="212" y="367"/>
                  </a:lnTo>
                  <a:lnTo>
                    <a:pt x="212" y="367"/>
                  </a:lnTo>
                  <a:lnTo>
                    <a:pt x="212" y="369"/>
                  </a:lnTo>
                  <a:lnTo>
                    <a:pt x="212" y="371"/>
                  </a:lnTo>
                  <a:lnTo>
                    <a:pt x="215" y="374"/>
                  </a:lnTo>
                  <a:lnTo>
                    <a:pt x="215" y="374"/>
                  </a:lnTo>
                  <a:lnTo>
                    <a:pt x="212" y="374"/>
                  </a:lnTo>
                  <a:lnTo>
                    <a:pt x="212" y="376"/>
                  </a:lnTo>
                  <a:lnTo>
                    <a:pt x="212" y="376"/>
                  </a:lnTo>
                  <a:lnTo>
                    <a:pt x="212" y="376"/>
                  </a:lnTo>
                  <a:lnTo>
                    <a:pt x="210" y="378"/>
                  </a:lnTo>
                  <a:lnTo>
                    <a:pt x="212" y="378"/>
                  </a:lnTo>
                  <a:lnTo>
                    <a:pt x="212" y="381"/>
                  </a:lnTo>
                  <a:lnTo>
                    <a:pt x="215" y="381"/>
                  </a:lnTo>
                  <a:lnTo>
                    <a:pt x="215" y="381"/>
                  </a:lnTo>
                  <a:lnTo>
                    <a:pt x="215" y="383"/>
                  </a:lnTo>
                  <a:lnTo>
                    <a:pt x="217" y="381"/>
                  </a:lnTo>
                  <a:lnTo>
                    <a:pt x="217" y="381"/>
                  </a:lnTo>
                  <a:lnTo>
                    <a:pt x="222" y="381"/>
                  </a:lnTo>
                  <a:lnTo>
                    <a:pt x="226" y="381"/>
                  </a:lnTo>
                  <a:lnTo>
                    <a:pt x="231" y="378"/>
                  </a:lnTo>
                  <a:lnTo>
                    <a:pt x="236" y="378"/>
                  </a:lnTo>
                  <a:lnTo>
                    <a:pt x="240" y="376"/>
                  </a:lnTo>
                  <a:lnTo>
                    <a:pt x="245" y="376"/>
                  </a:lnTo>
                  <a:lnTo>
                    <a:pt x="252" y="374"/>
                  </a:lnTo>
                  <a:lnTo>
                    <a:pt x="259" y="374"/>
                  </a:lnTo>
                  <a:lnTo>
                    <a:pt x="262" y="371"/>
                  </a:lnTo>
                  <a:lnTo>
                    <a:pt x="266" y="367"/>
                  </a:lnTo>
                  <a:lnTo>
                    <a:pt x="269" y="364"/>
                  </a:lnTo>
                  <a:lnTo>
                    <a:pt x="273" y="359"/>
                  </a:lnTo>
                  <a:lnTo>
                    <a:pt x="278" y="355"/>
                  </a:lnTo>
                  <a:lnTo>
                    <a:pt x="283" y="350"/>
                  </a:lnTo>
                  <a:lnTo>
                    <a:pt x="288" y="345"/>
                  </a:lnTo>
                  <a:lnTo>
                    <a:pt x="290" y="343"/>
                  </a:lnTo>
                  <a:lnTo>
                    <a:pt x="297" y="338"/>
                  </a:lnTo>
                  <a:lnTo>
                    <a:pt x="306" y="331"/>
                  </a:lnTo>
                  <a:lnTo>
                    <a:pt x="316" y="324"/>
                  </a:lnTo>
                  <a:lnTo>
                    <a:pt x="325" y="319"/>
                  </a:lnTo>
                  <a:lnTo>
                    <a:pt x="335" y="312"/>
                  </a:lnTo>
                  <a:lnTo>
                    <a:pt x="344" y="305"/>
                  </a:lnTo>
                  <a:lnTo>
                    <a:pt x="354" y="300"/>
                  </a:lnTo>
                  <a:lnTo>
                    <a:pt x="363" y="293"/>
                  </a:lnTo>
                  <a:lnTo>
                    <a:pt x="372" y="286"/>
                  </a:lnTo>
                  <a:lnTo>
                    <a:pt x="370" y="281"/>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2" name="Freeform 398"/>
            <p:cNvSpPr>
              <a:spLocks/>
            </p:cNvSpPr>
            <p:nvPr userDrawn="1"/>
          </p:nvSpPr>
          <p:spPr bwMode="auto">
            <a:xfrm>
              <a:off x="3997" y="1909"/>
              <a:ext cx="31" cy="59"/>
            </a:xfrm>
            <a:custGeom>
              <a:avLst/>
              <a:gdLst>
                <a:gd name="T0" fmla="*/ 31 w 31"/>
                <a:gd name="T1" fmla="*/ 40 h 59"/>
                <a:gd name="T2" fmla="*/ 31 w 31"/>
                <a:gd name="T3" fmla="*/ 38 h 59"/>
                <a:gd name="T4" fmla="*/ 31 w 31"/>
                <a:gd name="T5" fmla="*/ 36 h 59"/>
                <a:gd name="T6" fmla="*/ 26 w 31"/>
                <a:gd name="T7" fmla="*/ 36 h 59"/>
                <a:gd name="T8" fmla="*/ 26 w 31"/>
                <a:gd name="T9" fmla="*/ 33 h 59"/>
                <a:gd name="T10" fmla="*/ 24 w 31"/>
                <a:gd name="T11" fmla="*/ 31 h 59"/>
                <a:gd name="T12" fmla="*/ 21 w 31"/>
                <a:gd name="T13" fmla="*/ 26 h 59"/>
                <a:gd name="T14" fmla="*/ 21 w 31"/>
                <a:gd name="T15" fmla="*/ 24 h 59"/>
                <a:gd name="T16" fmla="*/ 21 w 31"/>
                <a:gd name="T17" fmla="*/ 21 h 59"/>
                <a:gd name="T18" fmla="*/ 21 w 31"/>
                <a:gd name="T19" fmla="*/ 19 h 59"/>
                <a:gd name="T20" fmla="*/ 24 w 31"/>
                <a:gd name="T21" fmla="*/ 17 h 59"/>
                <a:gd name="T22" fmla="*/ 24 w 31"/>
                <a:gd name="T23" fmla="*/ 12 h 59"/>
                <a:gd name="T24" fmla="*/ 21 w 31"/>
                <a:gd name="T25" fmla="*/ 10 h 59"/>
                <a:gd name="T26" fmla="*/ 19 w 31"/>
                <a:gd name="T27" fmla="*/ 7 h 59"/>
                <a:gd name="T28" fmla="*/ 17 w 31"/>
                <a:gd name="T29" fmla="*/ 5 h 59"/>
                <a:gd name="T30" fmla="*/ 14 w 31"/>
                <a:gd name="T31" fmla="*/ 3 h 59"/>
                <a:gd name="T32" fmla="*/ 12 w 31"/>
                <a:gd name="T33" fmla="*/ 3 h 59"/>
                <a:gd name="T34" fmla="*/ 9 w 31"/>
                <a:gd name="T35" fmla="*/ 3 h 59"/>
                <a:gd name="T36" fmla="*/ 7 w 31"/>
                <a:gd name="T37" fmla="*/ 3 h 59"/>
                <a:gd name="T38" fmla="*/ 7 w 31"/>
                <a:gd name="T39" fmla="*/ 0 h 59"/>
                <a:gd name="T40" fmla="*/ 7 w 31"/>
                <a:gd name="T41" fmla="*/ 0 h 59"/>
                <a:gd name="T42" fmla="*/ 5 w 31"/>
                <a:gd name="T43" fmla="*/ 3 h 59"/>
                <a:gd name="T44" fmla="*/ 2 w 31"/>
                <a:gd name="T45" fmla="*/ 7 h 59"/>
                <a:gd name="T46" fmla="*/ 0 w 31"/>
                <a:gd name="T47" fmla="*/ 10 h 59"/>
                <a:gd name="T48" fmla="*/ 2 w 31"/>
                <a:gd name="T49" fmla="*/ 12 h 59"/>
                <a:gd name="T50" fmla="*/ 2 w 31"/>
                <a:gd name="T51" fmla="*/ 14 h 59"/>
                <a:gd name="T52" fmla="*/ 2 w 31"/>
                <a:gd name="T53" fmla="*/ 17 h 59"/>
                <a:gd name="T54" fmla="*/ 5 w 31"/>
                <a:gd name="T55" fmla="*/ 17 h 59"/>
                <a:gd name="T56" fmla="*/ 5 w 31"/>
                <a:gd name="T57" fmla="*/ 21 h 59"/>
                <a:gd name="T58" fmla="*/ 5 w 31"/>
                <a:gd name="T59" fmla="*/ 26 h 59"/>
                <a:gd name="T60" fmla="*/ 5 w 31"/>
                <a:gd name="T61" fmla="*/ 29 h 59"/>
                <a:gd name="T62" fmla="*/ 5 w 31"/>
                <a:gd name="T63" fmla="*/ 36 h 59"/>
                <a:gd name="T64" fmla="*/ 2 w 31"/>
                <a:gd name="T65" fmla="*/ 40 h 59"/>
                <a:gd name="T66" fmla="*/ 5 w 31"/>
                <a:gd name="T67" fmla="*/ 45 h 59"/>
                <a:gd name="T68" fmla="*/ 5 w 31"/>
                <a:gd name="T69" fmla="*/ 47 h 59"/>
                <a:gd name="T70" fmla="*/ 2 w 31"/>
                <a:gd name="T71" fmla="*/ 45 h 59"/>
                <a:gd name="T72" fmla="*/ 2 w 31"/>
                <a:gd name="T73" fmla="*/ 47 h 59"/>
                <a:gd name="T74" fmla="*/ 5 w 31"/>
                <a:gd name="T75" fmla="*/ 50 h 59"/>
                <a:gd name="T76" fmla="*/ 14 w 31"/>
                <a:gd name="T77" fmla="*/ 55 h 59"/>
                <a:gd name="T78" fmla="*/ 14 w 31"/>
                <a:gd name="T79" fmla="*/ 59 h 59"/>
                <a:gd name="T80" fmla="*/ 17 w 31"/>
                <a:gd name="T81" fmla="*/ 59 h 59"/>
                <a:gd name="T82" fmla="*/ 19 w 31"/>
                <a:gd name="T83" fmla="*/ 59 h 59"/>
                <a:gd name="T84" fmla="*/ 19 w 31"/>
                <a:gd name="T85" fmla="*/ 59 h 59"/>
                <a:gd name="T86" fmla="*/ 19 w 31"/>
                <a:gd name="T87" fmla="*/ 57 h 59"/>
                <a:gd name="T88" fmla="*/ 21 w 31"/>
                <a:gd name="T89" fmla="*/ 57 h 59"/>
                <a:gd name="T90" fmla="*/ 21 w 31"/>
                <a:gd name="T91" fmla="*/ 57 h 59"/>
                <a:gd name="T92" fmla="*/ 19 w 31"/>
                <a:gd name="T93" fmla="*/ 55 h 59"/>
                <a:gd name="T94" fmla="*/ 21 w 31"/>
                <a:gd name="T95" fmla="*/ 52 h 59"/>
                <a:gd name="T96" fmla="*/ 21 w 31"/>
                <a:gd name="T97" fmla="*/ 55 h 59"/>
                <a:gd name="T98" fmla="*/ 24 w 31"/>
                <a:gd name="T99" fmla="*/ 52 h 59"/>
                <a:gd name="T100" fmla="*/ 26 w 31"/>
                <a:gd name="T101" fmla="*/ 52 h 59"/>
                <a:gd name="T102" fmla="*/ 26 w 31"/>
                <a:gd name="T103" fmla="*/ 50 h 59"/>
                <a:gd name="T104" fmla="*/ 26 w 31"/>
                <a:gd name="T105" fmla="*/ 47 h 59"/>
                <a:gd name="T106" fmla="*/ 28 w 31"/>
                <a:gd name="T107" fmla="*/ 45 h 59"/>
                <a:gd name="T108" fmla="*/ 31 w 31"/>
                <a:gd name="T109" fmla="*/ 45 h 59"/>
                <a:gd name="T110" fmla="*/ 31 w 31"/>
                <a:gd name="T111" fmla="*/ 4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 h="59">
                  <a:moveTo>
                    <a:pt x="31" y="40"/>
                  </a:moveTo>
                  <a:lnTo>
                    <a:pt x="31" y="40"/>
                  </a:lnTo>
                  <a:lnTo>
                    <a:pt x="31" y="38"/>
                  </a:lnTo>
                  <a:lnTo>
                    <a:pt x="31" y="38"/>
                  </a:lnTo>
                  <a:lnTo>
                    <a:pt x="31" y="36"/>
                  </a:lnTo>
                  <a:lnTo>
                    <a:pt x="31" y="36"/>
                  </a:lnTo>
                  <a:lnTo>
                    <a:pt x="28" y="36"/>
                  </a:lnTo>
                  <a:lnTo>
                    <a:pt x="26" y="36"/>
                  </a:lnTo>
                  <a:lnTo>
                    <a:pt x="26" y="36"/>
                  </a:lnTo>
                  <a:lnTo>
                    <a:pt x="26" y="33"/>
                  </a:lnTo>
                  <a:lnTo>
                    <a:pt x="24" y="33"/>
                  </a:lnTo>
                  <a:lnTo>
                    <a:pt x="24" y="31"/>
                  </a:lnTo>
                  <a:lnTo>
                    <a:pt x="21" y="29"/>
                  </a:lnTo>
                  <a:lnTo>
                    <a:pt x="21" y="26"/>
                  </a:lnTo>
                  <a:lnTo>
                    <a:pt x="21" y="26"/>
                  </a:lnTo>
                  <a:lnTo>
                    <a:pt x="21" y="24"/>
                  </a:lnTo>
                  <a:lnTo>
                    <a:pt x="21" y="21"/>
                  </a:lnTo>
                  <a:lnTo>
                    <a:pt x="21" y="21"/>
                  </a:lnTo>
                  <a:lnTo>
                    <a:pt x="21" y="21"/>
                  </a:lnTo>
                  <a:lnTo>
                    <a:pt x="21" y="19"/>
                  </a:lnTo>
                  <a:lnTo>
                    <a:pt x="21" y="17"/>
                  </a:lnTo>
                  <a:lnTo>
                    <a:pt x="24" y="17"/>
                  </a:lnTo>
                  <a:lnTo>
                    <a:pt x="24" y="14"/>
                  </a:lnTo>
                  <a:lnTo>
                    <a:pt x="24" y="12"/>
                  </a:lnTo>
                  <a:lnTo>
                    <a:pt x="21" y="10"/>
                  </a:lnTo>
                  <a:lnTo>
                    <a:pt x="21" y="10"/>
                  </a:lnTo>
                  <a:lnTo>
                    <a:pt x="19" y="7"/>
                  </a:lnTo>
                  <a:lnTo>
                    <a:pt x="19" y="7"/>
                  </a:lnTo>
                  <a:lnTo>
                    <a:pt x="17" y="7"/>
                  </a:lnTo>
                  <a:lnTo>
                    <a:pt x="17" y="5"/>
                  </a:lnTo>
                  <a:lnTo>
                    <a:pt x="14" y="3"/>
                  </a:lnTo>
                  <a:lnTo>
                    <a:pt x="14" y="3"/>
                  </a:lnTo>
                  <a:lnTo>
                    <a:pt x="14" y="3"/>
                  </a:lnTo>
                  <a:lnTo>
                    <a:pt x="12" y="3"/>
                  </a:lnTo>
                  <a:lnTo>
                    <a:pt x="9" y="3"/>
                  </a:lnTo>
                  <a:lnTo>
                    <a:pt x="9" y="3"/>
                  </a:lnTo>
                  <a:lnTo>
                    <a:pt x="9" y="3"/>
                  </a:lnTo>
                  <a:lnTo>
                    <a:pt x="7" y="3"/>
                  </a:lnTo>
                  <a:lnTo>
                    <a:pt x="7" y="0"/>
                  </a:lnTo>
                  <a:lnTo>
                    <a:pt x="7" y="0"/>
                  </a:lnTo>
                  <a:lnTo>
                    <a:pt x="7" y="0"/>
                  </a:lnTo>
                  <a:lnTo>
                    <a:pt x="7" y="0"/>
                  </a:lnTo>
                  <a:lnTo>
                    <a:pt x="5" y="3"/>
                  </a:lnTo>
                  <a:lnTo>
                    <a:pt x="5" y="3"/>
                  </a:lnTo>
                  <a:lnTo>
                    <a:pt x="2" y="5"/>
                  </a:lnTo>
                  <a:lnTo>
                    <a:pt x="2" y="7"/>
                  </a:lnTo>
                  <a:lnTo>
                    <a:pt x="2" y="7"/>
                  </a:lnTo>
                  <a:lnTo>
                    <a:pt x="0" y="10"/>
                  </a:lnTo>
                  <a:lnTo>
                    <a:pt x="2" y="10"/>
                  </a:lnTo>
                  <a:lnTo>
                    <a:pt x="2" y="12"/>
                  </a:lnTo>
                  <a:lnTo>
                    <a:pt x="2" y="12"/>
                  </a:lnTo>
                  <a:lnTo>
                    <a:pt x="2" y="14"/>
                  </a:lnTo>
                  <a:lnTo>
                    <a:pt x="2" y="14"/>
                  </a:lnTo>
                  <a:lnTo>
                    <a:pt x="2" y="17"/>
                  </a:lnTo>
                  <a:lnTo>
                    <a:pt x="5" y="17"/>
                  </a:lnTo>
                  <a:lnTo>
                    <a:pt x="5" y="17"/>
                  </a:lnTo>
                  <a:lnTo>
                    <a:pt x="7" y="21"/>
                  </a:lnTo>
                  <a:lnTo>
                    <a:pt x="5" y="21"/>
                  </a:lnTo>
                  <a:lnTo>
                    <a:pt x="5" y="21"/>
                  </a:lnTo>
                  <a:lnTo>
                    <a:pt x="5" y="26"/>
                  </a:lnTo>
                  <a:lnTo>
                    <a:pt x="5" y="26"/>
                  </a:lnTo>
                  <a:lnTo>
                    <a:pt x="5" y="29"/>
                  </a:lnTo>
                  <a:lnTo>
                    <a:pt x="5" y="31"/>
                  </a:lnTo>
                  <a:lnTo>
                    <a:pt x="5" y="36"/>
                  </a:lnTo>
                  <a:lnTo>
                    <a:pt x="2" y="38"/>
                  </a:lnTo>
                  <a:lnTo>
                    <a:pt x="2" y="40"/>
                  </a:lnTo>
                  <a:lnTo>
                    <a:pt x="2" y="43"/>
                  </a:lnTo>
                  <a:lnTo>
                    <a:pt x="5" y="45"/>
                  </a:lnTo>
                  <a:lnTo>
                    <a:pt x="5" y="45"/>
                  </a:lnTo>
                  <a:lnTo>
                    <a:pt x="5" y="47"/>
                  </a:lnTo>
                  <a:lnTo>
                    <a:pt x="5" y="47"/>
                  </a:lnTo>
                  <a:lnTo>
                    <a:pt x="2" y="45"/>
                  </a:lnTo>
                  <a:lnTo>
                    <a:pt x="2" y="45"/>
                  </a:lnTo>
                  <a:lnTo>
                    <a:pt x="2" y="47"/>
                  </a:lnTo>
                  <a:lnTo>
                    <a:pt x="5" y="50"/>
                  </a:lnTo>
                  <a:lnTo>
                    <a:pt x="5" y="50"/>
                  </a:lnTo>
                  <a:lnTo>
                    <a:pt x="12" y="55"/>
                  </a:lnTo>
                  <a:lnTo>
                    <a:pt x="14" y="55"/>
                  </a:lnTo>
                  <a:lnTo>
                    <a:pt x="14" y="57"/>
                  </a:lnTo>
                  <a:lnTo>
                    <a:pt x="14" y="59"/>
                  </a:lnTo>
                  <a:lnTo>
                    <a:pt x="14" y="59"/>
                  </a:lnTo>
                  <a:lnTo>
                    <a:pt x="17" y="59"/>
                  </a:lnTo>
                  <a:lnTo>
                    <a:pt x="17" y="59"/>
                  </a:lnTo>
                  <a:lnTo>
                    <a:pt x="19" y="59"/>
                  </a:lnTo>
                  <a:lnTo>
                    <a:pt x="19" y="59"/>
                  </a:lnTo>
                  <a:lnTo>
                    <a:pt x="19" y="59"/>
                  </a:lnTo>
                  <a:lnTo>
                    <a:pt x="19" y="59"/>
                  </a:lnTo>
                  <a:lnTo>
                    <a:pt x="19" y="57"/>
                  </a:lnTo>
                  <a:lnTo>
                    <a:pt x="19" y="57"/>
                  </a:lnTo>
                  <a:lnTo>
                    <a:pt x="21" y="57"/>
                  </a:lnTo>
                  <a:lnTo>
                    <a:pt x="21" y="57"/>
                  </a:lnTo>
                  <a:lnTo>
                    <a:pt x="21" y="57"/>
                  </a:lnTo>
                  <a:lnTo>
                    <a:pt x="21" y="55"/>
                  </a:lnTo>
                  <a:lnTo>
                    <a:pt x="19" y="55"/>
                  </a:lnTo>
                  <a:lnTo>
                    <a:pt x="19" y="55"/>
                  </a:lnTo>
                  <a:lnTo>
                    <a:pt x="21" y="52"/>
                  </a:lnTo>
                  <a:lnTo>
                    <a:pt x="21" y="55"/>
                  </a:lnTo>
                  <a:lnTo>
                    <a:pt x="21" y="55"/>
                  </a:lnTo>
                  <a:lnTo>
                    <a:pt x="21" y="52"/>
                  </a:lnTo>
                  <a:lnTo>
                    <a:pt x="24" y="52"/>
                  </a:lnTo>
                  <a:lnTo>
                    <a:pt x="26" y="52"/>
                  </a:lnTo>
                  <a:lnTo>
                    <a:pt x="26" y="52"/>
                  </a:lnTo>
                  <a:lnTo>
                    <a:pt x="26" y="52"/>
                  </a:lnTo>
                  <a:lnTo>
                    <a:pt x="26" y="50"/>
                  </a:lnTo>
                  <a:lnTo>
                    <a:pt x="26" y="47"/>
                  </a:lnTo>
                  <a:lnTo>
                    <a:pt x="26" y="47"/>
                  </a:lnTo>
                  <a:lnTo>
                    <a:pt x="28" y="47"/>
                  </a:lnTo>
                  <a:lnTo>
                    <a:pt x="28" y="45"/>
                  </a:lnTo>
                  <a:lnTo>
                    <a:pt x="28" y="45"/>
                  </a:lnTo>
                  <a:lnTo>
                    <a:pt x="31" y="45"/>
                  </a:lnTo>
                  <a:lnTo>
                    <a:pt x="31" y="43"/>
                  </a:lnTo>
                  <a:lnTo>
                    <a:pt x="31" y="43"/>
                  </a:lnTo>
                  <a:lnTo>
                    <a:pt x="31" y="40"/>
                  </a:lnTo>
                  <a:close/>
                </a:path>
              </a:pathLst>
            </a:custGeom>
            <a:grpFill/>
            <a:ln w="31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3" name="Freeform 399"/>
            <p:cNvSpPr>
              <a:spLocks/>
            </p:cNvSpPr>
            <p:nvPr userDrawn="1"/>
          </p:nvSpPr>
          <p:spPr bwMode="auto">
            <a:xfrm>
              <a:off x="4728" y="1994"/>
              <a:ext cx="238" cy="194"/>
            </a:xfrm>
            <a:custGeom>
              <a:avLst/>
              <a:gdLst>
                <a:gd name="T0" fmla="*/ 228 w 238"/>
                <a:gd name="T1" fmla="*/ 24 h 194"/>
                <a:gd name="T2" fmla="*/ 216 w 238"/>
                <a:gd name="T3" fmla="*/ 26 h 194"/>
                <a:gd name="T4" fmla="*/ 216 w 238"/>
                <a:gd name="T5" fmla="*/ 22 h 194"/>
                <a:gd name="T6" fmla="*/ 200 w 238"/>
                <a:gd name="T7" fmla="*/ 31 h 194"/>
                <a:gd name="T8" fmla="*/ 183 w 238"/>
                <a:gd name="T9" fmla="*/ 38 h 194"/>
                <a:gd name="T10" fmla="*/ 179 w 238"/>
                <a:gd name="T11" fmla="*/ 14 h 194"/>
                <a:gd name="T12" fmla="*/ 172 w 238"/>
                <a:gd name="T13" fmla="*/ 12 h 194"/>
                <a:gd name="T14" fmla="*/ 160 w 238"/>
                <a:gd name="T15" fmla="*/ 3 h 194"/>
                <a:gd name="T16" fmla="*/ 155 w 238"/>
                <a:gd name="T17" fmla="*/ 14 h 194"/>
                <a:gd name="T18" fmla="*/ 148 w 238"/>
                <a:gd name="T19" fmla="*/ 19 h 194"/>
                <a:gd name="T20" fmla="*/ 143 w 238"/>
                <a:gd name="T21" fmla="*/ 29 h 194"/>
                <a:gd name="T22" fmla="*/ 134 w 238"/>
                <a:gd name="T23" fmla="*/ 24 h 194"/>
                <a:gd name="T24" fmla="*/ 129 w 238"/>
                <a:gd name="T25" fmla="*/ 26 h 194"/>
                <a:gd name="T26" fmla="*/ 122 w 238"/>
                <a:gd name="T27" fmla="*/ 33 h 194"/>
                <a:gd name="T28" fmla="*/ 113 w 238"/>
                <a:gd name="T29" fmla="*/ 26 h 194"/>
                <a:gd name="T30" fmla="*/ 99 w 238"/>
                <a:gd name="T31" fmla="*/ 24 h 194"/>
                <a:gd name="T32" fmla="*/ 77 w 238"/>
                <a:gd name="T33" fmla="*/ 19 h 194"/>
                <a:gd name="T34" fmla="*/ 66 w 238"/>
                <a:gd name="T35" fmla="*/ 29 h 194"/>
                <a:gd name="T36" fmla="*/ 61 w 238"/>
                <a:gd name="T37" fmla="*/ 45 h 194"/>
                <a:gd name="T38" fmla="*/ 54 w 238"/>
                <a:gd name="T39" fmla="*/ 52 h 194"/>
                <a:gd name="T40" fmla="*/ 40 w 238"/>
                <a:gd name="T41" fmla="*/ 57 h 194"/>
                <a:gd name="T42" fmla="*/ 40 w 238"/>
                <a:gd name="T43" fmla="*/ 66 h 194"/>
                <a:gd name="T44" fmla="*/ 30 w 238"/>
                <a:gd name="T45" fmla="*/ 69 h 194"/>
                <a:gd name="T46" fmla="*/ 21 w 238"/>
                <a:gd name="T47" fmla="*/ 64 h 194"/>
                <a:gd name="T48" fmla="*/ 9 w 238"/>
                <a:gd name="T49" fmla="*/ 62 h 194"/>
                <a:gd name="T50" fmla="*/ 7 w 238"/>
                <a:gd name="T51" fmla="*/ 69 h 194"/>
                <a:gd name="T52" fmla="*/ 7 w 238"/>
                <a:gd name="T53" fmla="*/ 76 h 194"/>
                <a:gd name="T54" fmla="*/ 4 w 238"/>
                <a:gd name="T55" fmla="*/ 83 h 194"/>
                <a:gd name="T56" fmla="*/ 4 w 238"/>
                <a:gd name="T57" fmla="*/ 88 h 194"/>
                <a:gd name="T58" fmla="*/ 2 w 238"/>
                <a:gd name="T59" fmla="*/ 104 h 194"/>
                <a:gd name="T60" fmla="*/ 7 w 238"/>
                <a:gd name="T61" fmla="*/ 109 h 194"/>
                <a:gd name="T62" fmla="*/ 11 w 238"/>
                <a:gd name="T63" fmla="*/ 133 h 194"/>
                <a:gd name="T64" fmla="*/ 14 w 238"/>
                <a:gd name="T65" fmla="*/ 149 h 194"/>
                <a:gd name="T66" fmla="*/ 33 w 238"/>
                <a:gd name="T67" fmla="*/ 163 h 194"/>
                <a:gd name="T68" fmla="*/ 42 w 238"/>
                <a:gd name="T69" fmla="*/ 189 h 194"/>
                <a:gd name="T70" fmla="*/ 80 w 238"/>
                <a:gd name="T71" fmla="*/ 192 h 194"/>
                <a:gd name="T72" fmla="*/ 96 w 238"/>
                <a:gd name="T73" fmla="*/ 189 h 194"/>
                <a:gd name="T74" fmla="*/ 117 w 238"/>
                <a:gd name="T75" fmla="*/ 182 h 194"/>
                <a:gd name="T76" fmla="*/ 115 w 238"/>
                <a:gd name="T77" fmla="*/ 168 h 194"/>
                <a:gd name="T78" fmla="*/ 120 w 238"/>
                <a:gd name="T79" fmla="*/ 156 h 194"/>
                <a:gd name="T80" fmla="*/ 136 w 238"/>
                <a:gd name="T81" fmla="*/ 154 h 194"/>
                <a:gd name="T82" fmla="*/ 134 w 238"/>
                <a:gd name="T83" fmla="*/ 147 h 194"/>
                <a:gd name="T84" fmla="*/ 148 w 238"/>
                <a:gd name="T85" fmla="*/ 145 h 194"/>
                <a:gd name="T86" fmla="*/ 158 w 238"/>
                <a:gd name="T87" fmla="*/ 145 h 194"/>
                <a:gd name="T88" fmla="*/ 162 w 238"/>
                <a:gd name="T89" fmla="*/ 126 h 194"/>
                <a:gd name="T90" fmla="*/ 169 w 238"/>
                <a:gd name="T91" fmla="*/ 114 h 194"/>
                <a:gd name="T92" fmla="*/ 165 w 238"/>
                <a:gd name="T93" fmla="*/ 97 h 194"/>
                <a:gd name="T94" fmla="*/ 183 w 238"/>
                <a:gd name="T95" fmla="*/ 97 h 194"/>
                <a:gd name="T96" fmla="*/ 183 w 238"/>
                <a:gd name="T97" fmla="*/ 85 h 194"/>
                <a:gd name="T98" fmla="*/ 188 w 238"/>
                <a:gd name="T99" fmla="*/ 76 h 194"/>
                <a:gd name="T100" fmla="*/ 191 w 238"/>
                <a:gd name="T101" fmla="*/ 69 h 194"/>
                <a:gd name="T102" fmla="*/ 188 w 238"/>
                <a:gd name="T103" fmla="*/ 62 h 194"/>
                <a:gd name="T104" fmla="*/ 181 w 238"/>
                <a:gd name="T105" fmla="*/ 50 h 194"/>
                <a:gd name="T106" fmla="*/ 188 w 238"/>
                <a:gd name="T107" fmla="*/ 43 h 194"/>
                <a:gd name="T108" fmla="*/ 200 w 238"/>
                <a:gd name="T109" fmla="*/ 36 h 194"/>
                <a:gd name="T110" fmla="*/ 221 w 238"/>
                <a:gd name="T111" fmla="*/ 33 h 194"/>
                <a:gd name="T112" fmla="*/ 233 w 238"/>
                <a:gd name="T113" fmla="*/ 31 h 194"/>
                <a:gd name="T114" fmla="*/ 235 w 238"/>
                <a:gd name="T115" fmla="*/ 2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194">
                  <a:moveTo>
                    <a:pt x="238" y="26"/>
                  </a:moveTo>
                  <a:lnTo>
                    <a:pt x="238" y="26"/>
                  </a:lnTo>
                  <a:lnTo>
                    <a:pt x="235" y="24"/>
                  </a:lnTo>
                  <a:lnTo>
                    <a:pt x="233" y="24"/>
                  </a:lnTo>
                  <a:lnTo>
                    <a:pt x="231" y="24"/>
                  </a:lnTo>
                  <a:lnTo>
                    <a:pt x="231" y="24"/>
                  </a:lnTo>
                  <a:lnTo>
                    <a:pt x="228" y="24"/>
                  </a:lnTo>
                  <a:lnTo>
                    <a:pt x="226" y="24"/>
                  </a:lnTo>
                  <a:lnTo>
                    <a:pt x="226" y="24"/>
                  </a:lnTo>
                  <a:lnTo>
                    <a:pt x="226" y="24"/>
                  </a:lnTo>
                  <a:lnTo>
                    <a:pt x="224" y="24"/>
                  </a:lnTo>
                  <a:lnTo>
                    <a:pt x="221" y="26"/>
                  </a:lnTo>
                  <a:lnTo>
                    <a:pt x="219" y="26"/>
                  </a:lnTo>
                  <a:lnTo>
                    <a:pt x="216" y="26"/>
                  </a:lnTo>
                  <a:lnTo>
                    <a:pt x="216" y="26"/>
                  </a:lnTo>
                  <a:lnTo>
                    <a:pt x="216" y="26"/>
                  </a:lnTo>
                  <a:lnTo>
                    <a:pt x="219" y="24"/>
                  </a:lnTo>
                  <a:lnTo>
                    <a:pt x="219" y="24"/>
                  </a:lnTo>
                  <a:lnTo>
                    <a:pt x="216" y="24"/>
                  </a:lnTo>
                  <a:lnTo>
                    <a:pt x="216" y="22"/>
                  </a:lnTo>
                  <a:lnTo>
                    <a:pt x="216" y="22"/>
                  </a:lnTo>
                  <a:lnTo>
                    <a:pt x="214" y="22"/>
                  </a:lnTo>
                  <a:lnTo>
                    <a:pt x="214" y="22"/>
                  </a:lnTo>
                  <a:lnTo>
                    <a:pt x="212" y="22"/>
                  </a:lnTo>
                  <a:lnTo>
                    <a:pt x="209" y="24"/>
                  </a:lnTo>
                  <a:lnTo>
                    <a:pt x="205" y="26"/>
                  </a:lnTo>
                  <a:lnTo>
                    <a:pt x="202" y="29"/>
                  </a:lnTo>
                  <a:lnTo>
                    <a:pt x="200" y="31"/>
                  </a:lnTo>
                  <a:lnTo>
                    <a:pt x="195" y="33"/>
                  </a:lnTo>
                  <a:lnTo>
                    <a:pt x="193" y="33"/>
                  </a:lnTo>
                  <a:lnTo>
                    <a:pt x="191" y="36"/>
                  </a:lnTo>
                  <a:lnTo>
                    <a:pt x="188" y="38"/>
                  </a:lnTo>
                  <a:lnTo>
                    <a:pt x="186" y="38"/>
                  </a:lnTo>
                  <a:lnTo>
                    <a:pt x="186" y="38"/>
                  </a:lnTo>
                  <a:lnTo>
                    <a:pt x="183" y="38"/>
                  </a:lnTo>
                  <a:lnTo>
                    <a:pt x="181" y="36"/>
                  </a:lnTo>
                  <a:lnTo>
                    <a:pt x="181" y="31"/>
                  </a:lnTo>
                  <a:lnTo>
                    <a:pt x="179" y="29"/>
                  </a:lnTo>
                  <a:lnTo>
                    <a:pt x="179" y="26"/>
                  </a:lnTo>
                  <a:lnTo>
                    <a:pt x="179" y="22"/>
                  </a:lnTo>
                  <a:lnTo>
                    <a:pt x="179" y="19"/>
                  </a:lnTo>
                  <a:lnTo>
                    <a:pt x="179" y="14"/>
                  </a:lnTo>
                  <a:lnTo>
                    <a:pt x="179" y="14"/>
                  </a:lnTo>
                  <a:lnTo>
                    <a:pt x="179" y="12"/>
                  </a:lnTo>
                  <a:lnTo>
                    <a:pt x="176" y="12"/>
                  </a:lnTo>
                  <a:lnTo>
                    <a:pt x="176" y="12"/>
                  </a:lnTo>
                  <a:lnTo>
                    <a:pt x="174" y="12"/>
                  </a:lnTo>
                  <a:lnTo>
                    <a:pt x="174" y="12"/>
                  </a:lnTo>
                  <a:lnTo>
                    <a:pt x="172" y="12"/>
                  </a:lnTo>
                  <a:lnTo>
                    <a:pt x="172" y="10"/>
                  </a:lnTo>
                  <a:lnTo>
                    <a:pt x="172" y="7"/>
                  </a:lnTo>
                  <a:lnTo>
                    <a:pt x="169" y="5"/>
                  </a:lnTo>
                  <a:lnTo>
                    <a:pt x="167" y="3"/>
                  </a:lnTo>
                  <a:lnTo>
                    <a:pt x="162" y="0"/>
                  </a:lnTo>
                  <a:lnTo>
                    <a:pt x="160" y="0"/>
                  </a:lnTo>
                  <a:lnTo>
                    <a:pt x="160" y="3"/>
                  </a:lnTo>
                  <a:lnTo>
                    <a:pt x="158" y="7"/>
                  </a:lnTo>
                  <a:lnTo>
                    <a:pt x="158" y="10"/>
                  </a:lnTo>
                  <a:lnTo>
                    <a:pt x="155" y="10"/>
                  </a:lnTo>
                  <a:lnTo>
                    <a:pt x="155" y="12"/>
                  </a:lnTo>
                  <a:lnTo>
                    <a:pt x="155" y="12"/>
                  </a:lnTo>
                  <a:lnTo>
                    <a:pt x="155" y="12"/>
                  </a:lnTo>
                  <a:lnTo>
                    <a:pt x="155" y="14"/>
                  </a:lnTo>
                  <a:lnTo>
                    <a:pt x="155" y="17"/>
                  </a:lnTo>
                  <a:lnTo>
                    <a:pt x="155" y="19"/>
                  </a:lnTo>
                  <a:lnTo>
                    <a:pt x="155" y="19"/>
                  </a:lnTo>
                  <a:lnTo>
                    <a:pt x="153" y="19"/>
                  </a:lnTo>
                  <a:lnTo>
                    <a:pt x="153" y="19"/>
                  </a:lnTo>
                  <a:lnTo>
                    <a:pt x="150" y="19"/>
                  </a:lnTo>
                  <a:lnTo>
                    <a:pt x="148" y="19"/>
                  </a:lnTo>
                  <a:lnTo>
                    <a:pt x="146" y="19"/>
                  </a:lnTo>
                  <a:lnTo>
                    <a:pt x="143" y="19"/>
                  </a:lnTo>
                  <a:lnTo>
                    <a:pt x="143" y="22"/>
                  </a:lnTo>
                  <a:lnTo>
                    <a:pt x="143" y="24"/>
                  </a:lnTo>
                  <a:lnTo>
                    <a:pt x="143" y="26"/>
                  </a:lnTo>
                  <a:lnTo>
                    <a:pt x="143" y="26"/>
                  </a:lnTo>
                  <a:lnTo>
                    <a:pt x="143" y="29"/>
                  </a:lnTo>
                  <a:lnTo>
                    <a:pt x="141" y="29"/>
                  </a:lnTo>
                  <a:lnTo>
                    <a:pt x="141" y="29"/>
                  </a:lnTo>
                  <a:lnTo>
                    <a:pt x="139" y="29"/>
                  </a:lnTo>
                  <a:lnTo>
                    <a:pt x="136" y="26"/>
                  </a:lnTo>
                  <a:lnTo>
                    <a:pt x="136" y="24"/>
                  </a:lnTo>
                  <a:lnTo>
                    <a:pt x="134" y="24"/>
                  </a:lnTo>
                  <a:lnTo>
                    <a:pt x="134" y="24"/>
                  </a:lnTo>
                  <a:lnTo>
                    <a:pt x="134" y="24"/>
                  </a:lnTo>
                  <a:lnTo>
                    <a:pt x="134" y="26"/>
                  </a:lnTo>
                  <a:lnTo>
                    <a:pt x="134" y="26"/>
                  </a:lnTo>
                  <a:lnTo>
                    <a:pt x="132" y="26"/>
                  </a:lnTo>
                  <a:lnTo>
                    <a:pt x="132" y="26"/>
                  </a:lnTo>
                  <a:lnTo>
                    <a:pt x="132" y="26"/>
                  </a:lnTo>
                  <a:lnTo>
                    <a:pt x="129" y="26"/>
                  </a:lnTo>
                  <a:lnTo>
                    <a:pt x="129" y="29"/>
                  </a:lnTo>
                  <a:lnTo>
                    <a:pt x="127" y="29"/>
                  </a:lnTo>
                  <a:lnTo>
                    <a:pt x="125" y="31"/>
                  </a:lnTo>
                  <a:lnTo>
                    <a:pt x="125" y="31"/>
                  </a:lnTo>
                  <a:lnTo>
                    <a:pt x="125" y="31"/>
                  </a:lnTo>
                  <a:lnTo>
                    <a:pt x="125" y="31"/>
                  </a:lnTo>
                  <a:lnTo>
                    <a:pt x="122" y="33"/>
                  </a:lnTo>
                  <a:lnTo>
                    <a:pt x="120" y="33"/>
                  </a:lnTo>
                  <a:lnTo>
                    <a:pt x="117" y="31"/>
                  </a:lnTo>
                  <a:lnTo>
                    <a:pt x="115" y="29"/>
                  </a:lnTo>
                  <a:lnTo>
                    <a:pt x="115" y="29"/>
                  </a:lnTo>
                  <a:lnTo>
                    <a:pt x="115" y="29"/>
                  </a:lnTo>
                  <a:lnTo>
                    <a:pt x="113" y="26"/>
                  </a:lnTo>
                  <a:lnTo>
                    <a:pt x="113" y="26"/>
                  </a:lnTo>
                  <a:lnTo>
                    <a:pt x="110" y="26"/>
                  </a:lnTo>
                  <a:lnTo>
                    <a:pt x="110" y="26"/>
                  </a:lnTo>
                  <a:lnTo>
                    <a:pt x="108" y="26"/>
                  </a:lnTo>
                  <a:lnTo>
                    <a:pt x="108" y="26"/>
                  </a:lnTo>
                  <a:lnTo>
                    <a:pt x="106" y="26"/>
                  </a:lnTo>
                  <a:lnTo>
                    <a:pt x="103" y="24"/>
                  </a:lnTo>
                  <a:lnTo>
                    <a:pt x="99" y="24"/>
                  </a:lnTo>
                  <a:lnTo>
                    <a:pt x="94" y="24"/>
                  </a:lnTo>
                  <a:lnTo>
                    <a:pt x="92" y="24"/>
                  </a:lnTo>
                  <a:lnTo>
                    <a:pt x="89" y="24"/>
                  </a:lnTo>
                  <a:lnTo>
                    <a:pt x="84" y="24"/>
                  </a:lnTo>
                  <a:lnTo>
                    <a:pt x="82" y="22"/>
                  </a:lnTo>
                  <a:lnTo>
                    <a:pt x="80" y="19"/>
                  </a:lnTo>
                  <a:lnTo>
                    <a:pt x="77" y="19"/>
                  </a:lnTo>
                  <a:lnTo>
                    <a:pt x="77" y="22"/>
                  </a:lnTo>
                  <a:lnTo>
                    <a:pt x="77" y="22"/>
                  </a:lnTo>
                  <a:lnTo>
                    <a:pt x="77" y="24"/>
                  </a:lnTo>
                  <a:lnTo>
                    <a:pt x="77" y="26"/>
                  </a:lnTo>
                  <a:lnTo>
                    <a:pt x="73" y="26"/>
                  </a:lnTo>
                  <a:lnTo>
                    <a:pt x="68" y="26"/>
                  </a:lnTo>
                  <a:lnTo>
                    <a:pt x="66" y="29"/>
                  </a:lnTo>
                  <a:lnTo>
                    <a:pt x="63" y="29"/>
                  </a:lnTo>
                  <a:lnTo>
                    <a:pt x="63" y="31"/>
                  </a:lnTo>
                  <a:lnTo>
                    <a:pt x="63" y="33"/>
                  </a:lnTo>
                  <a:lnTo>
                    <a:pt x="63" y="38"/>
                  </a:lnTo>
                  <a:lnTo>
                    <a:pt x="63" y="40"/>
                  </a:lnTo>
                  <a:lnTo>
                    <a:pt x="63" y="45"/>
                  </a:lnTo>
                  <a:lnTo>
                    <a:pt x="61" y="45"/>
                  </a:lnTo>
                  <a:lnTo>
                    <a:pt x="61" y="48"/>
                  </a:lnTo>
                  <a:lnTo>
                    <a:pt x="56" y="50"/>
                  </a:lnTo>
                  <a:lnTo>
                    <a:pt x="56" y="50"/>
                  </a:lnTo>
                  <a:lnTo>
                    <a:pt x="56" y="52"/>
                  </a:lnTo>
                  <a:lnTo>
                    <a:pt x="56" y="52"/>
                  </a:lnTo>
                  <a:lnTo>
                    <a:pt x="54" y="52"/>
                  </a:lnTo>
                  <a:lnTo>
                    <a:pt x="54" y="52"/>
                  </a:lnTo>
                  <a:lnTo>
                    <a:pt x="51" y="52"/>
                  </a:lnTo>
                  <a:lnTo>
                    <a:pt x="49" y="55"/>
                  </a:lnTo>
                  <a:lnTo>
                    <a:pt x="47" y="55"/>
                  </a:lnTo>
                  <a:lnTo>
                    <a:pt x="42" y="57"/>
                  </a:lnTo>
                  <a:lnTo>
                    <a:pt x="40" y="57"/>
                  </a:lnTo>
                  <a:lnTo>
                    <a:pt x="40" y="57"/>
                  </a:lnTo>
                  <a:lnTo>
                    <a:pt x="40" y="57"/>
                  </a:lnTo>
                  <a:lnTo>
                    <a:pt x="40" y="59"/>
                  </a:lnTo>
                  <a:lnTo>
                    <a:pt x="40" y="59"/>
                  </a:lnTo>
                  <a:lnTo>
                    <a:pt x="42" y="59"/>
                  </a:lnTo>
                  <a:lnTo>
                    <a:pt x="40" y="62"/>
                  </a:lnTo>
                  <a:lnTo>
                    <a:pt x="40" y="62"/>
                  </a:lnTo>
                  <a:lnTo>
                    <a:pt x="40" y="66"/>
                  </a:lnTo>
                  <a:lnTo>
                    <a:pt x="40" y="66"/>
                  </a:lnTo>
                  <a:lnTo>
                    <a:pt x="37" y="66"/>
                  </a:lnTo>
                  <a:lnTo>
                    <a:pt x="35" y="69"/>
                  </a:lnTo>
                  <a:lnTo>
                    <a:pt x="35" y="69"/>
                  </a:lnTo>
                  <a:lnTo>
                    <a:pt x="33" y="69"/>
                  </a:lnTo>
                  <a:lnTo>
                    <a:pt x="33" y="69"/>
                  </a:lnTo>
                  <a:lnTo>
                    <a:pt x="30" y="69"/>
                  </a:lnTo>
                  <a:lnTo>
                    <a:pt x="30" y="69"/>
                  </a:lnTo>
                  <a:lnTo>
                    <a:pt x="28" y="71"/>
                  </a:lnTo>
                  <a:lnTo>
                    <a:pt x="28" y="71"/>
                  </a:lnTo>
                  <a:lnTo>
                    <a:pt x="26" y="69"/>
                  </a:lnTo>
                  <a:lnTo>
                    <a:pt x="26" y="69"/>
                  </a:lnTo>
                  <a:lnTo>
                    <a:pt x="23" y="66"/>
                  </a:lnTo>
                  <a:lnTo>
                    <a:pt x="21" y="66"/>
                  </a:lnTo>
                  <a:lnTo>
                    <a:pt x="21" y="64"/>
                  </a:lnTo>
                  <a:lnTo>
                    <a:pt x="18" y="66"/>
                  </a:lnTo>
                  <a:lnTo>
                    <a:pt x="16" y="66"/>
                  </a:lnTo>
                  <a:lnTo>
                    <a:pt x="16" y="66"/>
                  </a:lnTo>
                  <a:lnTo>
                    <a:pt x="14" y="64"/>
                  </a:lnTo>
                  <a:lnTo>
                    <a:pt x="11" y="64"/>
                  </a:lnTo>
                  <a:lnTo>
                    <a:pt x="9" y="62"/>
                  </a:lnTo>
                  <a:lnTo>
                    <a:pt x="9" y="62"/>
                  </a:lnTo>
                  <a:lnTo>
                    <a:pt x="9" y="62"/>
                  </a:lnTo>
                  <a:lnTo>
                    <a:pt x="9" y="64"/>
                  </a:lnTo>
                  <a:lnTo>
                    <a:pt x="9" y="64"/>
                  </a:lnTo>
                  <a:lnTo>
                    <a:pt x="9" y="64"/>
                  </a:lnTo>
                  <a:lnTo>
                    <a:pt x="9" y="66"/>
                  </a:lnTo>
                  <a:lnTo>
                    <a:pt x="7" y="66"/>
                  </a:lnTo>
                  <a:lnTo>
                    <a:pt x="7" y="69"/>
                  </a:lnTo>
                  <a:lnTo>
                    <a:pt x="7" y="69"/>
                  </a:lnTo>
                  <a:lnTo>
                    <a:pt x="7" y="69"/>
                  </a:lnTo>
                  <a:lnTo>
                    <a:pt x="7" y="71"/>
                  </a:lnTo>
                  <a:lnTo>
                    <a:pt x="7" y="71"/>
                  </a:lnTo>
                  <a:lnTo>
                    <a:pt x="9" y="74"/>
                  </a:lnTo>
                  <a:lnTo>
                    <a:pt x="7" y="74"/>
                  </a:lnTo>
                  <a:lnTo>
                    <a:pt x="7" y="76"/>
                  </a:lnTo>
                  <a:lnTo>
                    <a:pt x="7" y="76"/>
                  </a:lnTo>
                  <a:lnTo>
                    <a:pt x="7" y="78"/>
                  </a:lnTo>
                  <a:lnTo>
                    <a:pt x="7" y="78"/>
                  </a:lnTo>
                  <a:lnTo>
                    <a:pt x="7" y="81"/>
                  </a:lnTo>
                  <a:lnTo>
                    <a:pt x="7" y="81"/>
                  </a:lnTo>
                  <a:lnTo>
                    <a:pt x="7" y="83"/>
                  </a:lnTo>
                  <a:lnTo>
                    <a:pt x="4" y="83"/>
                  </a:lnTo>
                  <a:lnTo>
                    <a:pt x="4" y="83"/>
                  </a:lnTo>
                  <a:lnTo>
                    <a:pt x="4" y="85"/>
                  </a:lnTo>
                  <a:lnTo>
                    <a:pt x="2" y="85"/>
                  </a:lnTo>
                  <a:lnTo>
                    <a:pt x="2" y="85"/>
                  </a:lnTo>
                  <a:lnTo>
                    <a:pt x="2" y="85"/>
                  </a:lnTo>
                  <a:lnTo>
                    <a:pt x="4" y="85"/>
                  </a:lnTo>
                  <a:lnTo>
                    <a:pt x="4" y="88"/>
                  </a:lnTo>
                  <a:lnTo>
                    <a:pt x="7" y="90"/>
                  </a:lnTo>
                  <a:lnTo>
                    <a:pt x="2" y="90"/>
                  </a:lnTo>
                  <a:lnTo>
                    <a:pt x="2" y="93"/>
                  </a:lnTo>
                  <a:lnTo>
                    <a:pt x="0" y="95"/>
                  </a:lnTo>
                  <a:lnTo>
                    <a:pt x="2" y="100"/>
                  </a:lnTo>
                  <a:lnTo>
                    <a:pt x="2" y="102"/>
                  </a:lnTo>
                  <a:lnTo>
                    <a:pt x="2" y="104"/>
                  </a:lnTo>
                  <a:lnTo>
                    <a:pt x="2" y="104"/>
                  </a:lnTo>
                  <a:lnTo>
                    <a:pt x="4" y="104"/>
                  </a:lnTo>
                  <a:lnTo>
                    <a:pt x="7" y="104"/>
                  </a:lnTo>
                  <a:lnTo>
                    <a:pt x="9" y="107"/>
                  </a:lnTo>
                  <a:lnTo>
                    <a:pt x="9" y="107"/>
                  </a:lnTo>
                  <a:lnTo>
                    <a:pt x="9" y="107"/>
                  </a:lnTo>
                  <a:lnTo>
                    <a:pt x="7" y="109"/>
                  </a:lnTo>
                  <a:lnTo>
                    <a:pt x="7" y="111"/>
                  </a:lnTo>
                  <a:lnTo>
                    <a:pt x="4" y="114"/>
                  </a:lnTo>
                  <a:lnTo>
                    <a:pt x="4" y="116"/>
                  </a:lnTo>
                  <a:lnTo>
                    <a:pt x="4" y="119"/>
                  </a:lnTo>
                  <a:lnTo>
                    <a:pt x="7" y="121"/>
                  </a:lnTo>
                  <a:lnTo>
                    <a:pt x="9" y="126"/>
                  </a:lnTo>
                  <a:lnTo>
                    <a:pt x="11" y="133"/>
                  </a:lnTo>
                  <a:lnTo>
                    <a:pt x="11" y="135"/>
                  </a:lnTo>
                  <a:lnTo>
                    <a:pt x="11" y="140"/>
                  </a:lnTo>
                  <a:lnTo>
                    <a:pt x="11" y="140"/>
                  </a:lnTo>
                  <a:lnTo>
                    <a:pt x="14" y="145"/>
                  </a:lnTo>
                  <a:lnTo>
                    <a:pt x="14" y="145"/>
                  </a:lnTo>
                  <a:lnTo>
                    <a:pt x="14" y="149"/>
                  </a:lnTo>
                  <a:lnTo>
                    <a:pt x="14" y="149"/>
                  </a:lnTo>
                  <a:lnTo>
                    <a:pt x="18" y="149"/>
                  </a:lnTo>
                  <a:lnTo>
                    <a:pt x="23" y="152"/>
                  </a:lnTo>
                  <a:lnTo>
                    <a:pt x="30" y="152"/>
                  </a:lnTo>
                  <a:lnTo>
                    <a:pt x="30" y="154"/>
                  </a:lnTo>
                  <a:lnTo>
                    <a:pt x="33" y="159"/>
                  </a:lnTo>
                  <a:lnTo>
                    <a:pt x="33" y="161"/>
                  </a:lnTo>
                  <a:lnTo>
                    <a:pt x="33" y="163"/>
                  </a:lnTo>
                  <a:lnTo>
                    <a:pt x="30" y="168"/>
                  </a:lnTo>
                  <a:lnTo>
                    <a:pt x="26" y="173"/>
                  </a:lnTo>
                  <a:lnTo>
                    <a:pt x="23" y="178"/>
                  </a:lnTo>
                  <a:lnTo>
                    <a:pt x="18" y="182"/>
                  </a:lnTo>
                  <a:lnTo>
                    <a:pt x="26" y="185"/>
                  </a:lnTo>
                  <a:lnTo>
                    <a:pt x="33" y="187"/>
                  </a:lnTo>
                  <a:lnTo>
                    <a:pt x="42" y="189"/>
                  </a:lnTo>
                  <a:lnTo>
                    <a:pt x="47" y="192"/>
                  </a:lnTo>
                  <a:lnTo>
                    <a:pt x="49" y="192"/>
                  </a:lnTo>
                  <a:lnTo>
                    <a:pt x="68" y="192"/>
                  </a:lnTo>
                  <a:lnTo>
                    <a:pt x="77" y="192"/>
                  </a:lnTo>
                  <a:lnTo>
                    <a:pt x="80" y="194"/>
                  </a:lnTo>
                  <a:lnTo>
                    <a:pt x="80" y="192"/>
                  </a:lnTo>
                  <a:lnTo>
                    <a:pt x="80" y="192"/>
                  </a:lnTo>
                  <a:lnTo>
                    <a:pt x="82" y="192"/>
                  </a:lnTo>
                  <a:lnTo>
                    <a:pt x="84" y="189"/>
                  </a:lnTo>
                  <a:lnTo>
                    <a:pt x="87" y="189"/>
                  </a:lnTo>
                  <a:lnTo>
                    <a:pt x="89" y="189"/>
                  </a:lnTo>
                  <a:lnTo>
                    <a:pt x="92" y="189"/>
                  </a:lnTo>
                  <a:lnTo>
                    <a:pt x="94" y="189"/>
                  </a:lnTo>
                  <a:lnTo>
                    <a:pt x="96" y="189"/>
                  </a:lnTo>
                  <a:lnTo>
                    <a:pt x="99" y="189"/>
                  </a:lnTo>
                  <a:lnTo>
                    <a:pt x="103" y="187"/>
                  </a:lnTo>
                  <a:lnTo>
                    <a:pt x="106" y="187"/>
                  </a:lnTo>
                  <a:lnTo>
                    <a:pt x="110" y="185"/>
                  </a:lnTo>
                  <a:lnTo>
                    <a:pt x="115" y="185"/>
                  </a:lnTo>
                  <a:lnTo>
                    <a:pt x="115" y="182"/>
                  </a:lnTo>
                  <a:lnTo>
                    <a:pt x="117" y="182"/>
                  </a:lnTo>
                  <a:lnTo>
                    <a:pt x="117" y="180"/>
                  </a:lnTo>
                  <a:lnTo>
                    <a:pt x="115" y="180"/>
                  </a:lnTo>
                  <a:lnTo>
                    <a:pt x="115" y="178"/>
                  </a:lnTo>
                  <a:lnTo>
                    <a:pt x="115" y="175"/>
                  </a:lnTo>
                  <a:lnTo>
                    <a:pt x="115" y="173"/>
                  </a:lnTo>
                  <a:lnTo>
                    <a:pt x="115" y="171"/>
                  </a:lnTo>
                  <a:lnTo>
                    <a:pt x="115" y="168"/>
                  </a:lnTo>
                  <a:lnTo>
                    <a:pt x="115" y="163"/>
                  </a:lnTo>
                  <a:lnTo>
                    <a:pt x="115" y="161"/>
                  </a:lnTo>
                  <a:lnTo>
                    <a:pt x="117" y="161"/>
                  </a:lnTo>
                  <a:lnTo>
                    <a:pt x="117" y="159"/>
                  </a:lnTo>
                  <a:lnTo>
                    <a:pt x="117" y="159"/>
                  </a:lnTo>
                  <a:lnTo>
                    <a:pt x="120" y="159"/>
                  </a:lnTo>
                  <a:lnTo>
                    <a:pt x="120" y="156"/>
                  </a:lnTo>
                  <a:lnTo>
                    <a:pt x="122" y="154"/>
                  </a:lnTo>
                  <a:lnTo>
                    <a:pt x="122" y="154"/>
                  </a:lnTo>
                  <a:lnTo>
                    <a:pt x="125" y="154"/>
                  </a:lnTo>
                  <a:lnTo>
                    <a:pt x="127" y="154"/>
                  </a:lnTo>
                  <a:lnTo>
                    <a:pt x="129" y="154"/>
                  </a:lnTo>
                  <a:lnTo>
                    <a:pt x="134" y="154"/>
                  </a:lnTo>
                  <a:lnTo>
                    <a:pt x="136" y="154"/>
                  </a:lnTo>
                  <a:lnTo>
                    <a:pt x="136" y="154"/>
                  </a:lnTo>
                  <a:lnTo>
                    <a:pt x="139" y="152"/>
                  </a:lnTo>
                  <a:lnTo>
                    <a:pt x="136" y="152"/>
                  </a:lnTo>
                  <a:lnTo>
                    <a:pt x="136" y="152"/>
                  </a:lnTo>
                  <a:lnTo>
                    <a:pt x="134" y="149"/>
                  </a:lnTo>
                  <a:lnTo>
                    <a:pt x="134" y="149"/>
                  </a:lnTo>
                  <a:lnTo>
                    <a:pt x="134" y="147"/>
                  </a:lnTo>
                  <a:lnTo>
                    <a:pt x="136" y="147"/>
                  </a:lnTo>
                  <a:lnTo>
                    <a:pt x="141" y="145"/>
                  </a:lnTo>
                  <a:lnTo>
                    <a:pt x="143" y="145"/>
                  </a:lnTo>
                  <a:lnTo>
                    <a:pt x="143" y="142"/>
                  </a:lnTo>
                  <a:lnTo>
                    <a:pt x="143" y="142"/>
                  </a:lnTo>
                  <a:lnTo>
                    <a:pt x="146" y="142"/>
                  </a:lnTo>
                  <a:lnTo>
                    <a:pt x="148" y="145"/>
                  </a:lnTo>
                  <a:lnTo>
                    <a:pt x="150" y="142"/>
                  </a:lnTo>
                  <a:lnTo>
                    <a:pt x="150" y="142"/>
                  </a:lnTo>
                  <a:lnTo>
                    <a:pt x="153" y="145"/>
                  </a:lnTo>
                  <a:lnTo>
                    <a:pt x="153" y="145"/>
                  </a:lnTo>
                  <a:lnTo>
                    <a:pt x="155" y="147"/>
                  </a:lnTo>
                  <a:lnTo>
                    <a:pt x="158" y="147"/>
                  </a:lnTo>
                  <a:lnTo>
                    <a:pt x="158" y="145"/>
                  </a:lnTo>
                  <a:lnTo>
                    <a:pt x="160" y="145"/>
                  </a:lnTo>
                  <a:lnTo>
                    <a:pt x="162" y="142"/>
                  </a:lnTo>
                  <a:lnTo>
                    <a:pt x="162" y="140"/>
                  </a:lnTo>
                  <a:lnTo>
                    <a:pt x="162" y="133"/>
                  </a:lnTo>
                  <a:lnTo>
                    <a:pt x="160" y="130"/>
                  </a:lnTo>
                  <a:lnTo>
                    <a:pt x="160" y="128"/>
                  </a:lnTo>
                  <a:lnTo>
                    <a:pt x="162" y="126"/>
                  </a:lnTo>
                  <a:lnTo>
                    <a:pt x="162" y="123"/>
                  </a:lnTo>
                  <a:lnTo>
                    <a:pt x="162" y="123"/>
                  </a:lnTo>
                  <a:lnTo>
                    <a:pt x="162" y="121"/>
                  </a:lnTo>
                  <a:lnTo>
                    <a:pt x="162" y="116"/>
                  </a:lnTo>
                  <a:lnTo>
                    <a:pt x="165" y="116"/>
                  </a:lnTo>
                  <a:lnTo>
                    <a:pt x="167" y="116"/>
                  </a:lnTo>
                  <a:lnTo>
                    <a:pt x="169" y="114"/>
                  </a:lnTo>
                  <a:lnTo>
                    <a:pt x="172" y="114"/>
                  </a:lnTo>
                  <a:lnTo>
                    <a:pt x="174" y="111"/>
                  </a:lnTo>
                  <a:lnTo>
                    <a:pt x="174" y="109"/>
                  </a:lnTo>
                  <a:lnTo>
                    <a:pt x="174" y="107"/>
                  </a:lnTo>
                  <a:lnTo>
                    <a:pt x="172" y="104"/>
                  </a:lnTo>
                  <a:lnTo>
                    <a:pt x="169" y="102"/>
                  </a:lnTo>
                  <a:lnTo>
                    <a:pt x="165" y="97"/>
                  </a:lnTo>
                  <a:lnTo>
                    <a:pt x="165" y="95"/>
                  </a:lnTo>
                  <a:lnTo>
                    <a:pt x="167" y="95"/>
                  </a:lnTo>
                  <a:lnTo>
                    <a:pt x="172" y="97"/>
                  </a:lnTo>
                  <a:lnTo>
                    <a:pt x="174" y="97"/>
                  </a:lnTo>
                  <a:lnTo>
                    <a:pt x="174" y="97"/>
                  </a:lnTo>
                  <a:lnTo>
                    <a:pt x="179" y="97"/>
                  </a:lnTo>
                  <a:lnTo>
                    <a:pt x="183" y="97"/>
                  </a:lnTo>
                  <a:lnTo>
                    <a:pt x="186" y="95"/>
                  </a:lnTo>
                  <a:lnTo>
                    <a:pt x="186" y="93"/>
                  </a:lnTo>
                  <a:lnTo>
                    <a:pt x="186" y="93"/>
                  </a:lnTo>
                  <a:lnTo>
                    <a:pt x="186" y="90"/>
                  </a:lnTo>
                  <a:lnTo>
                    <a:pt x="186" y="88"/>
                  </a:lnTo>
                  <a:lnTo>
                    <a:pt x="183" y="88"/>
                  </a:lnTo>
                  <a:lnTo>
                    <a:pt x="183" y="85"/>
                  </a:lnTo>
                  <a:lnTo>
                    <a:pt x="183" y="85"/>
                  </a:lnTo>
                  <a:lnTo>
                    <a:pt x="183" y="85"/>
                  </a:lnTo>
                  <a:lnTo>
                    <a:pt x="183" y="83"/>
                  </a:lnTo>
                  <a:lnTo>
                    <a:pt x="183" y="81"/>
                  </a:lnTo>
                  <a:lnTo>
                    <a:pt x="186" y="81"/>
                  </a:lnTo>
                  <a:lnTo>
                    <a:pt x="186" y="78"/>
                  </a:lnTo>
                  <a:lnTo>
                    <a:pt x="188" y="76"/>
                  </a:lnTo>
                  <a:lnTo>
                    <a:pt x="188" y="76"/>
                  </a:lnTo>
                  <a:lnTo>
                    <a:pt x="191" y="74"/>
                  </a:lnTo>
                  <a:lnTo>
                    <a:pt x="191" y="74"/>
                  </a:lnTo>
                  <a:lnTo>
                    <a:pt x="191" y="71"/>
                  </a:lnTo>
                  <a:lnTo>
                    <a:pt x="191" y="71"/>
                  </a:lnTo>
                  <a:lnTo>
                    <a:pt x="191" y="71"/>
                  </a:lnTo>
                  <a:lnTo>
                    <a:pt x="191" y="69"/>
                  </a:lnTo>
                  <a:lnTo>
                    <a:pt x="188" y="69"/>
                  </a:lnTo>
                  <a:lnTo>
                    <a:pt x="188" y="69"/>
                  </a:lnTo>
                  <a:lnTo>
                    <a:pt x="191" y="66"/>
                  </a:lnTo>
                  <a:lnTo>
                    <a:pt x="191" y="66"/>
                  </a:lnTo>
                  <a:lnTo>
                    <a:pt x="188" y="64"/>
                  </a:lnTo>
                  <a:lnTo>
                    <a:pt x="188" y="64"/>
                  </a:lnTo>
                  <a:lnTo>
                    <a:pt x="188" y="62"/>
                  </a:lnTo>
                  <a:lnTo>
                    <a:pt x="186" y="59"/>
                  </a:lnTo>
                  <a:lnTo>
                    <a:pt x="186" y="57"/>
                  </a:lnTo>
                  <a:lnTo>
                    <a:pt x="183" y="57"/>
                  </a:lnTo>
                  <a:lnTo>
                    <a:pt x="183" y="55"/>
                  </a:lnTo>
                  <a:lnTo>
                    <a:pt x="181" y="52"/>
                  </a:lnTo>
                  <a:lnTo>
                    <a:pt x="179" y="52"/>
                  </a:lnTo>
                  <a:lnTo>
                    <a:pt x="181" y="50"/>
                  </a:lnTo>
                  <a:lnTo>
                    <a:pt x="181" y="50"/>
                  </a:lnTo>
                  <a:lnTo>
                    <a:pt x="183" y="48"/>
                  </a:lnTo>
                  <a:lnTo>
                    <a:pt x="183" y="45"/>
                  </a:lnTo>
                  <a:lnTo>
                    <a:pt x="186" y="45"/>
                  </a:lnTo>
                  <a:lnTo>
                    <a:pt x="188" y="45"/>
                  </a:lnTo>
                  <a:lnTo>
                    <a:pt x="188" y="45"/>
                  </a:lnTo>
                  <a:lnTo>
                    <a:pt x="188" y="43"/>
                  </a:lnTo>
                  <a:lnTo>
                    <a:pt x="191" y="43"/>
                  </a:lnTo>
                  <a:lnTo>
                    <a:pt x="193" y="40"/>
                  </a:lnTo>
                  <a:lnTo>
                    <a:pt x="193" y="38"/>
                  </a:lnTo>
                  <a:lnTo>
                    <a:pt x="195" y="38"/>
                  </a:lnTo>
                  <a:lnTo>
                    <a:pt x="195" y="38"/>
                  </a:lnTo>
                  <a:lnTo>
                    <a:pt x="198" y="38"/>
                  </a:lnTo>
                  <a:lnTo>
                    <a:pt x="200" y="36"/>
                  </a:lnTo>
                  <a:lnTo>
                    <a:pt x="200" y="36"/>
                  </a:lnTo>
                  <a:lnTo>
                    <a:pt x="205" y="36"/>
                  </a:lnTo>
                  <a:lnTo>
                    <a:pt x="207" y="36"/>
                  </a:lnTo>
                  <a:lnTo>
                    <a:pt x="209" y="36"/>
                  </a:lnTo>
                  <a:lnTo>
                    <a:pt x="214" y="33"/>
                  </a:lnTo>
                  <a:lnTo>
                    <a:pt x="221" y="33"/>
                  </a:lnTo>
                  <a:lnTo>
                    <a:pt x="221" y="33"/>
                  </a:lnTo>
                  <a:lnTo>
                    <a:pt x="224" y="36"/>
                  </a:lnTo>
                  <a:lnTo>
                    <a:pt x="226" y="36"/>
                  </a:lnTo>
                  <a:lnTo>
                    <a:pt x="226" y="36"/>
                  </a:lnTo>
                  <a:lnTo>
                    <a:pt x="228" y="33"/>
                  </a:lnTo>
                  <a:lnTo>
                    <a:pt x="233" y="33"/>
                  </a:lnTo>
                  <a:lnTo>
                    <a:pt x="233" y="31"/>
                  </a:lnTo>
                  <a:lnTo>
                    <a:pt x="233" y="31"/>
                  </a:lnTo>
                  <a:lnTo>
                    <a:pt x="233" y="31"/>
                  </a:lnTo>
                  <a:lnTo>
                    <a:pt x="231" y="29"/>
                  </a:lnTo>
                  <a:lnTo>
                    <a:pt x="231" y="29"/>
                  </a:lnTo>
                  <a:lnTo>
                    <a:pt x="233" y="26"/>
                  </a:lnTo>
                  <a:lnTo>
                    <a:pt x="235" y="26"/>
                  </a:lnTo>
                  <a:lnTo>
                    <a:pt x="235" y="26"/>
                  </a:lnTo>
                  <a:lnTo>
                    <a:pt x="235" y="26"/>
                  </a:lnTo>
                  <a:lnTo>
                    <a:pt x="235" y="26"/>
                  </a:lnTo>
                  <a:lnTo>
                    <a:pt x="238" y="26"/>
                  </a:lnTo>
                  <a:lnTo>
                    <a:pt x="238" y="26"/>
                  </a:lnTo>
                  <a:lnTo>
                    <a:pt x="23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02"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03"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204" name="Rectangle 203"/>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16815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04"/>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esk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0"/>
            <a:ext cx="11734801" cy="502920"/>
          </a:xfrm>
        </p:spPr>
        <p:txBody>
          <a:bodyPr/>
          <a:lstStyle/>
          <a:p>
            <a:r>
              <a:rPr lang="en-US"/>
              <a:t>Title of slide (Desktop)</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5" name="Rectangle 8"/>
          <p:cNvSpPr>
            <a:spLocks noChangeArrowheads="1"/>
          </p:cNvSpPr>
          <p:nvPr userDrawn="1"/>
        </p:nvSpPr>
        <p:spPr bwMode="auto">
          <a:xfrm>
            <a:off x="850543" y="2035805"/>
            <a:ext cx="5087408" cy="31434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57" name="Picture Placeholder 56"/>
          <p:cNvSpPr>
            <a:spLocks noGrp="1"/>
          </p:cNvSpPr>
          <p:nvPr userDrawn="1">
            <p:ph type="pic" sz="quarter" idx="11"/>
          </p:nvPr>
        </p:nvSpPr>
        <p:spPr>
          <a:xfrm>
            <a:off x="605472" y="2034780"/>
            <a:ext cx="5084064" cy="3145536"/>
          </a:xfrm>
          <a:noFill/>
        </p:spPr>
        <p:txBody>
          <a:bodyPr tIns="137160"/>
          <a:lstStyle>
            <a:lvl1pPr>
              <a:defRPr>
                <a:solidFill>
                  <a:schemeClr val="tx2"/>
                </a:solidFill>
              </a:defRPr>
            </a:lvl1pPr>
          </a:lstStyle>
          <a:p>
            <a:endParaRPr lang="en-US"/>
          </a:p>
        </p:txBody>
      </p:sp>
      <p:sp>
        <p:nvSpPr>
          <p:cNvPr id="10" name="Text Placeholder 6"/>
          <p:cNvSpPr>
            <a:spLocks noGrp="1"/>
          </p:cNvSpPr>
          <p:nvPr>
            <p:ph type="body" sz="quarter" idx="15" hasCustomPrompt="1"/>
          </p:nvPr>
        </p:nvSpPr>
        <p:spPr>
          <a:xfrm>
            <a:off x="6183022" y="1825624"/>
            <a:ext cx="5538276" cy="4183290"/>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84356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Lap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801" cy="502920"/>
          </a:xfrm>
        </p:spPr>
        <p:txBody>
          <a:bodyPr/>
          <a:lstStyle>
            <a:lvl1pPr>
              <a:defRPr/>
            </a:lvl1pPr>
          </a:lstStyle>
          <a:p>
            <a:r>
              <a:rPr lang="en-US"/>
              <a:t>Title of slide (Laptop)</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5" name="Rectangle 8"/>
          <p:cNvSpPr>
            <a:spLocks noChangeArrowheads="1"/>
          </p:cNvSpPr>
          <p:nvPr userDrawn="1"/>
        </p:nvSpPr>
        <p:spPr bwMode="auto">
          <a:xfrm>
            <a:off x="914981" y="1999488"/>
            <a:ext cx="5087408" cy="31434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7" name="Picture Placeholder 17"/>
          <p:cNvSpPr>
            <a:spLocks noGrp="1"/>
          </p:cNvSpPr>
          <p:nvPr>
            <p:ph type="pic" sz="quarter" idx="13"/>
          </p:nvPr>
        </p:nvSpPr>
        <p:spPr>
          <a:xfrm>
            <a:off x="1300985" y="1999489"/>
            <a:ext cx="4541750" cy="2646394"/>
          </a:xfrm>
          <a:noFill/>
        </p:spPr>
      </p:sp>
      <p:sp>
        <p:nvSpPr>
          <p:cNvPr id="29" name="Text Placeholder 6"/>
          <p:cNvSpPr>
            <a:spLocks noGrp="1"/>
          </p:cNvSpPr>
          <p:nvPr>
            <p:ph type="body" sz="quarter" idx="15" hasCustomPrompt="1"/>
          </p:nvPr>
        </p:nvSpPr>
        <p:spPr>
          <a:xfrm>
            <a:off x="6183022" y="1825624"/>
            <a:ext cx="5538276" cy="4183290"/>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9"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0" name="Rectangle 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81660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Mob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801" cy="502920"/>
          </a:xfrm>
        </p:spPr>
        <p:txBody>
          <a:bodyPr/>
          <a:lstStyle>
            <a:lvl1pPr>
              <a:defRPr/>
            </a:lvl1pPr>
          </a:lstStyle>
          <a:p>
            <a:r>
              <a:rPr lang="en-US"/>
              <a:t>Title of slide (Mobile)</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55" name="Rectangle 8"/>
          <p:cNvSpPr>
            <a:spLocks noChangeArrowheads="1"/>
          </p:cNvSpPr>
          <p:nvPr userDrawn="1"/>
        </p:nvSpPr>
        <p:spPr bwMode="auto">
          <a:xfrm>
            <a:off x="850543" y="2035805"/>
            <a:ext cx="5087408" cy="31434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Picture Placeholder 56"/>
          <p:cNvSpPr>
            <a:spLocks noGrp="1"/>
          </p:cNvSpPr>
          <p:nvPr>
            <p:ph type="pic" sz="quarter" idx="11"/>
          </p:nvPr>
        </p:nvSpPr>
        <p:spPr>
          <a:xfrm>
            <a:off x="603229" y="2386014"/>
            <a:ext cx="1833835" cy="2974975"/>
          </a:xfrm>
          <a:noFill/>
        </p:spPr>
        <p:txBody>
          <a:bodyPr tIns="137160"/>
          <a:lstStyle>
            <a:lvl1pPr>
              <a:defRPr>
                <a:solidFill>
                  <a:schemeClr val="tx2"/>
                </a:solidFill>
              </a:defRPr>
            </a:lvl1pPr>
          </a:lstStyle>
          <a:p>
            <a:endParaRPr lang="en-US"/>
          </a:p>
        </p:txBody>
      </p:sp>
      <p:sp>
        <p:nvSpPr>
          <p:cNvPr id="9" name="Text Placeholder 6"/>
          <p:cNvSpPr>
            <a:spLocks noGrp="1"/>
          </p:cNvSpPr>
          <p:nvPr>
            <p:ph type="body" sz="quarter" idx="15" hasCustomPrompt="1"/>
          </p:nvPr>
        </p:nvSpPr>
        <p:spPr>
          <a:xfrm>
            <a:off x="2873830" y="1825624"/>
            <a:ext cx="9089571" cy="4183290"/>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88255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sp>
        <p:nvSpPr>
          <p:cNvPr id="35" name="AutoShape 15"/>
          <p:cNvSpPr>
            <a:spLocks noChangeAspect="1" noChangeArrowheads="1" noTextEdit="1"/>
          </p:cNvSpPr>
          <p:nvPr userDrawn="1"/>
        </p:nvSpPr>
        <p:spPr bwMode="auto">
          <a:xfrm>
            <a:off x="619126" y="1825626"/>
            <a:ext cx="5626100" cy="416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2" name="Title 1"/>
          <p:cNvSpPr>
            <a:spLocks noGrp="1"/>
          </p:cNvSpPr>
          <p:nvPr userDrawn="1">
            <p:ph type="title" hasCustomPrompt="1"/>
          </p:nvPr>
        </p:nvSpPr>
        <p:spPr>
          <a:xfrm>
            <a:off x="228600" y="228600"/>
            <a:ext cx="11734800" cy="502920"/>
          </a:xfrm>
        </p:spPr>
        <p:txBody>
          <a:bodyPr/>
          <a:lstStyle>
            <a:lvl1pPr>
              <a:defRPr>
                <a:solidFill>
                  <a:schemeClr val="accent1"/>
                </a:solidFill>
              </a:defRPr>
            </a:lvl1pPr>
          </a:lstStyle>
          <a:p>
            <a:r>
              <a:rPr lang="en-US"/>
              <a:t>Title of slide (Tablet)</a:t>
            </a:r>
          </a:p>
        </p:txBody>
      </p:sp>
      <p:sp>
        <p:nvSpPr>
          <p:cNvPr id="3" name="Slide Number Placeholder 2"/>
          <p:cNvSpPr>
            <a:spLocks noGrp="1"/>
          </p:cNvSpPr>
          <p:nvPr userDrawn="1">
            <p:ph type="sldNum" sz="quarter" idx="10"/>
          </p:nvPr>
        </p:nvSpPr>
        <p:spPr/>
        <p:txBody>
          <a:bodyPr/>
          <a:lstStyle/>
          <a:p>
            <a:fld id="{39E01B21-706C-4CF8-9DD5-E21775540E89}" type="slidenum">
              <a:rPr lang="en-US" smtClean="0"/>
              <a:pPr/>
              <a:t>‹#›</a:t>
            </a:fld>
            <a:endParaRPr lang="en-US"/>
          </a:p>
        </p:txBody>
      </p:sp>
      <p:sp>
        <p:nvSpPr>
          <p:cNvPr id="40" name="Picture Placeholder 56"/>
          <p:cNvSpPr>
            <a:spLocks noGrp="1"/>
          </p:cNvSpPr>
          <p:nvPr>
            <p:ph type="pic" sz="quarter" idx="11"/>
          </p:nvPr>
        </p:nvSpPr>
        <p:spPr>
          <a:xfrm>
            <a:off x="670577" y="2127316"/>
            <a:ext cx="4864608" cy="3502152"/>
          </a:xfrm>
          <a:noFill/>
        </p:spPr>
        <p:txBody>
          <a:bodyPr tIns="137160"/>
          <a:lstStyle>
            <a:lvl1pPr>
              <a:defRPr>
                <a:solidFill>
                  <a:schemeClr val="tx2"/>
                </a:solidFill>
              </a:defRPr>
            </a:lvl1pPr>
          </a:lstStyle>
          <a:p>
            <a:endParaRPr lang="en-US"/>
          </a:p>
        </p:txBody>
      </p:sp>
      <p:sp>
        <p:nvSpPr>
          <p:cNvPr id="9" name="Text Placeholder 6"/>
          <p:cNvSpPr>
            <a:spLocks noGrp="1"/>
          </p:cNvSpPr>
          <p:nvPr>
            <p:ph type="body" sz="quarter" idx="15" hasCustomPrompt="1"/>
          </p:nvPr>
        </p:nvSpPr>
        <p:spPr>
          <a:xfrm>
            <a:off x="6173582" y="1825624"/>
            <a:ext cx="5561221" cy="4162427"/>
          </a:xfrm>
        </p:spPr>
        <p:txBody>
          <a:bodyPr tIns="137160"/>
          <a:lstStyle>
            <a:lvl1pPr>
              <a:lnSpc>
                <a:spcPct val="100000"/>
              </a:lnSpc>
              <a:spcBef>
                <a:spcPts val="600"/>
              </a:spcBef>
              <a:spcAft>
                <a:spcPts val="0"/>
              </a:spcAft>
              <a:defRPr spc="-30" baseline="0">
                <a:solidFill>
                  <a:schemeClr val="tx2"/>
                </a:solidFill>
              </a:defRPr>
            </a:lvl1pPr>
            <a:lvl2pPr marL="731379" indent="-274267">
              <a:spcBef>
                <a:spcPts val="600"/>
              </a:spcBef>
              <a:buClr>
                <a:schemeClr val="tx2"/>
              </a:buClr>
              <a:buSzPct val="75000"/>
              <a:buFont typeface="Wingdings" panose="05000000000000000000" pitchFamily="2" charset="2"/>
              <a:buChar char="§"/>
              <a:defRPr/>
            </a:lvl2pPr>
          </a:lstStyle>
          <a:p>
            <a:pPr lvl="0"/>
            <a:r>
              <a:rPr lang="en-US"/>
              <a:t>Add content here</a:t>
            </a:r>
          </a:p>
          <a:p>
            <a:pPr lvl="1"/>
            <a:r>
              <a:rPr lang="en-US"/>
              <a:t>Sub content here</a:t>
            </a:r>
          </a:p>
          <a:p>
            <a:pPr lvl="0"/>
            <a:r>
              <a:rPr lang="en-US"/>
              <a:t>Try to use short phrases and keywords</a:t>
            </a:r>
          </a:p>
          <a:p>
            <a:pPr lvl="0"/>
            <a:r>
              <a:rPr lang="en-US"/>
              <a:t>Use speaker notes for longer explanations</a:t>
            </a:r>
          </a:p>
        </p:txBody>
      </p:sp>
      <p:sp>
        <p:nvSpPr>
          <p:cNvPr id="8"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0"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1" name="Rectangle 10"/>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29345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1"/>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vices">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228600" y="228601"/>
            <a:ext cx="11734800" cy="502920"/>
          </a:xfrm>
        </p:spPr>
        <p:txBody>
          <a:bodyPr/>
          <a:lstStyle>
            <a:lvl1pPr>
              <a:defRPr/>
            </a:lvl1pPr>
          </a:lstStyle>
          <a:p>
            <a:r>
              <a:rPr lang="en-US"/>
              <a:t>Title of slide (Devices)</a:t>
            </a:r>
          </a:p>
        </p:txBody>
      </p:sp>
      <p:sp>
        <p:nvSpPr>
          <p:cNvPr id="7" name="Text Placeholder 6"/>
          <p:cNvSpPr>
            <a:spLocks noGrp="1"/>
          </p:cNvSpPr>
          <p:nvPr>
            <p:ph type="body" sz="quarter" idx="13" hasCustomPrompt="1"/>
          </p:nvPr>
        </p:nvSpPr>
        <p:spPr>
          <a:xfrm>
            <a:off x="228601" y="5091290"/>
            <a:ext cx="11734801" cy="1185889"/>
          </a:xfrm>
        </p:spPr>
        <p:txBody>
          <a:bodyPr tIns="137160"/>
          <a:lstStyle>
            <a:lvl1pPr>
              <a:lnSpc>
                <a:spcPct val="100000"/>
              </a:lnSpc>
              <a:spcBef>
                <a:spcPts val="0"/>
              </a:spcBef>
              <a:spcAft>
                <a:spcPts val="800"/>
              </a:spcAft>
              <a:defRPr sz="1800" spc="0" baseline="0">
                <a:solidFill>
                  <a:schemeClr val="bg1"/>
                </a:solidFill>
                <a:latin typeface="Segoe UI" panose="020B0502040204020203" pitchFamily="34" charset="0"/>
                <a:cs typeface="Segoe UI" panose="020B0502040204020203" pitchFamily="34" charset="0"/>
              </a:defRPr>
            </a:lvl1pPr>
          </a:lstStyle>
          <a:p>
            <a:pPr lvl="0"/>
            <a:r>
              <a:rPr lang="en-US"/>
              <a:t>Add content here</a:t>
            </a:r>
          </a:p>
          <a:p>
            <a:pPr lvl="0"/>
            <a:r>
              <a:rPr lang="en-US"/>
              <a:t>Try to use short phrases and keywords</a:t>
            </a:r>
          </a:p>
          <a:p>
            <a:pPr lvl="0"/>
            <a:r>
              <a:rPr lang="en-US"/>
              <a:t>Use speaker notes for longer explanations</a:t>
            </a:r>
          </a:p>
        </p:txBody>
      </p:sp>
      <p:sp>
        <p:nvSpPr>
          <p:cNvPr id="86" name="Picture Placeholder 56"/>
          <p:cNvSpPr>
            <a:spLocks noGrp="1"/>
          </p:cNvSpPr>
          <p:nvPr>
            <p:ph type="pic" sz="quarter" idx="14" hasCustomPrompt="1"/>
          </p:nvPr>
        </p:nvSpPr>
        <p:spPr>
          <a:xfrm>
            <a:off x="4073570" y="1902728"/>
            <a:ext cx="3750608" cy="2318034"/>
          </a:xfrm>
          <a:noFill/>
        </p:spPr>
        <p:txBody>
          <a:bodyPr/>
          <a:lstStyle>
            <a:lvl1pPr>
              <a:defRPr>
                <a:solidFill>
                  <a:schemeClr val="tx2"/>
                </a:solidFill>
              </a:defRPr>
            </a:lvl1pPr>
          </a:lstStyle>
          <a:p>
            <a:r>
              <a:rPr lang="en-US"/>
              <a:t>                      </a:t>
            </a:r>
          </a:p>
        </p:txBody>
      </p:sp>
      <p:sp>
        <p:nvSpPr>
          <p:cNvPr id="87" name="Picture Placeholder 56"/>
          <p:cNvSpPr>
            <a:spLocks noGrp="1"/>
          </p:cNvSpPr>
          <p:nvPr>
            <p:ph type="pic" sz="quarter" idx="15" hasCustomPrompt="1"/>
          </p:nvPr>
        </p:nvSpPr>
        <p:spPr>
          <a:xfrm>
            <a:off x="1888018" y="3457190"/>
            <a:ext cx="1727622" cy="1240893"/>
          </a:xfrm>
          <a:noFill/>
        </p:spPr>
        <p:txBody>
          <a:bodyPr/>
          <a:lstStyle>
            <a:lvl1pPr>
              <a:defRPr>
                <a:solidFill>
                  <a:schemeClr val="tx2"/>
                </a:solidFill>
              </a:defRPr>
            </a:lvl1pPr>
          </a:lstStyle>
          <a:p>
            <a:r>
              <a:rPr lang="en-US"/>
              <a:t>                      </a:t>
            </a:r>
          </a:p>
        </p:txBody>
      </p:sp>
      <p:sp>
        <p:nvSpPr>
          <p:cNvPr id="88" name="Picture Placeholder 56"/>
          <p:cNvSpPr>
            <a:spLocks noGrp="1"/>
          </p:cNvSpPr>
          <p:nvPr>
            <p:ph type="pic" sz="quarter" idx="16" hasCustomPrompt="1"/>
          </p:nvPr>
        </p:nvSpPr>
        <p:spPr>
          <a:xfrm>
            <a:off x="8247018" y="3077838"/>
            <a:ext cx="2457911" cy="1432838"/>
          </a:xfrm>
          <a:noFill/>
        </p:spPr>
        <p:txBody>
          <a:bodyPr/>
          <a:lstStyle>
            <a:lvl1pPr>
              <a:defRPr>
                <a:solidFill>
                  <a:schemeClr val="tx2"/>
                </a:solidFill>
              </a:defRPr>
            </a:lvl1pPr>
          </a:lstStyle>
          <a:p>
            <a:r>
              <a:rPr lang="en-US"/>
              <a:t>                      </a:t>
            </a:r>
          </a:p>
        </p:txBody>
      </p:sp>
      <p:sp>
        <p:nvSpPr>
          <p:cNvPr id="89" name="Picture Placeholder 56"/>
          <p:cNvSpPr>
            <a:spLocks noGrp="1"/>
          </p:cNvSpPr>
          <p:nvPr>
            <p:ph type="pic" sz="quarter" idx="11" hasCustomPrompt="1"/>
          </p:nvPr>
        </p:nvSpPr>
        <p:spPr>
          <a:xfrm>
            <a:off x="1037560" y="3793905"/>
            <a:ext cx="521950" cy="844676"/>
          </a:xfrm>
          <a:noFill/>
        </p:spPr>
        <p:txBody>
          <a:bodyPr/>
          <a:lstStyle>
            <a:lvl1pPr>
              <a:defRPr>
                <a:solidFill>
                  <a:schemeClr val="tx2"/>
                </a:solidFill>
              </a:defRPr>
            </a:lvl1pPr>
          </a:lstStyle>
          <a:p>
            <a:r>
              <a:rPr lang="en-US"/>
              <a:t>                      </a:t>
            </a:r>
          </a:p>
        </p:txBody>
      </p:sp>
      <p:sp>
        <p:nvSpPr>
          <p:cNvPr id="24" name="Slide Number Placeholder 2"/>
          <p:cNvSpPr>
            <a:spLocks noGrp="1"/>
          </p:cNvSpPr>
          <p:nvPr>
            <p:ph type="sldNum" sz="quarter" idx="10"/>
          </p:nvPr>
        </p:nvSpPr>
        <p:spPr>
          <a:xfrm>
            <a:off x="11646695" y="6482096"/>
            <a:ext cx="316706" cy="200485"/>
          </a:xfrm>
        </p:spPr>
        <p:txBody>
          <a:bodyPr/>
          <a:lstStyle>
            <a:lvl1pPr>
              <a:defRPr>
                <a:solidFill>
                  <a:schemeClr val="bg1"/>
                </a:solidFill>
              </a:defRPr>
            </a:lvl1pPr>
          </a:lstStyle>
          <a:p>
            <a:fld id="{39E01B21-706C-4CF8-9DD5-E21775540E89}" type="slidenum">
              <a:rPr lang="en-US" smtClean="0"/>
              <a:pPr/>
              <a:t>‹#›</a:t>
            </a:fld>
            <a:endParaRPr lang="en-US"/>
          </a:p>
        </p:txBody>
      </p:sp>
      <p:sp>
        <p:nvSpPr>
          <p:cNvPr id="10"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1"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2" name="Rectangle 11"/>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408507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2"/>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Logo Deck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801" cy="502920"/>
          </a:xfrm>
        </p:spPr>
        <p:txBody>
          <a:bodyPr/>
          <a:lstStyle>
            <a:lvl1pPr>
              <a:defRPr baseline="0"/>
            </a:lvl1pPr>
          </a:lstStyle>
          <a:p>
            <a:r>
              <a:rPr lang="en-US"/>
              <a:t>Title of slide (Logo Deck 1)</a:t>
            </a:r>
          </a:p>
        </p:txBody>
      </p:sp>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7" name="Text Placeholder 6"/>
          <p:cNvSpPr>
            <a:spLocks noGrp="1"/>
          </p:cNvSpPr>
          <p:nvPr>
            <p:ph type="body" sz="quarter" idx="37" hasCustomPrompt="1"/>
          </p:nvPr>
        </p:nvSpPr>
        <p:spPr>
          <a:xfrm>
            <a:off x="228599" y="1825622"/>
            <a:ext cx="5796415" cy="1260624"/>
          </a:xfrm>
          <a:solidFill>
            <a:schemeClr val="accent1"/>
          </a:solidFill>
        </p:spPr>
        <p:txBody>
          <a:bodyPr rIns="1920240"/>
          <a:lstStyle>
            <a:lvl1pPr>
              <a:defRPr baseline="0">
                <a:solidFill>
                  <a:schemeClr val="bg1"/>
                </a:solidFill>
              </a:defRPr>
            </a:lvl1pPr>
          </a:lstStyle>
          <a:p>
            <a:pPr lvl="0"/>
            <a:r>
              <a:rPr lang="en-US"/>
              <a:t>Insert content</a:t>
            </a:r>
          </a:p>
        </p:txBody>
      </p:sp>
      <p:sp>
        <p:nvSpPr>
          <p:cNvPr id="37" name="Text Placeholder 6"/>
          <p:cNvSpPr>
            <a:spLocks noGrp="1"/>
          </p:cNvSpPr>
          <p:nvPr>
            <p:ph type="body" sz="quarter" idx="40" hasCustomPrompt="1"/>
          </p:nvPr>
        </p:nvSpPr>
        <p:spPr>
          <a:xfrm>
            <a:off x="6166986" y="1825622"/>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49" name="Text Placeholder 6"/>
          <p:cNvSpPr>
            <a:spLocks noGrp="1"/>
          </p:cNvSpPr>
          <p:nvPr userDrawn="1">
            <p:ph type="body" sz="quarter" idx="41" hasCustomPrompt="1"/>
          </p:nvPr>
        </p:nvSpPr>
        <p:spPr>
          <a:xfrm>
            <a:off x="228599" y="3228216"/>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50" name="Text Placeholder 6"/>
          <p:cNvSpPr>
            <a:spLocks noGrp="1"/>
          </p:cNvSpPr>
          <p:nvPr userDrawn="1">
            <p:ph type="body" sz="quarter" idx="42" hasCustomPrompt="1"/>
          </p:nvPr>
        </p:nvSpPr>
        <p:spPr>
          <a:xfrm>
            <a:off x="6166986" y="3228216"/>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51" name="Text Placeholder 6"/>
          <p:cNvSpPr>
            <a:spLocks noGrp="1"/>
          </p:cNvSpPr>
          <p:nvPr>
            <p:ph type="body" sz="quarter" idx="43" hasCustomPrompt="1"/>
          </p:nvPr>
        </p:nvSpPr>
        <p:spPr>
          <a:xfrm>
            <a:off x="228599" y="4630810"/>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52" name="Text Placeholder 6"/>
          <p:cNvSpPr>
            <a:spLocks noGrp="1"/>
          </p:cNvSpPr>
          <p:nvPr>
            <p:ph type="body" sz="quarter" idx="44" hasCustomPrompt="1"/>
          </p:nvPr>
        </p:nvSpPr>
        <p:spPr>
          <a:xfrm>
            <a:off x="6166986" y="4630810"/>
            <a:ext cx="5796414" cy="1260624"/>
          </a:xfrm>
          <a:solidFill>
            <a:schemeClr val="accent1"/>
          </a:solidFill>
        </p:spPr>
        <p:txBody>
          <a:bodyPr rIns="1920240"/>
          <a:lstStyle>
            <a:lvl1pPr>
              <a:defRPr>
                <a:solidFill>
                  <a:schemeClr val="bg1"/>
                </a:solidFill>
              </a:defRPr>
            </a:lvl1pPr>
          </a:lstStyle>
          <a:p>
            <a:pPr lvl="0"/>
            <a:r>
              <a:rPr lang="en-US"/>
              <a:t>Insert content</a:t>
            </a:r>
          </a:p>
        </p:txBody>
      </p:sp>
      <p:sp>
        <p:nvSpPr>
          <p:cNvPr id="11" name="Picture Placeholder 10"/>
          <p:cNvSpPr>
            <a:spLocks noGrp="1"/>
          </p:cNvSpPr>
          <p:nvPr>
            <p:ph type="pic" sz="quarter" idx="45" hasCustomPrompt="1"/>
          </p:nvPr>
        </p:nvSpPr>
        <p:spPr>
          <a:xfrm>
            <a:off x="4276589" y="2441722"/>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3" name="Picture Placeholder 10"/>
          <p:cNvSpPr>
            <a:spLocks noGrp="1"/>
          </p:cNvSpPr>
          <p:nvPr>
            <p:ph type="pic" sz="quarter" idx="46" hasCustomPrompt="1"/>
          </p:nvPr>
        </p:nvSpPr>
        <p:spPr>
          <a:xfrm>
            <a:off x="4276589" y="3844316"/>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4" name="Picture Placeholder 10"/>
          <p:cNvSpPr>
            <a:spLocks noGrp="1"/>
          </p:cNvSpPr>
          <p:nvPr>
            <p:ph type="pic" sz="quarter" idx="47" hasCustomPrompt="1"/>
          </p:nvPr>
        </p:nvSpPr>
        <p:spPr>
          <a:xfrm>
            <a:off x="4276589" y="5246910"/>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5" name="Picture Placeholder 10"/>
          <p:cNvSpPr>
            <a:spLocks noGrp="1"/>
          </p:cNvSpPr>
          <p:nvPr>
            <p:ph type="pic" sz="quarter" idx="48" hasCustomPrompt="1"/>
          </p:nvPr>
        </p:nvSpPr>
        <p:spPr>
          <a:xfrm>
            <a:off x="10214975" y="2441722"/>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6" name="Picture Placeholder 10"/>
          <p:cNvSpPr>
            <a:spLocks noGrp="1"/>
          </p:cNvSpPr>
          <p:nvPr>
            <p:ph type="pic" sz="quarter" idx="49" hasCustomPrompt="1"/>
          </p:nvPr>
        </p:nvSpPr>
        <p:spPr>
          <a:xfrm>
            <a:off x="10214975" y="3844316"/>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57" name="Picture Placeholder 10"/>
          <p:cNvSpPr>
            <a:spLocks noGrp="1"/>
          </p:cNvSpPr>
          <p:nvPr>
            <p:ph type="pic" sz="quarter" idx="50" hasCustomPrompt="1"/>
          </p:nvPr>
        </p:nvSpPr>
        <p:spPr>
          <a:xfrm>
            <a:off x="10214975" y="5246910"/>
            <a:ext cx="1659525" cy="549275"/>
          </a:xfrm>
          <a:noFill/>
        </p:spPr>
        <p:txBody>
          <a:bodyPr anchor="ctr" anchorCtr="0"/>
          <a:lstStyle>
            <a:lvl1pPr algn="ctr">
              <a:defRPr b="1">
                <a:solidFill>
                  <a:schemeClr val="bg1"/>
                </a:solidFill>
                <a:latin typeface="Segoe UI" panose="020B0502040204020203" pitchFamily="34" charset="0"/>
                <a:cs typeface="Segoe UI" panose="020B0502040204020203" pitchFamily="34" charset="0"/>
              </a:defRPr>
            </a:lvl1pPr>
          </a:lstStyle>
          <a:p>
            <a:r>
              <a:rPr lang="en-US"/>
              <a:t>Logo</a:t>
            </a:r>
          </a:p>
        </p:txBody>
      </p:sp>
      <p:sp>
        <p:nvSpPr>
          <p:cNvPr id="17" name="Text Placeholder 3"/>
          <p:cNvSpPr>
            <a:spLocks noGrp="1"/>
          </p:cNvSpPr>
          <p:nvPr>
            <p:ph type="body" sz="quarter" idx="51"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18" name="Text Placeholder 18"/>
          <p:cNvSpPr>
            <a:spLocks noGrp="1"/>
          </p:cNvSpPr>
          <p:nvPr>
            <p:ph type="body" sz="quarter" idx="38"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19" name="Rectangle 18"/>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1827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19"/>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ogo Deck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801" cy="502920"/>
          </a:xfrm>
        </p:spPr>
        <p:txBody>
          <a:bodyPr/>
          <a:lstStyle>
            <a:lvl1pPr>
              <a:defRPr baseline="0"/>
            </a:lvl1pPr>
          </a:lstStyle>
          <a:p>
            <a:r>
              <a:rPr lang="en-US"/>
              <a:t>Title of slide (Logo Deck 2)</a:t>
            </a:r>
          </a:p>
        </p:txBody>
      </p:sp>
      <p:sp>
        <p:nvSpPr>
          <p:cNvPr id="41" name="Picture Placeholder 40"/>
          <p:cNvSpPr>
            <a:spLocks noGrp="1"/>
          </p:cNvSpPr>
          <p:nvPr>
            <p:ph type="pic" sz="quarter" idx="11" hasCustomPrompt="1"/>
          </p:nvPr>
        </p:nvSpPr>
        <p:spPr>
          <a:xfrm>
            <a:off x="306982"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89" name="Picture Placeholder 40"/>
          <p:cNvSpPr>
            <a:spLocks noGrp="1"/>
          </p:cNvSpPr>
          <p:nvPr userDrawn="1">
            <p:ph type="pic" sz="quarter" idx="37" hasCustomPrompt="1"/>
          </p:nvPr>
        </p:nvSpPr>
        <p:spPr>
          <a:xfrm>
            <a:off x="306982"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0" name="Picture Placeholder 40"/>
          <p:cNvSpPr>
            <a:spLocks noGrp="1"/>
          </p:cNvSpPr>
          <p:nvPr userDrawn="1">
            <p:ph type="pic" sz="quarter" idx="38" hasCustomPrompt="1"/>
          </p:nvPr>
        </p:nvSpPr>
        <p:spPr>
          <a:xfrm>
            <a:off x="306982"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1" name="Picture Placeholder 40"/>
          <p:cNvSpPr>
            <a:spLocks noGrp="1"/>
          </p:cNvSpPr>
          <p:nvPr userDrawn="1">
            <p:ph type="pic" sz="quarter" idx="39" hasCustomPrompt="1"/>
          </p:nvPr>
        </p:nvSpPr>
        <p:spPr>
          <a:xfrm>
            <a:off x="306982"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6" name="Picture Placeholder 40"/>
          <p:cNvSpPr>
            <a:spLocks noGrp="1"/>
          </p:cNvSpPr>
          <p:nvPr userDrawn="1">
            <p:ph type="pic" sz="quarter" idx="40" hasCustomPrompt="1"/>
          </p:nvPr>
        </p:nvSpPr>
        <p:spPr>
          <a:xfrm>
            <a:off x="3288214"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7" name="Picture Placeholder 40"/>
          <p:cNvSpPr>
            <a:spLocks noGrp="1"/>
          </p:cNvSpPr>
          <p:nvPr userDrawn="1">
            <p:ph type="pic" sz="quarter" idx="41" hasCustomPrompt="1"/>
          </p:nvPr>
        </p:nvSpPr>
        <p:spPr>
          <a:xfrm>
            <a:off x="3288214"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8" name="Picture Placeholder 40"/>
          <p:cNvSpPr>
            <a:spLocks noGrp="1"/>
          </p:cNvSpPr>
          <p:nvPr userDrawn="1">
            <p:ph type="pic" sz="quarter" idx="42" hasCustomPrompt="1"/>
          </p:nvPr>
        </p:nvSpPr>
        <p:spPr>
          <a:xfrm>
            <a:off x="3288214"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39" name="Picture Placeholder 40"/>
          <p:cNvSpPr>
            <a:spLocks noGrp="1"/>
          </p:cNvSpPr>
          <p:nvPr userDrawn="1">
            <p:ph type="pic" sz="quarter" idx="43" hasCustomPrompt="1"/>
          </p:nvPr>
        </p:nvSpPr>
        <p:spPr>
          <a:xfrm>
            <a:off x="3288214"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0" name="Picture Placeholder 40"/>
          <p:cNvSpPr>
            <a:spLocks noGrp="1"/>
          </p:cNvSpPr>
          <p:nvPr userDrawn="1">
            <p:ph type="pic" sz="quarter" idx="44" hasCustomPrompt="1"/>
          </p:nvPr>
        </p:nvSpPr>
        <p:spPr>
          <a:xfrm>
            <a:off x="6269446"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1" name="Picture Placeholder 40"/>
          <p:cNvSpPr>
            <a:spLocks noGrp="1"/>
          </p:cNvSpPr>
          <p:nvPr userDrawn="1">
            <p:ph type="pic" sz="quarter" idx="45" hasCustomPrompt="1"/>
          </p:nvPr>
        </p:nvSpPr>
        <p:spPr>
          <a:xfrm>
            <a:off x="6269446"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2" name="Picture Placeholder 40"/>
          <p:cNvSpPr>
            <a:spLocks noGrp="1"/>
          </p:cNvSpPr>
          <p:nvPr userDrawn="1">
            <p:ph type="pic" sz="quarter" idx="46" hasCustomPrompt="1"/>
          </p:nvPr>
        </p:nvSpPr>
        <p:spPr>
          <a:xfrm>
            <a:off x="6269446"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3" name="Picture Placeholder 40"/>
          <p:cNvSpPr>
            <a:spLocks noGrp="1"/>
          </p:cNvSpPr>
          <p:nvPr userDrawn="1">
            <p:ph type="pic" sz="quarter" idx="47" hasCustomPrompt="1"/>
          </p:nvPr>
        </p:nvSpPr>
        <p:spPr>
          <a:xfrm>
            <a:off x="6269446"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4" name="Picture Placeholder 40"/>
          <p:cNvSpPr>
            <a:spLocks noGrp="1"/>
          </p:cNvSpPr>
          <p:nvPr userDrawn="1">
            <p:ph type="pic" sz="quarter" idx="48" hasCustomPrompt="1"/>
          </p:nvPr>
        </p:nvSpPr>
        <p:spPr>
          <a:xfrm>
            <a:off x="9250678" y="1958603"/>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5" name="Picture Placeholder 40"/>
          <p:cNvSpPr>
            <a:spLocks noGrp="1"/>
          </p:cNvSpPr>
          <p:nvPr userDrawn="1">
            <p:ph type="pic" sz="quarter" idx="49" hasCustomPrompt="1"/>
          </p:nvPr>
        </p:nvSpPr>
        <p:spPr>
          <a:xfrm>
            <a:off x="9250678" y="2968138"/>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6" name="Picture Placeholder 40"/>
          <p:cNvSpPr>
            <a:spLocks noGrp="1"/>
          </p:cNvSpPr>
          <p:nvPr userDrawn="1">
            <p:ph type="pic" sz="quarter" idx="50" hasCustomPrompt="1"/>
          </p:nvPr>
        </p:nvSpPr>
        <p:spPr>
          <a:xfrm>
            <a:off x="9250678" y="3977674"/>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47" name="Picture Placeholder 40"/>
          <p:cNvSpPr>
            <a:spLocks noGrp="1"/>
          </p:cNvSpPr>
          <p:nvPr userDrawn="1">
            <p:ph type="pic" sz="quarter" idx="51" hasCustomPrompt="1"/>
          </p:nvPr>
        </p:nvSpPr>
        <p:spPr>
          <a:xfrm>
            <a:off x="9250678" y="4987210"/>
            <a:ext cx="26517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42"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1" name="Text Placeholder 3"/>
          <p:cNvSpPr>
            <a:spLocks noGrp="1"/>
          </p:cNvSpPr>
          <p:nvPr>
            <p:ph type="body" sz="quarter" idx="52"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2" name="Text Placeholder 18"/>
          <p:cNvSpPr>
            <a:spLocks noGrp="1"/>
          </p:cNvSpPr>
          <p:nvPr>
            <p:ph type="body" sz="quarter" idx="53"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23" name="Rectangle 22"/>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201518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3"/>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Logo Deck 3">
    <p:spTree>
      <p:nvGrpSpPr>
        <p:cNvPr id="1" name=""/>
        <p:cNvGrpSpPr/>
        <p:nvPr/>
      </p:nvGrpSpPr>
      <p:grpSpPr>
        <a:xfrm>
          <a:off x="0" y="0"/>
          <a:ext cx="0" cy="0"/>
          <a:chOff x="0" y="0"/>
          <a:chExt cx="0" cy="0"/>
        </a:xfrm>
      </p:grpSpPr>
      <p:sp>
        <p:nvSpPr>
          <p:cNvPr id="58" name="Title 11"/>
          <p:cNvSpPr>
            <a:spLocks noGrp="1"/>
          </p:cNvSpPr>
          <p:nvPr>
            <p:ph type="title" hasCustomPrompt="1"/>
          </p:nvPr>
        </p:nvSpPr>
        <p:spPr>
          <a:xfrm>
            <a:off x="228600" y="228601"/>
            <a:ext cx="11734801" cy="502920"/>
          </a:xfrm>
        </p:spPr>
        <p:txBody>
          <a:bodyPr/>
          <a:lstStyle>
            <a:lvl1pPr>
              <a:defRPr baseline="0">
                <a:solidFill>
                  <a:schemeClr val="accent1"/>
                </a:solidFill>
              </a:defRPr>
            </a:lvl1pPr>
          </a:lstStyle>
          <a:p>
            <a:r>
              <a:rPr lang="en-US"/>
              <a:t>Title of slide (Logo Deck 3)</a:t>
            </a:r>
          </a:p>
        </p:txBody>
      </p:sp>
      <p:sp>
        <p:nvSpPr>
          <p:cNvPr id="59" name="Text Placeholder 6"/>
          <p:cNvSpPr>
            <a:spLocks noGrp="1"/>
          </p:cNvSpPr>
          <p:nvPr>
            <p:ph type="body" sz="quarter" idx="11" hasCustomPrompt="1"/>
          </p:nvPr>
        </p:nvSpPr>
        <p:spPr>
          <a:xfrm>
            <a:off x="509589" y="2672480"/>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61" name="Picture Placeholder 40"/>
          <p:cNvSpPr>
            <a:spLocks noGrp="1"/>
          </p:cNvSpPr>
          <p:nvPr>
            <p:ph type="pic" sz="quarter" idx="14" hasCustomPrompt="1"/>
          </p:nvPr>
        </p:nvSpPr>
        <p:spPr>
          <a:xfrm>
            <a:off x="509589"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0" name="Picture Placeholder 40"/>
          <p:cNvSpPr>
            <a:spLocks noGrp="1"/>
          </p:cNvSpPr>
          <p:nvPr>
            <p:ph type="pic" sz="quarter" idx="15" hasCustomPrompt="1"/>
          </p:nvPr>
        </p:nvSpPr>
        <p:spPr>
          <a:xfrm>
            <a:off x="1906637"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1" name="Picture Placeholder 40"/>
          <p:cNvSpPr>
            <a:spLocks noGrp="1"/>
          </p:cNvSpPr>
          <p:nvPr>
            <p:ph type="pic" sz="quarter" idx="16" hasCustomPrompt="1"/>
          </p:nvPr>
        </p:nvSpPr>
        <p:spPr>
          <a:xfrm>
            <a:off x="3311233"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92" name="Picture Placeholder 40"/>
          <p:cNvSpPr>
            <a:spLocks noGrp="1"/>
          </p:cNvSpPr>
          <p:nvPr>
            <p:ph type="pic" sz="quarter" idx="17" hasCustomPrompt="1"/>
          </p:nvPr>
        </p:nvSpPr>
        <p:spPr>
          <a:xfrm>
            <a:off x="4715829"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1" name="Text Placeholder 6"/>
          <p:cNvSpPr>
            <a:spLocks noGrp="1"/>
          </p:cNvSpPr>
          <p:nvPr>
            <p:ph type="body" sz="quarter" idx="31" hasCustomPrompt="1"/>
          </p:nvPr>
        </p:nvSpPr>
        <p:spPr>
          <a:xfrm>
            <a:off x="6199413" y="2672480"/>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152" name="Picture Placeholder 40"/>
          <p:cNvSpPr>
            <a:spLocks noGrp="1"/>
          </p:cNvSpPr>
          <p:nvPr>
            <p:ph type="pic" sz="quarter" idx="32" hasCustomPrompt="1"/>
          </p:nvPr>
        </p:nvSpPr>
        <p:spPr>
          <a:xfrm>
            <a:off x="6196013"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4" name="Picture Placeholder 40"/>
          <p:cNvSpPr>
            <a:spLocks noGrp="1"/>
          </p:cNvSpPr>
          <p:nvPr>
            <p:ph type="pic" sz="quarter" idx="33" hasCustomPrompt="1"/>
          </p:nvPr>
        </p:nvSpPr>
        <p:spPr>
          <a:xfrm>
            <a:off x="7600609"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5" name="Picture Placeholder 40"/>
          <p:cNvSpPr>
            <a:spLocks noGrp="1"/>
          </p:cNvSpPr>
          <p:nvPr>
            <p:ph type="pic" sz="quarter" idx="34" hasCustomPrompt="1"/>
          </p:nvPr>
        </p:nvSpPr>
        <p:spPr>
          <a:xfrm>
            <a:off x="9005205"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6" name="Picture Placeholder 40"/>
          <p:cNvSpPr>
            <a:spLocks noGrp="1"/>
          </p:cNvSpPr>
          <p:nvPr>
            <p:ph type="pic" sz="quarter" idx="35" hasCustomPrompt="1"/>
          </p:nvPr>
        </p:nvSpPr>
        <p:spPr>
          <a:xfrm>
            <a:off x="10409801" y="3055951"/>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57" name="Text Placeholder 6"/>
          <p:cNvSpPr>
            <a:spLocks noGrp="1"/>
          </p:cNvSpPr>
          <p:nvPr>
            <p:ph type="body" sz="quarter" idx="36" hasCustomPrompt="1"/>
          </p:nvPr>
        </p:nvSpPr>
        <p:spPr>
          <a:xfrm>
            <a:off x="509589" y="4333568"/>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158" name="Picture Placeholder 40"/>
          <p:cNvSpPr>
            <a:spLocks noGrp="1"/>
          </p:cNvSpPr>
          <p:nvPr>
            <p:ph type="pic" sz="quarter" idx="37" hasCustomPrompt="1"/>
          </p:nvPr>
        </p:nvSpPr>
        <p:spPr>
          <a:xfrm>
            <a:off x="509589"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0" name="Picture Placeholder 40"/>
          <p:cNvSpPr>
            <a:spLocks noGrp="1"/>
          </p:cNvSpPr>
          <p:nvPr>
            <p:ph type="pic" sz="quarter" idx="38" hasCustomPrompt="1"/>
          </p:nvPr>
        </p:nvSpPr>
        <p:spPr>
          <a:xfrm>
            <a:off x="1906637"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1" name="Picture Placeholder 40"/>
          <p:cNvSpPr>
            <a:spLocks noGrp="1"/>
          </p:cNvSpPr>
          <p:nvPr>
            <p:ph type="pic" sz="quarter" idx="39" hasCustomPrompt="1"/>
          </p:nvPr>
        </p:nvSpPr>
        <p:spPr>
          <a:xfrm>
            <a:off x="3311233"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2" name="Picture Placeholder 40"/>
          <p:cNvSpPr>
            <a:spLocks noGrp="1"/>
          </p:cNvSpPr>
          <p:nvPr>
            <p:ph type="pic" sz="quarter" idx="40" hasCustomPrompt="1"/>
          </p:nvPr>
        </p:nvSpPr>
        <p:spPr>
          <a:xfrm>
            <a:off x="4715829"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3" name="Text Placeholder 6"/>
          <p:cNvSpPr>
            <a:spLocks noGrp="1"/>
          </p:cNvSpPr>
          <p:nvPr>
            <p:ph type="body" sz="quarter" idx="41" hasCustomPrompt="1"/>
          </p:nvPr>
        </p:nvSpPr>
        <p:spPr>
          <a:xfrm>
            <a:off x="6199413" y="4333568"/>
            <a:ext cx="5486400" cy="278912"/>
          </a:xfrm>
        </p:spPr>
        <p:txBody>
          <a:bodyPr anchor="ctr" anchorCtr="0"/>
          <a:lstStyle>
            <a:lvl1pPr>
              <a:lnSpc>
                <a:spcPct val="100000"/>
              </a:lnSpc>
              <a:spcBef>
                <a:spcPts val="0"/>
              </a:spcBef>
              <a:spcAft>
                <a:spcPts val="1000"/>
              </a:spcAft>
              <a:defRPr sz="1400" spc="0" baseline="0">
                <a:solidFill>
                  <a:schemeClr val="tx2"/>
                </a:solidFill>
                <a:latin typeface="Segoe UI" panose="020B0502040204020203" pitchFamily="34" charset="0"/>
                <a:cs typeface="Segoe UI" panose="020B0502040204020203" pitchFamily="34" charset="0"/>
              </a:defRPr>
            </a:lvl1pPr>
          </a:lstStyle>
          <a:p>
            <a:pPr lvl="0"/>
            <a:r>
              <a:rPr lang="en-US"/>
              <a:t>Add content here</a:t>
            </a:r>
          </a:p>
        </p:txBody>
      </p:sp>
      <p:sp>
        <p:nvSpPr>
          <p:cNvPr id="164" name="Picture Placeholder 40"/>
          <p:cNvSpPr>
            <a:spLocks noGrp="1"/>
          </p:cNvSpPr>
          <p:nvPr>
            <p:ph type="pic" sz="quarter" idx="42" hasCustomPrompt="1"/>
          </p:nvPr>
        </p:nvSpPr>
        <p:spPr>
          <a:xfrm>
            <a:off x="6196013"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6" name="Picture Placeholder 40"/>
          <p:cNvSpPr>
            <a:spLocks noGrp="1"/>
          </p:cNvSpPr>
          <p:nvPr>
            <p:ph type="pic" sz="quarter" idx="43" hasCustomPrompt="1"/>
          </p:nvPr>
        </p:nvSpPr>
        <p:spPr>
          <a:xfrm>
            <a:off x="7600609"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7" name="Picture Placeholder 40"/>
          <p:cNvSpPr>
            <a:spLocks noGrp="1"/>
          </p:cNvSpPr>
          <p:nvPr>
            <p:ph type="pic" sz="quarter" idx="44" hasCustomPrompt="1"/>
          </p:nvPr>
        </p:nvSpPr>
        <p:spPr>
          <a:xfrm>
            <a:off x="9005205"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68" name="Picture Placeholder 40"/>
          <p:cNvSpPr>
            <a:spLocks noGrp="1"/>
          </p:cNvSpPr>
          <p:nvPr>
            <p:ph type="pic" sz="quarter" idx="45" hasCustomPrompt="1"/>
          </p:nvPr>
        </p:nvSpPr>
        <p:spPr>
          <a:xfrm>
            <a:off x="10409801" y="4717039"/>
            <a:ext cx="1280160" cy="914400"/>
          </a:xfrm>
        </p:spPr>
        <p:txBody>
          <a:bodyPr anchor="ctr" anchorCtr="0">
            <a:normAutofit/>
          </a:bodyPr>
          <a:lstStyle>
            <a:lvl1pPr algn="ctr">
              <a:defRPr sz="1800" spc="0">
                <a:solidFill>
                  <a:schemeClr val="tx2"/>
                </a:solidFill>
                <a:latin typeface="Segoe UI" panose="020B0502040204020203" pitchFamily="34" charset="0"/>
                <a:cs typeface="Segoe UI" panose="020B0502040204020203" pitchFamily="34" charset="0"/>
              </a:defRPr>
            </a:lvl1pPr>
          </a:lstStyle>
          <a:p>
            <a:r>
              <a:rPr lang="en-US"/>
              <a:t>Insert Logo</a:t>
            </a:r>
          </a:p>
        </p:txBody>
      </p:sp>
      <p:sp>
        <p:nvSpPr>
          <p:cNvPr id="177" name="Text Placeholder 173"/>
          <p:cNvSpPr>
            <a:spLocks noGrp="1"/>
          </p:cNvSpPr>
          <p:nvPr>
            <p:ph type="body" sz="quarter" idx="46" hasCustomPrompt="1"/>
          </p:nvPr>
        </p:nvSpPr>
        <p:spPr>
          <a:xfrm>
            <a:off x="228601" y="1841797"/>
            <a:ext cx="3657600" cy="548640"/>
          </a:xfrm>
          <a:solidFill>
            <a:schemeClr val="bg2"/>
          </a:solidFill>
        </p:spPr>
        <p:txBody>
          <a:bodyPr anchor="ctr" anchorCtr="0"/>
          <a:lstStyle>
            <a:lvl1pPr algn="ctr">
              <a:defRPr sz="2400" baseline="0">
                <a:solidFill>
                  <a:schemeClr val="bg1"/>
                </a:solidFill>
              </a:defRPr>
            </a:lvl1pPr>
          </a:lstStyle>
          <a:p>
            <a:pPr lvl="0"/>
            <a:r>
              <a:rPr lang="en-US"/>
              <a:t>Content section 1</a:t>
            </a:r>
          </a:p>
        </p:txBody>
      </p:sp>
      <p:sp>
        <p:nvSpPr>
          <p:cNvPr id="178" name="Text Placeholder 173"/>
          <p:cNvSpPr>
            <a:spLocks noGrp="1"/>
          </p:cNvSpPr>
          <p:nvPr>
            <p:ph type="body" sz="quarter" idx="47" hasCustomPrompt="1"/>
          </p:nvPr>
        </p:nvSpPr>
        <p:spPr>
          <a:xfrm>
            <a:off x="4267200" y="1841797"/>
            <a:ext cx="3657600" cy="548640"/>
          </a:xfrm>
          <a:solidFill>
            <a:schemeClr val="bg2"/>
          </a:solidFill>
        </p:spPr>
        <p:txBody>
          <a:bodyPr anchor="ctr" anchorCtr="0"/>
          <a:lstStyle>
            <a:lvl1pPr algn="ctr">
              <a:defRPr sz="2400" baseline="0">
                <a:solidFill>
                  <a:schemeClr val="bg1"/>
                </a:solidFill>
              </a:defRPr>
            </a:lvl1pPr>
          </a:lstStyle>
          <a:p>
            <a:pPr lvl="0"/>
            <a:r>
              <a:rPr lang="en-US"/>
              <a:t>Content section 2</a:t>
            </a:r>
          </a:p>
        </p:txBody>
      </p:sp>
      <p:sp>
        <p:nvSpPr>
          <p:cNvPr id="179" name="Text Placeholder 173"/>
          <p:cNvSpPr>
            <a:spLocks noGrp="1"/>
          </p:cNvSpPr>
          <p:nvPr>
            <p:ph type="body" sz="quarter" idx="48" hasCustomPrompt="1"/>
          </p:nvPr>
        </p:nvSpPr>
        <p:spPr>
          <a:xfrm>
            <a:off x="8305801" y="1841797"/>
            <a:ext cx="3657600" cy="548640"/>
          </a:xfrm>
          <a:solidFill>
            <a:schemeClr val="bg2"/>
          </a:solidFill>
        </p:spPr>
        <p:txBody>
          <a:bodyPr anchor="ctr" anchorCtr="0"/>
          <a:lstStyle>
            <a:lvl1pPr algn="ctr">
              <a:defRPr sz="2400">
                <a:solidFill>
                  <a:schemeClr val="bg1"/>
                </a:solidFill>
              </a:defRPr>
            </a:lvl1pPr>
          </a:lstStyle>
          <a:p>
            <a:pPr lvl="0"/>
            <a:r>
              <a:rPr lang="en-US"/>
              <a:t>Content section 3</a:t>
            </a:r>
          </a:p>
        </p:txBody>
      </p:sp>
      <p:sp>
        <p:nvSpPr>
          <p:cNvPr id="57"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8" name="Text Placeholder 3"/>
          <p:cNvSpPr>
            <a:spLocks noGrp="1"/>
          </p:cNvSpPr>
          <p:nvPr>
            <p:ph type="body" sz="quarter" idx="49"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9" name="Text Placeholder 18"/>
          <p:cNvSpPr>
            <a:spLocks noGrp="1"/>
          </p:cNvSpPr>
          <p:nvPr>
            <p:ph type="body" sz="quarter" idx="50"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30" name="Rectangle 29"/>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404540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30"/>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3535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meline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11734801" cy="502920"/>
          </a:xfrm>
        </p:spPr>
        <p:txBody>
          <a:bodyPr/>
          <a:lstStyle>
            <a:lvl1pPr>
              <a:defRPr baseline="0">
                <a:solidFill>
                  <a:schemeClr val="accent1"/>
                </a:solidFill>
              </a:defRPr>
            </a:lvl1pPr>
          </a:lstStyle>
          <a:p>
            <a:r>
              <a:rPr lang="en-US"/>
              <a:t>Title of slide (Horizontal)</a:t>
            </a:r>
          </a:p>
        </p:txBody>
      </p:sp>
      <p:sp>
        <p:nvSpPr>
          <p:cNvPr id="82" name="Picture Placeholder 6"/>
          <p:cNvSpPr>
            <a:spLocks noGrp="1"/>
          </p:cNvSpPr>
          <p:nvPr>
            <p:ph type="pic" sz="quarter" idx="38"/>
          </p:nvPr>
        </p:nvSpPr>
        <p:spPr>
          <a:xfrm>
            <a:off x="1059359"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16" name="Text Placeholder 15"/>
          <p:cNvSpPr>
            <a:spLocks noGrp="1"/>
          </p:cNvSpPr>
          <p:nvPr>
            <p:ph type="body" sz="quarter" idx="44" hasCustomPrompt="1"/>
          </p:nvPr>
        </p:nvSpPr>
        <p:spPr>
          <a:xfrm>
            <a:off x="819905" y="3153261"/>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54" name="Picture Placeholder 6"/>
          <p:cNvSpPr>
            <a:spLocks noGrp="1"/>
          </p:cNvSpPr>
          <p:nvPr>
            <p:ph type="pic" sz="quarter" idx="45"/>
          </p:nvPr>
        </p:nvSpPr>
        <p:spPr>
          <a:xfrm>
            <a:off x="2892757"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56" name="Text Placeholder 15"/>
          <p:cNvSpPr>
            <a:spLocks noGrp="1"/>
          </p:cNvSpPr>
          <p:nvPr>
            <p:ph type="body" sz="quarter" idx="47" hasCustomPrompt="1"/>
          </p:nvPr>
        </p:nvSpPr>
        <p:spPr>
          <a:xfrm>
            <a:off x="2653302" y="3153261"/>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64" name="Picture Placeholder 6"/>
          <p:cNvSpPr>
            <a:spLocks noGrp="1"/>
          </p:cNvSpPr>
          <p:nvPr>
            <p:ph type="pic" sz="quarter" idx="48"/>
          </p:nvPr>
        </p:nvSpPr>
        <p:spPr>
          <a:xfrm>
            <a:off x="4726155"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66" name="Text Placeholder 15"/>
          <p:cNvSpPr>
            <a:spLocks noGrp="1"/>
          </p:cNvSpPr>
          <p:nvPr>
            <p:ph type="body" sz="quarter" idx="50" hasCustomPrompt="1"/>
          </p:nvPr>
        </p:nvSpPr>
        <p:spPr>
          <a:xfrm>
            <a:off x="4486701" y="3153261"/>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67" name="Picture Placeholder 6"/>
          <p:cNvSpPr>
            <a:spLocks noGrp="1"/>
          </p:cNvSpPr>
          <p:nvPr>
            <p:ph type="pic" sz="quarter" idx="51"/>
          </p:nvPr>
        </p:nvSpPr>
        <p:spPr>
          <a:xfrm>
            <a:off x="6559553"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69" name="Text Placeholder 15"/>
          <p:cNvSpPr>
            <a:spLocks noGrp="1"/>
          </p:cNvSpPr>
          <p:nvPr>
            <p:ph type="body" sz="quarter" idx="53" hasCustomPrompt="1"/>
          </p:nvPr>
        </p:nvSpPr>
        <p:spPr>
          <a:xfrm>
            <a:off x="6320098" y="3153261"/>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70" name="Picture Placeholder 6"/>
          <p:cNvSpPr>
            <a:spLocks noGrp="1"/>
          </p:cNvSpPr>
          <p:nvPr>
            <p:ph type="pic" sz="quarter" idx="54"/>
          </p:nvPr>
        </p:nvSpPr>
        <p:spPr>
          <a:xfrm>
            <a:off x="8392951"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72" name="Text Placeholder 15"/>
          <p:cNvSpPr>
            <a:spLocks noGrp="1"/>
          </p:cNvSpPr>
          <p:nvPr>
            <p:ph type="body" sz="quarter" idx="56" hasCustomPrompt="1"/>
          </p:nvPr>
        </p:nvSpPr>
        <p:spPr>
          <a:xfrm>
            <a:off x="8153496" y="3153261"/>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74" name="Picture Placeholder 6"/>
          <p:cNvSpPr>
            <a:spLocks noGrp="1"/>
          </p:cNvSpPr>
          <p:nvPr>
            <p:ph type="pic" sz="quarter" idx="57"/>
          </p:nvPr>
        </p:nvSpPr>
        <p:spPr>
          <a:xfrm>
            <a:off x="10226351" y="1997298"/>
            <a:ext cx="914400" cy="914400"/>
          </a:xfrm>
          <a:noFill/>
          <a:ln w="12700">
            <a:noFill/>
          </a:ln>
        </p:spPr>
        <p:txBody>
          <a:bodyPr lIns="91440" tIns="45720" rIns="91440" bIns="0"/>
          <a:lstStyle>
            <a:lvl1pPr>
              <a:defRPr sz="1000" spc="0">
                <a:solidFill>
                  <a:schemeClr val="tx2"/>
                </a:solidFill>
                <a:latin typeface="Segoe UI Semibold" panose="020B0702040204020203" pitchFamily="34" charset="0"/>
                <a:cs typeface="Segoe UI Semibold" panose="020B0702040204020203" pitchFamily="34" charset="0"/>
              </a:defRPr>
            </a:lvl1pPr>
          </a:lstStyle>
          <a:p>
            <a:endParaRPr lang="en-US"/>
          </a:p>
        </p:txBody>
      </p:sp>
      <p:sp>
        <p:nvSpPr>
          <p:cNvPr id="76" name="Text Placeholder 15"/>
          <p:cNvSpPr>
            <a:spLocks noGrp="1"/>
          </p:cNvSpPr>
          <p:nvPr>
            <p:ph type="body" sz="quarter" idx="59" hasCustomPrompt="1"/>
          </p:nvPr>
        </p:nvSpPr>
        <p:spPr>
          <a:xfrm>
            <a:off x="9986897" y="3153261"/>
            <a:ext cx="1393310" cy="420025"/>
          </a:xfrm>
          <a:solidFill>
            <a:schemeClr val="accent1"/>
          </a:solidFill>
        </p:spPr>
        <p:txBody>
          <a:bodyPr lIns="0" tIns="0" rIns="0" bIns="0" anchor="ctr" anchorCtr="0"/>
          <a:lstStyle>
            <a:lvl1pPr algn="ctr">
              <a:defRPr sz="18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86" name="Text Placeholder 10"/>
          <p:cNvSpPr>
            <a:spLocks noGrp="1"/>
          </p:cNvSpPr>
          <p:nvPr>
            <p:ph type="body" sz="quarter" idx="39" hasCustomPrompt="1"/>
          </p:nvPr>
        </p:nvSpPr>
        <p:spPr>
          <a:xfrm>
            <a:off x="819905"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45" indent="-91423">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87" name="Text Placeholder 10"/>
          <p:cNvSpPr>
            <a:spLocks noGrp="1"/>
          </p:cNvSpPr>
          <p:nvPr>
            <p:ph type="body" sz="quarter" idx="60" hasCustomPrompt="1"/>
          </p:nvPr>
        </p:nvSpPr>
        <p:spPr>
          <a:xfrm>
            <a:off x="2653302"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45" indent="-91423">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0" name="Text Placeholder 10"/>
          <p:cNvSpPr>
            <a:spLocks noGrp="1"/>
          </p:cNvSpPr>
          <p:nvPr>
            <p:ph type="body" sz="quarter" idx="61" hasCustomPrompt="1"/>
          </p:nvPr>
        </p:nvSpPr>
        <p:spPr>
          <a:xfrm>
            <a:off x="4486701"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45" indent="-91423">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1" name="Text Placeholder 10"/>
          <p:cNvSpPr>
            <a:spLocks noGrp="1"/>
          </p:cNvSpPr>
          <p:nvPr>
            <p:ph type="body" sz="quarter" idx="62" hasCustomPrompt="1"/>
          </p:nvPr>
        </p:nvSpPr>
        <p:spPr>
          <a:xfrm>
            <a:off x="6320098"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45" indent="-91423">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4" name="Text Placeholder 10"/>
          <p:cNvSpPr>
            <a:spLocks noGrp="1"/>
          </p:cNvSpPr>
          <p:nvPr>
            <p:ph type="body" sz="quarter" idx="63" hasCustomPrompt="1"/>
          </p:nvPr>
        </p:nvSpPr>
        <p:spPr>
          <a:xfrm>
            <a:off x="8153496"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45" indent="-91423">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95" name="Text Placeholder 10"/>
          <p:cNvSpPr>
            <a:spLocks noGrp="1"/>
          </p:cNvSpPr>
          <p:nvPr>
            <p:ph type="body" sz="quarter" idx="64" hasCustomPrompt="1"/>
          </p:nvPr>
        </p:nvSpPr>
        <p:spPr>
          <a:xfrm>
            <a:off x="9986897" y="3814846"/>
            <a:ext cx="1393310" cy="1847040"/>
          </a:xfrm>
        </p:spPr>
        <p:txBody>
          <a:bodyPr lIns="0" tIns="0" rIns="0" bIns="0"/>
          <a:lstStyle>
            <a:lvl1pPr>
              <a:spcBef>
                <a:spcPts val="0"/>
              </a:spcBef>
              <a:spcAft>
                <a:spcPts val="600"/>
              </a:spcAft>
              <a:defRPr sz="1000" b="0" spc="0">
                <a:solidFill>
                  <a:schemeClr val="tx2"/>
                </a:solidFill>
                <a:latin typeface="Segoe UI" panose="020B0502040204020203" pitchFamily="34" charset="0"/>
                <a:cs typeface="Segoe UI" panose="020B0502040204020203" pitchFamily="34" charset="0"/>
              </a:defRPr>
            </a:lvl1pPr>
            <a:lvl2pPr marL="182845" indent="-91423">
              <a:spcBef>
                <a:spcPts val="0"/>
              </a:spcBef>
              <a:spcAft>
                <a:spcPts val="600"/>
              </a:spcAft>
              <a:buSzPct val="75000"/>
              <a:buFont typeface="Wingdings" panose="05000000000000000000" pitchFamily="2" charset="2"/>
              <a:buChar char="§"/>
              <a:defRPr sz="1000">
                <a:latin typeface="Segoe UI" panose="020B0502040204020203" pitchFamily="34" charset="0"/>
                <a:cs typeface="Segoe UI" panose="020B0502040204020203" pitchFamily="34" charset="0"/>
              </a:defRPr>
            </a:lvl2pPr>
            <a:lvl3pPr>
              <a:defRPr sz="1000">
                <a:latin typeface="Segoe UI" panose="020B0502040204020203" pitchFamily="34" charset="0"/>
                <a:cs typeface="Segoe UI" panose="020B0502040204020203" pitchFamily="34" charset="0"/>
              </a:defRPr>
            </a:lvl3pPr>
            <a:lvl4pPr>
              <a:defRPr sz="1000">
                <a:latin typeface="Segoe UI" panose="020B0502040204020203" pitchFamily="34" charset="0"/>
                <a:cs typeface="Segoe UI" panose="020B0502040204020203" pitchFamily="34" charset="0"/>
              </a:defRPr>
            </a:lvl4pPr>
            <a:lvl5pPr>
              <a:defRPr sz="1000">
                <a:latin typeface="Segoe UI" panose="020B0502040204020203" pitchFamily="34" charset="0"/>
                <a:cs typeface="Segoe UI" panose="020B0502040204020203" pitchFamily="34" charset="0"/>
              </a:defRPr>
            </a:lvl5pPr>
          </a:lstStyle>
          <a:p>
            <a:pPr lvl="0"/>
            <a:r>
              <a:rPr lang="en-US"/>
              <a:t>Add content here</a:t>
            </a:r>
          </a:p>
          <a:p>
            <a:pPr lvl="1"/>
            <a:r>
              <a:rPr lang="en-US"/>
              <a:t>Try to use short phrases and keywords</a:t>
            </a:r>
          </a:p>
          <a:p>
            <a:pPr lvl="0"/>
            <a:r>
              <a:rPr lang="en-US"/>
              <a:t>Use speaker notes for longer explanations</a:t>
            </a:r>
          </a:p>
        </p:txBody>
      </p:sp>
      <p:sp>
        <p:nvSpPr>
          <p:cNvPr id="37"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3" name="Text Placeholder 3"/>
          <p:cNvSpPr>
            <a:spLocks noGrp="1"/>
          </p:cNvSpPr>
          <p:nvPr>
            <p:ph type="body" sz="quarter" idx="37" hasCustomPrompt="1"/>
          </p:nvPr>
        </p:nvSpPr>
        <p:spPr>
          <a:xfrm>
            <a:off x="228600" y="731520"/>
            <a:ext cx="11734800" cy="457200"/>
          </a:xfrm>
        </p:spPr>
        <p:txBody>
          <a:bodyPr lIns="146304" tIns="0" bIns="0" anchor="t" anchorCtr="0"/>
          <a:lstStyle>
            <a:lvl1pPr>
              <a:defRPr baseline="0"/>
            </a:lvl1pPr>
          </a:lstStyle>
          <a:p>
            <a:pPr lvl="0"/>
            <a:r>
              <a:rPr lang="en-US"/>
              <a:t>Title of sub header</a:t>
            </a:r>
          </a:p>
        </p:txBody>
      </p:sp>
      <p:sp>
        <p:nvSpPr>
          <p:cNvPr id="24" name="Text Placeholder 18"/>
          <p:cNvSpPr>
            <a:spLocks noGrp="1"/>
          </p:cNvSpPr>
          <p:nvPr>
            <p:ph type="body" sz="quarter" idx="65" hasCustomPrompt="1"/>
          </p:nvPr>
        </p:nvSpPr>
        <p:spPr>
          <a:xfrm>
            <a:off x="9439275" y="228600"/>
            <a:ext cx="2524126" cy="338554"/>
          </a:xfrm>
          <a:solidFill>
            <a:schemeClr val="accent1"/>
          </a:solidFill>
        </p:spPr>
        <p:txBody>
          <a:bodyPr lIns="0" tIns="0" rIns="0" bIns="0" anchor="ctr" anchorCtr="0">
            <a:normAutofit/>
          </a:bodyPr>
          <a:lstStyle>
            <a:lvl1pPr algn="ctr">
              <a:defRPr sz="1600">
                <a:solidFill>
                  <a:schemeClr val="bg1"/>
                </a:solidFill>
              </a:defRPr>
            </a:lvl1pPr>
          </a:lstStyle>
          <a:p>
            <a:pPr lvl="0"/>
            <a:r>
              <a:rPr lang="en-US"/>
              <a:t>EDIT MASTER TEXT STYLES</a:t>
            </a:r>
          </a:p>
        </p:txBody>
      </p:sp>
      <p:sp>
        <p:nvSpPr>
          <p:cNvPr id="25" name="Rectangle 24"/>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337916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5"/>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meline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28601"/>
            <a:ext cx="4114800" cy="1051560"/>
          </a:xfrm>
        </p:spPr>
        <p:txBody>
          <a:bodyPr/>
          <a:lstStyle>
            <a:lvl1pPr>
              <a:defRPr baseline="0">
                <a:solidFill>
                  <a:schemeClr val="accent1"/>
                </a:solidFill>
              </a:defRPr>
            </a:lvl1pPr>
          </a:lstStyle>
          <a:p>
            <a:r>
              <a:rPr lang="en-US"/>
              <a:t>Title of slide (Vertical)</a:t>
            </a:r>
          </a:p>
        </p:txBody>
      </p:sp>
      <p:sp>
        <p:nvSpPr>
          <p:cNvPr id="13" name="Text Placeholder 3"/>
          <p:cNvSpPr>
            <a:spLocks noGrp="1"/>
          </p:cNvSpPr>
          <p:nvPr>
            <p:ph type="body" sz="quarter" idx="14" hasCustomPrompt="1"/>
          </p:nvPr>
        </p:nvSpPr>
        <p:spPr>
          <a:xfrm>
            <a:off x="228600" y="1280160"/>
            <a:ext cx="4114800" cy="457200"/>
          </a:xfrm>
        </p:spPr>
        <p:txBody>
          <a:bodyPr lIns="146304" tIns="45720" bIns="0" anchor="t" anchorCtr="0"/>
          <a:lstStyle>
            <a:lvl1pPr>
              <a:defRPr baseline="0"/>
            </a:lvl1pPr>
          </a:lstStyle>
          <a:p>
            <a:pPr lvl="0"/>
            <a:r>
              <a:rPr lang="en-US"/>
              <a:t>Title of sub header</a:t>
            </a:r>
          </a:p>
        </p:txBody>
      </p:sp>
      <p:sp>
        <p:nvSpPr>
          <p:cNvPr id="138" name="Picture Placeholder 8"/>
          <p:cNvSpPr>
            <a:spLocks noGrp="1"/>
          </p:cNvSpPr>
          <p:nvPr>
            <p:ph type="pic" sz="quarter" idx="91"/>
          </p:nvPr>
        </p:nvSpPr>
        <p:spPr>
          <a:xfrm>
            <a:off x="4931727" y="1573843"/>
            <a:ext cx="548772" cy="548772"/>
          </a:xfrm>
        </p:spPr>
        <p:txBody>
          <a:bodyPr lIns="91440" tIns="91440" rIns="91440" bIns="91440"/>
          <a:lstStyle>
            <a:lvl1pPr>
              <a:defRPr sz="1000"/>
            </a:lvl1pPr>
          </a:lstStyle>
          <a:p>
            <a:endParaRPr lang="en-US"/>
          </a:p>
        </p:txBody>
      </p:sp>
      <p:sp>
        <p:nvSpPr>
          <p:cNvPr id="194" name="Text Placeholder 15"/>
          <p:cNvSpPr>
            <a:spLocks noGrp="1"/>
          </p:cNvSpPr>
          <p:nvPr>
            <p:ph type="body" sz="quarter" idx="50" hasCustomPrompt="1"/>
          </p:nvPr>
        </p:nvSpPr>
        <p:spPr>
          <a:xfrm>
            <a:off x="5744683" y="1573843"/>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197" name="Text Placeholder 15"/>
          <p:cNvSpPr>
            <a:spLocks noGrp="1"/>
          </p:cNvSpPr>
          <p:nvPr>
            <p:ph type="body" sz="quarter" idx="97" hasCustomPrompt="1"/>
          </p:nvPr>
        </p:nvSpPr>
        <p:spPr>
          <a:xfrm>
            <a:off x="5744683" y="2366499"/>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198" name="Text Placeholder 15"/>
          <p:cNvSpPr>
            <a:spLocks noGrp="1"/>
          </p:cNvSpPr>
          <p:nvPr>
            <p:ph type="body" sz="quarter" idx="98" hasCustomPrompt="1"/>
          </p:nvPr>
        </p:nvSpPr>
        <p:spPr>
          <a:xfrm>
            <a:off x="5744683" y="3159154"/>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199" name="Text Placeholder 15"/>
          <p:cNvSpPr>
            <a:spLocks noGrp="1"/>
          </p:cNvSpPr>
          <p:nvPr>
            <p:ph type="body" sz="quarter" idx="99" hasCustomPrompt="1"/>
          </p:nvPr>
        </p:nvSpPr>
        <p:spPr>
          <a:xfrm>
            <a:off x="5744683" y="3951810"/>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00" name="Text Placeholder 15"/>
          <p:cNvSpPr>
            <a:spLocks noGrp="1"/>
          </p:cNvSpPr>
          <p:nvPr>
            <p:ph type="body" sz="quarter" idx="100" hasCustomPrompt="1"/>
          </p:nvPr>
        </p:nvSpPr>
        <p:spPr>
          <a:xfrm>
            <a:off x="5744683" y="5537121"/>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04" name="Picture Placeholder 8"/>
          <p:cNvSpPr>
            <a:spLocks noGrp="1"/>
          </p:cNvSpPr>
          <p:nvPr>
            <p:ph type="pic" sz="quarter" idx="104"/>
          </p:nvPr>
        </p:nvSpPr>
        <p:spPr>
          <a:xfrm>
            <a:off x="4931727" y="3159154"/>
            <a:ext cx="548772" cy="548772"/>
          </a:xfrm>
        </p:spPr>
        <p:txBody>
          <a:bodyPr lIns="91440" tIns="91440" rIns="91440" bIns="91440"/>
          <a:lstStyle>
            <a:lvl1pPr>
              <a:defRPr sz="1000"/>
            </a:lvl1pPr>
          </a:lstStyle>
          <a:p>
            <a:endParaRPr lang="en-US"/>
          </a:p>
        </p:txBody>
      </p:sp>
      <p:sp>
        <p:nvSpPr>
          <p:cNvPr id="205" name="Text Placeholder 29"/>
          <p:cNvSpPr>
            <a:spLocks noGrp="1"/>
          </p:cNvSpPr>
          <p:nvPr>
            <p:ph type="body" sz="quarter" idx="105"/>
          </p:nvPr>
        </p:nvSpPr>
        <p:spPr>
          <a:xfrm>
            <a:off x="6532211" y="3159154"/>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06" name="Picture Placeholder 8"/>
          <p:cNvSpPr>
            <a:spLocks noGrp="1"/>
          </p:cNvSpPr>
          <p:nvPr>
            <p:ph type="pic" sz="quarter" idx="106"/>
          </p:nvPr>
        </p:nvSpPr>
        <p:spPr>
          <a:xfrm>
            <a:off x="4931727" y="3951810"/>
            <a:ext cx="548772" cy="548772"/>
          </a:xfrm>
        </p:spPr>
        <p:txBody>
          <a:bodyPr lIns="91440" tIns="91440" rIns="91440" bIns="91440"/>
          <a:lstStyle>
            <a:lvl1pPr>
              <a:defRPr sz="1000"/>
            </a:lvl1pPr>
          </a:lstStyle>
          <a:p>
            <a:endParaRPr lang="en-US"/>
          </a:p>
        </p:txBody>
      </p:sp>
      <p:sp>
        <p:nvSpPr>
          <p:cNvPr id="207" name="Text Placeholder 29"/>
          <p:cNvSpPr>
            <a:spLocks noGrp="1"/>
          </p:cNvSpPr>
          <p:nvPr>
            <p:ph type="body" sz="quarter" idx="107"/>
          </p:nvPr>
        </p:nvSpPr>
        <p:spPr>
          <a:xfrm>
            <a:off x="6532211" y="3951810"/>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08" name="Picture Placeholder 8"/>
          <p:cNvSpPr>
            <a:spLocks noGrp="1"/>
          </p:cNvSpPr>
          <p:nvPr>
            <p:ph type="pic" sz="quarter" idx="108"/>
          </p:nvPr>
        </p:nvSpPr>
        <p:spPr>
          <a:xfrm>
            <a:off x="4931727" y="5537121"/>
            <a:ext cx="548772" cy="548772"/>
          </a:xfrm>
        </p:spPr>
        <p:txBody>
          <a:bodyPr lIns="91440" tIns="91440" rIns="91440" bIns="91440"/>
          <a:lstStyle>
            <a:lvl1pPr>
              <a:defRPr sz="1000"/>
            </a:lvl1pPr>
          </a:lstStyle>
          <a:p>
            <a:endParaRPr lang="en-US"/>
          </a:p>
        </p:txBody>
      </p:sp>
      <p:sp>
        <p:nvSpPr>
          <p:cNvPr id="209" name="Text Placeholder 29"/>
          <p:cNvSpPr>
            <a:spLocks noGrp="1"/>
          </p:cNvSpPr>
          <p:nvPr>
            <p:ph type="body" sz="quarter" idx="109"/>
          </p:nvPr>
        </p:nvSpPr>
        <p:spPr>
          <a:xfrm>
            <a:off x="6532211" y="5537121"/>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18" name="Text Placeholder 29"/>
          <p:cNvSpPr>
            <a:spLocks noGrp="1"/>
          </p:cNvSpPr>
          <p:nvPr>
            <p:ph type="body" sz="quarter" idx="110"/>
          </p:nvPr>
        </p:nvSpPr>
        <p:spPr>
          <a:xfrm>
            <a:off x="6532211" y="1573843"/>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19" name="Text Placeholder 29"/>
          <p:cNvSpPr>
            <a:spLocks noGrp="1"/>
          </p:cNvSpPr>
          <p:nvPr>
            <p:ph type="body" sz="quarter" idx="111"/>
          </p:nvPr>
        </p:nvSpPr>
        <p:spPr>
          <a:xfrm>
            <a:off x="6532211" y="2366499"/>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20" name="Picture Placeholder 8"/>
          <p:cNvSpPr>
            <a:spLocks noGrp="1"/>
          </p:cNvSpPr>
          <p:nvPr>
            <p:ph type="pic" sz="quarter" idx="112"/>
          </p:nvPr>
        </p:nvSpPr>
        <p:spPr>
          <a:xfrm>
            <a:off x="4931727" y="2366499"/>
            <a:ext cx="548772" cy="548772"/>
          </a:xfrm>
        </p:spPr>
        <p:txBody>
          <a:bodyPr lIns="91440" tIns="91440" rIns="91440" bIns="91440"/>
          <a:lstStyle>
            <a:lvl1pPr>
              <a:defRPr sz="1000"/>
            </a:lvl1pPr>
          </a:lstStyle>
          <a:p>
            <a:endParaRPr lang="en-US"/>
          </a:p>
        </p:txBody>
      </p:sp>
      <p:sp>
        <p:nvSpPr>
          <p:cNvPr id="222" name="Picture Placeholder 8"/>
          <p:cNvSpPr>
            <a:spLocks noGrp="1"/>
          </p:cNvSpPr>
          <p:nvPr>
            <p:ph type="pic" sz="quarter" idx="113"/>
          </p:nvPr>
        </p:nvSpPr>
        <p:spPr>
          <a:xfrm>
            <a:off x="4931727" y="781186"/>
            <a:ext cx="548772" cy="548772"/>
          </a:xfrm>
        </p:spPr>
        <p:txBody>
          <a:bodyPr lIns="91440" tIns="91440" rIns="91440" bIns="91440"/>
          <a:lstStyle>
            <a:lvl1pPr>
              <a:defRPr sz="1000"/>
            </a:lvl1pPr>
          </a:lstStyle>
          <a:p>
            <a:endParaRPr lang="en-US"/>
          </a:p>
        </p:txBody>
      </p:sp>
      <p:sp>
        <p:nvSpPr>
          <p:cNvPr id="223" name="Text Placeholder 15"/>
          <p:cNvSpPr>
            <a:spLocks noGrp="1"/>
          </p:cNvSpPr>
          <p:nvPr>
            <p:ph type="body" sz="quarter" idx="114" hasCustomPrompt="1"/>
          </p:nvPr>
        </p:nvSpPr>
        <p:spPr>
          <a:xfrm>
            <a:off x="5744683" y="781186"/>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24" name="Text Placeholder 29"/>
          <p:cNvSpPr>
            <a:spLocks noGrp="1"/>
          </p:cNvSpPr>
          <p:nvPr>
            <p:ph type="body" sz="quarter" idx="115"/>
          </p:nvPr>
        </p:nvSpPr>
        <p:spPr>
          <a:xfrm>
            <a:off x="6532211" y="781186"/>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225" name="Text Placeholder 15"/>
          <p:cNvSpPr>
            <a:spLocks noGrp="1"/>
          </p:cNvSpPr>
          <p:nvPr>
            <p:ph type="body" sz="quarter" idx="116" hasCustomPrompt="1"/>
          </p:nvPr>
        </p:nvSpPr>
        <p:spPr>
          <a:xfrm>
            <a:off x="5744683" y="4744467"/>
            <a:ext cx="679268" cy="548772"/>
          </a:xfrm>
          <a:solidFill>
            <a:schemeClr val="accent1"/>
          </a:solidFill>
        </p:spPr>
        <p:txBody>
          <a:bodyPr lIns="0" tIns="0" rIns="0" bIns="0" anchor="ctr" anchorCtr="0"/>
          <a:lstStyle>
            <a:lvl1pPr algn="ctr">
              <a:defRPr sz="1400" spc="0">
                <a:solidFill>
                  <a:schemeClr val="bg1"/>
                </a:solidFill>
                <a:latin typeface="Segoe UI Semibold" panose="020B0702040204020203" pitchFamily="34" charset="0"/>
                <a:cs typeface="Segoe UI Semibold" panose="020B0702040204020203" pitchFamily="34" charset="0"/>
              </a:defRPr>
            </a:lvl1pPr>
          </a:lstStyle>
          <a:p>
            <a:pPr lvl="0"/>
            <a:r>
              <a:rPr lang="en-US"/>
              <a:t>Year</a:t>
            </a:r>
          </a:p>
        </p:txBody>
      </p:sp>
      <p:sp>
        <p:nvSpPr>
          <p:cNvPr id="226" name="Picture Placeholder 8"/>
          <p:cNvSpPr>
            <a:spLocks noGrp="1"/>
          </p:cNvSpPr>
          <p:nvPr>
            <p:ph type="pic" sz="quarter" idx="117"/>
          </p:nvPr>
        </p:nvSpPr>
        <p:spPr>
          <a:xfrm>
            <a:off x="4931727" y="4744467"/>
            <a:ext cx="548772" cy="548772"/>
          </a:xfrm>
        </p:spPr>
        <p:txBody>
          <a:bodyPr lIns="91440" tIns="91440" rIns="91440" bIns="91440"/>
          <a:lstStyle>
            <a:lvl1pPr>
              <a:defRPr sz="1000"/>
            </a:lvl1pPr>
          </a:lstStyle>
          <a:p>
            <a:endParaRPr lang="en-US"/>
          </a:p>
        </p:txBody>
      </p:sp>
      <p:sp>
        <p:nvSpPr>
          <p:cNvPr id="227" name="Text Placeholder 29"/>
          <p:cNvSpPr>
            <a:spLocks noGrp="1"/>
          </p:cNvSpPr>
          <p:nvPr>
            <p:ph type="body" sz="quarter" idx="118"/>
          </p:nvPr>
        </p:nvSpPr>
        <p:spPr>
          <a:xfrm>
            <a:off x="6532211" y="4744467"/>
            <a:ext cx="4459294" cy="548772"/>
          </a:xfrm>
          <a:ln>
            <a:noFill/>
          </a:ln>
        </p:spPr>
        <p:txBody>
          <a:bodyPr lIns="91440" tIns="0" rIns="91440" bIns="0" anchor="ctr" anchorCtr="0"/>
          <a:lstStyle>
            <a:lvl1pPr>
              <a:spcBef>
                <a:spcPts val="0"/>
              </a:spcBef>
              <a:spcAft>
                <a:spcPts val="200"/>
              </a:spcAft>
              <a:defRPr sz="1000" spc="0">
                <a:latin typeface="Segoe UI" panose="020B0502040204020203" pitchFamily="34" charset="0"/>
                <a:cs typeface="Segoe UI" panose="020B0502040204020203" pitchFamily="34" charset="0"/>
              </a:defRPr>
            </a:lvl1pPr>
            <a:lvl2pPr>
              <a:defRPr sz="1050"/>
            </a:lvl2pPr>
            <a:lvl3pPr>
              <a:defRPr sz="1000"/>
            </a:lvl3pPr>
            <a:lvl4pPr>
              <a:defRPr sz="900"/>
            </a:lvl4pPr>
            <a:lvl5pPr>
              <a:defRPr sz="900"/>
            </a:lvl5pPr>
          </a:lstStyle>
          <a:p>
            <a:pPr lvl="0"/>
            <a:r>
              <a:rPr lang="en-US"/>
              <a:t>Edit Master text styles</a:t>
            </a:r>
          </a:p>
        </p:txBody>
      </p:sp>
      <p:sp>
        <p:nvSpPr>
          <p:cNvPr id="40" name="Slide Number Placeholder 2"/>
          <p:cNvSpPr>
            <a:spLocks noGrp="1"/>
          </p:cNvSpPr>
          <p:nvPr>
            <p:ph type="sldNum" sz="quarter" idx="10"/>
          </p:nvPr>
        </p:nvSpPr>
        <p:spPr>
          <a:xfrm>
            <a:off x="11646695" y="6482096"/>
            <a:ext cx="316706" cy="200485"/>
          </a:xfrm>
        </p:spPr>
        <p:txBody>
          <a:bodyPr/>
          <a:lstStyle/>
          <a:p>
            <a:fld id="{39E01B21-706C-4CF8-9DD5-E21775540E89}" type="slidenum">
              <a:rPr lang="en-US" smtClean="0"/>
              <a:pPr/>
              <a:t>‹#›</a:t>
            </a:fld>
            <a:endParaRPr lang="en-US"/>
          </a:p>
        </p:txBody>
      </p:sp>
      <p:sp>
        <p:nvSpPr>
          <p:cNvPr id="26" name="Rectangle 25"/>
          <p:cNvSpPr/>
          <p:nvPr userDrawn="1"/>
        </p:nvSpPr>
        <p:spPr>
          <a:xfrm rot="5400000">
            <a:off x="-322867" y="491142"/>
            <a:ext cx="585216" cy="601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78D7"/>
              </a:solidFill>
            </a:endParaRPr>
          </a:p>
        </p:txBody>
      </p:sp>
    </p:spTree>
    <p:extLst>
      <p:ext uri="{BB962C8B-B14F-4D97-AF65-F5344CB8AC3E}">
        <p14:creationId xmlns:p14="http://schemas.microsoft.com/office/powerpoint/2010/main" val="48120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0000" decel="70000" fill="hold" grpId="0" nodeType="afterEffect">
                                  <p:stCondLst>
                                    <p:cond delay="0"/>
                                  </p:stCondLst>
                                  <p:childTnLst>
                                    <p:animMotion origin="layout" path="M 3.95833E-6 4.07407E-6 L 0.01914 4.07407E-6 " pathEditMode="relative" rAng="0" ptsTypes="AA">
                                      <p:cBhvr>
                                        <p:cTn id="6" dur="400" fill="hold"/>
                                        <p:tgtEl>
                                          <p:spTgt spid="26"/>
                                        </p:tgtEl>
                                        <p:attrNameLst>
                                          <p:attrName>ppt_x</p:attrName>
                                          <p:attrName>ppt_y</p:attrName>
                                        </p:attrNameLst>
                                      </p:cBhvr>
                                      <p:rCtr x="9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userDrawn="1">
  <p:cSld name="Chart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0"/>
            <a:ext cx="11734801" cy="640080"/>
          </a:xfrm>
        </p:spPr>
        <p:txBody>
          <a:bodyPr/>
          <a:lstStyle>
            <a:lvl1pPr>
              <a:defRPr baseline="0">
                <a:solidFill>
                  <a:schemeClr val="accent1"/>
                </a:solidFill>
              </a:defRPr>
            </a:lvl1pPr>
          </a:lstStyle>
          <a:p>
            <a:r>
              <a:rPr lang="en-US"/>
              <a:t>Title of slide (Chart slide)</a:t>
            </a:r>
          </a:p>
        </p:txBody>
      </p:sp>
      <p:sp>
        <p:nvSpPr>
          <p:cNvPr id="7" name="Chart Placeholder 3"/>
          <p:cNvSpPr>
            <a:spLocks noGrp="1"/>
          </p:cNvSpPr>
          <p:nvPr>
            <p:ph type="chart" sz="quarter" idx="13"/>
          </p:nvPr>
        </p:nvSpPr>
        <p:spPr>
          <a:xfrm>
            <a:off x="228600" y="1825622"/>
            <a:ext cx="11734800" cy="3742074"/>
          </a:xfrm>
        </p:spPr>
        <p:txBody>
          <a:bodyPr/>
          <a:lstStyle>
            <a:lvl1pPr>
              <a:defRPr>
                <a:solidFill>
                  <a:schemeClr val="tx2"/>
                </a:solidFill>
                <a:latin typeface="Segoe UI Light" panose="020B0502040204020203" pitchFamily="34" charset="0"/>
                <a:cs typeface="Segoe UI Light" panose="020B0502040204020203" pitchFamily="34" charset="0"/>
              </a:defRPr>
            </a:lvl1pPr>
          </a:lstStyle>
          <a:p>
            <a:endParaRPr lang="en-US"/>
          </a:p>
        </p:txBody>
      </p:sp>
      <p:sp>
        <p:nvSpPr>
          <p:cNvPr id="6" name="Text Placeholder 3"/>
          <p:cNvSpPr>
            <a:spLocks noGrp="1"/>
          </p:cNvSpPr>
          <p:nvPr>
            <p:ph type="body" sz="quarter" idx="15" hasCustomPrompt="1"/>
          </p:nvPr>
        </p:nvSpPr>
        <p:spPr>
          <a:xfrm>
            <a:off x="228600" y="5796296"/>
            <a:ext cx="11734800" cy="457200"/>
          </a:xfrm>
        </p:spPr>
        <p:txBody>
          <a:bodyPr lIns="146304" tIns="91440" bIns="91440"/>
          <a:lstStyle>
            <a:lvl1pPr>
              <a:defRPr sz="1600">
                <a:solidFill>
                  <a:schemeClr val="accent1"/>
                </a:solidFill>
                <a:latin typeface="Segoe UI" panose="020B0502040204020203" pitchFamily="34" charset="0"/>
                <a:cs typeface="Segoe UI" panose="020B0502040204020203" pitchFamily="34" charset="0"/>
              </a:defRPr>
            </a:lvl1pPr>
          </a:lstStyle>
          <a:p>
            <a:pPr lvl="0"/>
            <a:r>
              <a:rPr lang="en-US"/>
              <a:t>Source Information , Last Refreshed, URL</a:t>
            </a:r>
          </a:p>
        </p:txBody>
      </p:sp>
      <p:sp>
        <p:nvSpPr>
          <p:cNvPr id="21" name="Text Placeholder 3"/>
          <p:cNvSpPr>
            <a:spLocks noGrp="1"/>
          </p:cNvSpPr>
          <p:nvPr>
            <p:ph type="body" sz="quarter" idx="36" hasCustomPrompt="1"/>
          </p:nvPr>
        </p:nvSpPr>
        <p:spPr>
          <a:xfrm>
            <a:off x="228600" y="914400"/>
            <a:ext cx="11734800" cy="457200"/>
          </a:xfrm>
        </p:spPr>
        <p:txBody>
          <a:bodyPr lIns="146304" tIns="0" bIns="0" anchor="t" anchorCtr="0"/>
          <a:lstStyle>
            <a:lvl1pPr>
              <a:defRPr baseline="0"/>
            </a:lvl1pPr>
          </a:lstStyle>
          <a:p>
            <a:pPr lvl="0"/>
            <a:r>
              <a:rPr lang="en-US"/>
              <a:t>Title of sub header</a:t>
            </a:r>
          </a:p>
        </p:txBody>
      </p:sp>
    </p:spTree>
    <p:extLst>
      <p:ext uri="{BB962C8B-B14F-4D97-AF65-F5344CB8AC3E}">
        <p14:creationId xmlns:p14="http://schemas.microsoft.com/office/powerpoint/2010/main" val="2334868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9E01B21-706C-4CF8-9DD5-E21775540E89}" type="slidenum">
              <a:rPr lang="en-US" smtClean="0"/>
              <a:pPr/>
              <a:t>‹#›</a:t>
            </a:fld>
            <a:endParaRPr lang="en-US"/>
          </a:p>
        </p:txBody>
      </p:sp>
      <p:sp>
        <p:nvSpPr>
          <p:cNvPr id="12" name="Title 11"/>
          <p:cNvSpPr>
            <a:spLocks noGrp="1"/>
          </p:cNvSpPr>
          <p:nvPr>
            <p:ph type="title" hasCustomPrompt="1"/>
          </p:nvPr>
        </p:nvSpPr>
        <p:spPr>
          <a:xfrm>
            <a:off x="228600" y="228600"/>
            <a:ext cx="11734801" cy="640080"/>
          </a:xfrm>
        </p:spPr>
        <p:txBody>
          <a:bodyPr tIns="45720"/>
          <a:lstStyle>
            <a:lvl1pPr>
              <a:defRPr baseline="0">
                <a:solidFill>
                  <a:schemeClr val="accent1"/>
                </a:solidFill>
              </a:defRPr>
            </a:lvl1pPr>
          </a:lstStyle>
          <a:p>
            <a:r>
              <a:rPr lang="en-US"/>
              <a:t>Title of slide (Title slide)</a:t>
            </a:r>
          </a:p>
        </p:txBody>
      </p:sp>
      <p:sp>
        <p:nvSpPr>
          <p:cNvPr id="24" name="Text Placeholder 3"/>
          <p:cNvSpPr>
            <a:spLocks noGrp="1"/>
          </p:cNvSpPr>
          <p:nvPr>
            <p:ph type="body" sz="quarter" idx="36" hasCustomPrompt="1"/>
          </p:nvPr>
        </p:nvSpPr>
        <p:spPr>
          <a:xfrm>
            <a:off x="228600" y="914400"/>
            <a:ext cx="11734800" cy="457200"/>
          </a:xfrm>
        </p:spPr>
        <p:txBody>
          <a:bodyPr lIns="146304" tIns="0" bIns="0" anchor="t" anchorCtr="0"/>
          <a:lstStyle>
            <a:lvl1pPr>
              <a:defRPr baseline="0"/>
            </a:lvl1pPr>
          </a:lstStyle>
          <a:p>
            <a:pPr lvl="0"/>
            <a:r>
              <a:rPr lang="en-US"/>
              <a:t>Title of sub header</a:t>
            </a:r>
          </a:p>
        </p:txBody>
      </p:sp>
    </p:spTree>
    <p:extLst>
      <p:ext uri="{BB962C8B-B14F-4D97-AF65-F5344CB8AC3E}">
        <p14:creationId xmlns:p14="http://schemas.microsoft.com/office/powerpoint/2010/main" val="401452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7"/>
            <a:ext cx="11653523" cy="18770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8072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572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4"/>
              </a:lnSpc>
              <a:defRPr sz="5685" baseline="0">
                <a:solidFill>
                  <a:schemeClr val="accent2"/>
                </a:solidFill>
              </a:defRPr>
            </a:lvl1pPr>
          </a:lstStyle>
          <a:p>
            <a:r>
              <a:rPr lang="en-US"/>
              <a:t>Lorem ipsum dolor sit.</a:t>
            </a:r>
          </a:p>
        </p:txBody>
      </p:sp>
    </p:spTree>
    <p:extLst>
      <p:ext uri="{BB962C8B-B14F-4D97-AF65-F5344CB8AC3E}">
        <p14:creationId xmlns:p14="http://schemas.microsoft.com/office/powerpoint/2010/main" val="148545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61605-0F0C-49BF-B059-861639909F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D40287-60B5-43D7-8334-C22D0E81540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6C2051-D578-47EC-B4C7-EA73073A90D0}"/>
              </a:ext>
            </a:extLst>
          </p:cNvPr>
          <p:cNvSpPr>
            <a:spLocks noGrp="1"/>
          </p:cNvSpPr>
          <p:nvPr>
            <p:ph type="dt" sz="half" idx="10"/>
          </p:nvPr>
        </p:nvSpPr>
        <p:spPr>
          <a:xfrm>
            <a:off x="838201" y="6356351"/>
            <a:ext cx="2743200" cy="365125"/>
          </a:xfrm>
          <a:prstGeom prst="rect">
            <a:avLst/>
          </a:prstGeom>
        </p:spPr>
        <p:txBody>
          <a:bodyPr/>
          <a:lstStyle/>
          <a:p>
            <a:fld id="{A7AB1597-FE23-384F-9715-3CFE67D8D642}" type="datetime1">
              <a:rPr lang="en-US" smtClean="0">
                <a:solidFill>
                  <a:prstClr val="black">
                    <a:tint val="75000"/>
                  </a:prstClr>
                </a:solidFill>
              </a:rPr>
              <a:pPr/>
              <a:t>1/18/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0457077-8A16-4819-AC4F-85425F5267D4}"/>
              </a:ext>
            </a:extLst>
          </p:cNvPr>
          <p:cNvSpPr>
            <a:spLocks noGrp="1"/>
          </p:cNvSpPr>
          <p:nvPr>
            <p:ph type="ftr" sz="quarter" idx="11"/>
          </p:nvPr>
        </p:nvSpPr>
        <p:spPr>
          <a:xfrm>
            <a:off x="4038600" y="6356351"/>
            <a:ext cx="4114800" cy="365125"/>
          </a:xfrm>
          <a:prstGeom prst="rect">
            <a:avLst/>
          </a:prstGeom>
        </p:spPr>
        <p:txBody>
          <a:bodyPr/>
          <a:lstStyle/>
          <a:p>
            <a:r>
              <a:rPr lang="en-US">
                <a:solidFill>
                  <a:prstClr val="black">
                    <a:tint val="75000"/>
                  </a:prstClr>
                </a:solidFill>
              </a:rPr>
              <a:t>Microsoft Confidential </a:t>
            </a:r>
          </a:p>
        </p:txBody>
      </p:sp>
      <p:sp>
        <p:nvSpPr>
          <p:cNvPr id="6" name="Slide Number Placeholder 5">
            <a:extLst>
              <a:ext uri="{FF2B5EF4-FFF2-40B4-BE49-F238E27FC236}">
                <a16:creationId xmlns:a16="http://schemas.microsoft.com/office/drawing/2014/main" id="{CC835672-EBCF-472C-978A-592F91E9E042}"/>
              </a:ext>
            </a:extLst>
          </p:cNvPr>
          <p:cNvSpPr>
            <a:spLocks noGrp="1"/>
          </p:cNvSpPr>
          <p:nvPr>
            <p:ph type="sldNum" sz="quarter" idx="12"/>
          </p:nvPr>
        </p:nvSpPr>
        <p:spPr/>
        <p:txBody>
          <a:bodyPr/>
          <a:lstStyle/>
          <a:p>
            <a:fld id="{F23DDD8A-E3AB-40E4-B824-B0BAE52C54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109520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58707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79444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5779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04033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13707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69912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974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235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88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5469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A2D-1781-4047-A2CF-9E1BFE5CCF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4F2B7C-3F89-4847-812D-3BF18494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BF31EB-C42C-4500-A43B-DCEA7FF80DE4}"/>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5" name="Footer Placeholder 4">
            <a:extLst>
              <a:ext uri="{FF2B5EF4-FFF2-40B4-BE49-F238E27FC236}">
                <a16:creationId xmlns:a16="http://schemas.microsoft.com/office/drawing/2014/main" id="{A35FB435-8985-4C63-B7D6-DDFE42CF9C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8ADA1C-51FC-4928-BD76-C771F6A008FC}"/>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389322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97976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9072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marL="0" indent="0">
              <a:buFontTx/>
              <a:buNone/>
              <a:defRPr sz="3528"/>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89228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4"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62369633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505599" y="6574941"/>
            <a:ext cx="3180807" cy="142347"/>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r>
              <a:rPr kumimoji="0" lang="en-US" sz="925" b="0" i="0" u="none" strike="noStrike" kern="1200" cap="none" spc="132" normalizeH="0" baseline="0" noProof="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
        <p:nvSpPr>
          <p:cNvPr id="4" name="Text Placeholder 3"/>
          <p:cNvSpPr>
            <a:spLocks noGrp="1"/>
          </p:cNvSpPr>
          <p:nvPr>
            <p:ph type="body" sz="quarter" idx="10"/>
          </p:nvPr>
        </p:nvSpPr>
        <p:spPr>
          <a:xfrm>
            <a:off x="269241" y="1189179"/>
            <a:ext cx="11653523" cy="205203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33513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mn-lt"/>
                <a:ea typeface="+mn-ea"/>
                <a:cs typeface="+mn-cs"/>
              </a:defRPr>
            </a:lvl1pPr>
          </a:lstStyle>
          <a:p>
            <a:r>
              <a:rPr lang="en-US"/>
              <a:t>Optional (City, State or venue)</a:t>
            </a:r>
          </a:p>
        </p:txBody>
      </p:sp>
    </p:spTree>
    <p:extLst>
      <p:ext uri="{BB962C8B-B14F-4D97-AF65-F5344CB8AC3E}">
        <p14:creationId xmlns:p14="http://schemas.microsoft.com/office/powerpoint/2010/main" val="3838611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auto">
          <a:xfrm>
            <a:off x="269239" y="2108564"/>
            <a:ext cx="6276530" cy="875413"/>
          </a:xfrm>
          <a:noFill/>
        </p:spPr>
        <p:txBody>
          <a:bodyPr lIns="146304" tIns="91440" rIns="146304" bIns="91440" anchor="t" anchorCtr="0"/>
          <a:lstStyle>
            <a:lvl1pPr>
              <a:defRPr sz="5294" spc="-98" baseline="0">
                <a:gradFill>
                  <a:gsLst>
                    <a:gs pos="8718">
                      <a:srgbClr val="353535"/>
                    </a:gs>
                    <a:gs pos="34000">
                      <a:srgbClr val="353535"/>
                    </a:gs>
                  </a:gsLst>
                  <a:lin ang="5400000" scaled="0"/>
                </a:gradFill>
              </a:defRPr>
            </a:lvl1pPr>
          </a:lstStyle>
          <a:p>
            <a:endParaRPr lang="en-US"/>
          </a:p>
        </p:txBody>
      </p:sp>
      <p:sp>
        <p:nvSpPr>
          <p:cNvPr id="3" name="Text Placeholder 2"/>
          <p:cNvSpPr>
            <a:spLocks noGrp="1"/>
          </p:cNvSpPr>
          <p:nvPr>
            <p:ph type="body" sz="quarter" idx="14" hasCustomPrompt="1"/>
          </p:nvPr>
        </p:nvSpPr>
        <p:spPr bwMode="auto">
          <a:xfrm>
            <a:off x="269239" y="3874398"/>
            <a:ext cx="4482124" cy="1677043"/>
          </a:xfrm>
        </p:spPr>
        <p:txBody>
          <a:bodyPr lIns="164592" tIns="109728" rIns="164592" bIns="109728">
            <a:noAutofit/>
          </a:bodyPr>
          <a:lstStyle>
            <a:lvl1pPr marL="0" indent="0">
              <a:spcBef>
                <a:spcPts val="0"/>
              </a:spcBef>
              <a:buNone/>
              <a:defRPr sz="3137" baseline="0">
                <a:gradFill>
                  <a:gsLst>
                    <a:gs pos="8718">
                      <a:srgbClr val="353535"/>
                    </a:gs>
                    <a:gs pos="34000">
                      <a:srgbClr val="353535"/>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14" name="Picture 13">
            <a:extLst>
              <a:ext uri="{FF2B5EF4-FFF2-40B4-BE49-F238E27FC236}">
                <a16:creationId xmlns:a16="http://schemas.microsoft.com/office/drawing/2014/main" id="{2098C98E-B5A3-448D-A88D-A312BC68C773}"/>
              </a:ext>
            </a:extLst>
          </p:cNvPr>
          <p:cNvPicPr>
            <a:picLocks noChangeAspect="1"/>
          </p:cNvPicPr>
          <p:nvPr userDrawn="1"/>
        </p:nvPicPr>
        <p:blipFill rotWithShape="1">
          <a:blip r:embed="rId3"/>
          <a:srcRect t="9264"/>
          <a:stretch/>
        </p:blipFill>
        <p:spPr>
          <a:xfrm>
            <a:off x="1" y="1"/>
            <a:ext cx="12221569" cy="7393956"/>
          </a:xfrm>
          <a:prstGeom prst="rect">
            <a:avLst/>
          </a:prstGeom>
        </p:spPr>
      </p:pic>
    </p:spTree>
    <p:extLst>
      <p:ext uri="{BB962C8B-B14F-4D97-AF65-F5344CB8AC3E}">
        <p14:creationId xmlns:p14="http://schemas.microsoft.com/office/powerpoint/2010/main" val="314253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49888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3" r="43761"/>
          <a:stretch/>
        </p:blipFill>
        <p:spPr>
          <a:xfrm flipH="1">
            <a:off x="5334350" y="2"/>
            <a:ext cx="6855908" cy="6857996"/>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8898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705"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0807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2A3F1-3A53-417D-BCBD-2A874E5AEB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AD2450-0075-4A4B-B867-8DF58AAB87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561878-63B3-4AAA-935F-62E7AD13D8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1695C9-07A1-41DC-A67A-20FECB8E5D1E}"/>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6" name="Footer Placeholder 5">
            <a:extLst>
              <a:ext uri="{FF2B5EF4-FFF2-40B4-BE49-F238E27FC236}">
                <a16:creationId xmlns:a16="http://schemas.microsoft.com/office/drawing/2014/main" id="{DB96A117-1E64-46AF-8129-3689258A48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7D5523-E13C-4594-AE63-F53727045E89}"/>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114009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1879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0572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9970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95092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985032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98543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7802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3177446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74938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79284911"/>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F1B94-05AF-4126-864E-6C88A64C2F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0AA27-FDEF-445C-BEA9-B7C7A219B9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4F7AE2-18B0-4E96-BB10-FCAAB6BEA6F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15615E-0753-4864-A94F-9CA8837919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B35973-D199-4A11-9A7D-18E67AC5FB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EC820A-2C31-4266-98A1-1367C9B80D63}"/>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8" name="Footer Placeholder 7">
            <a:extLst>
              <a:ext uri="{FF2B5EF4-FFF2-40B4-BE49-F238E27FC236}">
                <a16:creationId xmlns:a16="http://schemas.microsoft.com/office/drawing/2014/main" id="{481D816B-F3A9-415C-B5A3-0860B7BAAB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0A86D8-2287-4062-A049-83C0D0E4A6A6}"/>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924182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26881598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78639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682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45477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96144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92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885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0"/>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4"/>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0"/>
            <a:ext cx="8964185" cy="1178282"/>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5354150"/>
            <a:ext cx="8964186" cy="959071"/>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5"/>
            <a:ext cx="1993362" cy="701889"/>
          </a:xfrm>
          <a:prstGeom prst="rect">
            <a:avLst/>
          </a:prstGeom>
        </p:spPr>
      </p:pic>
    </p:spTree>
    <p:extLst>
      <p:ext uri="{BB962C8B-B14F-4D97-AF65-F5344CB8AC3E}">
        <p14:creationId xmlns:p14="http://schemas.microsoft.com/office/powerpoint/2010/main" val="366030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670523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153245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8A53-0753-48C0-9FB6-26AED1CB27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C6419E-B1AC-4A26-ACBF-0661AFB207EB}"/>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4" name="Footer Placeholder 3">
            <a:extLst>
              <a:ext uri="{FF2B5EF4-FFF2-40B4-BE49-F238E27FC236}">
                <a16:creationId xmlns:a16="http://schemas.microsoft.com/office/drawing/2014/main" id="{E50288D8-D7C3-41C6-BC78-52503EB363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4936AF-E6E2-474F-A3D1-1977FEEBAEDF}"/>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34763921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767350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935712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16495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12588113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58178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88664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87746501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96681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4590086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1452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6F9EC6-4ECE-4ACE-8B04-E94D1D363812}"/>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3" name="Footer Placeholder 2">
            <a:extLst>
              <a:ext uri="{FF2B5EF4-FFF2-40B4-BE49-F238E27FC236}">
                <a16:creationId xmlns:a16="http://schemas.microsoft.com/office/drawing/2014/main" id="{07C901FC-9378-4552-B6FE-6612121DBE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97E2C-C76D-44E0-9F78-A7311837B3ED}"/>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839078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35449157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80799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425560772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99086114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59635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5898964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4888866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33255634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04200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2164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3CC6C-95BA-4D5A-AB51-BABAC31D3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FCA74E-38FD-4846-BBCF-2BD4942EC5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39DFE-8274-46D2-BC2E-3DA5B90281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39075A-467B-4EA9-9DED-AB952F067731}"/>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6" name="Footer Placeholder 5">
            <a:extLst>
              <a:ext uri="{FF2B5EF4-FFF2-40B4-BE49-F238E27FC236}">
                <a16:creationId xmlns:a16="http://schemas.microsoft.com/office/drawing/2014/main" id="{C50CB1B2-1745-4ED6-A9D2-A3DDAF24A5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AA402-FADE-49FD-8B18-2A9BFB216738}"/>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2228206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010110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5443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343821574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9003964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941"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192000" cy="1232898"/>
          </a:xfrm>
        </p:spPr>
        <p:txBody>
          <a:bodyPr lIns="393192" tIns="393192" bIns="91440">
            <a:normAutofit/>
          </a:bodyPr>
          <a:lstStyle>
            <a:lvl1pPr marL="0" indent="0">
              <a:buNone/>
              <a:defRPr sz="44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89106" y="1233488"/>
            <a:ext cx="11802894" cy="2187971"/>
          </a:xfrm>
        </p:spPr>
        <p:txBody>
          <a:bodyPr/>
          <a:lstStyle>
            <a:lvl1pPr marL="0" indent="0">
              <a:buNone/>
              <a:defRPr/>
            </a:lvl1pPr>
            <a:lvl2pPr marL="457112" indent="0">
              <a:buNone/>
              <a:defRPr/>
            </a:lvl2pPr>
            <a:lvl3pPr marL="914225" indent="0">
              <a:buNone/>
              <a:defRPr/>
            </a:lvl3pPr>
            <a:lvl4pPr marL="1371337" indent="0">
              <a:buNone/>
              <a:defRPr/>
            </a:lvl4pPr>
            <a:lvl5pPr marL="18284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859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4AC20D8-C45F-4EE8-8418-6282A3B9FC6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12" name="Rectangle 11">
            <a:extLst>
              <a:ext uri="{FF2B5EF4-FFF2-40B4-BE49-F238E27FC236}">
                <a16:creationId xmlns:a16="http://schemas.microsoft.com/office/drawing/2014/main" id="{7DA45350-938C-4C1E-87A3-F80ADD4B9546}"/>
              </a:ext>
            </a:extLst>
          </p:cNvPr>
          <p:cNvSpPr/>
          <p:nvPr userDrawn="1"/>
        </p:nvSpPr>
        <p:spPr bwMode="auto">
          <a:xfrm flipH="1" flipV="1">
            <a:off x="0" y="1"/>
            <a:ext cx="12190270" cy="1438219"/>
          </a:xfrm>
          <a:prstGeom prst="rect">
            <a:avLst/>
          </a:prstGeom>
          <a:gradFill flip="none" rotWithShape="1">
            <a:gsLst>
              <a:gs pos="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E0894A99-A752-42BA-B1EB-CDD1CAF93D54}"/>
              </a:ext>
            </a:extLst>
          </p:cNvPr>
          <p:cNvSpPr/>
          <p:nvPr userDrawn="1"/>
        </p:nvSpPr>
        <p:spPr bwMode="auto">
          <a:xfrm>
            <a:off x="0" y="1731045"/>
            <a:ext cx="12190270" cy="5126957"/>
          </a:xfrm>
          <a:prstGeom prst="rect">
            <a:avLst/>
          </a:prstGeom>
          <a:gradFill flip="none" rotWithShape="1">
            <a:gsLst>
              <a:gs pos="50000">
                <a:srgbClr val="000000">
                  <a:alpha val="50000"/>
                </a:srgbClr>
              </a:gs>
              <a:gs pos="100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4174571"/>
            <a:ext cx="8964185" cy="1178282"/>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5354151"/>
            <a:ext cx="8964186" cy="959071"/>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a:t>Speaker Name</a:t>
            </a:r>
          </a:p>
        </p:txBody>
      </p:sp>
      <p:pic>
        <p:nvPicPr>
          <p:cNvPr id="11" name="Picture 10">
            <a:extLst>
              <a:ext uri="{FF2B5EF4-FFF2-40B4-BE49-F238E27FC236}">
                <a16:creationId xmlns:a16="http://schemas.microsoft.com/office/drawing/2014/main" id="{CB91CB2F-950C-41BC-99F6-26CA49D4A30A}"/>
              </a:ext>
            </a:extLst>
          </p:cNvPr>
          <p:cNvPicPr>
            <a:picLocks noChangeAspect="1"/>
          </p:cNvPicPr>
          <p:nvPr userDrawn="1"/>
        </p:nvPicPr>
        <p:blipFill>
          <a:blip r:embed="rId3"/>
          <a:stretch>
            <a:fillRect/>
          </a:stretch>
        </p:blipFill>
        <p:spPr>
          <a:xfrm>
            <a:off x="319290" y="292826"/>
            <a:ext cx="1993362" cy="701889"/>
          </a:xfrm>
          <a:prstGeom prst="rect">
            <a:avLst/>
          </a:prstGeom>
        </p:spPr>
      </p:pic>
    </p:spTree>
    <p:extLst>
      <p:ext uri="{BB962C8B-B14F-4D97-AF65-F5344CB8AC3E}">
        <p14:creationId xmlns:p14="http://schemas.microsoft.com/office/powerpoint/2010/main" val="1742904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57769"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13415" y="322490"/>
            <a:ext cx="9720817" cy="6256136"/>
          </a:xfrm>
          <a:prstGeom prst="rect">
            <a:avLst/>
          </a:prstGeom>
          <a:noFill/>
          <a:ln>
            <a:noFill/>
          </a:ln>
        </p:spPr>
      </p:pic>
    </p:spTree>
    <p:extLst>
      <p:ext uri="{BB962C8B-B14F-4D97-AF65-F5344CB8AC3E}">
        <p14:creationId xmlns:p14="http://schemas.microsoft.com/office/powerpoint/2010/main" val="3723598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8"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1"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325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791894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1"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88586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09DF-D18F-4FED-A2ED-50C91C3414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4335EA-20A1-459E-8E1B-26D78B80E3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2CE9FF-4565-4107-A4AC-CCAA43AF99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D716B-18D0-4D15-9BE7-20C187CC9E03}"/>
              </a:ext>
            </a:extLst>
          </p:cNvPr>
          <p:cNvSpPr>
            <a:spLocks noGrp="1"/>
          </p:cNvSpPr>
          <p:nvPr>
            <p:ph type="dt" sz="half" idx="10"/>
          </p:nvPr>
        </p:nvSpPr>
        <p:spPr/>
        <p:txBody>
          <a:bodyPr/>
          <a:lstStyle/>
          <a:p>
            <a:fld id="{86E5768C-F6BB-4624-8EA1-0937C7EFFB7D}" type="datetimeFigureOut">
              <a:rPr lang="en-US" smtClean="0"/>
              <a:t>1/18/2020</a:t>
            </a:fld>
            <a:endParaRPr lang="en-US"/>
          </a:p>
        </p:txBody>
      </p:sp>
      <p:sp>
        <p:nvSpPr>
          <p:cNvPr id="6" name="Footer Placeholder 5">
            <a:extLst>
              <a:ext uri="{FF2B5EF4-FFF2-40B4-BE49-F238E27FC236}">
                <a16:creationId xmlns:a16="http://schemas.microsoft.com/office/drawing/2014/main" id="{62859168-4602-4AC5-A2CF-D6870FE973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C3045-F64D-4821-A2A9-6F6CF94377AE}"/>
              </a:ext>
            </a:extLst>
          </p:cNvPr>
          <p:cNvSpPr>
            <a:spLocks noGrp="1"/>
          </p:cNvSpPr>
          <p:nvPr>
            <p:ph type="sldNum" sz="quarter" idx="12"/>
          </p:nvPr>
        </p:nvSpPr>
        <p:spPr/>
        <p:txBody>
          <a:bodyPr/>
          <a:lstStyle/>
          <a:p>
            <a:fld id="{FB304393-4076-4009-945A-FDBFDD7A259A}" type="slidenum">
              <a:rPr lang="en-US" smtClean="0"/>
              <a:t>‹#›</a:t>
            </a:fld>
            <a:endParaRPr lang="en-US"/>
          </a:p>
        </p:txBody>
      </p:sp>
    </p:spTree>
    <p:extLst>
      <p:ext uri="{BB962C8B-B14F-4D97-AF65-F5344CB8AC3E}">
        <p14:creationId xmlns:p14="http://schemas.microsoft.com/office/powerpoint/2010/main" val="1889654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080" indent="0">
              <a:buNone/>
              <a:defRPr sz="3136"/>
            </a:lvl2pPr>
            <a:lvl3pPr marL="560134" indent="0">
              <a:buNone/>
              <a:defRPr sz="3136"/>
            </a:lvl3pPr>
            <a:lvl4pPr marL="784187" indent="0">
              <a:buNone/>
              <a:defRPr sz="3136"/>
            </a:lvl4pPr>
            <a:lvl5pPr marL="1008241" indent="0">
              <a:buNone/>
              <a:defRPr sz="3136"/>
            </a:lvl5pPr>
          </a:lstStyle>
          <a:p>
            <a:pPr lvl="0"/>
            <a:r>
              <a:rPr lang="en-US"/>
              <a:t> </a:t>
            </a:r>
          </a:p>
        </p:txBody>
      </p:sp>
      <p:sp>
        <p:nvSpPr>
          <p:cNvPr id="17" name="Title 16"/>
          <p:cNvSpPr>
            <a:spLocks noGrp="1"/>
          </p:cNvSpPr>
          <p:nvPr>
            <p:ph type="title"/>
          </p:nvPr>
        </p:nvSpPr>
        <p:spPr>
          <a:xfrm>
            <a:off x="4307819" y="3557466"/>
            <a:ext cx="2234160" cy="2228097"/>
          </a:xfrm>
          <a:solidFill>
            <a:srgbClr val="68217A"/>
          </a:solidFill>
        </p:spPr>
        <p:txBody>
          <a:bodyPr lIns="182880" tIns="146304" rIns="182880" bIns="146304"/>
          <a:lstStyle>
            <a:lvl1pPr>
              <a:defRPr sz="3136">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76586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1250">
                      <a:schemeClr val="tx1"/>
                    </a:gs>
                    <a:gs pos="100000">
                      <a:schemeClr val="tx1"/>
                    </a:gs>
                  </a:gsLst>
                  <a:lin ang="5400000" scaled="0"/>
                </a:gradFill>
                <a:latin typeface="+mn-lt"/>
              </a:defRPr>
            </a:lvl1pPr>
            <a:lvl2pPr>
              <a:defRPr sz="1567"/>
            </a:lvl2pPr>
            <a:lvl3pPr>
              <a:defRPr sz="1567"/>
            </a:lvl3pPr>
            <a:lvl4pPr>
              <a:defRPr sz="1567"/>
            </a:lvl4pPr>
            <a:lvl5pPr marL="1008241" indent="0">
              <a:buNone/>
              <a:defRPr sz="1567"/>
            </a:lvl5pPr>
          </a:lstStyle>
          <a:p>
            <a:pPr lvl="0"/>
            <a:r>
              <a:rPr lang="en-US"/>
              <a:t>Click to edit Master text styles</a:t>
            </a:r>
          </a:p>
        </p:txBody>
      </p:sp>
    </p:spTree>
    <p:extLst>
      <p:ext uri="{BB962C8B-B14F-4D97-AF65-F5344CB8AC3E}">
        <p14:creationId xmlns:p14="http://schemas.microsoft.com/office/powerpoint/2010/main" val="92610171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8"/>
            <a:ext cx="5378549" cy="398335"/>
          </a:xfrm>
        </p:spPr>
        <p:txBody>
          <a:bodyPr/>
          <a:lstStyle>
            <a:lvl1pPr marL="0" indent="0">
              <a:buNone/>
              <a:defRPr sz="1567">
                <a:gradFill>
                  <a:gsLst>
                    <a:gs pos="92035">
                      <a:schemeClr val="tx1"/>
                    </a:gs>
                    <a:gs pos="84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4143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3877277"/>
            <a:ext cx="5378549" cy="401841"/>
          </a:xfrm>
        </p:spPr>
        <p:txBody>
          <a:bodyPr/>
          <a:lstStyle>
            <a:lvl1pPr marL="0" indent="0">
              <a:buNone/>
              <a:defRPr sz="1567">
                <a:gradFill>
                  <a:gsLst>
                    <a:gs pos="94690">
                      <a:schemeClr val="tx1"/>
                    </a:gs>
                    <a:gs pos="86000">
                      <a:schemeClr val="tx1"/>
                    </a:gs>
                  </a:gsLst>
                  <a:lin ang="5400000" scaled="0"/>
                </a:gradFill>
                <a:latin typeface="+mn-lt"/>
              </a:defRPr>
            </a:lvl1pPr>
            <a:lvl2pPr>
              <a:defRPr sz="1567">
                <a:gradFill>
                  <a:gsLst>
                    <a:gs pos="94030">
                      <a:srgbClr val="FFFFFF"/>
                    </a:gs>
                    <a:gs pos="68000">
                      <a:srgbClr val="FFFFFF"/>
                    </a:gs>
                  </a:gsLst>
                  <a:lin ang="5400000" scaled="0"/>
                </a:gradFill>
              </a:defRPr>
            </a:lvl2pPr>
            <a:lvl3pPr>
              <a:defRPr sz="1567">
                <a:gradFill>
                  <a:gsLst>
                    <a:gs pos="94030">
                      <a:srgbClr val="FFFFFF"/>
                    </a:gs>
                    <a:gs pos="68000">
                      <a:srgbClr val="FFFFFF"/>
                    </a:gs>
                  </a:gsLst>
                  <a:lin ang="5400000" scaled="0"/>
                </a:gradFill>
              </a:defRPr>
            </a:lvl3pPr>
            <a:lvl4pPr>
              <a:defRPr sz="1567">
                <a:gradFill>
                  <a:gsLst>
                    <a:gs pos="94030">
                      <a:srgbClr val="FFFFFF"/>
                    </a:gs>
                    <a:gs pos="68000">
                      <a:srgbClr val="FFFFFF"/>
                    </a:gs>
                  </a:gsLst>
                  <a:lin ang="5400000" scaled="0"/>
                </a:gradFill>
              </a:defRPr>
            </a:lvl4pPr>
            <a:lvl5pPr>
              <a:defRPr sz="1567">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25054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70"/>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362933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6618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1793071"/>
          </a:xfrm>
        </p:spPr>
        <p:txBody>
          <a:bodyPr/>
          <a:lstStyle>
            <a:lvl1pPr>
              <a:defRPr sz="5685">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43783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9"/>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62223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1"/>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8" y="1187622"/>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30791286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400763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6.emf"/><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heme" Target="../theme/theme3.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theme" Target="../theme/theme4.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theme" Target="../theme/theme6.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21.png"/><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7.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image" Target="../media/image6.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image" Target="../media/image31.png"/><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theme" Target="../theme/theme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theme" Target="../theme/theme9.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8" Type="http://schemas.openxmlformats.org/officeDocument/2006/relationships/slideLayout" Target="../slideLayouts/slideLayout183.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20" Type="http://schemas.openxmlformats.org/officeDocument/2006/relationships/slideLayout" Target="../slideLayouts/slideLayout195.xml"/><Relationship Id="rId41"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4B473E-F429-4AA1-9437-8A810E5D7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5225E1-9EF5-43C6-9D16-251E239795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57B618-65F8-4F7A-A5E6-4D63F2BA5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E5768C-F6BB-4624-8EA1-0937C7EFFB7D}" type="datetimeFigureOut">
              <a:rPr lang="en-US" smtClean="0"/>
              <a:t>1/18/2020</a:t>
            </a:fld>
            <a:endParaRPr lang="en-US"/>
          </a:p>
        </p:txBody>
      </p:sp>
      <p:sp>
        <p:nvSpPr>
          <p:cNvPr id="5" name="Footer Placeholder 4">
            <a:extLst>
              <a:ext uri="{FF2B5EF4-FFF2-40B4-BE49-F238E27FC236}">
                <a16:creationId xmlns:a16="http://schemas.microsoft.com/office/drawing/2014/main" id="{F08AA776-6E2C-483E-92A4-ECDBBE72F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5AAE24-0DA4-44C0-8757-4B3DF4E95C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04393-4076-4009-945A-FDBFDD7A259A}" type="slidenum">
              <a:rPr lang="en-US" smtClean="0"/>
              <a:t>‹#›</a:t>
            </a:fld>
            <a:endParaRPr lang="en-US"/>
          </a:p>
        </p:txBody>
      </p:sp>
    </p:spTree>
    <p:extLst>
      <p:ext uri="{BB962C8B-B14F-4D97-AF65-F5344CB8AC3E}">
        <p14:creationId xmlns:p14="http://schemas.microsoft.com/office/powerpoint/2010/main" val="2268483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Oragen</a:t>
                </a:r>
                <a:endPar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Yellow</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37168">
                          <a:srgbClr val="292929"/>
                        </a:gs>
                        <a:gs pos="72000">
                          <a:srgbClr val="292929"/>
                        </a:gs>
                      </a:gsLst>
                      <a:lin ang="5400000" scaled="0"/>
                    </a:gradFill>
                    <a:effectLst/>
                    <a:uLnTx/>
                    <a:uFillTx/>
                    <a:latin typeface="+mn-lt"/>
                    <a:ea typeface="Segoe UI" pitchFamily="34" charset="0"/>
                    <a:cs typeface="Segoe UI" pitchFamily="34" charset="0"/>
                  </a:rPr>
                  <a:t>Light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37168">
                          <a:srgbClr val="292929"/>
                        </a:gs>
                        <a:gs pos="72000">
                          <a:srgbClr val="292929"/>
                        </a:gs>
                      </a:gsLst>
                      <a:lin ang="5400000" scaled="0"/>
                    </a:gradFill>
                    <a:effectLst/>
                    <a:uLnTx/>
                    <a:uFillTx/>
                    <a:ea typeface="Segoe UI" pitchFamily="34" charset="0"/>
                    <a:cs typeface="Segoe UI" pitchFamily="34" charset="0"/>
                  </a:rPr>
                  <a:t>R:210 G:210 B:210</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82301">
                        <a:srgbClr val="292929"/>
                      </a:gs>
                      <a:gs pos="62000">
                        <a:srgbClr val="292929"/>
                      </a:gs>
                    </a:gsLst>
                    <a:lin ang="5400000" scaled="0"/>
                  </a:gradFill>
                  <a:effectLst/>
                  <a:uLnTx/>
                  <a:uFillTx/>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Red</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32 B80</a:t>
              </a:r>
            </a:p>
          </p:txBody>
        </p:sp>
      </p:grpSp>
    </p:spTree>
    <p:extLst>
      <p:ext uri="{BB962C8B-B14F-4D97-AF65-F5344CB8AC3E}">
        <p14:creationId xmlns:p14="http://schemas.microsoft.com/office/powerpoint/2010/main" val="10370743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52604700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3016981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374050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1320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6" r:id="rId1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120454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1" r:id="rId23"/>
    <p:sldLayoutId id="2147483812" r:id="rId24"/>
  </p:sldLayoutIdLst>
  <p:transition>
    <p:fade/>
  </p:transition>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15246845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8601"/>
            <a:ext cx="11734800" cy="640080"/>
          </a:xfrm>
          <a:prstGeom prst="rect">
            <a:avLst/>
          </a:prstGeom>
        </p:spPr>
        <p:txBody>
          <a:bodyPr vert="horz" lIns="137160" tIns="45720" rIns="137160" bIns="137160" rtlCol="0" anchor="t" anchorCtr="0">
            <a:noAutofit/>
          </a:bodyPr>
          <a:lstStyle/>
          <a:p>
            <a:r>
              <a:rPr lang="en-US"/>
              <a:t>Click to edit Master title style</a:t>
            </a:r>
          </a:p>
        </p:txBody>
      </p:sp>
      <p:sp>
        <p:nvSpPr>
          <p:cNvPr id="3" name="Text Placeholder 2"/>
          <p:cNvSpPr>
            <a:spLocks noGrp="1"/>
          </p:cNvSpPr>
          <p:nvPr>
            <p:ph type="body" idx="1"/>
          </p:nvPr>
        </p:nvSpPr>
        <p:spPr>
          <a:xfrm>
            <a:off x="228600" y="1546240"/>
            <a:ext cx="11734800" cy="4478657"/>
          </a:xfrm>
          <a:prstGeom prst="rect">
            <a:avLst/>
          </a:prstGeom>
        </p:spPr>
        <p:txBody>
          <a:bodyPr vert="horz" lIns="137160" tIns="137160" rIns="137160" bIns="137160" rtlCol="0">
            <a:noAutofit/>
          </a:bodyPr>
          <a:lstStyle/>
          <a:p>
            <a:pPr lvl="0"/>
            <a:r>
              <a:rPr lang="en-US"/>
              <a:t>Click to edit Master text styles</a:t>
            </a:r>
          </a:p>
          <a:p>
            <a:pPr lvl="1"/>
            <a:r>
              <a:rPr lang="en-US"/>
              <a:t>First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46695" y="6482096"/>
            <a:ext cx="316706" cy="200485"/>
          </a:xfrm>
          <a:prstGeom prst="rect">
            <a:avLst/>
          </a:prstGeom>
        </p:spPr>
        <p:txBody>
          <a:bodyPr vert="horz" lIns="0" tIns="0" rIns="0" bIns="0" rtlCol="0" anchor="ctr"/>
          <a:lstStyle>
            <a:lvl1pPr algn="r">
              <a:defRPr sz="1200">
                <a:solidFill>
                  <a:schemeClr val="tx1"/>
                </a:solidFill>
                <a:latin typeface="Segoe UI" panose="020B0502040204020203" pitchFamily="34" charset="0"/>
                <a:cs typeface="Segoe UI" panose="020B0502040204020203" pitchFamily="34" charset="0"/>
              </a:defRPr>
            </a:lvl1pPr>
          </a:lstStyle>
          <a:p>
            <a:fld id="{39E01B21-706C-4CF8-9DD5-E21775540E89}" type="slidenum">
              <a:rPr lang="en-US" smtClean="0"/>
              <a:pPr/>
              <a:t>‹#›</a:t>
            </a:fld>
            <a:endParaRPr lang="en-US"/>
          </a:p>
        </p:txBody>
      </p:sp>
      <p:sp>
        <p:nvSpPr>
          <p:cNvPr id="23" name="AutoShape 3"/>
          <p:cNvSpPr>
            <a:spLocks noChangeAspect="1" noChangeArrowheads="1" noTextEdit="1"/>
          </p:cNvSpPr>
          <p:nvPr userDrawn="1"/>
        </p:nvSpPr>
        <p:spPr bwMode="auto">
          <a:xfrm>
            <a:off x="228601" y="6495881"/>
            <a:ext cx="868680" cy="186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24" name="Freeform 5"/>
          <p:cNvSpPr>
            <a:spLocks/>
          </p:cNvSpPr>
          <p:nvPr userDrawn="1"/>
        </p:nvSpPr>
        <p:spPr bwMode="auto">
          <a:xfrm>
            <a:off x="228600" y="6495880"/>
            <a:ext cx="86868" cy="88164"/>
          </a:xfrm>
          <a:custGeom>
            <a:avLst/>
            <a:gdLst>
              <a:gd name="T0" fmla="*/ 0 w 154"/>
              <a:gd name="T1" fmla="*/ 0 h 155"/>
              <a:gd name="T2" fmla="*/ 154 w 154"/>
              <a:gd name="T3" fmla="*/ 0 h 155"/>
              <a:gd name="T4" fmla="*/ 154 w 154"/>
              <a:gd name="T5" fmla="*/ 155 h 155"/>
              <a:gd name="T6" fmla="*/ 0 w 154"/>
              <a:gd name="T7" fmla="*/ 155 h 155"/>
              <a:gd name="T8" fmla="*/ 0 w 154"/>
              <a:gd name="T9" fmla="*/ 0 h 155"/>
            </a:gdLst>
            <a:ahLst/>
            <a:cxnLst>
              <a:cxn ang="0">
                <a:pos x="T0" y="T1"/>
              </a:cxn>
              <a:cxn ang="0">
                <a:pos x="T2" y="T3"/>
              </a:cxn>
              <a:cxn ang="0">
                <a:pos x="T4" y="T5"/>
              </a:cxn>
              <a:cxn ang="0">
                <a:pos x="T6" y="T7"/>
              </a:cxn>
              <a:cxn ang="0">
                <a:pos x="T8" y="T9"/>
              </a:cxn>
            </a:cxnLst>
            <a:rect l="0" t="0" r="r" b="b"/>
            <a:pathLst>
              <a:path w="154" h="155">
                <a:moveTo>
                  <a:pt x="0" y="0"/>
                </a:moveTo>
                <a:cubicBezTo>
                  <a:pt x="154" y="0"/>
                  <a:pt x="154" y="0"/>
                  <a:pt x="154" y="0"/>
                </a:cubicBezTo>
                <a:cubicBezTo>
                  <a:pt x="154" y="52"/>
                  <a:pt x="154" y="104"/>
                  <a:pt x="154" y="155"/>
                </a:cubicBezTo>
                <a:cubicBezTo>
                  <a:pt x="103" y="155"/>
                  <a:pt x="51" y="155"/>
                  <a:pt x="0" y="155"/>
                </a:cubicBezTo>
                <a:cubicBezTo>
                  <a:pt x="0" y="0"/>
                  <a:pt x="0" y="0"/>
                  <a:pt x="0" y="0"/>
                </a:cubicBezTo>
                <a:close/>
              </a:path>
            </a:pathLst>
          </a:custGeom>
          <a:solidFill>
            <a:srgbClr val="EF5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25" name="Freeform 6"/>
          <p:cNvSpPr>
            <a:spLocks/>
          </p:cNvSpPr>
          <p:nvPr userDrawn="1"/>
        </p:nvSpPr>
        <p:spPr bwMode="auto">
          <a:xfrm>
            <a:off x="324545" y="6495880"/>
            <a:ext cx="89461" cy="88164"/>
          </a:xfrm>
          <a:custGeom>
            <a:avLst/>
            <a:gdLst>
              <a:gd name="T0" fmla="*/ 0 w 155"/>
              <a:gd name="T1" fmla="*/ 0 h 155"/>
              <a:gd name="T2" fmla="*/ 155 w 155"/>
              <a:gd name="T3" fmla="*/ 0 h 155"/>
              <a:gd name="T4" fmla="*/ 155 w 155"/>
              <a:gd name="T5" fmla="*/ 155 h 155"/>
              <a:gd name="T6" fmla="*/ 0 w 155"/>
              <a:gd name="T7" fmla="*/ 155 h 155"/>
              <a:gd name="T8" fmla="*/ 0 w 155"/>
              <a:gd name="T9" fmla="*/ 0 h 155"/>
            </a:gdLst>
            <a:ahLst/>
            <a:cxnLst>
              <a:cxn ang="0">
                <a:pos x="T0" y="T1"/>
              </a:cxn>
              <a:cxn ang="0">
                <a:pos x="T2" y="T3"/>
              </a:cxn>
              <a:cxn ang="0">
                <a:pos x="T4" y="T5"/>
              </a:cxn>
              <a:cxn ang="0">
                <a:pos x="T6" y="T7"/>
              </a:cxn>
              <a:cxn ang="0">
                <a:pos x="T8" y="T9"/>
              </a:cxn>
            </a:cxnLst>
            <a:rect l="0" t="0" r="r" b="b"/>
            <a:pathLst>
              <a:path w="155" h="155">
                <a:moveTo>
                  <a:pt x="0" y="0"/>
                </a:moveTo>
                <a:cubicBezTo>
                  <a:pt x="155" y="0"/>
                  <a:pt x="155" y="0"/>
                  <a:pt x="155" y="0"/>
                </a:cubicBezTo>
                <a:cubicBezTo>
                  <a:pt x="155" y="52"/>
                  <a:pt x="155" y="104"/>
                  <a:pt x="155" y="155"/>
                </a:cubicBezTo>
                <a:cubicBezTo>
                  <a:pt x="103" y="155"/>
                  <a:pt x="51" y="155"/>
                  <a:pt x="0" y="155"/>
                </a:cubicBezTo>
                <a:cubicBezTo>
                  <a:pt x="0" y="104"/>
                  <a:pt x="0" y="52"/>
                  <a:pt x="0" y="0"/>
                </a:cubicBezTo>
                <a:close/>
              </a:path>
            </a:pathLst>
          </a:custGeom>
          <a:solidFill>
            <a:srgbClr val="80B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26" name="Freeform 7"/>
          <p:cNvSpPr>
            <a:spLocks/>
          </p:cNvSpPr>
          <p:nvPr userDrawn="1"/>
        </p:nvSpPr>
        <p:spPr bwMode="auto">
          <a:xfrm>
            <a:off x="998744" y="6523109"/>
            <a:ext cx="98537" cy="124467"/>
          </a:xfrm>
          <a:custGeom>
            <a:avLst/>
            <a:gdLst>
              <a:gd name="T0" fmla="*/ 45 w 173"/>
              <a:gd name="T1" fmla="*/ 10 h 215"/>
              <a:gd name="T2" fmla="*/ 94 w 173"/>
              <a:gd name="T3" fmla="*/ 5 h 215"/>
              <a:gd name="T4" fmla="*/ 94 w 173"/>
              <a:gd name="T5" fmla="*/ 33 h 215"/>
              <a:gd name="T6" fmla="*/ 69 w 173"/>
              <a:gd name="T7" fmla="*/ 31 h 215"/>
              <a:gd name="T8" fmla="*/ 58 w 173"/>
              <a:gd name="T9" fmla="*/ 47 h 215"/>
              <a:gd name="T10" fmla="*/ 57 w 173"/>
              <a:gd name="T11" fmla="*/ 72 h 215"/>
              <a:gd name="T12" fmla="*/ 106 w 173"/>
              <a:gd name="T13" fmla="*/ 72 h 215"/>
              <a:gd name="T14" fmla="*/ 106 w 173"/>
              <a:gd name="T15" fmla="*/ 40 h 215"/>
              <a:gd name="T16" fmla="*/ 139 w 173"/>
              <a:gd name="T17" fmla="*/ 30 h 215"/>
              <a:gd name="T18" fmla="*/ 139 w 173"/>
              <a:gd name="T19" fmla="*/ 72 h 215"/>
              <a:gd name="T20" fmla="*/ 173 w 173"/>
              <a:gd name="T21" fmla="*/ 72 h 215"/>
              <a:gd name="T22" fmla="*/ 173 w 173"/>
              <a:gd name="T23" fmla="*/ 99 h 215"/>
              <a:gd name="T24" fmla="*/ 139 w 173"/>
              <a:gd name="T25" fmla="*/ 99 h 215"/>
              <a:gd name="T26" fmla="*/ 139 w 173"/>
              <a:gd name="T27" fmla="*/ 146 h 215"/>
              <a:gd name="T28" fmla="*/ 140 w 173"/>
              <a:gd name="T29" fmla="*/ 172 h 215"/>
              <a:gd name="T30" fmla="*/ 147 w 173"/>
              <a:gd name="T31" fmla="*/ 185 h 215"/>
              <a:gd name="T32" fmla="*/ 173 w 173"/>
              <a:gd name="T33" fmla="*/ 182 h 215"/>
              <a:gd name="T34" fmla="*/ 173 w 173"/>
              <a:gd name="T35" fmla="*/ 210 h 215"/>
              <a:gd name="T36" fmla="*/ 142 w 173"/>
              <a:gd name="T37" fmla="*/ 215 h 215"/>
              <a:gd name="T38" fmla="*/ 116 w 173"/>
              <a:gd name="T39" fmla="*/ 202 h 215"/>
              <a:gd name="T40" fmla="*/ 106 w 173"/>
              <a:gd name="T41" fmla="*/ 171 h 215"/>
              <a:gd name="T42" fmla="*/ 106 w 173"/>
              <a:gd name="T43" fmla="*/ 99 h 215"/>
              <a:gd name="T44" fmla="*/ 57 w 173"/>
              <a:gd name="T45" fmla="*/ 99 h 215"/>
              <a:gd name="T46" fmla="*/ 57 w 173"/>
              <a:gd name="T47" fmla="*/ 212 h 215"/>
              <a:gd name="T48" fmla="*/ 24 w 173"/>
              <a:gd name="T49" fmla="*/ 212 h 215"/>
              <a:gd name="T50" fmla="*/ 24 w 173"/>
              <a:gd name="T51" fmla="*/ 99 h 215"/>
              <a:gd name="T52" fmla="*/ 1 w 173"/>
              <a:gd name="T53" fmla="*/ 99 h 215"/>
              <a:gd name="T54" fmla="*/ 0 w 173"/>
              <a:gd name="T55" fmla="*/ 72 h 215"/>
              <a:gd name="T56" fmla="*/ 24 w 173"/>
              <a:gd name="T57" fmla="*/ 72 h 215"/>
              <a:gd name="T58" fmla="*/ 26 w 173"/>
              <a:gd name="T59" fmla="*/ 36 h 215"/>
              <a:gd name="T60" fmla="*/ 45 w 173"/>
              <a:gd name="T61"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3" h="215">
                <a:moveTo>
                  <a:pt x="45" y="10"/>
                </a:moveTo>
                <a:cubicBezTo>
                  <a:pt x="59" y="1"/>
                  <a:pt x="77" y="0"/>
                  <a:pt x="94" y="5"/>
                </a:cubicBezTo>
                <a:cubicBezTo>
                  <a:pt x="94" y="14"/>
                  <a:pt x="94" y="24"/>
                  <a:pt x="94" y="33"/>
                </a:cubicBezTo>
                <a:cubicBezTo>
                  <a:pt x="86" y="30"/>
                  <a:pt x="77" y="28"/>
                  <a:pt x="69" y="31"/>
                </a:cubicBezTo>
                <a:cubicBezTo>
                  <a:pt x="63" y="34"/>
                  <a:pt x="59" y="40"/>
                  <a:pt x="58" y="47"/>
                </a:cubicBezTo>
                <a:cubicBezTo>
                  <a:pt x="57" y="55"/>
                  <a:pt x="57" y="63"/>
                  <a:pt x="57" y="72"/>
                </a:cubicBezTo>
                <a:cubicBezTo>
                  <a:pt x="74" y="72"/>
                  <a:pt x="90" y="72"/>
                  <a:pt x="106" y="72"/>
                </a:cubicBezTo>
                <a:cubicBezTo>
                  <a:pt x="106" y="61"/>
                  <a:pt x="106" y="51"/>
                  <a:pt x="106" y="40"/>
                </a:cubicBezTo>
                <a:cubicBezTo>
                  <a:pt x="117" y="37"/>
                  <a:pt x="128" y="33"/>
                  <a:pt x="139" y="30"/>
                </a:cubicBezTo>
                <a:cubicBezTo>
                  <a:pt x="139" y="44"/>
                  <a:pt x="139" y="58"/>
                  <a:pt x="139" y="72"/>
                </a:cubicBezTo>
                <a:cubicBezTo>
                  <a:pt x="150" y="72"/>
                  <a:pt x="162" y="72"/>
                  <a:pt x="173" y="72"/>
                </a:cubicBezTo>
                <a:cubicBezTo>
                  <a:pt x="173" y="99"/>
                  <a:pt x="173" y="99"/>
                  <a:pt x="173" y="99"/>
                </a:cubicBezTo>
                <a:cubicBezTo>
                  <a:pt x="161" y="98"/>
                  <a:pt x="150" y="99"/>
                  <a:pt x="139" y="99"/>
                </a:cubicBezTo>
                <a:cubicBezTo>
                  <a:pt x="139" y="114"/>
                  <a:pt x="139" y="130"/>
                  <a:pt x="139" y="146"/>
                </a:cubicBezTo>
                <a:cubicBezTo>
                  <a:pt x="140" y="154"/>
                  <a:pt x="139" y="163"/>
                  <a:pt x="140" y="172"/>
                </a:cubicBezTo>
                <a:cubicBezTo>
                  <a:pt x="141" y="177"/>
                  <a:pt x="142" y="182"/>
                  <a:pt x="147" y="185"/>
                </a:cubicBezTo>
                <a:cubicBezTo>
                  <a:pt x="155" y="189"/>
                  <a:pt x="165" y="187"/>
                  <a:pt x="173" y="182"/>
                </a:cubicBezTo>
                <a:cubicBezTo>
                  <a:pt x="173" y="210"/>
                  <a:pt x="173" y="210"/>
                  <a:pt x="173" y="210"/>
                </a:cubicBezTo>
                <a:cubicBezTo>
                  <a:pt x="163" y="214"/>
                  <a:pt x="152" y="215"/>
                  <a:pt x="142" y="215"/>
                </a:cubicBezTo>
                <a:cubicBezTo>
                  <a:pt x="132" y="214"/>
                  <a:pt x="122" y="210"/>
                  <a:pt x="116" y="202"/>
                </a:cubicBezTo>
                <a:cubicBezTo>
                  <a:pt x="108" y="194"/>
                  <a:pt x="106" y="182"/>
                  <a:pt x="106" y="171"/>
                </a:cubicBezTo>
                <a:cubicBezTo>
                  <a:pt x="106" y="147"/>
                  <a:pt x="106" y="123"/>
                  <a:pt x="106" y="99"/>
                </a:cubicBezTo>
                <a:cubicBezTo>
                  <a:pt x="90" y="99"/>
                  <a:pt x="74" y="99"/>
                  <a:pt x="57" y="99"/>
                </a:cubicBezTo>
                <a:cubicBezTo>
                  <a:pt x="57" y="136"/>
                  <a:pt x="57" y="174"/>
                  <a:pt x="57" y="212"/>
                </a:cubicBezTo>
                <a:cubicBezTo>
                  <a:pt x="46" y="212"/>
                  <a:pt x="35" y="212"/>
                  <a:pt x="24" y="212"/>
                </a:cubicBezTo>
                <a:cubicBezTo>
                  <a:pt x="24" y="174"/>
                  <a:pt x="24" y="136"/>
                  <a:pt x="24" y="99"/>
                </a:cubicBezTo>
                <a:cubicBezTo>
                  <a:pt x="16" y="99"/>
                  <a:pt x="8" y="99"/>
                  <a:pt x="1" y="99"/>
                </a:cubicBezTo>
                <a:cubicBezTo>
                  <a:pt x="1" y="90"/>
                  <a:pt x="1" y="81"/>
                  <a:pt x="0" y="72"/>
                </a:cubicBezTo>
                <a:cubicBezTo>
                  <a:pt x="8" y="72"/>
                  <a:pt x="16" y="72"/>
                  <a:pt x="24" y="72"/>
                </a:cubicBezTo>
                <a:cubicBezTo>
                  <a:pt x="24" y="60"/>
                  <a:pt x="22" y="48"/>
                  <a:pt x="26" y="36"/>
                </a:cubicBezTo>
                <a:cubicBezTo>
                  <a:pt x="29" y="26"/>
                  <a:pt x="36" y="16"/>
                  <a:pt x="45" y="1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27" name="Freeform 8"/>
          <p:cNvSpPr>
            <a:spLocks/>
          </p:cNvSpPr>
          <p:nvPr userDrawn="1"/>
        </p:nvSpPr>
        <p:spPr bwMode="auto">
          <a:xfrm>
            <a:off x="605893" y="6529590"/>
            <a:ext cx="23338" cy="23338"/>
          </a:xfrm>
          <a:custGeom>
            <a:avLst/>
            <a:gdLst>
              <a:gd name="T0" fmla="*/ 17 w 42"/>
              <a:gd name="T1" fmla="*/ 1 h 41"/>
              <a:gd name="T2" fmla="*/ 35 w 42"/>
              <a:gd name="T3" fmla="*/ 8 h 41"/>
              <a:gd name="T4" fmla="*/ 38 w 42"/>
              <a:gd name="T5" fmla="*/ 30 h 41"/>
              <a:gd name="T6" fmla="*/ 15 w 42"/>
              <a:gd name="T7" fmla="*/ 39 h 41"/>
              <a:gd name="T8" fmla="*/ 0 w 42"/>
              <a:gd name="T9" fmla="*/ 20 h 41"/>
              <a:gd name="T10" fmla="*/ 17 w 42"/>
              <a:gd name="T11" fmla="*/ 1 h 41"/>
            </a:gdLst>
            <a:ahLst/>
            <a:cxnLst>
              <a:cxn ang="0">
                <a:pos x="T0" y="T1"/>
              </a:cxn>
              <a:cxn ang="0">
                <a:pos x="T2" y="T3"/>
              </a:cxn>
              <a:cxn ang="0">
                <a:pos x="T4" y="T5"/>
              </a:cxn>
              <a:cxn ang="0">
                <a:pos x="T6" y="T7"/>
              </a:cxn>
              <a:cxn ang="0">
                <a:pos x="T8" y="T9"/>
              </a:cxn>
              <a:cxn ang="0">
                <a:pos x="T10" y="T11"/>
              </a:cxn>
            </a:cxnLst>
            <a:rect l="0" t="0" r="r" b="b"/>
            <a:pathLst>
              <a:path w="42" h="41">
                <a:moveTo>
                  <a:pt x="17" y="1"/>
                </a:moveTo>
                <a:cubicBezTo>
                  <a:pt x="24" y="0"/>
                  <a:pt x="31" y="3"/>
                  <a:pt x="35" y="8"/>
                </a:cubicBezTo>
                <a:cubicBezTo>
                  <a:pt x="41" y="14"/>
                  <a:pt x="42" y="23"/>
                  <a:pt x="38" y="30"/>
                </a:cubicBezTo>
                <a:cubicBezTo>
                  <a:pt x="33" y="37"/>
                  <a:pt x="24" y="41"/>
                  <a:pt x="15" y="39"/>
                </a:cubicBezTo>
                <a:cubicBezTo>
                  <a:pt x="7" y="37"/>
                  <a:pt x="0" y="29"/>
                  <a:pt x="0" y="20"/>
                </a:cubicBezTo>
                <a:cubicBezTo>
                  <a:pt x="0" y="11"/>
                  <a:pt x="8" y="2"/>
                  <a:pt x="17" y="1"/>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28" name="Freeform 9"/>
          <p:cNvSpPr>
            <a:spLocks/>
          </p:cNvSpPr>
          <p:nvPr userDrawn="1"/>
        </p:nvSpPr>
        <p:spPr bwMode="auto">
          <a:xfrm>
            <a:off x="468460" y="6532184"/>
            <a:ext cx="120578" cy="114095"/>
          </a:xfrm>
          <a:custGeom>
            <a:avLst/>
            <a:gdLst>
              <a:gd name="T0" fmla="*/ 0 w 211"/>
              <a:gd name="T1" fmla="*/ 0 h 196"/>
              <a:gd name="T2" fmla="*/ 48 w 211"/>
              <a:gd name="T3" fmla="*/ 0 h 196"/>
              <a:gd name="T4" fmla="*/ 94 w 211"/>
              <a:gd name="T5" fmla="*/ 116 h 196"/>
              <a:gd name="T6" fmla="*/ 105 w 211"/>
              <a:gd name="T7" fmla="*/ 145 h 196"/>
              <a:gd name="T8" fmla="*/ 164 w 211"/>
              <a:gd name="T9" fmla="*/ 1 h 196"/>
              <a:gd name="T10" fmla="*/ 211 w 211"/>
              <a:gd name="T11" fmla="*/ 1 h 196"/>
              <a:gd name="T12" fmla="*/ 211 w 211"/>
              <a:gd name="T13" fmla="*/ 195 h 196"/>
              <a:gd name="T14" fmla="*/ 177 w 211"/>
              <a:gd name="T15" fmla="*/ 195 h 196"/>
              <a:gd name="T16" fmla="*/ 177 w 211"/>
              <a:gd name="T17" fmla="*/ 52 h 196"/>
              <a:gd name="T18" fmla="*/ 177 w 211"/>
              <a:gd name="T19" fmla="*/ 45 h 196"/>
              <a:gd name="T20" fmla="*/ 175 w 211"/>
              <a:gd name="T21" fmla="*/ 48 h 196"/>
              <a:gd name="T22" fmla="*/ 117 w 211"/>
              <a:gd name="T23" fmla="*/ 195 h 196"/>
              <a:gd name="T24" fmla="*/ 93 w 211"/>
              <a:gd name="T25" fmla="*/ 196 h 196"/>
              <a:gd name="T26" fmla="*/ 33 w 211"/>
              <a:gd name="T27" fmla="*/ 48 h 196"/>
              <a:gd name="T28" fmla="*/ 32 w 211"/>
              <a:gd name="T29" fmla="*/ 45 h 196"/>
              <a:gd name="T30" fmla="*/ 31 w 211"/>
              <a:gd name="T31" fmla="*/ 108 h 196"/>
              <a:gd name="T32" fmla="*/ 31 w 211"/>
              <a:gd name="T33" fmla="*/ 195 h 196"/>
              <a:gd name="T34" fmla="*/ 0 w 211"/>
              <a:gd name="T35" fmla="*/ 196 h 196"/>
              <a:gd name="T36" fmla="*/ 0 w 211"/>
              <a:gd name="T3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96">
                <a:moveTo>
                  <a:pt x="0" y="0"/>
                </a:moveTo>
                <a:cubicBezTo>
                  <a:pt x="16" y="0"/>
                  <a:pt x="32" y="0"/>
                  <a:pt x="48" y="0"/>
                </a:cubicBezTo>
                <a:cubicBezTo>
                  <a:pt x="63" y="39"/>
                  <a:pt x="79" y="77"/>
                  <a:pt x="94" y="116"/>
                </a:cubicBezTo>
                <a:cubicBezTo>
                  <a:pt x="98" y="125"/>
                  <a:pt x="101" y="135"/>
                  <a:pt x="105" y="145"/>
                </a:cubicBezTo>
                <a:cubicBezTo>
                  <a:pt x="125" y="97"/>
                  <a:pt x="145" y="49"/>
                  <a:pt x="164" y="1"/>
                </a:cubicBezTo>
                <a:cubicBezTo>
                  <a:pt x="179" y="0"/>
                  <a:pt x="195" y="1"/>
                  <a:pt x="211" y="1"/>
                </a:cubicBezTo>
                <a:cubicBezTo>
                  <a:pt x="211" y="66"/>
                  <a:pt x="211" y="131"/>
                  <a:pt x="211" y="195"/>
                </a:cubicBezTo>
                <a:cubicBezTo>
                  <a:pt x="199" y="195"/>
                  <a:pt x="188" y="196"/>
                  <a:pt x="177" y="195"/>
                </a:cubicBezTo>
                <a:cubicBezTo>
                  <a:pt x="177" y="147"/>
                  <a:pt x="177" y="100"/>
                  <a:pt x="177" y="52"/>
                </a:cubicBezTo>
                <a:cubicBezTo>
                  <a:pt x="177" y="49"/>
                  <a:pt x="177" y="47"/>
                  <a:pt x="177" y="45"/>
                </a:cubicBezTo>
                <a:cubicBezTo>
                  <a:pt x="176" y="46"/>
                  <a:pt x="176" y="47"/>
                  <a:pt x="175" y="48"/>
                </a:cubicBezTo>
                <a:cubicBezTo>
                  <a:pt x="156" y="97"/>
                  <a:pt x="136" y="146"/>
                  <a:pt x="117" y="195"/>
                </a:cubicBezTo>
                <a:cubicBezTo>
                  <a:pt x="109" y="196"/>
                  <a:pt x="101" y="195"/>
                  <a:pt x="93" y="196"/>
                </a:cubicBezTo>
                <a:cubicBezTo>
                  <a:pt x="73" y="146"/>
                  <a:pt x="53" y="97"/>
                  <a:pt x="33" y="48"/>
                </a:cubicBezTo>
                <a:cubicBezTo>
                  <a:pt x="33" y="47"/>
                  <a:pt x="32" y="46"/>
                  <a:pt x="32" y="45"/>
                </a:cubicBezTo>
                <a:cubicBezTo>
                  <a:pt x="31" y="66"/>
                  <a:pt x="32" y="87"/>
                  <a:pt x="31" y="108"/>
                </a:cubicBezTo>
                <a:cubicBezTo>
                  <a:pt x="31" y="137"/>
                  <a:pt x="31" y="166"/>
                  <a:pt x="31" y="195"/>
                </a:cubicBezTo>
                <a:cubicBezTo>
                  <a:pt x="21" y="196"/>
                  <a:pt x="10" y="195"/>
                  <a:pt x="0" y="196"/>
                </a:cubicBezTo>
                <a:cubicBezTo>
                  <a:pt x="0" y="131"/>
                  <a:pt x="0" y="65"/>
                  <a:pt x="0"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29" name="Freeform 10"/>
          <p:cNvSpPr>
            <a:spLocks/>
          </p:cNvSpPr>
          <p:nvPr userDrawn="1"/>
        </p:nvSpPr>
        <p:spPr bwMode="auto">
          <a:xfrm>
            <a:off x="638307" y="6562004"/>
            <a:ext cx="63531" cy="85571"/>
          </a:xfrm>
          <a:custGeom>
            <a:avLst/>
            <a:gdLst>
              <a:gd name="T0" fmla="*/ 51 w 110"/>
              <a:gd name="T1" fmla="*/ 5 h 148"/>
              <a:gd name="T2" fmla="*/ 101 w 110"/>
              <a:gd name="T3" fmla="*/ 5 h 148"/>
              <a:gd name="T4" fmla="*/ 110 w 110"/>
              <a:gd name="T5" fmla="*/ 9 h 148"/>
              <a:gd name="T6" fmla="*/ 110 w 110"/>
              <a:gd name="T7" fmla="*/ 41 h 148"/>
              <a:gd name="T8" fmla="*/ 72 w 110"/>
              <a:gd name="T9" fmla="*/ 29 h 148"/>
              <a:gd name="T10" fmla="*/ 44 w 110"/>
              <a:gd name="T11" fmla="*/ 44 h 148"/>
              <a:gd name="T12" fmla="*/ 35 w 110"/>
              <a:gd name="T13" fmla="*/ 83 h 148"/>
              <a:gd name="T14" fmla="*/ 49 w 110"/>
              <a:gd name="T15" fmla="*/ 111 h 148"/>
              <a:gd name="T16" fmla="*/ 80 w 110"/>
              <a:gd name="T17" fmla="*/ 120 h 148"/>
              <a:gd name="T18" fmla="*/ 110 w 110"/>
              <a:gd name="T19" fmla="*/ 108 h 148"/>
              <a:gd name="T20" fmla="*/ 110 w 110"/>
              <a:gd name="T21" fmla="*/ 138 h 148"/>
              <a:gd name="T22" fmla="*/ 64 w 110"/>
              <a:gd name="T23" fmla="*/ 148 h 148"/>
              <a:gd name="T24" fmla="*/ 21 w 110"/>
              <a:gd name="T25" fmla="*/ 129 h 148"/>
              <a:gd name="T26" fmla="*/ 1 w 110"/>
              <a:gd name="T27" fmla="*/ 83 h 148"/>
              <a:gd name="T28" fmla="*/ 14 w 110"/>
              <a:gd name="T29" fmla="*/ 31 h 148"/>
              <a:gd name="T30" fmla="*/ 51 w 110"/>
              <a:gd name="T31" fmla="*/ 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48">
                <a:moveTo>
                  <a:pt x="51" y="5"/>
                </a:moveTo>
                <a:cubicBezTo>
                  <a:pt x="67" y="0"/>
                  <a:pt x="84" y="0"/>
                  <a:pt x="101" y="5"/>
                </a:cubicBezTo>
                <a:cubicBezTo>
                  <a:pt x="104" y="6"/>
                  <a:pt x="107" y="7"/>
                  <a:pt x="110" y="9"/>
                </a:cubicBezTo>
                <a:cubicBezTo>
                  <a:pt x="110" y="19"/>
                  <a:pt x="110" y="30"/>
                  <a:pt x="110" y="41"/>
                </a:cubicBezTo>
                <a:cubicBezTo>
                  <a:pt x="99" y="32"/>
                  <a:pt x="86" y="27"/>
                  <a:pt x="72" y="29"/>
                </a:cubicBezTo>
                <a:cubicBezTo>
                  <a:pt x="61" y="30"/>
                  <a:pt x="51" y="36"/>
                  <a:pt x="44" y="44"/>
                </a:cubicBezTo>
                <a:cubicBezTo>
                  <a:pt x="36" y="55"/>
                  <a:pt x="34" y="70"/>
                  <a:pt x="35" y="83"/>
                </a:cubicBezTo>
                <a:cubicBezTo>
                  <a:pt x="36" y="94"/>
                  <a:pt x="41" y="104"/>
                  <a:pt x="49" y="111"/>
                </a:cubicBezTo>
                <a:cubicBezTo>
                  <a:pt x="57" y="118"/>
                  <a:pt x="69" y="121"/>
                  <a:pt x="80" y="120"/>
                </a:cubicBezTo>
                <a:cubicBezTo>
                  <a:pt x="91" y="119"/>
                  <a:pt x="101" y="114"/>
                  <a:pt x="110" y="108"/>
                </a:cubicBezTo>
                <a:cubicBezTo>
                  <a:pt x="110" y="118"/>
                  <a:pt x="110" y="128"/>
                  <a:pt x="110" y="138"/>
                </a:cubicBezTo>
                <a:cubicBezTo>
                  <a:pt x="96" y="146"/>
                  <a:pt x="80" y="148"/>
                  <a:pt x="64" y="148"/>
                </a:cubicBezTo>
                <a:cubicBezTo>
                  <a:pt x="48" y="147"/>
                  <a:pt x="32" y="141"/>
                  <a:pt x="21" y="129"/>
                </a:cubicBezTo>
                <a:cubicBezTo>
                  <a:pt x="8" y="117"/>
                  <a:pt x="1" y="100"/>
                  <a:pt x="1" y="83"/>
                </a:cubicBezTo>
                <a:cubicBezTo>
                  <a:pt x="0" y="65"/>
                  <a:pt x="3" y="46"/>
                  <a:pt x="14" y="31"/>
                </a:cubicBezTo>
                <a:cubicBezTo>
                  <a:pt x="22" y="18"/>
                  <a:pt x="36" y="9"/>
                  <a:pt x="51" y="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30" name="Freeform 11"/>
          <p:cNvSpPr>
            <a:spLocks/>
          </p:cNvSpPr>
          <p:nvPr userDrawn="1"/>
        </p:nvSpPr>
        <p:spPr bwMode="auto">
          <a:xfrm>
            <a:off x="853531" y="6562004"/>
            <a:ext cx="55752" cy="85571"/>
          </a:xfrm>
          <a:custGeom>
            <a:avLst/>
            <a:gdLst>
              <a:gd name="T0" fmla="*/ 40 w 97"/>
              <a:gd name="T1" fmla="*/ 2 h 148"/>
              <a:gd name="T2" fmla="*/ 86 w 97"/>
              <a:gd name="T3" fmla="*/ 7 h 148"/>
              <a:gd name="T4" fmla="*/ 86 w 97"/>
              <a:gd name="T5" fmla="*/ 38 h 148"/>
              <a:gd name="T6" fmla="*/ 51 w 97"/>
              <a:gd name="T7" fmla="*/ 28 h 148"/>
              <a:gd name="T8" fmla="*/ 35 w 97"/>
              <a:gd name="T9" fmla="*/ 36 h 148"/>
              <a:gd name="T10" fmla="*/ 40 w 97"/>
              <a:gd name="T11" fmla="*/ 54 h 148"/>
              <a:gd name="T12" fmla="*/ 71 w 97"/>
              <a:gd name="T13" fmla="*/ 68 h 148"/>
              <a:gd name="T14" fmla="*/ 90 w 97"/>
              <a:gd name="T15" fmla="*/ 87 h 148"/>
              <a:gd name="T16" fmla="*/ 81 w 97"/>
              <a:gd name="T17" fmla="*/ 134 h 148"/>
              <a:gd name="T18" fmla="*/ 35 w 97"/>
              <a:gd name="T19" fmla="*/ 148 h 148"/>
              <a:gd name="T20" fmla="*/ 1 w 97"/>
              <a:gd name="T21" fmla="*/ 140 h 148"/>
              <a:gd name="T22" fmla="*/ 1 w 97"/>
              <a:gd name="T23" fmla="*/ 108 h 148"/>
              <a:gd name="T24" fmla="*/ 31 w 97"/>
              <a:gd name="T25" fmla="*/ 121 h 148"/>
              <a:gd name="T26" fmla="*/ 54 w 97"/>
              <a:gd name="T27" fmla="*/ 119 h 148"/>
              <a:gd name="T28" fmla="*/ 58 w 97"/>
              <a:gd name="T29" fmla="*/ 100 h 148"/>
              <a:gd name="T30" fmla="*/ 44 w 97"/>
              <a:gd name="T31" fmla="*/ 90 h 148"/>
              <a:gd name="T32" fmla="*/ 15 w 97"/>
              <a:gd name="T33" fmla="*/ 75 h 148"/>
              <a:gd name="T34" fmla="*/ 2 w 97"/>
              <a:gd name="T35" fmla="*/ 56 h 148"/>
              <a:gd name="T36" fmla="*/ 7 w 97"/>
              <a:gd name="T37" fmla="*/ 23 h 148"/>
              <a:gd name="T38" fmla="*/ 40 w 97"/>
              <a:gd name="T39"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148">
                <a:moveTo>
                  <a:pt x="40" y="2"/>
                </a:moveTo>
                <a:cubicBezTo>
                  <a:pt x="56" y="0"/>
                  <a:pt x="72" y="2"/>
                  <a:pt x="86" y="7"/>
                </a:cubicBezTo>
                <a:cubicBezTo>
                  <a:pt x="86" y="18"/>
                  <a:pt x="86" y="28"/>
                  <a:pt x="86" y="38"/>
                </a:cubicBezTo>
                <a:cubicBezTo>
                  <a:pt x="76" y="31"/>
                  <a:pt x="64" y="27"/>
                  <a:pt x="51" y="28"/>
                </a:cubicBezTo>
                <a:cubicBezTo>
                  <a:pt x="45" y="28"/>
                  <a:pt x="38" y="31"/>
                  <a:pt x="35" y="36"/>
                </a:cubicBezTo>
                <a:cubicBezTo>
                  <a:pt x="33" y="42"/>
                  <a:pt x="35" y="50"/>
                  <a:pt x="40" y="54"/>
                </a:cubicBezTo>
                <a:cubicBezTo>
                  <a:pt x="50" y="60"/>
                  <a:pt x="61" y="63"/>
                  <a:pt x="71" y="68"/>
                </a:cubicBezTo>
                <a:cubicBezTo>
                  <a:pt x="79" y="73"/>
                  <a:pt x="86" y="78"/>
                  <a:pt x="90" y="87"/>
                </a:cubicBezTo>
                <a:cubicBezTo>
                  <a:pt x="97" y="102"/>
                  <a:pt x="94" y="122"/>
                  <a:pt x="81" y="134"/>
                </a:cubicBezTo>
                <a:cubicBezTo>
                  <a:pt x="69" y="145"/>
                  <a:pt x="51" y="148"/>
                  <a:pt x="35" y="148"/>
                </a:cubicBezTo>
                <a:cubicBezTo>
                  <a:pt x="23" y="147"/>
                  <a:pt x="11" y="145"/>
                  <a:pt x="1" y="140"/>
                </a:cubicBezTo>
                <a:cubicBezTo>
                  <a:pt x="1" y="129"/>
                  <a:pt x="1" y="118"/>
                  <a:pt x="1" y="108"/>
                </a:cubicBezTo>
                <a:cubicBezTo>
                  <a:pt x="10" y="114"/>
                  <a:pt x="20" y="119"/>
                  <a:pt x="31" y="121"/>
                </a:cubicBezTo>
                <a:cubicBezTo>
                  <a:pt x="39" y="122"/>
                  <a:pt x="47" y="122"/>
                  <a:pt x="54" y="119"/>
                </a:cubicBezTo>
                <a:cubicBezTo>
                  <a:pt x="61" y="115"/>
                  <a:pt x="62" y="106"/>
                  <a:pt x="58" y="100"/>
                </a:cubicBezTo>
                <a:cubicBezTo>
                  <a:pt x="54" y="95"/>
                  <a:pt x="49" y="92"/>
                  <a:pt x="44" y="90"/>
                </a:cubicBezTo>
                <a:cubicBezTo>
                  <a:pt x="34" y="86"/>
                  <a:pt x="23" y="82"/>
                  <a:pt x="15" y="75"/>
                </a:cubicBezTo>
                <a:cubicBezTo>
                  <a:pt x="9" y="71"/>
                  <a:pt x="4" y="64"/>
                  <a:pt x="2" y="56"/>
                </a:cubicBezTo>
                <a:cubicBezTo>
                  <a:pt x="0" y="45"/>
                  <a:pt x="0" y="33"/>
                  <a:pt x="7" y="23"/>
                </a:cubicBezTo>
                <a:cubicBezTo>
                  <a:pt x="14" y="12"/>
                  <a:pt x="27" y="5"/>
                  <a:pt x="40" y="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31" name="Freeform 12"/>
          <p:cNvSpPr>
            <a:spLocks/>
          </p:cNvSpPr>
          <p:nvPr userDrawn="1"/>
        </p:nvSpPr>
        <p:spPr bwMode="auto">
          <a:xfrm>
            <a:off x="716099" y="6563300"/>
            <a:ext cx="45379" cy="82978"/>
          </a:xfrm>
          <a:custGeom>
            <a:avLst/>
            <a:gdLst>
              <a:gd name="T0" fmla="*/ 50 w 81"/>
              <a:gd name="T1" fmla="*/ 6 h 144"/>
              <a:gd name="T2" fmla="*/ 81 w 81"/>
              <a:gd name="T3" fmla="*/ 3 h 144"/>
              <a:gd name="T4" fmla="*/ 81 w 81"/>
              <a:gd name="T5" fmla="*/ 37 h 144"/>
              <a:gd name="T6" fmla="*/ 58 w 81"/>
              <a:gd name="T7" fmla="*/ 31 h 144"/>
              <a:gd name="T8" fmla="*/ 37 w 81"/>
              <a:gd name="T9" fmla="*/ 48 h 144"/>
              <a:gd name="T10" fmla="*/ 33 w 81"/>
              <a:gd name="T11" fmla="*/ 77 h 144"/>
              <a:gd name="T12" fmla="*/ 33 w 81"/>
              <a:gd name="T13" fmla="*/ 144 h 144"/>
              <a:gd name="T14" fmla="*/ 0 w 81"/>
              <a:gd name="T15" fmla="*/ 144 h 144"/>
              <a:gd name="T16" fmla="*/ 0 w 81"/>
              <a:gd name="T17" fmla="*/ 4 h 144"/>
              <a:gd name="T18" fmla="*/ 33 w 81"/>
              <a:gd name="T19" fmla="*/ 4 h 144"/>
              <a:gd name="T20" fmla="*/ 33 w 81"/>
              <a:gd name="T21" fmla="*/ 28 h 144"/>
              <a:gd name="T22" fmla="*/ 50 w 81"/>
              <a:gd name="T23"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44">
                <a:moveTo>
                  <a:pt x="50" y="6"/>
                </a:moveTo>
                <a:cubicBezTo>
                  <a:pt x="59" y="0"/>
                  <a:pt x="71" y="0"/>
                  <a:pt x="81" y="3"/>
                </a:cubicBezTo>
                <a:cubicBezTo>
                  <a:pt x="81" y="14"/>
                  <a:pt x="81" y="26"/>
                  <a:pt x="81" y="37"/>
                </a:cubicBezTo>
                <a:cubicBezTo>
                  <a:pt x="74" y="32"/>
                  <a:pt x="66" y="31"/>
                  <a:pt x="58" y="31"/>
                </a:cubicBezTo>
                <a:cubicBezTo>
                  <a:pt x="49" y="32"/>
                  <a:pt x="41" y="40"/>
                  <a:pt x="37" y="48"/>
                </a:cubicBezTo>
                <a:cubicBezTo>
                  <a:pt x="33" y="57"/>
                  <a:pt x="32" y="67"/>
                  <a:pt x="33" y="77"/>
                </a:cubicBezTo>
                <a:cubicBezTo>
                  <a:pt x="33" y="99"/>
                  <a:pt x="33" y="121"/>
                  <a:pt x="33" y="144"/>
                </a:cubicBezTo>
                <a:cubicBezTo>
                  <a:pt x="22" y="144"/>
                  <a:pt x="11" y="144"/>
                  <a:pt x="0" y="144"/>
                </a:cubicBezTo>
                <a:cubicBezTo>
                  <a:pt x="0" y="97"/>
                  <a:pt x="0" y="50"/>
                  <a:pt x="0" y="4"/>
                </a:cubicBezTo>
                <a:cubicBezTo>
                  <a:pt x="11" y="4"/>
                  <a:pt x="22" y="4"/>
                  <a:pt x="33" y="4"/>
                </a:cubicBezTo>
                <a:cubicBezTo>
                  <a:pt x="33" y="12"/>
                  <a:pt x="33" y="20"/>
                  <a:pt x="33" y="28"/>
                </a:cubicBezTo>
                <a:cubicBezTo>
                  <a:pt x="36" y="19"/>
                  <a:pt x="41" y="11"/>
                  <a:pt x="50" y="6"/>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32" name="Freeform 13"/>
          <p:cNvSpPr>
            <a:spLocks/>
          </p:cNvSpPr>
          <p:nvPr userDrawn="1"/>
        </p:nvSpPr>
        <p:spPr bwMode="auto">
          <a:xfrm>
            <a:off x="607189" y="6564597"/>
            <a:ext cx="19448" cy="81682"/>
          </a:xfrm>
          <a:custGeom>
            <a:avLst/>
            <a:gdLst>
              <a:gd name="T0" fmla="*/ 0 w 33"/>
              <a:gd name="T1" fmla="*/ 0 h 140"/>
              <a:gd name="T2" fmla="*/ 33 w 33"/>
              <a:gd name="T3" fmla="*/ 0 h 140"/>
              <a:gd name="T4" fmla="*/ 33 w 33"/>
              <a:gd name="T5" fmla="*/ 140 h 140"/>
              <a:gd name="T6" fmla="*/ 0 w 33"/>
              <a:gd name="T7" fmla="*/ 140 h 140"/>
              <a:gd name="T8" fmla="*/ 0 w 33"/>
              <a:gd name="T9" fmla="*/ 0 h 140"/>
            </a:gdLst>
            <a:ahLst/>
            <a:cxnLst>
              <a:cxn ang="0">
                <a:pos x="T0" y="T1"/>
              </a:cxn>
              <a:cxn ang="0">
                <a:pos x="T2" y="T3"/>
              </a:cxn>
              <a:cxn ang="0">
                <a:pos x="T4" y="T5"/>
              </a:cxn>
              <a:cxn ang="0">
                <a:pos x="T6" y="T7"/>
              </a:cxn>
              <a:cxn ang="0">
                <a:pos x="T8" y="T9"/>
              </a:cxn>
            </a:cxnLst>
            <a:rect l="0" t="0" r="r" b="b"/>
            <a:pathLst>
              <a:path w="33" h="140">
                <a:moveTo>
                  <a:pt x="0" y="0"/>
                </a:moveTo>
                <a:cubicBezTo>
                  <a:pt x="11" y="0"/>
                  <a:pt x="22" y="0"/>
                  <a:pt x="33" y="0"/>
                </a:cubicBezTo>
                <a:cubicBezTo>
                  <a:pt x="33" y="46"/>
                  <a:pt x="33" y="93"/>
                  <a:pt x="33" y="140"/>
                </a:cubicBezTo>
                <a:cubicBezTo>
                  <a:pt x="22" y="140"/>
                  <a:pt x="11" y="140"/>
                  <a:pt x="0" y="140"/>
                </a:cubicBezTo>
                <a:cubicBezTo>
                  <a:pt x="0" y="93"/>
                  <a:pt x="0" y="46"/>
                  <a:pt x="0" y="0"/>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33" name="Freeform 14"/>
          <p:cNvSpPr>
            <a:spLocks noEditPoints="1"/>
          </p:cNvSpPr>
          <p:nvPr userDrawn="1"/>
        </p:nvSpPr>
        <p:spPr bwMode="auto">
          <a:xfrm>
            <a:off x="762773" y="6562004"/>
            <a:ext cx="82978" cy="85571"/>
          </a:xfrm>
          <a:custGeom>
            <a:avLst/>
            <a:gdLst>
              <a:gd name="T0" fmla="*/ 138 w 145"/>
              <a:gd name="T1" fmla="*/ 37 h 149"/>
              <a:gd name="T2" fmla="*/ 108 w 145"/>
              <a:gd name="T3" fmla="*/ 8 h 149"/>
              <a:gd name="T4" fmla="*/ 60 w 145"/>
              <a:gd name="T5" fmla="*/ 2 h 149"/>
              <a:gd name="T6" fmla="*/ 16 w 145"/>
              <a:gd name="T7" fmla="*/ 26 h 149"/>
              <a:gd name="T8" fmla="*/ 1 w 145"/>
              <a:gd name="T9" fmla="*/ 68 h 149"/>
              <a:gd name="T10" fmla="*/ 13 w 145"/>
              <a:gd name="T11" fmla="*/ 121 h 149"/>
              <a:gd name="T12" fmla="*/ 52 w 145"/>
              <a:gd name="T13" fmla="*/ 146 h 149"/>
              <a:gd name="T14" fmla="*/ 91 w 145"/>
              <a:gd name="T15" fmla="*/ 146 h 149"/>
              <a:gd name="T16" fmla="*/ 129 w 145"/>
              <a:gd name="T17" fmla="*/ 122 h 149"/>
              <a:gd name="T18" fmla="*/ 144 w 145"/>
              <a:gd name="T19" fmla="*/ 81 h 149"/>
              <a:gd name="T20" fmla="*/ 138 w 145"/>
              <a:gd name="T21" fmla="*/ 37 h 149"/>
              <a:gd name="T22" fmla="*/ 105 w 145"/>
              <a:gd name="T23" fmla="*/ 102 h 149"/>
              <a:gd name="T24" fmla="*/ 89 w 145"/>
              <a:gd name="T25" fmla="*/ 118 h 149"/>
              <a:gd name="T26" fmla="*/ 62 w 145"/>
              <a:gd name="T27" fmla="*/ 119 h 149"/>
              <a:gd name="T28" fmla="*/ 41 w 145"/>
              <a:gd name="T29" fmla="*/ 102 h 149"/>
              <a:gd name="T30" fmla="*/ 36 w 145"/>
              <a:gd name="T31" fmla="*/ 67 h 149"/>
              <a:gd name="T32" fmla="*/ 48 w 145"/>
              <a:gd name="T33" fmla="*/ 37 h 149"/>
              <a:gd name="T34" fmla="*/ 70 w 145"/>
              <a:gd name="T35" fmla="*/ 29 h 149"/>
              <a:gd name="T36" fmla="*/ 98 w 145"/>
              <a:gd name="T37" fmla="*/ 38 h 149"/>
              <a:gd name="T38" fmla="*/ 110 w 145"/>
              <a:gd name="T39" fmla="*/ 67 h 149"/>
              <a:gd name="T40" fmla="*/ 105 w 145"/>
              <a:gd name="T41" fmla="*/ 10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5" h="149">
                <a:moveTo>
                  <a:pt x="138" y="37"/>
                </a:moveTo>
                <a:cubicBezTo>
                  <a:pt x="132" y="24"/>
                  <a:pt x="121" y="14"/>
                  <a:pt x="108" y="8"/>
                </a:cubicBezTo>
                <a:cubicBezTo>
                  <a:pt x="93" y="1"/>
                  <a:pt x="77" y="0"/>
                  <a:pt x="60" y="2"/>
                </a:cubicBezTo>
                <a:cubicBezTo>
                  <a:pt x="44" y="4"/>
                  <a:pt x="27" y="12"/>
                  <a:pt x="16" y="26"/>
                </a:cubicBezTo>
                <a:cubicBezTo>
                  <a:pt x="7" y="38"/>
                  <a:pt x="2" y="53"/>
                  <a:pt x="1" y="68"/>
                </a:cubicBezTo>
                <a:cubicBezTo>
                  <a:pt x="0" y="86"/>
                  <a:pt x="3" y="106"/>
                  <a:pt x="13" y="121"/>
                </a:cubicBezTo>
                <a:cubicBezTo>
                  <a:pt x="22" y="134"/>
                  <a:pt x="37" y="143"/>
                  <a:pt x="52" y="146"/>
                </a:cubicBezTo>
                <a:cubicBezTo>
                  <a:pt x="65" y="148"/>
                  <a:pt x="78" y="149"/>
                  <a:pt x="91" y="146"/>
                </a:cubicBezTo>
                <a:cubicBezTo>
                  <a:pt x="106" y="143"/>
                  <a:pt x="120" y="134"/>
                  <a:pt x="129" y="122"/>
                </a:cubicBezTo>
                <a:cubicBezTo>
                  <a:pt x="139" y="111"/>
                  <a:pt x="143" y="96"/>
                  <a:pt x="144" y="81"/>
                </a:cubicBezTo>
                <a:cubicBezTo>
                  <a:pt x="145" y="67"/>
                  <a:pt x="144" y="51"/>
                  <a:pt x="138" y="37"/>
                </a:cubicBezTo>
                <a:close/>
                <a:moveTo>
                  <a:pt x="105" y="102"/>
                </a:moveTo>
                <a:cubicBezTo>
                  <a:pt x="102" y="109"/>
                  <a:pt x="96" y="115"/>
                  <a:pt x="89" y="118"/>
                </a:cubicBezTo>
                <a:cubicBezTo>
                  <a:pt x="80" y="121"/>
                  <a:pt x="70" y="121"/>
                  <a:pt x="62" y="119"/>
                </a:cubicBezTo>
                <a:cubicBezTo>
                  <a:pt x="52" y="116"/>
                  <a:pt x="45" y="110"/>
                  <a:pt x="41" y="102"/>
                </a:cubicBezTo>
                <a:cubicBezTo>
                  <a:pt x="35" y="91"/>
                  <a:pt x="34" y="78"/>
                  <a:pt x="36" y="67"/>
                </a:cubicBezTo>
                <a:cubicBezTo>
                  <a:pt x="37" y="56"/>
                  <a:pt x="40" y="45"/>
                  <a:pt x="48" y="37"/>
                </a:cubicBezTo>
                <a:cubicBezTo>
                  <a:pt x="54" y="32"/>
                  <a:pt x="62" y="29"/>
                  <a:pt x="70" y="29"/>
                </a:cubicBezTo>
                <a:cubicBezTo>
                  <a:pt x="80" y="28"/>
                  <a:pt x="91" y="31"/>
                  <a:pt x="98" y="38"/>
                </a:cubicBezTo>
                <a:cubicBezTo>
                  <a:pt x="106" y="46"/>
                  <a:pt x="109" y="57"/>
                  <a:pt x="110" y="67"/>
                </a:cubicBezTo>
                <a:cubicBezTo>
                  <a:pt x="111" y="79"/>
                  <a:pt x="110" y="91"/>
                  <a:pt x="105" y="10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34" name="Freeform 15"/>
          <p:cNvSpPr>
            <a:spLocks noEditPoints="1"/>
          </p:cNvSpPr>
          <p:nvPr userDrawn="1"/>
        </p:nvSpPr>
        <p:spPr bwMode="auto">
          <a:xfrm>
            <a:off x="914469" y="6562004"/>
            <a:ext cx="82978" cy="85571"/>
          </a:xfrm>
          <a:custGeom>
            <a:avLst/>
            <a:gdLst>
              <a:gd name="T0" fmla="*/ 139 w 145"/>
              <a:gd name="T1" fmla="*/ 41 h 149"/>
              <a:gd name="T2" fmla="*/ 111 w 145"/>
              <a:gd name="T3" fmla="*/ 9 h 149"/>
              <a:gd name="T4" fmla="*/ 61 w 145"/>
              <a:gd name="T5" fmla="*/ 2 h 149"/>
              <a:gd name="T6" fmla="*/ 24 w 145"/>
              <a:gd name="T7" fmla="*/ 18 h 149"/>
              <a:gd name="T8" fmla="*/ 2 w 145"/>
              <a:gd name="T9" fmla="*/ 61 h 149"/>
              <a:gd name="T10" fmla="*/ 7 w 145"/>
              <a:gd name="T11" fmla="*/ 109 h 149"/>
              <a:gd name="T12" fmla="*/ 41 w 145"/>
              <a:gd name="T13" fmla="*/ 142 h 149"/>
              <a:gd name="T14" fmla="*/ 88 w 145"/>
              <a:gd name="T15" fmla="*/ 146 h 149"/>
              <a:gd name="T16" fmla="*/ 129 w 145"/>
              <a:gd name="T17" fmla="*/ 122 h 149"/>
              <a:gd name="T18" fmla="*/ 145 w 145"/>
              <a:gd name="T19" fmla="*/ 75 h 149"/>
              <a:gd name="T20" fmla="*/ 139 w 145"/>
              <a:gd name="T21" fmla="*/ 41 h 149"/>
              <a:gd name="T22" fmla="*/ 109 w 145"/>
              <a:gd name="T23" fmla="*/ 89 h 149"/>
              <a:gd name="T24" fmla="*/ 101 w 145"/>
              <a:gd name="T25" fmla="*/ 109 h 149"/>
              <a:gd name="T26" fmla="*/ 81 w 145"/>
              <a:gd name="T27" fmla="*/ 120 h 149"/>
              <a:gd name="T28" fmla="*/ 57 w 145"/>
              <a:gd name="T29" fmla="*/ 117 h 149"/>
              <a:gd name="T30" fmla="*/ 39 w 145"/>
              <a:gd name="T31" fmla="*/ 99 h 149"/>
              <a:gd name="T32" fmla="*/ 35 w 145"/>
              <a:gd name="T33" fmla="*/ 68 h 149"/>
              <a:gd name="T34" fmla="*/ 46 w 145"/>
              <a:gd name="T35" fmla="*/ 40 h 149"/>
              <a:gd name="T36" fmla="*/ 70 w 145"/>
              <a:gd name="T37" fmla="*/ 29 h 149"/>
              <a:gd name="T38" fmla="*/ 97 w 145"/>
              <a:gd name="T39" fmla="*/ 37 h 149"/>
              <a:gd name="T40" fmla="*/ 109 w 145"/>
              <a:gd name="T41" fmla="*/ 59 h 149"/>
              <a:gd name="T42" fmla="*/ 109 w 145"/>
              <a:gd name="T43" fmla="*/ 8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 h="149">
                <a:moveTo>
                  <a:pt x="139" y="41"/>
                </a:moveTo>
                <a:cubicBezTo>
                  <a:pt x="134" y="28"/>
                  <a:pt x="124" y="16"/>
                  <a:pt x="111" y="9"/>
                </a:cubicBezTo>
                <a:cubicBezTo>
                  <a:pt x="95" y="1"/>
                  <a:pt x="78" y="0"/>
                  <a:pt x="61" y="2"/>
                </a:cubicBezTo>
                <a:cubicBezTo>
                  <a:pt x="48" y="4"/>
                  <a:pt x="34" y="9"/>
                  <a:pt x="24" y="18"/>
                </a:cubicBezTo>
                <a:cubicBezTo>
                  <a:pt x="11" y="29"/>
                  <a:pt x="4" y="45"/>
                  <a:pt x="2" y="61"/>
                </a:cubicBezTo>
                <a:cubicBezTo>
                  <a:pt x="0" y="77"/>
                  <a:pt x="1" y="94"/>
                  <a:pt x="7" y="109"/>
                </a:cubicBezTo>
                <a:cubicBezTo>
                  <a:pt x="14" y="124"/>
                  <a:pt x="26" y="137"/>
                  <a:pt x="41" y="142"/>
                </a:cubicBezTo>
                <a:cubicBezTo>
                  <a:pt x="56" y="148"/>
                  <a:pt x="73" y="149"/>
                  <a:pt x="88" y="146"/>
                </a:cubicBezTo>
                <a:cubicBezTo>
                  <a:pt x="104" y="144"/>
                  <a:pt x="119" y="135"/>
                  <a:pt x="129" y="122"/>
                </a:cubicBezTo>
                <a:cubicBezTo>
                  <a:pt x="140" y="109"/>
                  <a:pt x="145" y="92"/>
                  <a:pt x="145" y="75"/>
                </a:cubicBezTo>
                <a:cubicBezTo>
                  <a:pt x="145" y="63"/>
                  <a:pt x="143" y="52"/>
                  <a:pt x="139" y="41"/>
                </a:cubicBezTo>
                <a:close/>
                <a:moveTo>
                  <a:pt x="109" y="89"/>
                </a:moveTo>
                <a:cubicBezTo>
                  <a:pt x="108" y="96"/>
                  <a:pt x="105" y="103"/>
                  <a:pt x="101" y="109"/>
                </a:cubicBezTo>
                <a:cubicBezTo>
                  <a:pt x="96" y="115"/>
                  <a:pt x="88" y="119"/>
                  <a:pt x="81" y="120"/>
                </a:cubicBezTo>
                <a:cubicBezTo>
                  <a:pt x="73" y="121"/>
                  <a:pt x="65" y="120"/>
                  <a:pt x="57" y="117"/>
                </a:cubicBezTo>
                <a:cubicBezTo>
                  <a:pt x="49" y="114"/>
                  <a:pt x="43" y="107"/>
                  <a:pt x="39" y="99"/>
                </a:cubicBezTo>
                <a:cubicBezTo>
                  <a:pt x="35" y="89"/>
                  <a:pt x="35" y="79"/>
                  <a:pt x="35" y="68"/>
                </a:cubicBezTo>
                <a:cubicBezTo>
                  <a:pt x="36" y="58"/>
                  <a:pt x="39" y="48"/>
                  <a:pt x="46" y="40"/>
                </a:cubicBezTo>
                <a:cubicBezTo>
                  <a:pt x="52" y="33"/>
                  <a:pt x="61" y="29"/>
                  <a:pt x="70" y="29"/>
                </a:cubicBezTo>
                <a:cubicBezTo>
                  <a:pt x="79" y="28"/>
                  <a:pt x="90" y="30"/>
                  <a:pt x="97" y="37"/>
                </a:cubicBezTo>
                <a:cubicBezTo>
                  <a:pt x="103" y="42"/>
                  <a:pt x="107" y="51"/>
                  <a:pt x="109" y="59"/>
                </a:cubicBezTo>
                <a:cubicBezTo>
                  <a:pt x="111" y="69"/>
                  <a:pt x="111" y="79"/>
                  <a:pt x="109" y="89"/>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35" name="Freeform 16"/>
          <p:cNvSpPr>
            <a:spLocks/>
          </p:cNvSpPr>
          <p:nvPr userDrawn="1"/>
        </p:nvSpPr>
        <p:spPr bwMode="auto">
          <a:xfrm>
            <a:off x="228600" y="6594418"/>
            <a:ext cx="86868" cy="88164"/>
          </a:xfrm>
          <a:custGeom>
            <a:avLst/>
            <a:gdLst>
              <a:gd name="T0" fmla="*/ 0 w 154"/>
              <a:gd name="T1" fmla="*/ 0 h 155"/>
              <a:gd name="T2" fmla="*/ 154 w 154"/>
              <a:gd name="T3" fmla="*/ 0 h 155"/>
              <a:gd name="T4" fmla="*/ 154 w 154"/>
              <a:gd name="T5" fmla="*/ 155 h 155"/>
              <a:gd name="T6" fmla="*/ 0 w 154"/>
              <a:gd name="T7" fmla="*/ 155 h 155"/>
              <a:gd name="T8" fmla="*/ 0 w 154"/>
              <a:gd name="T9" fmla="*/ 0 h 155"/>
            </a:gdLst>
            <a:ahLst/>
            <a:cxnLst>
              <a:cxn ang="0">
                <a:pos x="T0" y="T1"/>
              </a:cxn>
              <a:cxn ang="0">
                <a:pos x="T2" y="T3"/>
              </a:cxn>
              <a:cxn ang="0">
                <a:pos x="T4" y="T5"/>
              </a:cxn>
              <a:cxn ang="0">
                <a:pos x="T6" y="T7"/>
              </a:cxn>
              <a:cxn ang="0">
                <a:pos x="T8" y="T9"/>
              </a:cxn>
            </a:cxnLst>
            <a:rect l="0" t="0" r="r" b="b"/>
            <a:pathLst>
              <a:path w="154" h="155">
                <a:moveTo>
                  <a:pt x="0" y="0"/>
                </a:moveTo>
                <a:cubicBezTo>
                  <a:pt x="51" y="0"/>
                  <a:pt x="103" y="0"/>
                  <a:pt x="154" y="0"/>
                </a:cubicBezTo>
                <a:cubicBezTo>
                  <a:pt x="154" y="51"/>
                  <a:pt x="154" y="103"/>
                  <a:pt x="154" y="155"/>
                </a:cubicBezTo>
                <a:cubicBezTo>
                  <a:pt x="0" y="155"/>
                  <a:pt x="0" y="155"/>
                  <a:pt x="0" y="155"/>
                </a:cubicBezTo>
                <a:cubicBezTo>
                  <a:pt x="0" y="0"/>
                  <a:pt x="0" y="0"/>
                  <a:pt x="0" y="0"/>
                </a:cubicBezTo>
                <a:close/>
              </a:path>
            </a:pathLst>
          </a:custGeom>
          <a:solidFill>
            <a:srgbClr val="349F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36" name="Freeform 17"/>
          <p:cNvSpPr>
            <a:spLocks/>
          </p:cNvSpPr>
          <p:nvPr userDrawn="1"/>
        </p:nvSpPr>
        <p:spPr bwMode="auto">
          <a:xfrm>
            <a:off x="324545" y="6594418"/>
            <a:ext cx="89461" cy="88164"/>
          </a:xfrm>
          <a:custGeom>
            <a:avLst/>
            <a:gdLst>
              <a:gd name="T0" fmla="*/ 0 w 155"/>
              <a:gd name="T1" fmla="*/ 0 h 155"/>
              <a:gd name="T2" fmla="*/ 155 w 155"/>
              <a:gd name="T3" fmla="*/ 0 h 155"/>
              <a:gd name="T4" fmla="*/ 155 w 155"/>
              <a:gd name="T5" fmla="*/ 155 h 155"/>
              <a:gd name="T6" fmla="*/ 0 w 155"/>
              <a:gd name="T7" fmla="*/ 155 h 155"/>
              <a:gd name="T8" fmla="*/ 0 w 155"/>
              <a:gd name="T9" fmla="*/ 0 h 155"/>
            </a:gdLst>
            <a:ahLst/>
            <a:cxnLst>
              <a:cxn ang="0">
                <a:pos x="T0" y="T1"/>
              </a:cxn>
              <a:cxn ang="0">
                <a:pos x="T2" y="T3"/>
              </a:cxn>
              <a:cxn ang="0">
                <a:pos x="T4" y="T5"/>
              </a:cxn>
              <a:cxn ang="0">
                <a:pos x="T6" y="T7"/>
              </a:cxn>
              <a:cxn ang="0">
                <a:pos x="T8" y="T9"/>
              </a:cxn>
            </a:cxnLst>
            <a:rect l="0" t="0" r="r" b="b"/>
            <a:pathLst>
              <a:path w="155" h="155">
                <a:moveTo>
                  <a:pt x="0" y="0"/>
                </a:moveTo>
                <a:cubicBezTo>
                  <a:pt x="51" y="0"/>
                  <a:pt x="103" y="0"/>
                  <a:pt x="155" y="0"/>
                </a:cubicBezTo>
                <a:cubicBezTo>
                  <a:pt x="155" y="51"/>
                  <a:pt x="155" y="103"/>
                  <a:pt x="155" y="155"/>
                </a:cubicBezTo>
                <a:cubicBezTo>
                  <a:pt x="0" y="155"/>
                  <a:pt x="0" y="155"/>
                  <a:pt x="0" y="155"/>
                </a:cubicBezTo>
                <a:cubicBezTo>
                  <a:pt x="0" y="103"/>
                  <a:pt x="0" y="51"/>
                  <a:pt x="0" y="0"/>
                </a:cubicBezTo>
                <a:close/>
              </a:path>
            </a:pathLst>
          </a:custGeom>
          <a:solidFill>
            <a:srgbClr val="FCB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503772952"/>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 id="2147483869" r:id="rId31"/>
    <p:sldLayoutId id="2147483870" r:id="rId32"/>
    <p:sldLayoutId id="2147483871" r:id="rId33"/>
    <p:sldLayoutId id="2147483872" r:id="rId34"/>
    <p:sldLayoutId id="2147483873" r:id="rId35"/>
    <p:sldLayoutId id="2147483874" r:id="rId36"/>
    <p:sldLayoutId id="2147483875" r:id="rId37"/>
    <p:sldLayoutId id="2147483876" r:id="rId38"/>
    <p:sldLayoutId id="2147483877" r:id="rId39"/>
    <p:sldLayoutId id="2147483878" r:id="rId40"/>
    <p:sldLayoutId id="2147483879" r:id="rId41"/>
    <p:sldLayoutId id="2147483880" r:id="rId42"/>
    <p:sldLayoutId id="2147483881" r:id="rId43"/>
    <p:sldLayoutId id="2147483882"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225" rtl="0" eaLnBrk="1" latinLnBrk="0" hangingPunct="1">
        <a:lnSpc>
          <a:spcPct val="90000"/>
        </a:lnSpc>
        <a:spcBef>
          <a:spcPct val="0"/>
        </a:spcBef>
        <a:buNone/>
        <a:defRPr sz="3600" kern="1200" spc="-10" baseline="0">
          <a:solidFill>
            <a:schemeClr val="accent1"/>
          </a:solidFill>
          <a:latin typeface="Segoe UI Light" panose="020B0502040204020203" pitchFamily="34" charset="0"/>
          <a:ea typeface="+mj-ea"/>
          <a:cs typeface="Segoe UI Light" panose="020B0502040204020203" pitchFamily="34" charset="0"/>
        </a:defRPr>
      </a:lvl1pPr>
    </p:titleStyle>
    <p:bodyStyle>
      <a:lvl1pPr marL="0" indent="0" algn="l" defTabSz="914225" rtl="0" eaLnBrk="1" latinLnBrk="0" hangingPunct="1">
        <a:lnSpc>
          <a:spcPct val="100000"/>
        </a:lnSpc>
        <a:spcBef>
          <a:spcPts val="1000"/>
        </a:spcBef>
        <a:buFont typeface="Arial" panose="020B0604020202020204" pitchFamily="34" charset="0"/>
        <a:buNone/>
        <a:defRPr sz="2400" kern="1200" spc="-10" baseline="0">
          <a:solidFill>
            <a:schemeClr val="tx2"/>
          </a:solidFill>
          <a:latin typeface="Segoe UI Light" panose="020B0502040204020203" pitchFamily="34" charset="0"/>
          <a:ea typeface="+mn-ea"/>
          <a:cs typeface="Segoe UI Light" panose="020B0502040204020203" pitchFamily="34" charset="0"/>
        </a:defRPr>
      </a:lvl1pPr>
      <a:lvl2pPr marL="457112" indent="0" algn="l" defTabSz="914225" rtl="0" eaLnBrk="1" latinLnBrk="0" hangingPunct="1">
        <a:lnSpc>
          <a:spcPct val="100000"/>
        </a:lnSpc>
        <a:spcBef>
          <a:spcPts val="1000"/>
        </a:spcBef>
        <a:buFont typeface="Arial" panose="020B0604020202020204" pitchFamily="34" charset="0"/>
        <a:buNone/>
        <a:defRPr sz="2000" kern="1200" spc="-10" baseline="0">
          <a:solidFill>
            <a:schemeClr val="tx2"/>
          </a:solidFill>
          <a:latin typeface="Segoe UI Light" panose="020B0502040204020203" pitchFamily="34" charset="0"/>
          <a:ea typeface="+mn-ea"/>
          <a:cs typeface="Segoe UI Light" panose="020B0502040204020203" pitchFamily="34" charset="0"/>
        </a:defRPr>
      </a:lvl2pPr>
      <a:lvl3pPr marL="914225" indent="0" algn="l" defTabSz="914225" rtl="0" eaLnBrk="1" latinLnBrk="0" hangingPunct="1">
        <a:lnSpc>
          <a:spcPct val="100000"/>
        </a:lnSpc>
        <a:spcBef>
          <a:spcPts val="1000"/>
        </a:spcBef>
        <a:buFont typeface="Arial" panose="020B0604020202020204" pitchFamily="34" charset="0"/>
        <a:buNone/>
        <a:defRPr sz="1800" kern="1200">
          <a:solidFill>
            <a:schemeClr val="tx2"/>
          </a:solidFill>
          <a:latin typeface="Segoe UI" panose="020B0502040204020203" pitchFamily="34" charset="0"/>
          <a:ea typeface="+mn-ea"/>
          <a:cs typeface="Segoe UI" panose="020B0502040204020203" pitchFamily="34" charset="0"/>
        </a:defRPr>
      </a:lvl3pPr>
      <a:lvl4pPr marL="1371337" indent="0" algn="l" defTabSz="914225" rtl="0" eaLnBrk="1" latinLnBrk="0" hangingPunct="1">
        <a:lnSpc>
          <a:spcPct val="100000"/>
        </a:lnSpc>
        <a:spcBef>
          <a:spcPts val="1000"/>
        </a:spcBef>
        <a:buFont typeface="Arial" panose="020B0604020202020204" pitchFamily="34" charset="0"/>
        <a:buNone/>
        <a:defRPr sz="1600" kern="1200">
          <a:solidFill>
            <a:schemeClr val="tx2"/>
          </a:solidFill>
          <a:latin typeface="Segoe UI" panose="020B0502040204020203" pitchFamily="34" charset="0"/>
          <a:ea typeface="+mn-ea"/>
          <a:cs typeface="Segoe UI" panose="020B0502040204020203" pitchFamily="34" charset="0"/>
        </a:defRPr>
      </a:lvl4pPr>
      <a:lvl5pPr marL="1828449" indent="0" algn="l" defTabSz="914225" rtl="0" eaLnBrk="1" latinLnBrk="0" hangingPunct="1">
        <a:lnSpc>
          <a:spcPct val="100000"/>
        </a:lnSpc>
        <a:spcBef>
          <a:spcPts val="1000"/>
        </a:spcBef>
        <a:buFont typeface="Arial" panose="020B0604020202020204" pitchFamily="34" charset="0"/>
        <a:buNone/>
        <a:defRPr sz="1400" kern="1200">
          <a:solidFill>
            <a:schemeClr val="tx2"/>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aka.ms/tfhub" TargetMode="External"/><Relationship Id="rId2" Type="http://schemas.openxmlformats.org/officeDocument/2006/relationships/hyperlink" Target="https://azure.microsoft.com/en-us/solutions/devops/terraform/" TargetMode="External"/><Relationship Id="rId1" Type="http://schemas.openxmlformats.org/officeDocument/2006/relationships/slideLayout" Target="../slideLayouts/slideLayout217.xml"/><Relationship Id="rId5" Type="http://schemas.openxmlformats.org/officeDocument/2006/relationships/hyperlink" Target="https://github.com/terraform-providers/terraform-provider-azurerm" TargetMode="External"/><Relationship Id="rId4" Type="http://schemas.openxmlformats.org/officeDocument/2006/relationships/hyperlink" Target="https://www.terraform.io/docs/providers/azurerm/index.html"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8.xml"/></Relationships>
</file>

<file path=ppt/slides/_rels/slide1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19.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219.xm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21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219.xml"/><Relationship Id="rId4" Type="http://schemas.openxmlformats.org/officeDocument/2006/relationships/image" Target="../media/image65.png"/></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215.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17.xml"/><Relationship Id="rId5" Type="http://schemas.openxmlformats.org/officeDocument/2006/relationships/image" Target="../media/image50.png"/><Relationship Id="rId4" Type="http://schemas.openxmlformats.org/officeDocument/2006/relationships/image" Target="../media/image49.png"/></Relationships>
</file>

<file path=ppt/slides/_rels/slide5.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cad=rja&amp;uact=8&amp;ved=0ahUKEwikt-2brODZAhVP52MKHdXRDwUQjRwIBg&amp;url=http://www.pngpix.com/download/boeing-logo-png-transparent-2&amp;psig=AOvVaw0m28IiKhy3k9jBZ2R7n1qI&amp;ust=1520722839565324" TargetMode="External"/><Relationship Id="rId13" Type="http://schemas.openxmlformats.org/officeDocument/2006/relationships/image" Target="../media/image57.jpeg"/><Relationship Id="rId3" Type="http://schemas.openxmlformats.org/officeDocument/2006/relationships/image" Target="../media/image51.jpeg"/><Relationship Id="rId7" Type="http://schemas.openxmlformats.org/officeDocument/2006/relationships/image" Target="../media/image54.png"/><Relationship Id="rId12" Type="http://schemas.openxmlformats.org/officeDocument/2006/relationships/hyperlink" Target="https://www.google.com/url?sa=i&amp;rct=j&amp;q=&amp;esrc=s&amp;source=images&amp;cd=&amp;cad=rja&amp;uact=8&amp;ved=0ahUKEwjPruWIuODZAhVV02MKHYAvBHcQjRwIBg&amp;url=http://www.asos.com/&amp;psig=AOvVaw1bjwUaAsvJjN-uGW-9s68q&amp;ust=1520726031375760" TargetMode="External"/><Relationship Id="rId17" Type="http://schemas.openxmlformats.org/officeDocument/2006/relationships/image" Target="../media/image59.png"/><Relationship Id="rId2" Type="http://schemas.openxmlformats.org/officeDocument/2006/relationships/hyperlink" Target="https://www.bing.com/images/search?view=detailV2&amp;ccid=wFPkwMP/&amp;id=8E105AF7F40FAB3C2DCB712993DD97086FF3BD87&amp;thid=OIP.wFPkwMP_sOSJ7K3Sdzy9NQHaD6&amp;mediaurl=http://www.orchestratedbeer.com/wp-content/uploads/citrix-logo-.jpg&amp;exph=709&amp;expw=1339&amp;q=citrix+logo&amp;simid=608019594302587896&amp;selectedIndex=0" TargetMode="External"/><Relationship Id="rId16" Type="http://schemas.openxmlformats.org/officeDocument/2006/relationships/hyperlink" Target="https://www.google.com/url?sa=i&amp;rct=j&amp;q=&amp;esrc=s&amp;source=images&amp;cd=&amp;cad=rja&amp;uact=8&amp;ved=0ahUKEwixipamuODZAhVS-2MKHRcGBTAQjRwIBg&amp;url=https://commons.wikimedia.org/wiki/File:Rakuten_logo_2.svg&amp;psig=AOvVaw2PI1oikhSZZPzRGA2Sxus0&amp;ust=1520726089523210" TargetMode="External"/><Relationship Id="rId1" Type="http://schemas.openxmlformats.org/officeDocument/2006/relationships/slideLayout" Target="../slideLayouts/slideLayout217.xml"/><Relationship Id="rId6" Type="http://schemas.openxmlformats.org/officeDocument/2006/relationships/hyperlink" Target="https://www.google.com/url?sa=i&amp;rct=j&amp;q=&amp;esrc=s&amp;source=images&amp;cd=&amp;cad=rja&amp;uact=8&amp;ved=0ahUKEwiovuaIrODZAhVTVWMKHeILAhAQjRwIBg&amp;url=https://commons.wikimedia.org/wiki/File:Marks_&amp;_Spencer_new_logo.svg&amp;psig=AOvVaw20ZoU6PPx-O7qBNYj21886&amp;ust=1520722794821705" TargetMode="External"/><Relationship Id="rId11" Type="http://schemas.openxmlformats.org/officeDocument/2006/relationships/image" Target="../media/image56.png"/><Relationship Id="rId5" Type="http://schemas.openxmlformats.org/officeDocument/2006/relationships/image" Target="../media/image53.svg"/><Relationship Id="rId15" Type="http://schemas.openxmlformats.org/officeDocument/2006/relationships/image" Target="../media/image58.gif"/><Relationship Id="rId10" Type="http://schemas.openxmlformats.org/officeDocument/2006/relationships/hyperlink" Target="https://www.google.com/url?sa=i&amp;rct=j&amp;q=&amp;esrc=s&amp;source=images&amp;cd=&amp;cad=rja&amp;uact=8&amp;ved=0ahUKEwj3-eLssODZAhVD02MKHU67BP0QjRwIBg&amp;url=https://commons.wikimedia.org/wiki/File:KPMG_logo.svg&amp;psig=AOvVaw13B9ucgY68u0_tAbeOQL3q&amp;ust=1520724091829403" TargetMode="External"/><Relationship Id="rId4" Type="http://schemas.openxmlformats.org/officeDocument/2006/relationships/image" Target="../media/image52.png"/><Relationship Id="rId9" Type="http://schemas.openxmlformats.org/officeDocument/2006/relationships/image" Target="../media/image55.png"/><Relationship Id="rId14" Type="http://schemas.openxmlformats.org/officeDocument/2006/relationships/hyperlink" Target="https://www.google.com/url?sa=i&amp;rct=j&amp;q=&amp;esrc=s&amp;source=images&amp;cd=&amp;cad=rja&amp;uact=8&amp;ved=0ahUKEwjS4PuauODZAhXCLmMKHfikBlcQjRwIBg&amp;url=http://www.brandsoftheworld.com/logo/ambit-energy-0&amp;psig=AOvVaw1A598kZvpa4T02Hhm3i6X0&amp;ust=1520726066702252"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17.xml"/></Relationships>
</file>

<file path=ppt/slides/_rels/slide7.xml.rels><?xml version="1.0" encoding="UTF-8" standalone="yes"?>
<Relationships xmlns="http://schemas.openxmlformats.org/package/2006/relationships"><Relationship Id="rId2" Type="http://schemas.openxmlformats.org/officeDocument/2006/relationships/hyperlink" Target="http://github.com/terraform-providers/terraform-provider-azurerm" TargetMode="External"/><Relationship Id="rId1" Type="http://schemas.openxmlformats.org/officeDocument/2006/relationships/slideLayout" Target="../slideLayouts/slideLayout2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9.xml.rels><?xml version="1.0" encoding="UTF-8" standalone="yes"?>
<Relationships xmlns="http://schemas.openxmlformats.org/package/2006/relationships"><Relationship Id="rId2" Type="http://schemas.openxmlformats.org/officeDocument/2006/relationships/hyperlink" Target="https://customers.microsoft.com/en-us/story/axon-professional-services-azure" TargetMode="External"/><Relationship Id="rId1" Type="http://schemas.openxmlformats.org/officeDocument/2006/relationships/slideLayout" Target="../slideLayouts/slideLayout2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9A71D-7E81-4C9F-BFBC-3F1CDE60D5D6}"/>
              </a:ext>
            </a:extLst>
          </p:cNvPr>
          <p:cNvSpPr>
            <a:spLocks noGrp="1"/>
          </p:cNvSpPr>
          <p:nvPr>
            <p:ph type="title"/>
          </p:nvPr>
        </p:nvSpPr>
        <p:spPr>
          <a:xfrm>
            <a:off x="269302" y="4369224"/>
            <a:ext cx="11583608" cy="974019"/>
          </a:xfrm>
        </p:spPr>
        <p:txBody>
          <a:bodyPr/>
          <a:lstStyle/>
          <a:p>
            <a:r>
              <a:rPr lang="en-US" sz="4800" spc="0" dirty="0"/>
              <a:t>Azure + Terraform</a:t>
            </a:r>
          </a:p>
        </p:txBody>
      </p:sp>
      <p:grpSp>
        <p:nvGrpSpPr>
          <p:cNvPr id="24" name="Group 23">
            <a:extLst>
              <a:ext uri="{FF2B5EF4-FFF2-40B4-BE49-F238E27FC236}">
                <a16:creationId xmlns:a16="http://schemas.microsoft.com/office/drawing/2014/main" id="{70F82245-B4A3-4A96-B725-72938357D252}"/>
              </a:ext>
            </a:extLst>
          </p:cNvPr>
          <p:cNvGrpSpPr/>
          <p:nvPr/>
        </p:nvGrpSpPr>
        <p:grpSpPr>
          <a:xfrm>
            <a:off x="583758" y="3505961"/>
            <a:ext cx="3284490" cy="781741"/>
            <a:chOff x="733346" y="3790822"/>
            <a:chExt cx="2790618" cy="664195"/>
          </a:xfrm>
        </p:grpSpPr>
        <p:grpSp>
          <p:nvGrpSpPr>
            <p:cNvPr id="4" name="Group 3">
              <a:extLst>
                <a:ext uri="{FF2B5EF4-FFF2-40B4-BE49-F238E27FC236}">
                  <a16:creationId xmlns:a16="http://schemas.microsoft.com/office/drawing/2014/main" id="{3D43E816-4C4B-42C8-A5D6-B0FF8C659AAA}"/>
                </a:ext>
              </a:extLst>
            </p:cNvPr>
            <p:cNvGrpSpPr/>
            <p:nvPr/>
          </p:nvGrpSpPr>
          <p:grpSpPr>
            <a:xfrm>
              <a:off x="733346" y="4101813"/>
              <a:ext cx="320468" cy="353204"/>
              <a:chOff x="848773" y="3063002"/>
              <a:chExt cx="885825" cy="976313"/>
            </a:xfrm>
          </p:grpSpPr>
          <p:sp>
            <p:nvSpPr>
              <p:cNvPr id="5" name="Freeform: Shape 4">
                <a:extLst>
                  <a:ext uri="{FF2B5EF4-FFF2-40B4-BE49-F238E27FC236}">
                    <a16:creationId xmlns:a16="http://schemas.microsoft.com/office/drawing/2014/main" id="{4E296B57-2837-4E26-8689-950B671F67DD}"/>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6" name="Freeform: Shape 5">
                <a:extLst>
                  <a:ext uri="{FF2B5EF4-FFF2-40B4-BE49-F238E27FC236}">
                    <a16:creationId xmlns:a16="http://schemas.microsoft.com/office/drawing/2014/main" id="{DC35FBAC-70D2-4014-BE55-65B5874C73B3}"/>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7" name="Freeform: Shape 6">
                <a:extLst>
                  <a:ext uri="{FF2B5EF4-FFF2-40B4-BE49-F238E27FC236}">
                    <a16:creationId xmlns:a16="http://schemas.microsoft.com/office/drawing/2014/main" id="{9F322CB4-09E0-476C-9129-796E66D93C44}"/>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8" name="Group 7">
              <a:extLst>
                <a:ext uri="{FF2B5EF4-FFF2-40B4-BE49-F238E27FC236}">
                  <a16:creationId xmlns:a16="http://schemas.microsoft.com/office/drawing/2014/main" id="{5D766834-8D88-47CE-B94E-D0A47A985558}"/>
                </a:ext>
              </a:extLst>
            </p:cNvPr>
            <p:cNvGrpSpPr/>
            <p:nvPr/>
          </p:nvGrpSpPr>
          <p:grpSpPr>
            <a:xfrm>
              <a:off x="1350884" y="3790822"/>
              <a:ext cx="320468" cy="353204"/>
              <a:chOff x="848773" y="3063002"/>
              <a:chExt cx="885825" cy="976313"/>
            </a:xfrm>
          </p:grpSpPr>
          <p:sp>
            <p:nvSpPr>
              <p:cNvPr id="9" name="Freeform: Shape 8">
                <a:extLst>
                  <a:ext uri="{FF2B5EF4-FFF2-40B4-BE49-F238E27FC236}">
                    <a16:creationId xmlns:a16="http://schemas.microsoft.com/office/drawing/2014/main" id="{8F3A9835-B557-4988-A6FD-C6D604C619E2}"/>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0" name="Freeform: Shape 9">
                <a:extLst>
                  <a:ext uri="{FF2B5EF4-FFF2-40B4-BE49-F238E27FC236}">
                    <a16:creationId xmlns:a16="http://schemas.microsoft.com/office/drawing/2014/main" id="{98ABDD7F-F732-49A2-A7B6-BA90CF585C7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1" name="Freeform: Shape 10">
                <a:extLst>
                  <a:ext uri="{FF2B5EF4-FFF2-40B4-BE49-F238E27FC236}">
                    <a16:creationId xmlns:a16="http://schemas.microsoft.com/office/drawing/2014/main" id="{39FE294F-4004-4068-A2D2-4195294561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2" name="Group 11">
              <a:extLst>
                <a:ext uri="{FF2B5EF4-FFF2-40B4-BE49-F238E27FC236}">
                  <a16:creationId xmlns:a16="http://schemas.microsoft.com/office/drawing/2014/main" id="{1244F92F-7ED6-4F97-A746-3B31FBA0B4C4}"/>
                </a:ext>
              </a:extLst>
            </p:cNvPr>
            <p:cNvGrpSpPr/>
            <p:nvPr/>
          </p:nvGrpSpPr>
          <p:grpSpPr>
            <a:xfrm>
              <a:off x="1968422" y="4101813"/>
              <a:ext cx="320468" cy="353204"/>
              <a:chOff x="848773" y="3063002"/>
              <a:chExt cx="885825" cy="976313"/>
            </a:xfrm>
          </p:grpSpPr>
          <p:sp>
            <p:nvSpPr>
              <p:cNvPr id="13" name="Freeform: Shape 12">
                <a:extLst>
                  <a:ext uri="{FF2B5EF4-FFF2-40B4-BE49-F238E27FC236}">
                    <a16:creationId xmlns:a16="http://schemas.microsoft.com/office/drawing/2014/main" id="{49718CCE-C693-41CB-BAEE-E43EBAEBABF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4" name="Freeform: Shape 13">
                <a:extLst>
                  <a:ext uri="{FF2B5EF4-FFF2-40B4-BE49-F238E27FC236}">
                    <a16:creationId xmlns:a16="http://schemas.microsoft.com/office/drawing/2014/main" id="{13E1FA85-17D5-4AEF-84DB-5309C865992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5" name="Freeform: Shape 14">
                <a:extLst>
                  <a:ext uri="{FF2B5EF4-FFF2-40B4-BE49-F238E27FC236}">
                    <a16:creationId xmlns:a16="http://schemas.microsoft.com/office/drawing/2014/main" id="{20D5E21E-BFAA-40EE-8616-A8850F225F4A}"/>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16" name="Group 15">
              <a:extLst>
                <a:ext uri="{FF2B5EF4-FFF2-40B4-BE49-F238E27FC236}">
                  <a16:creationId xmlns:a16="http://schemas.microsoft.com/office/drawing/2014/main" id="{77E6CAAD-9306-4EAA-8B22-8280BD6F0646}"/>
                </a:ext>
              </a:extLst>
            </p:cNvPr>
            <p:cNvGrpSpPr/>
            <p:nvPr/>
          </p:nvGrpSpPr>
          <p:grpSpPr>
            <a:xfrm>
              <a:off x="2585960" y="3790822"/>
              <a:ext cx="320468" cy="353204"/>
              <a:chOff x="848773" y="3063002"/>
              <a:chExt cx="885825" cy="976313"/>
            </a:xfrm>
          </p:grpSpPr>
          <p:sp>
            <p:nvSpPr>
              <p:cNvPr id="17" name="Freeform: Shape 16">
                <a:extLst>
                  <a:ext uri="{FF2B5EF4-FFF2-40B4-BE49-F238E27FC236}">
                    <a16:creationId xmlns:a16="http://schemas.microsoft.com/office/drawing/2014/main" id="{93DF2BAD-E676-4C8D-AF2B-3005B53598D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8" name="Freeform: Shape 17">
                <a:extLst>
                  <a:ext uri="{FF2B5EF4-FFF2-40B4-BE49-F238E27FC236}">
                    <a16:creationId xmlns:a16="http://schemas.microsoft.com/office/drawing/2014/main" id="{F80B209A-BA3A-4F4D-89CD-279A5D3D52DA}"/>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19" name="Freeform: Shape 18">
                <a:extLst>
                  <a:ext uri="{FF2B5EF4-FFF2-40B4-BE49-F238E27FC236}">
                    <a16:creationId xmlns:a16="http://schemas.microsoft.com/office/drawing/2014/main" id="{240FDD07-EF3B-4B01-B61C-F544C16B3ED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nvGrpSpPr>
            <p:cNvPr id="20" name="Group 19">
              <a:extLst>
                <a:ext uri="{FF2B5EF4-FFF2-40B4-BE49-F238E27FC236}">
                  <a16:creationId xmlns:a16="http://schemas.microsoft.com/office/drawing/2014/main" id="{4021622A-DA3A-4046-8B9A-53CFFF3DE9CD}"/>
                </a:ext>
              </a:extLst>
            </p:cNvPr>
            <p:cNvGrpSpPr/>
            <p:nvPr/>
          </p:nvGrpSpPr>
          <p:grpSpPr>
            <a:xfrm>
              <a:off x="3203496" y="4101813"/>
              <a:ext cx="320468" cy="353204"/>
              <a:chOff x="848773" y="3063002"/>
              <a:chExt cx="885825" cy="976313"/>
            </a:xfrm>
          </p:grpSpPr>
          <p:sp>
            <p:nvSpPr>
              <p:cNvPr id="21" name="Freeform: Shape 20">
                <a:extLst>
                  <a:ext uri="{FF2B5EF4-FFF2-40B4-BE49-F238E27FC236}">
                    <a16:creationId xmlns:a16="http://schemas.microsoft.com/office/drawing/2014/main" id="{3A9D5A2B-5BCE-49E3-9F38-57C031B5FDC0}"/>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2" name="Freeform: Shape 21">
                <a:extLst>
                  <a:ext uri="{FF2B5EF4-FFF2-40B4-BE49-F238E27FC236}">
                    <a16:creationId xmlns:a16="http://schemas.microsoft.com/office/drawing/2014/main" id="{30C632B0-7BAB-4B8D-A9E3-4D6AC1BD4315}"/>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sp>
            <p:nvSpPr>
              <p:cNvPr id="23" name="Freeform: Shape 22">
                <a:extLst>
                  <a:ext uri="{FF2B5EF4-FFF2-40B4-BE49-F238E27FC236}">
                    <a16:creationId xmlns:a16="http://schemas.microsoft.com/office/drawing/2014/main" id="{209361A4-0E05-4DED-BD16-EDAA63B8102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2700" cap="rnd">
                <a:solidFill>
                  <a:schemeClr val="tx1">
                    <a:alpha val="50000"/>
                  </a:schemeClr>
                </a:solidFill>
                <a:prstDash val="solid"/>
                <a:round/>
              </a:ln>
            </p:spPr>
            <p:txBody>
              <a:bodyPr/>
              <a:lstStyle/>
              <a:p>
                <a:pPr defTabSz="914367"/>
                <a:endParaRPr lang="en-US" sz="1765">
                  <a:solidFill>
                    <a:srgbClr val="FFFFFF"/>
                  </a:solidFill>
                  <a:latin typeface="Segoe UI"/>
                </a:endParaRPr>
              </a:p>
            </p:txBody>
          </p:sp>
        </p:grpSp>
      </p:grpSp>
      <p:sp>
        <p:nvSpPr>
          <p:cNvPr id="26" name="Text Placeholder 25">
            <a:extLst>
              <a:ext uri="{FF2B5EF4-FFF2-40B4-BE49-F238E27FC236}">
                <a16:creationId xmlns:a16="http://schemas.microsoft.com/office/drawing/2014/main" id="{4C926B21-0CE6-4E79-B3CD-8EA2FFE77FB0}"/>
              </a:ext>
            </a:extLst>
          </p:cNvPr>
          <p:cNvSpPr>
            <a:spLocks noGrp="1"/>
          </p:cNvSpPr>
          <p:nvPr>
            <p:ph type="body" sz="quarter" idx="12"/>
          </p:nvPr>
        </p:nvSpPr>
        <p:spPr>
          <a:xfrm>
            <a:off x="269302" y="5354150"/>
            <a:ext cx="11092118" cy="1206670"/>
          </a:xfrm>
        </p:spPr>
        <p:txBody>
          <a:bodyPr/>
          <a:lstStyle/>
          <a:p>
            <a:r>
              <a:rPr lang="en-US" dirty="0">
                <a:solidFill>
                  <a:schemeClr val="tx1"/>
                </a:solidFill>
              </a:rPr>
              <a:t>https://aka.ms/learn-tf</a:t>
            </a:r>
            <a:endParaRPr lang="en-US" b="1" dirty="0">
              <a:solidFill>
                <a:schemeClr val="tx1"/>
              </a:solidFill>
            </a:endParaRPr>
          </a:p>
        </p:txBody>
      </p:sp>
    </p:spTree>
    <p:extLst>
      <p:ext uri="{BB962C8B-B14F-4D97-AF65-F5344CB8AC3E}">
        <p14:creationId xmlns:p14="http://schemas.microsoft.com/office/powerpoint/2010/main" val="3249558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06049F3E-72B8-4C21-BFE5-7DA71C43C055}"/>
              </a:ext>
            </a:extLst>
          </p:cNvPr>
          <p:cNvSpPr txBox="1">
            <a:spLocks/>
          </p:cNvSpPr>
          <p:nvPr/>
        </p:nvSpPr>
        <p:spPr>
          <a:xfrm>
            <a:off x="228601" y="229055"/>
            <a:ext cx="11734800" cy="502849"/>
          </a:xfrm>
          <a:prstGeom prst="rect">
            <a:avLst/>
          </a:prstGeom>
        </p:spPr>
        <p:txBody>
          <a:bodyPr vert="horz" lIns="134464" tIns="44821" rIns="134464" bIns="134464" rtlCol="0" anchor="t" anchorCtr="0">
            <a:noAutofit/>
          </a:bodyPr>
          <a:lstStyle>
            <a:lvl1pPr algn="l" defTabSz="932597" rtl="0" eaLnBrk="1" latinLnBrk="0" hangingPunct="1">
              <a:lnSpc>
                <a:spcPct val="90000"/>
              </a:lnSpc>
              <a:spcBef>
                <a:spcPct val="0"/>
              </a:spcBef>
              <a:buNone/>
              <a:defRPr sz="3672" kern="1200" spc="-10" baseline="0">
                <a:solidFill>
                  <a:schemeClr val="accent1"/>
                </a:solidFill>
                <a:latin typeface="Segoe UI Light" panose="020B0502040204020203" pitchFamily="34" charset="0"/>
                <a:ea typeface="+mj-ea"/>
                <a:cs typeface="Segoe UI Light" panose="020B0502040204020203" pitchFamily="34" charset="0"/>
              </a:defRPr>
            </a:lvl1pPr>
          </a:lstStyle>
          <a:p>
            <a:pPr defTabSz="914225">
              <a:defRPr/>
            </a:pPr>
            <a:r>
              <a:rPr lang="en-US" sz="3600" dirty="0">
                <a:solidFill>
                  <a:srgbClr val="0078D7"/>
                </a:solidFill>
                <a:ea typeface=""/>
              </a:rPr>
              <a:t>Links to Terraform Resources</a:t>
            </a:r>
          </a:p>
        </p:txBody>
      </p:sp>
      <p:sp>
        <p:nvSpPr>
          <p:cNvPr id="5" name="Text Placeholder 8">
            <a:extLst>
              <a:ext uri="{FF2B5EF4-FFF2-40B4-BE49-F238E27FC236}">
                <a16:creationId xmlns:a16="http://schemas.microsoft.com/office/drawing/2014/main" id="{FA6F35AB-FF39-1948-873A-752B8F055507}"/>
              </a:ext>
            </a:extLst>
          </p:cNvPr>
          <p:cNvSpPr txBox="1">
            <a:spLocks/>
          </p:cNvSpPr>
          <p:nvPr/>
        </p:nvSpPr>
        <p:spPr>
          <a:xfrm>
            <a:off x="228600" y="1005936"/>
            <a:ext cx="9704756" cy="5087817"/>
          </a:xfrm>
          <a:prstGeom prst="rect">
            <a:avLst/>
          </a:prstGeom>
        </p:spPr>
        <p:txBody>
          <a:bodyPr>
            <a:normAutofit/>
          </a:bodyPr>
          <a:lstStyle>
            <a:lvl1pPr marL="0" indent="0" algn="l" defTabSz="932597" rtl="0" eaLnBrk="1" latinLnBrk="0" hangingPunct="1">
              <a:lnSpc>
                <a:spcPct val="100000"/>
              </a:lnSpc>
              <a:spcBef>
                <a:spcPts val="1020"/>
              </a:spcBef>
              <a:buFont typeface="Arial" panose="020B0604020202020204" pitchFamily="34" charset="0"/>
              <a:buNone/>
              <a:defRPr sz="2448" kern="1200" spc="-10" baseline="0">
                <a:solidFill>
                  <a:schemeClr val="tx2"/>
                </a:solidFill>
                <a:latin typeface="Segoe UI Light" panose="020B0502040204020203" pitchFamily="34" charset="0"/>
                <a:ea typeface="+mn-ea"/>
                <a:cs typeface="Segoe UI Light" panose="020B0502040204020203" pitchFamily="34" charset="0"/>
              </a:defRPr>
            </a:lvl1pPr>
            <a:lvl2pPr marL="466298" indent="0" algn="l" defTabSz="932597" rtl="0" eaLnBrk="1" latinLnBrk="0" hangingPunct="1">
              <a:lnSpc>
                <a:spcPct val="100000"/>
              </a:lnSpc>
              <a:spcBef>
                <a:spcPts val="1020"/>
              </a:spcBef>
              <a:buFont typeface="Arial" panose="020B0604020202020204" pitchFamily="34" charset="0"/>
              <a:buNone/>
              <a:defRPr sz="2040" kern="1200" spc="-10" baseline="0">
                <a:solidFill>
                  <a:schemeClr val="tx2"/>
                </a:solidFill>
                <a:latin typeface="Segoe UI Light" panose="020B0502040204020203" pitchFamily="34" charset="0"/>
                <a:ea typeface="+mn-ea"/>
                <a:cs typeface="Segoe UI Light" panose="020B0502040204020203" pitchFamily="34" charset="0"/>
              </a:defRPr>
            </a:lvl2pPr>
            <a:lvl3pPr marL="932597" indent="0" algn="l" defTabSz="932597" rtl="0" eaLnBrk="1" latinLnBrk="0" hangingPunct="1">
              <a:lnSpc>
                <a:spcPct val="100000"/>
              </a:lnSpc>
              <a:spcBef>
                <a:spcPts val="1020"/>
              </a:spcBef>
              <a:buFont typeface="Arial" panose="020B0604020202020204" pitchFamily="34" charset="0"/>
              <a:buNone/>
              <a:defRPr sz="1836" kern="1200">
                <a:solidFill>
                  <a:schemeClr val="tx2"/>
                </a:solidFill>
                <a:latin typeface="Segoe UI" panose="020B0502040204020203" pitchFamily="34" charset="0"/>
                <a:ea typeface="+mn-ea"/>
                <a:cs typeface="Segoe UI" panose="020B0502040204020203" pitchFamily="34" charset="0"/>
              </a:defRPr>
            </a:lvl3pPr>
            <a:lvl4pPr marL="1398895" indent="0" algn="l" defTabSz="932597" rtl="0" eaLnBrk="1" latinLnBrk="0" hangingPunct="1">
              <a:lnSpc>
                <a:spcPct val="100000"/>
              </a:lnSpc>
              <a:spcBef>
                <a:spcPts val="1020"/>
              </a:spcBef>
              <a:buFont typeface="Arial" panose="020B0604020202020204" pitchFamily="34" charset="0"/>
              <a:buNone/>
              <a:defRPr sz="1632" kern="1200">
                <a:solidFill>
                  <a:schemeClr val="tx2"/>
                </a:solidFill>
                <a:latin typeface="Segoe UI" panose="020B0502040204020203" pitchFamily="34" charset="0"/>
                <a:ea typeface="+mn-ea"/>
                <a:cs typeface="Segoe UI" panose="020B0502040204020203" pitchFamily="34" charset="0"/>
              </a:defRPr>
            </a:lvl4pPr>
            <a:lvl5pPr marL="1865193" indent="0" algn="l" defTabSz="932597" rtl="0" eaLnBrk="1" latinLnBrk="0" hangingPunct="1">
              <a:lnSpc>
                <a:spcPct val="100000"/>
              </a:lnSpc>
              <a:spcBef>
                <a:spcPts val="1020"/>
              </a:spcBef>
              <a:buFont typeface="Arial" panose="020B0604020202020204" pitchFamily="34" charset="0"/>
              <a:buNone/>
              <a:defRPr sz="1428" kern="1200">
                <a:solidFill>
                  <a:schemeClr val="tx2"/>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defTabSz="914225" fontAlgn="ctr">
              <a:spcBef>
                <a:spcPts val="1000"/>
              </a:spcBef>
            </a:pPr>
            <a:r>
              <a:rPr lang="en-US" sz="2745" dirty="0">
                <a:solidFill>
                  <a:srgbClr val="505050"/>
                </a:solidFill>
              </a:rPr>
              <a:t>Microsoft</a:t>
            </a:r>
          </a:p>
          <a:p>
            <a:pPr defTabSz="914225">
              <a:spcBef>
                <a:spcPts val="1000"/>
              </a:spcBef>
            </a:pPr>
            <a:r>
              <a:rPr lang="en-US" sz="2353" u="sng" dirty="0">
                <a:solidFill>
                  <a:srgbClr val="505050"/>
                </a:solidFill>
                <a:hlinkClick r:id="rId2"/>
              </a:rPr>
              <a:t>https://azure.microsoft.com/en-us/solutions/devops/terraform/</a:t>
            </a:r>
            <a:endParaRPr lang="en-US" sz="2353" dirty="0">
              <a:solidFill>
                <a:srgbClr val="505050"/>
              </a:solidFill>
            </a:endParaRPr>
          </a:p>
          <a:p>
            <a:pPr defTabSz="914225">
              <a:spcBef>
                <a:spcPts val="1000"/>
              </a:spcBef>
            </a:pPr>
            <a:r>
              <a:rPr lang="en-US" sz="2353" dirty="0">
                <a:solidFill>
                  <a:srgbClr val="505050"/>
                </a:solidFill>
                <a:hlinkClick r:id="rId3"/>
              </a:rPr>
              <a:t>https://aka.ms/tfhub</a:t>
            </a:r>
            <a:endParaRPr lang="en-US" sz="2353" dirty="0">
              <a:solidFill>
                <a:srgbClr val="505050"/>
              </a:solidFill>
            </a:endParaRPr>
          </a:p>
          <a:p>
            <a:pPr defTabSz="914225" fontAlgn="ctr">
              <a:spcBef>
                <a:spcPts val="1000"/>
              </a:spcBef>
            </a:pPr>
            <a:endParaRPr lang="en-US" sz="2353" b="1" dirty="0">
              <a:solidFill>
                <a:srgbClr val="505050"/>
              </a:solidFill>
            </a:endParaRPr>
          </a:p>
          <a:p>
            <a:pPr defTabSz="914225" fontAlgn="ctr">
              <a:spcBef>
                <a:spcPts val="1000"/>
              </a:spcBef>
            </a:pPr>
            <a:r>
              <a:rPr lang="en-US" sz="2745" dirty="0" err="1">
                <a:solidFill>
                  <a:srgbClr val="505050"/>
                </a:solidFill>
              </a:rPr>
              <a:t>HashiCorp</a:t>
            </a:r>
            <a:endParaRPr lang="en-US" sz="2745" dirty="0">
              <a:solidFill>
                <a:srgbClr val="505050"/>
              </a:solidFill>
            </a:endParaRPr>
          </a:p>
          <a:p>
            <a:pPr marL="336145" indent="-336145" defTabSz="914225" fontAlgn="ctr">
              <a:spcBef>
                <a:spcPts val="1000"/>
              </a:spcBef>
              <a:buFont typeface="Arial" charset="0"/>
              <a:buChar char="•"/>
            </a:pPr>
            <a:r>
              <a:rPr lang="en-US" sz="2353" dirty="0">
                <a:solidFill>
                  <a:srgbClr val="505050"/>
                </a:solidFill>
                <a:hlinkClick r:id="rId4"/>
              </a:rPr>
              <a:t>https://www.terraform.io/docs/providers/azurerm/index.html</a:t>
            </a:r>
            <a:endParaRPr lang="en-US" sz="2353" dirty="0">
              <a:solidFill>
                <a:srgbClr val="505050"/>
              </a:solidFill>
            </a:endParaRPr>
          </a:p>
          <a:p>
            <a:pPr marL="336145" indent="-336145" defTabSz="914225" fontAlgn="ctr">
              <a:spcBef>
                <a:spcPts val="1000"/>
              </a:spcBef>
              <a:buFont typeface="Arial" charset="0"/>
              <a:buChar char="•"/>
            </a:pPr>
            <a:r>
              <a:rPr lang="en-US" sz="2353" dirty="0">
                <a:solidFill>
                  <a:srgbClr val="505050"/>
                </a:solidFill>
                <a:hlinkClick r:id="rId5"/>
              </a:rPr>
              <a:t>https://github.com/terraform-providers/terraform-provider-azurerm</a:t>
            </a:r>
            <a:endParaRPr lang="en-US" sz="2353" dirty="0">
              <a:solidFill>
                <a:srgbClr val="505050"/>
              </a:solidFill>
            </a:endParaRPr>
          </a:p>
        </p:txBody>
      </p:sp>
    </p:spTree>
    <p:extLst>
      <p:ext uri="{BB962C8B-B14F-4D97-AF65-F5344CB8AC3E}">
        <p14:creationId xmlns:p14="http://schemas.microsoft.com/office/powerpoint/2010/main" val="3503029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3D802-6B76-2A41-AC54-D33047CC69DE}"/>
              </a:ext>
            </a:extLst>
          </p:cNvPr>
          <p:cNvSpPr>
            <a:spLocks noGrp="1"/>
          </p:cNvSpPr>
          <p:nvPr>
            <p:ph type="title"/>
          </p:nvPr>
        </p:nvSpPr>
        <p:spPr/>
        <p:txBody>
          <a:bodyPr/>
          <a:lstStyle/>
          <a:p>
            <a:r>
              <a:rPr lang="en-US" dirty="0"/>
              <a:t>Infrastructure as Code</a:t>
            </a:r>
          </a:p>
        </p:txBody>
      </p:sp>
      <p:sp>
        <p:nvSpPr>
          <p:cNvPr id="3" name="Text Placeholder 2">
            <a:extLst>
              <a:ext uri="{FF2B5EF4-FFF2-40B4-BE49-F238E27FC236}">
                <a16:creationId xmlns:a16="http://schemas.microsoft.com/office/drawing/2014/main" id="{4D7D020F-227B-B343-BC70-650C2FC66AA9}"/>
              </a:ext>
            </a:extLst>
          </p:cNvPr>
          <p:cNvSpPr>
            <a:spLocks noGrp="1"/>
          </p:cNvSpPr>
          <p:nvPr>
            <p:ph type="body" sz="quarter" idx="10"/>
          </p:nvPr>
        </p:nvSpPr>
        <p:spPr>
          <a:xfrm>
            <a:off x="648594" y="2169196"/>
            <a:ext cx="5212080" cy="3354765"/>
          </a:xfrm>
        </p:spPr>
        <p:txBody>
          <a:bodyPr/>
          <a:lstStyle/>
          <a:p>
            <a:pPr marL="457200" indent="-457200">
              <a:buFont typeface="Apple Color Emoji" pitchFamily="2" charset="0"/>
              <a:buChar char="✅"/>
            </a:pPr>
            <a:r>
              <a:rPr lang="en-US" dirty="0"/>
              <a:t>Reproducible Environments</a:t>
            </a:r>
          </a:p>
          <a:p>
            <a:pPr marL="457200" indent="-457200">
              <a:buFont typeface="Apple Color Emoji" pitchFamily="2" charset="0"/>
              <a:buChar char="✅"/>
            </a:pPr>
            <a:r>
              <a:rPr lang="en-US" dirty="0"/>
              <a:t>Automation – CI/ CD</a:t>
            </a:r>
          </a:p>
          <a:p>
            <a:pPr marL="457200" indent="-457200">
              <a:buFont typeface="Apple Color Emoji" pitchFamily="2" charset="0"/>
              <a:buChar char="✅"/>
            </a:pPr>
            <a:r>
              <a:rPr lang="en-US" dirty="0"/>
              <a:t>Trackable – GitHub</a:t>
            </a:r>
          </a:p>
          <a:p>
            <a:pPr marL="457200" indent="-457200">
              <a:buFont typeface="Apple Color Emoji" pitchFamily="2" charset="0"/>
              <a:buChar char="✅"/>
            </a:pPr>
            <a:r>
              <a:rPr lang="en-US" dirty="0"/>
              <a:t>Language - HCL</a:t>
            </a:r>
          </a:p>
          <a:p>
            <a:pPr marL="457200" indent="-457200">
              <a:buFont typeface="Apple Color Emoji" pitchFamily="2" charset="0"/>
              <a:buChar char="✅"/>
            </a:pPr>
            <a:r>
              <a:rPr lang="en-US" dirty="0"/>
              <a:t>Workflow</a:t>
            </a:r>
          </a:p>
          <a:p>
            <a:pPr marL="457200" indent="-457200">
              <a:buFont typeface="Apple Color Emoji" pitchFamily="2" charset="0"/>
              <a:buChar char="✅"/>
            </a:pPr>
            <a:r>
              <a:rPr lang="en-US" dirty="0"/>
              <a:t>Providers</a:t>
            </a:r>
          </a:p>
        </p:txBody>
      </p:sp>
      <p:sp>
        <p:nvSpPr>
          <p:cNvPr id="4" name="Text Placeholder 3">
            <a:extLst>
              <a:ext uri="{FF2B5EF4-FFF2-40B4-BE49-F238E27FC236}">
                <a16:creationId xmlns:a16="http://schemas.microsoft.com/office/drawing/2014/main" id="{6BE01DEB-5463-0F4C-B766-34CC9792325C}"/>
              </a:ext>
            </a:extLst>
          </p:cNvPr>
          <p:cNvSpPr>
            <a:spLocks noGrp="1"/>
          </p:cNvSpPr>
          <p:nvPr>
            <p:ph type="body" sz="quarter" idx="12"/>
          </p:nvPr>
        </p:nvSpPr>
        <p:spPr>
          <a:xfrm>
            <a:off x="6461565" y="2169196"/>
            <a:ext cx="5212080" cy="1015663"/>
          </a:xfrm>
        </p:spPr>
        <p:txBody>
          <a:bodyPr/>
          <a:lstStyle/>
          <a:p>
            <a:pPr marL="457200" indent="-457200">
              <a:buFont typeface="Apple Color Emoji" pitchFamily="2" charset="0"/>
              <a:buChar char="❎"/>
            </a:pPr>
            <a:r>
              <a:rPr lang="en-US" dirty="0"/>
              <a:t>Apply same config across clouds</a:t>
            </a:r>
          </a:p>
          <a:p>
            <a:pPr marL="457200" indent="-457200">
              <a:buFont typeface="Apple Color Emoji" pitchFamily="2" charset="0"/>
              <a:buChar char="❎"/>
            </a:pPr>
            <a:endParaRPr lang="en-US" dirty="0"/>
          </a:p>
        </p:txBody>
      </p:sp>
    </p:spTree>
    <p:extLst>
      <p:ext uri="{BB962C8B-B14F-4D97-AF65-F5344CB8AC3E}">
        <p14:creationId xmlns:p14="http://schemas.microsoft.com/office/powerpoint/2010/main" val="2992987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612B3-39DB-544C-B79D-AE6D95691898}"/>
              </a:ext>
            </a:extLst>
          </p:cNvPr>
          <p:cNvSpPr>
            <a:spLocks noGrp="1"/>
          </p:cNvSpPr>
          <p:nvPr>
            <p:ph type="title"/>
          </p:nvPr>
        </p:nvSpPr>
        <p:spPr/>
        <p:txBody>
          <a:bodyPr/>
          <a:lstStyle/>
          <a:p>
            <a:r>
              <a:rPr lang="en-US" dirty="0"/>
              <a:t>Azure Provider</a:t>
            </a:r>
          </a:p>
        </p:txBody>
      </p:sp>
      <p:sp>
        <p:nvSpPr>
          <p:cNvPr id="3" name="Text Placeholder 2">
            <a:extLst>
              <a:ext uri="{FF2B5EF4-FFF2-40B4-BE49-F238E27FC236}">
                <a16:creationId xmlns:a16="http://schemas.microsoft.com/office/drawing/2014/main" id="{8F6DEF22-6F19-BC4E-BD76-078BD4356C45}"/>
              </a:ext>
            </a:extLst>
          </p:cNvPr>
          <p:cNvSpPr>
            <a:spLocks noGrp="1"/>
          </p:cNvSpPr>
          <p:nvPr>
            <p:ph type="body" sz="quarter" idx="10"/>
          </p:nvPr>
        </p:nvSpPr>
        <p:spPr>
          <a:xfrm>
            <a:off x="586390" y="1434370"/>
            <a:ext cx="11018520" cy="4124206"/>
          </a:xfrm>
        </p:spPr>
        <p:txBody>
          <a:bodyPr/>
          <a:lstStyle/>
          <a:p>
            <a:r>
              <a:rPr lang="en-US" dirty="0"/>
              <a:t>Authentication</a:t>
            </a:r>
          </a:p>
          <a:p>
            <a:pPr lvl="1"/>
            <a:r>
              <a:rPr lang="en-US" dirty="0"/>
              <a:t>Azure CLI</a:t>
            </a:r>
          </a:p>
          <a:p>
            <a:pPr lvl="1"/>
            <a:r>
              <a:rPr lang="en-US" dirty="0"/>
              <a:t>Service Principal</a:t>
            </a:r>
          </a:p>
          <a:p>
            <a:pPr lvl="1"/>
            <a:r>
              <a:rPr lang="en-US" dirty="0"/>
              <a:t>MSI</a:t>
            </a:r>
          </a:p>
          <a:p>
            <a:r>
              <a:rPr lang="en-US" dirty="0"/>
              <a:t>Arguments</a:t>
            </a:r>
          </a:p>
          <a:p>
            <a:endParaRPr lang="en-US" dirty="0"/>
          </a:p>
          <a:p>
            <a:endParaRPr lang="en-US" dirty="0"/>
          </a:p>
          <a:p>
            <a:endParaRPr lang="en-US" dirty="0"/>
          </a:p>
          <a:p>
            <a:r>
              <a:rPr lang="en-US" dirty="0"/>
              <a:t>Environment Variables</a:t>
            </a:r>
          </a:p>
        </p:txBody>
      </p:sp>
      <p:pic>
        <p:nvPicPr>
          <p:cNvPr id="5" name="Picture 4">
            <a:extLst>
              <a:ext uri="{FF2B5EF4-FFF2-40B4-BE49-F238E27FC236}">
                <a16:creationId xmlns:a16="http://schemas.microsoft.com/office/drawing/2014/main" id="{09515BE9-142A-B246-A994-79912E56912B}"/>
              </a:ext>
            </a:extLst>
          </p:cNvPr>
          <p:cNvPicPr>
            <a:picLocks noChangeAspect="1"/>
          </p:cNvPicPr>
          <p:nvPr/>
        </p:nvPicPr>
        <p:blipFill>
          <a:blip r:embed="rId2"/>
          <a:stretch>
            <a:fillRect/>
          </a:stretch>
        </p:blipFill>
        <p:spPr>
          <a:xfrm>
            <a:off x="961086" y="3676777"/>
            <a:ext cx="5537200" cy="1460500"/>
          </a:xfrm>
          <a:prstGeom prst="rect">
            <a:avLst/>
          </a:prstGeom>
        </p:spPr>
      </p:pic>
    </p:spTree>
    <p:extLst>
      <p:ext uri="{BB962C8B-B14F-4D97-AF65-F5344CB8AC3E}">
        <p14:creationId xmlns:p14="http://schemas.microsoft.com/office/powerpoint/2010/main" val="18088212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A7126DF-5391-EA49-AA4D-FC2070CAE6AA}"/>
              </a:ext>
            </a:extLst>
          </p:cNvPr>
          <p:cNvPicPr>
            <a:picLocks noChangeAspect="1"/>
          </p:cNvPicPr>
          <p:nvPr/>
        </p:nvPicPr>
        <p:blipFill>
          <a:blip r:embed="rId3"/>
          <a:stretch>
            <a:fillRect/>
          </a:stretch>
        </p:blipFill>
        <p:spPr>
          <a:xfrm>
            <a:off x="507213" y="1188006"/>
            <a:ext cx="4893469" cy="550409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 name="Title 3">
            <a:extLst>
              <a:ext uri="{FF2B5EF4-FFF2-40B4-BE49-F238E27FC236}">
                <a16:creationId xmlns:a16="http://schemas.microsoft.com/office/drawing/2014/main" id="{FB7F4717-3FCA-DB43-A1E1-58CDEF7CF8AB}"/>
              </a:ext>
            </a:extLst>
          </p:cNvPr>
          <p:cNvSpPr>
            <a:spLocks noGrp="1"/>
          </p:cNvSpPr>
          <p:nvPr>
            <p:ph type="title"/>
          </p:nvPr>
        </p:nvSpPr>
        <p:spPr>
          <a:xfrm>
            <a:off x="913775" y="266219"/>
            <a:ext cx="10364451" cy="920882"/>
          </a:xfrm>
        </p:spPr>
        <p:txBody>
          <a:bodyPr/>
          <a:lstStyle/>
          <a:p>
            <a:r>
              <a:rPr lang="en-US" dirty="0"/>
              <a:t>Azure Resources &amp; </a:t>
            </a:r>
            <a:r>
              <a:rPr lang="en-US" dirty="0" err="1"/>
              <a:t>Datasources</a:t>
            </a:r>
            <a:endParaRPr lang="en-US" dirty="0"/>
          </a:p>
        </p:txBody>
      </p:sp>
      <p:sp>
        <p:nvSpPr>
          <p:cNvPr id="3" name="Text Placeholder 2">
            <a:extLst>
              <a:ext uri="{FF2B5EF4-FFF2-40B4-BE49-F238E27FC236}">
                <a16:creationId xmlns:a16="http://schemas.microsoft.com/office/drawing/2014/main" id="{2D2AA4D7-D50D-0B44-A278-15A6AA0228F9}"/>
              </a:ext>
            </a:extLst>
          </p:cNvPr>
          <p:cNvSpPr>
            <a:spLocks noGrp="1"/>
          </p:cNvSpPr>
          <p:nvPr>
            <p:ph type="body" sz="quarter" idx="10"/>
          </p:nvPr>
        </p:nvSpPr>
        <p:spPr>
          <a:xfrm>
            <a:off x="6300788" y="1187101"/>
            <a:ext cx="5304121" cy="5504093"/>
          </a:xfrm>
        </p:spPr>
        <p:txBody>
          <a:bodyPr/>
          <a:lstStyle/>
          <a:p>
            <a:r>
              <a:rPr lang="en-US" b="1" dirty="0"/>
              <a:t>Provisioning for Azure IaaS</a:t>
            </a:r>
          </a:p>
          <a:p>
            <a:pPr>
              <a:spcBef>
                <a:spcPts val="0"/>
              </a:spcBef>
            </a:pPr>
            <a:r>
              <a:rPr lang="en-US" sz="2000" dirty="0"/>
              <a:t>Compute (VMSS, Disk, Image, Snapshot, …)</a:t>
            </a:r>
          </a:p>
          <a:p>
            <a:pPr>
              <a:spcBef>
                <a:spcPts val="0"/>
              </a:spcBef>
            </a:pPr>
            <a:r>
              <a:rPr lang="en-US" sz="2000" dirty="0"/>
              <a:t>Networking (</a:t>
            </a:r>
            <a:r>
              <a:rPr lang="en-US" sz="2000" dirty="0" err="1"/>
              <a:t>Vnet</a:t>
            </a:r>
            <a:r>
              <a:rPr lang="en-US" sz="2000" dirty="0"/>
              <a:t>, LB, DNS, …)</a:t>
            </a:r>
          </a:p>
          <a:p>
            <a:pPr>
              <a:spcBef>
                <a:spcPts val="0"/>
              </a:spcBef>
            </a:pPr>
            <a:r>
              <a:rPr lang="en-US" sz="2000" dirty="0"/>
              <a:t>Azure Active Directory</a:t>
            </a:r>
          </a:p>
          <a:p>
            <a:pPr>
              <a:spcBef>
                <a:spcPts val="0"/>
              </a:spcBef>
            </a:pPr>
            <a:r>
              <a:rPr lang="en-US" sz="2000" dirty="0"/>
              <a:t>Database (MySQL, PostgreSQL,  SQL)</a:t>
            </a:r>
          </a:p>
          <a:p>
            <a:pPr>
              <a:spcBef>
                <a:spcPts val="0"/>
              </a:spcBef>
            </a:pPr>
            <a:r>
              <a:rPr lang="en-US" sz="2000" dirty="0"/>
              <a:t>Monitoring</a:t>
            </a:r>
          </a:p>
          <a:p>
            <a:pPr>
              <a:spcBef>
                <a:spcPts val="0"/>
              </a:spcBef>
            </a:pPr>
            <a:r>
              <a:rPr lang="en-US" sz="2000" dirty="0"/>
              <a:t>Storage (Storage Account, Blob, Share, …)</a:t>
            </a:r>
          </a:p>
          <a:p>
            <a:pPr>
              <a:spcBef>
                <a:spcPts val="0"/>
              </a:spcBef>
            </a:pPr>
            <a:r>
              <a:rPr lang="en-US" sz="2000" dirty="0"/>
              <a:t>…</a:t>
            </a:r>
          </a:p>
          <a:p>
            <a:r>
              <a:rPr lang="en-US" b="1" dirty="0"/>
              <a:t>Provisioning for Azure PaaS</a:t>
            </a:r>
          </a:p>
          <a:p>
            <a:pPr>
              <a:spcBef>
                <a:spcPts val="0"/>
              </a:spcBef>
            </a:pPr>
            <a:r>
              <a:rPr lang="en-US" sz="2000" dirty="0"/>
              <a:t>Containers (AKS, ACI)</a:t>
            </a:r>
          </a:p>
          <a:p>
            <a:pPr>
              <a:spcBef>
                <a:spcPts val="0"/>
              </a:spcBef>
            </a:pPr>
            <a:r>
              <a:rPr lang="en-US" sz="2000" dirty="0"/>
              <a:t>Web Apps</a:t>
            </a:r>
          </a:p>
          <a:p>
            <a:pPr>
              <a:spcBef>
                <a:spcPts val="0"/>
              </a:spcBef>
            </a:pPr>
            <a:r>
              <a:rPr lang="en-US" sz="2000" dirty="0" err="1"/>
              <a:t>CosmosDB</a:t>
            </a:r>
            <a:endParaRPr lang="en-US" sz="2000" dirty="0"/>
          </a:p>
          <a:p>
            <a:pPr>
              <a:spcBef>
                <a:spcPts val="0"/>
              </a:spcBef>
            </a:pPr>
            <a:r>
              <a:rPr lang="en-US" sz="2000" dirty="0"/>
              <a:t>Data Lake</a:t>
            </a:r>
          </a:p>
          <a:p>
            <a:pPr>
              <a:spcBef>
                <a:spcPts val="0"/>
              </a:spcBef>
            </a:pPr>
            <a:r>
              <a:rPr lang="en-US" sz="2000" dirty="0"/>
              <a:t>Logic Apps</a:t>
            </a:r>
          </a:p>
          <a:p>
            <a:pPr>
              <a:spcBef>
                <a:spcPts val="0"/>
              </a:spcBef>
            </a:pPr>
            <a:r>
              <a:rPr lang="en-US" sz="2000" dirty="0" err="1"/>
              <a:t>KeyVault</a:t>
            </a:r>
            <a:endParaRPr lang="en-US" sz="2000" dirty="0"/>
          </a:p>
          <a:p>
            <a:pPr>
              <a:spcBef>
                <a:spcPts val="0"/>
              </a:spcBef>
            </a:pPr>
            <a:r>
              <a:rPr lang="en-US" sz="2000" dirty="0"/>
              <a:t>… </a:t>
            </a:r>
            <a:endParaRPr lang="en-US" sz="2400" dirty="0"/>
          </a:p>
        </p:txBody>
      </p:sp>
      <p:sp>
        <p:nvSpPr>
          <p:cNvPr id="10" name="TextBox 9">
            <a:extLst>
              <a:ext uri="{FF2B5EF4-FFF2-40B4-BE49-F238E27FC236}">
                <a16:creationId xmlns:a16="http://schemas.microsoft.com/office/drawing/2014/main" id="{4C31A24B-D54E-EC4C-A0EA-BD1AD0FBC1F3}"/>
              </a:ext>
            </a:extLst>
          </p:cNvPr>
          <p:cNvSpPr txBox="1"/>
          <p:nvPr/>
        </p:nvSpPr>
        <p:spPr>
          <a:xfrm>
            <a:off x="9434513" y="5662136"/>
            <a:ext cx="2757487" cy="738664"/>
          </a:xfrm>
          <a:prstGeom prst="rect">
            <a:avLst/>
          </a:prstGeom>
          <a:noFill/>
        </p:spPr>
        <p:txBody>
          <a:bodyPr wrap="square" lIns="0" tIns="0" rIns="0" bIns="0" rtlCol="0">
            <a:spAutoFit/>
          </a:bodyPr>
          <a:lstStyle/>
          <a:p>
            <a:pPr algn="l"/>
            <a:r>
              <a:rPr lang="en-US" sz="2800" b="1" dirty="0">
                <a:gradFill>
                  <a:gsLst>
                    <a:gs pos="1250">
                      <a:schemeClr val="tx1"/>
                    </a:gs>
                    <a:gs pos="100000">
                      <a:schemeClr val="tx1"/>
                    </a:gs>
                  </a:gsLst>
                  <a:lin ang="5400000" scaled="0"/>
                </a:gradFill>
                <a:latin typeface="Segoe UI Semilight" panose="020B0402040204020203" pitchFamily="34" charset="0"/>
              </a:rPr>
              <a:t>Catch-All</a:t>
            </a:r>
          </a:p>
          <a:p>
            <a:pPr algn="l"/>
            <a:r>
              <a:rPr lang="en-US" sz="2000" dirty="0">
                <a:gradFill>
                  <a:gsLst>
                    <a:gs pos="1250">
                      <a:schemeClr val="tx1"/>
                    </a:gs>
                    <a:gs pos="100000">
                      <a:schemeClr val="tx1"/>
                    </a:gs>
                  </a:gsLst>
                  <a:lin ang="5400000" scaled="0"/>
                </a:gradFill>
                <a:latin typeface="Segoe UI Semilight" panose="020B0402040204020203" pitchFamily="34" charset="0"/>
              </a:rPr>
              <a:t>ARM Template</a:t>
            </a:r>
          </a:p>
        </p:txBody>
      </p:sp>
    </p:spTree>
    <p:extLst>
      <p:ext uri="{BB962C8B-B14F-4D97-AF65-F5344CB8AC3E}">
        <p14:creationId xmlns:p14="http://schemas.microsoft.com/office/powerpoint/2010/main" val="3461937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14" end="1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P spid="10" grpId="0" uiExpan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993AB-C052-2543-963E-E4EFE8490100}"/>
              </a:ext>
            </a:extLst>
          </p:cNvPr>
          <p:cNvSpPr>
            <a:spLocks noGrp="1"/>
          </p:cNvSpPr>
          <p:nvPr>
            <p:ph type="title"/>
          </p:nvPr>
        </p:nvSpPr>
        <p:spPr/>
        <p:txBody>
          <a:bodyPr/>
          <a:lstStyle/>
          <a:p>
            <a:r>
              <a:rPr lang="en-US" dirty="0"/>
              <a:t>Assembly</a:t>
            </a:r>
          </a:p>
        </p:txBody>
      </p:sp>
      <p:sp>
        <p:nvSpPr>
          <p:cNvPr id="3" name="Text Placeholder 2">
            <a:extLst>
              <a:ext uri="{FF2B5EF4-FFF2-40B4-BE49-F238E27FC236}">
                <a16:creationId xmlns:a16="http://schemas.microsoft.com/office/drawing/2014/main" id="{D92B529C-A8ED-7F4D-8602-96282450F157}"/>
              </a:ext>
            </a:extLst>
          </p:cNvPr>
          <p:cNvSpPr>
            <a:spLocks noGrp="1"/>
          </p:cNvSpPr>
          <p:nvPr>
            <p:ph type="body" sz="quarter" idx="10"/>
          </p:nvPr>
        </p:nvSpPr>
        <p:spPr>
          <a:xfrm>
            <a:off x="586390" y="1434370"/>
            <a:ext cx="11018520" cy="2794611"/>
          </a:xfrm>
        </p:spPr>
        <p:txBody>
          <a:bodyPr/>
          <a:lstStyle/>
          <a:p>
            <a:r>
              <a:rPr lang="en-US" dirty="0"/>
              <a:t>Cloud Shell</a:t>
            </a:r>
          </a:p>
          <a:p>
            <a:pPr lvl="1"/>
            <a:r>
              <a:rPr lang="en-US" dirty="0"/>
              <a:t>Terraform integration</a:t>
            </a:r>
          </a:p>
          <a:p>
            <a:pPr lvl="1"/>
            <a:r>
              <a:rPr lang="en-US" dirty="0"/>
              <a:t>Editor with Terraform Syntax Highlighting</a:t>
            </a:r>
          </a:p>
          <a:p>
            <a:pPr lvl="1"/>
            <a:endParaRPr lang="en-US" dirty="0"/>
          </a:p>
          <a:p>
            <a:r>
              <a:rPr lang="en-US" dirty="0"/>
              <a:t>Visual Studio Code</a:t>
            </a:r>
          </a:p>
          <a:p>
            <a:pPr lvl="1"/>
            <a:r>
              <a:rPr lang="en-US" dirty="0"/>
              <a:t>Terraform extension</a:t>
            </a:r>
          </a:p>
          <a:p>
            <a:pPr lvl="1"/>
            <a:r>
              <a:rPr lang="en-US" dirty="0"/>
              <a:t>Azure Terraform extension</a:t>
            </a:r>
          </a:p>
        </p:txBody>
      </p:sp>
      <p:pic>
        <p:nvPicPr>
          <p:cNvPr id="8" name="Picture 7">
            <a:extLst>
              <a:ext uri="{FF2B5EF4-FFF2-40B4-BE49-F238E27FC236}">
                <a16:creationId xmlns:a16="http://schemas.microsoft.com/office/drawing/2014/main" id="{88454F96-31A7-0548-B287-868F5DA105ED}"/>
              </a:ext>
            </a:extLst>
          </p:cNvPr>
          <p:cNvPicPr>
            <a:picLocks noChangeAspect="1"/>
          </p:cNvPicPr>
          <p:nvPr/>
        </p:nvPicPr>
        <p:blipFill>
          <a:blip r:embed="rId3"/>
          <a:stretch>
            <a:fillRect/>
          </a:stretch>
        </p:blipFill>
        <p:spPr>
          <a:xfrm>
            <a:off x="5164621" y="947698"/>
            <a:ext cx="7027379" cy="5118100"/>
          </a:xfrm>
          <a:prstGeom prst="rect">
            <a:avLst/>
          </a:prstGeom>
        </p:spPr>
      </p:pic>
    </p:spTree>
    <p:extLst>
      <p:ext uri="{BB962C8B-B14F-4D97-AF65-F5344CB8AC3E}">
        <p14:creationId xmlns:p14="http://schemas.microsoft.com/office/powerpoint/2010/main" val="41719645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ED53A-3335-9D4B-8B3B-1538C813AD4B}"/>
              </a:ext>
            </a:extLst>
          </p:cNvPr>
          <p:cNvSpPr>
            <a:spLocks noGrp="1"/>
          </p:cNvSpPr>
          <p:nvPr>
            <p:ph type="title"/>
          </p:nvPr>
        </p:nvSpPr>
        <p:spPr/>
        <p:txBody>
          <a:bodyPr/>
          <a:lstStyle/>
          <a:p>
            <a:r>
              <a:rPr lang="en-US" dirty="0"/>
              <a:t>Workflow</a:t>
            </a:r>
          </a:p>
        </p:txBody>
      </p:sp>
      <p:graphicFrame>
        <p:nvGraphicFramePr>
          <p:cNvPr id="4" name="Diagram 3">
            <a:extLst>
              <a:ext uri="{FF2B5EF4-FFF2-40B4-BE49-F238E27FC236}">
                <a16:creationId xmlns:a16="http://schemas.microsoft.com/office/drawing/2014/main" id="{495A0F1D-C07D-C343-AE8D-CEB6685B58C2}"/>
              </a:ext>
            </a:extLst>
          </p:cNvPr>
          <p:cNvGraphicFramePr/>
          <p:nvPr/>
        </p:nvGraphicFramePr>
        <p:xfrm>
          <a:off x="586390" y="1434370"/>
          <a:ext cx="11018520" cy="5271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386127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0CCB90E8-FC25-6C49-B12E-5C37AAC757E0}"/>
                                            </p:graphicEl>
                                          </p:spTgt>
                                        </p:tgtEl>
                                        <p:attrNameLst>
                                          <p:attrName>style.visibility</p:attrName>
                                        </p:attrNameLst>
                                      </p:cBhvr>
                                      <p:to>
                                        <p:strVal val="visible"/>
                                      </p:to>
                                    </p:set>
                                    <p:animEffect transition="in" filter="fade">
                                      <p:cBhvr>
                                        <p:cTn id="7" dur="500"/>
                                        <p:tgtEl>
                                          <p:spTgt spid="4">
                                            <p:graphicEl>
                                              <a:dgm id="{0CCB90E8-FC25-6C49-B12E-5C37AAC757E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2CB7FFE5-305F-C843-B929-36D165941CA4}"/>
                                            </p:graphicEl>
                                          </p:spTgt>
                                        </p:tgtEl>
                                        <p:attrNameLst>
                                          <p:attrName>style.visibility</p:attrName>
                                        </p:attrNameLst>
                                      </p:cBhvr>
                                      <p:to>
                                        <p:strVal val="visible"/>
                                      </p:to>
                                    </p:set>
                                    <p:animEffect transition="in" filter="fade">
                                      <p:cBhvr>
                                        <p:cTn id="12" dur="500"/>
                                        <p:tgtEl>
                                          <p:spTgt spid="4">
                                            <p:graphicEl>
                                              <a:dgm id="{2CB7FFE5-305F-C843-B929-36D165941CA4}"/>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graphicEl>
                                              <a:dgm id="{F20C4F48-3F6E-1346-8EFD-CC4A951B45F2}"/>
                                            </p:graphicEl>
                                          </p:spTgt>
                                        </p:tgtEl>
                                        <p:attrNameLst>
                                          <p:attrName>style.visibility</p:attrName>
                                        </p:attrNameLst>
                                      </p:cBhvr>
                                      <p:to>
                                        <p:strVal val="visible"/>
                                      </p:to>
                                    </p:set>
                                    <p:animEffect transition="in" filter="fade">
                                      <p:cBhvr>
                                        <p:cTn id="15" dur="500"/>
                                        <p:tgtEl>
                                          <p:spTgt spid="4">
                                            <p:graphicEl>
                                              <a:dgm id="{F20C4F48-3F6E-1346-8EFD-CC4A951B45F2}"/>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graphicEl>
                                              <a:dgm id="{D62BB88E-2D05-414D-A8DC-6D1EC6756A2B}"/>
                                            </p:graphicEl>
                                          </p:spTgt>
                                        </p:tgtEl>
                                        <p:attrNameLst>
                                          <p:attrName>style.visibility</p:attrName>
                                        </p:attrNameLst>
                                      </p:cBhvr>
                                      <p:to>
                                        <p:strVal val="visible"/>
                                      </p:to>
                                    </p:set>
                                    <p:animEffect transition="in" filter="fade">
                                      <p:cBhvr>
                                        <p:cTn id="20" dur="500"/>
                                        <p:tgtEl>
                                          <p:spTgt spid="4">
                                            <p:graphicEl>
                                              <a:dgm id="{D62BB88E-2D05-414D-A8DC-6D1EC6756A2B}"/>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graphicEl>
                                              <a:dgm id="{82A59F08-517E-B544-A5D4-092479758166}"/>
                                            </p:graphicEl>
                                          </p:spTgt>
                                        </p:tgtEl>
                                        <p:attrNameLst>
                                          <p:attrName>style.visibility</p:attrName>
                                        </p:attrNameLst>
                                      </p:cBhvr>
                                      <p:to>
                                        <p:strVal val="visible"/>
                                      </p:to>
                                    </p:set>
                                    <p:animEffect transition="in" filter="fade">
                                      <p:cBhvr>
                                        <p:cTn id="23" dur="500"/>
                                        <p:tgtEl>
                                          <p:spTgt spid="4">
                                            <p:graphicEl>
                                              <a:dgm id="{82A59F08-517E-B544-A5D4-092479758166}"/>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graphicEl>
                                              <a:dgm id="{7B385A37-799C-8145-BD2B-869F7C05A5A7}"/>
                                            </p:graphicEl>
                                          </p:spTgt>
                                        </p:tgtEl>
                                        <p:attrNameLst>
                                          <p:attrName>style.visibility</p:attrName>
                                        </p:attrNameLst>
                                      </p:cBhvr>
                                      <p:to>
                                        <p:strVal val="visible"/>
                                      </p:to>
                                    </p:set>
                                    <p:animEffect transition="in" filter="fade">
                                      <p:cBhvr>
                                        <p:cTn id="28" dur="500"/>
                                        <p:tgtEl>
                                          <p:spTgt spid="4">
                                            <p:graphicEl>
                                              <a:dgm id="{7B385A37-799C-8145-BD2B-869F7C05A5A7}"/>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graphicEl>
                                              <a:dgm id="{D6BEA90E-C675-3F4B-95BD-1FD886D2FE4D}"/>
                                            </p:graphicEl>
                                          </p:spTgt>
                                        </p:tgtEl>
                                        <p:attrNameLst>
                                          <p:attrName>style.visibility</p:attrName>
                                        </p:attrNameLst>
                                      </p:cBhvr>
                                      <p:to>
                                        <p:strVal val="visible"/>
                                      </p:to>
                                    </p:set>
                                    <p:animEffect transition="in" filter="fade">
                                      <p:cBhvr>
                                        <p:cTn id="31" dur="500"/>
                                        <p:tgtEl>
                                          <p:spTgt spid="4">
                                            <p:graphicEl>
                                              <a:dgm id="{D6BEA90E-C675-3F4B-95BD-1FD886D2FE4D}"/>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
                                            <p:graphicEl>
                                              <a:dgm id="{F3FF9642-9748-6746-B04A-619CD3B218AB}"/>
                                            </p:graphicEl>
                                          </p:spTgt>
                                        </p:tgtEl>
                                        <p:attrNameLst>
                                          <p:attrName>style.visibility</p:attrName>
                                        </p:attrNameLst>
                                      </p:cBhvr>
                                      <p:to>
                                        <p:strVal val="visible"/>
                                      </p:to>
                                    </p:set>
                                    <p:animEffect transition="in" filter="fade">
                                      <p:cBhvr>
                                        <p:cTn id="34" dur="500"/>
                                        <p:tgtEl>
                                          <p:spTgt spid="4">
                                            <p:graphicEl>
                                              <a:dgm id="{F3FF9642-9748-6746-B04A-619CD3B218AB}"/>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6DBC9-D6D9-6446-ADEA-31AD037CBA8C}"/>
              </a:ext>
            </a:extLst>
          </p:cNvPr>
          <p:cNvSpPr>
            <a:spLocks noGrp="1"/>
          </p:cNvSpPr>
          <p:nvPr>
            <p:ph type="title"/>
          </p:nvPr>
        </p:nvSpPr>
        <p:spPr/>
        <p:txBody>
          <a:bodyPr/>
          <a:lstStyle/>
          <a:p>
            <a:r>
              <a:rPr lang="en-US" dirty="0" err="1"/>
              <a:t>Azurerm</a:t>
            </a:r>
            <a:r>
              <a:rPr lang="en-US" dirty="0"/>
              <a:t> backend</a:t>
            </a:r>
          </a:p>
        </p:txBody>
      </p:sp>
      <p:sp>
        <p:nvSpPr>
          <p:cNvPr id="4" name="Text Placeholder 3">
            <a:extLst>
              <a:ext uri="{FF2B5EF4-FFF2-40B4-BE49-F238E27FC236}">
                <a16:creationId xmlns:a16="http://schemas.microsoft.com/office/drawing/2014/main" id="{F1D78EEF-A6A8-B641-AA86-3C2A1C41F2C9}"/>
              </a:ext>
            </a:extLst>
          </p:cNvPr>
          <p:cNvSpPr>
            <a:spLocks noGrp="1"/>
          </p:cNvSpPr>
          <p:nvPr>
            <p:ph type="body" sz="quarter" idx="10"/>
          </p:nvPr>
        </p:nvSpPr>
        <p:spPr>
          <a:xfrm>
            <a:off x="586390" y="1434370"/>
            <a:ext cx="11018520" cy="1982081"/>
          </a:xfrm>
        </p:spPr>
        <p:txBody>
          <a:bodyPr/>
          <a:lstStyle/>
          <a:p>
            <a:r>
              <a:rPr lang="en-US" dirty="0"/>
              <a:t>Standard Backend with state locking &amp; consistency checking</a:t>
            </a:r>
          </a:p>
          <a:p>
            <a:r>
              <a:rPr lang="en-US" dirty="0"/>
              <a:t>Azure Storage (Blob)</a:t>
            </a:r>
          </a:p>
          <a:p>
            <a:endParaRPr lang="en-US" dirty="0"/>
          </a:p>
          <a:p>
            <a:r>
              <a:rPr lang="en-US" dirty="0"/>
              <a:t>remote-</a:t>
            </a:r>
            <a:r>
              <a:rPr lang="en-US" dirty="0" err="1"/>
              <a:t>state.tf</a:t>
            </a:r>
            <a:r>
              <a:rPr lang="en-US" dirty="0"/>
              <a:t>						.</a:t>
            </a:r>
            <a:r>
              <a:rPr lang="en-US" dirty="0" err="1"/>
              <a:t>backend.tfvars</a:t>
            </a:r>
            <a:endParaRPr lang="en-US" dirty="0"/>
          </a:p>
        </p:txBody>
      </p:sp>
      <p:pic>
        <p:nvPicPr>
          <p:cNvPr id="6" name="Picture 5">
            <a:extLst>
              <a:ext uri="{FF2B5EF4-FFF2-40B4-BE49-F238E27FC236}">
                <a16:creationId xmlns:a16="http://schemas.microsoft.com/office/drawing/2014/main" id="{FA037AED-2FD3-BD4B-97F2-A2CDE7D22FBE}"/>
              </a:ext>
            </a:extLst>
          </p:cNvPr>
          <p:cNvPicPr>
            <a:picLocks noChangeAspect="1"/>
          </p:cNvPicPr>
          <p:nvPr/>
        </p:nvPicPr>
        <p:blipFill>
          <a:blip r:embed="rId3"/>
          <a:stretch>
            <a:fillRect/>
          </a:stretch>
        </p:blipFill>
        <p:spPr>
          <a:xfrm>
            <a:off x="1028699" y="3839623"/>
            <a:ext cx="3681976" cy="1199745"/>
          </a:xfrm>
          <a:prstGeom prst="rect">
            <a:avLst/>
          </a:prstGeom>
        </p:spPr>
      </p:pic>
      <p:pic>
        <p:nvPicPr>
          <p:cNvPr id="7" name="Picture 6">
            <a:extLst>
              <a:ext uri="{FF2B5EF4-FFF2-40B4-BE49-F238E27FC236}">
                <a16:creationId xmlns:a16="http://schemas.microsoft.com/office/drawing/2014/main" id="{E20D1AA3-65BC-0D48-936E-4FEAF4FF1BE4}"/>
              </a:ext>
            </a:extLst>
          </p:cNvPr>
          <p:cNvPicPr>
            <a:picLocks noChangeAspect="1"/>
          </p:cNvPicPr>
          <p:nvPr/>
        </p:nvPicPr>
        <p:blipFill rotWithShape="1">
          <a:blip r:embed="rId4"/>
          <a:srcRect r="61458"/>
          <a:stretch/>
        </p:blipFill>
        <p:spPr>
          <a:xfrm>
            <a:off x="7010400" y="3793748"/>
            <a:ext cx="4699000" cy="1199745"/>
          </a:xfrm>
          <a:prstGeom prst="rect">
            <a:avLst/>
          </a:prstGeom>
        </p:spPr>
      </p:pic>
    </p:spTree>
    <p:extLst>
      <p:ext uri="{BB962C8B-B14F-4D97-AF65-F5344CB8AC3E}">
        <p14:creationId xmlns:p14="http://schemas.microsoft.com/office/powerpoint/2010/main" val="850222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2B8D-8ED0-3D41-8005-CB837697BF66}"/>
              </a:ext>
            </a:extLst>
          </p:cNvPr>
          <p:cNvSpPr>
            <a:spLocks noGrp="1"/>
          </p:cNvSpPr>
          <p:nvPr>
            <p:ph type="title"/>
          </p:nvPr>
        </p:nvSpPr>
        <p:spPr/>
        <p:txBody>
          <a:bodyPr/>
          <a:lstStyle/>
          <a:p>
            <a:r>
              <a:rPr lang="en-US" dirty="0"/>
              <a:t>Modules</a:t>
            </a:r>
          </a:p>
        </p:txBody>
      </p:sp>
      <p:pic>
        <p:nvPicPr>
          <p:cNvPr id="7" name="Picture 6">
            <a:extLst>
              <a:ext uri="{FF2B5EF4-FFF2-40B4-BE49-F238E27FC236}">
                <a16:creationId xmlns:a16="http://schemas.microsoft.com/office/drawing/2014/main" id="{8871EB89-5ACE-B945-A2BC-79DFAE65BEF7}"/>
              </a:ext>
            </a:extLst>
          </p:cNvPr>
          <p:cNvPicPr>
            <a:picLocks noChangeAspect="1"/>
          </p:cNvPicPr>
          <p:nvPr/>
        </p:nvPicPr>
        <p:blipFill>
          <a:blip r:embed="rId3"/>
          <a:stretch>
            <a:fillRect/>
          </a:stretch>
        </p:blipFill>
        <p:spPr>
          <a:xfrm>
            <a:off x="6006083" y="2479675"/>
            <a:ext cx="5930900" cy="275590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BB6C5A4-DADA-4346-A32D-212236EAA916}"/>
              </a:ext>
            </a:extLst>
          </p:cNvPr>
          <p:cNvPicPr>
            <a:picLocks noChangeAspect="1"/>
          </p:cNvPicPr>
          <p:nvPr/>
        </p:nvPicPr>
        <p:blipFill>
          <a:blip r:embed="rId4"/>
          <a:stretch>
            <a:fillRect/>
          </a:stretch>
        </p:blipFill>
        <p:spPr>
          <a:xfrm>
            <a:off x="479425" y="2720975"/>
            <a:ext cx="4089400" cy="2273300"/>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006D4D1F-7CAF-ED44-93AC-32FE4C1BFE3C}"/>
              </a:ext>
            </a:extLst>
          </p:cNvPr>
          <p:cNvPicPr>
            <a:picLocks noChangeAspect="1"/>
          </p:cNvPicPr>
          <p:nvPr/>
        </p:nvPicPr>
        <p:blipFill>
          <a:blip r:embed="rId5"/>
          <a:stretch>
            <a:fillRect/>
          </a:stretch>
        </p:blipFill>
        <p:spPr>
          <a:xfrm>
            <a:off x="255017" y="2720975"/>
            <a:ext cx="5676900" cy="228600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AB67BC16-958C-0E47-BF95-C6DF21BBB867}"/>
              </a:ext>
            </a:extLst>
          </p:cNvPr>
          <p:cNvPicPr>
            <a:picLocks noChangeAspect="1"/>
          </p:cNvPicPr>
          <p:nvPr/>
        </p:nvPicPr>
        <p:blipFill>
          <a:blip r:embed="rId6"/>
          <a:stretch>
            <a:fillRect/>
          </a:stretch>
        </p:blipFill>
        <p:spPr>
          <a:xfrm>
            <a:off x="6704583" y="2517775"/>
            <a:ext cx="4762500" cy="25908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9989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AD5E1-A6F1-47DC-90FE-80EB7ABB4789}"/>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65362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9036-7F77-4D30-8E51-7F95F095B9F7}"/>
              </a:ext>
            </a:extLst>
          </p:cNvPr>
          <p:cNvSpPr>
            <a:spLocks noGrp="1"/>
          </p:cNvSpPr>
          <p:nvPr>
            <p:ph type="title"/>
          </p:nvPr>
        </p:nvSpPr>
        <p:spPr/>
        <p:txBody>
          <a:bodyPr/>
          <a:lstStyle/>
          <a:p>
            <a:r>
              <a:rPr lang="en-US" dirty="0"/>
              <a:t>Software Innovation </a:t>
            </a:r>
            <a:r>
              <a:rPr lang="en-US" b="1" dirty="0">
                <a:solidFill>
                  <a:schemeClr val="accent1"/>
                </a:solidFill>
              </a:rPr>
              <a:t>Collision</a:t>
            </a:r>
          </a:p>
        </p:txBody>
      </p:sp>
      <p:sp>
        <p:nvSpPr>
          <p:cNvPr id="6" name="Rectangle 5">
            <a:extLst>
              <a:ext uri="{FF2B5EF4-FFF2-40B4-BE49-F238E27FC236}">
                <a16:creationId xmlns:a16="http://schemas.microsoft.com/office/drawing/2014/main" id="{A0F2F59B-DA37-46AA-A145-19FD8A53775B}"/>
              </a:ext>
            </a:extLst>
          </p:cNvPr>
          <p:cNvSpPr/>
          <p:nvPr/>
        </p:nvSpPr>
        <p:spPr bwMode="auto">
          <a:xfrm>
            <a:off x="1036864" y="3132318"/>
            <a:ext cx="2696935" cy="17308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build, delivered and Managed)</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98B5C38-AF7C-4859-B5A3-5046B347213D}"/>
              </a:ext>
            </a:extLst>
          </p:cNvPr>
          <p:cNvSpPr/>
          <p:nvPr/>
        </p:nvSpPr>
        <p:spPr bwMode="auto">
          <a:xfrm>
            <a:off x="4650240" y="1366419"/>
            <a:ext cx="2696935" cy="15247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ndardization of the application packaging)</a:t>
            </a:r>
          </a:p>
        </p:txBody>
      </p:sp>
      <p:sp>
        <p:nvSpPr>
          <p:cNvPr id="8" name="Rectangle 7">
            <a:extLst>
              <a:ext uri="{FF2B5EF4-FFF2-40B4-BE49-F238E27FC236}">
                <a16:creationId xmlns:a16="http://schemas.microsoft.com/office/drawing/2014/main" id="{2EB36335-AD39-438E-81DF-2098D99906D2}"/>
              </a:ext>
            </a:extLst>
          </p:cNvPr>
          <p:cNvSpPr/>
          <p:nvPr/>
        </p:nvSpPr>
        <p:spPr bwMode="auto">
          <a:xfrm>
            <a:off x="8297636" y="3042512"/>
            <a:ext cx="3254828" cy="17172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ervices</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mizing how applications are composed)</a:t>
            </a:r>
          </a:p>
        </p:txBody>
      </p:sp>
      <p:sp>
        <p:nvSpPr>
          <p:cNvPr id="9" name="Rectangle 8">
            <a:extLst>
              <a:ext uri="{FF2B5EF4-FFF2-40B4-BE49-F238E27FC236}">
                <a16:creationId xmlns:a16="http://schemas.microsoft.com/office/drawing/2014/main" id="{A9DE6A87-F7C0-4444-9E02-C0434FD37059}"/>
              </a:ext>
            </a:extLst>
          </p:cNvPr>
          <p:cNvSpPr/>
          <p:nvPr/>
        </p:nvSpPr>
        <p:spPr bwMode="auto">
          <a:xfrm>
            <a:off x="4453618" y="5042805"/>
            <a:ext cx="3158219" cy="1611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Kubernetes Orchestrat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fficient ways to deliver Infrastructure for Applications)</a:t>
            </a:r>
          </a:p>
        </p:txBody>
      </p:sp>
      <p:sp>
        <p:nvSpPr>
          <p:cNvPr id="10" name="TextBox 9">
            <a:extLst>
              <a:ext uri="{FF2B5EF4-FFF2-40B4-BE49-F238E27FC236}">
                <a16:creationId xmlns:a16="http://schemas.microsoft.com/office/drawing/2014/main" id="{D4142BE4-B8B3-441B-A053-4EEBC454B37E}"/>
              </a:ext>
            </a:extLst>
          </p:cNvPr>
          <p:cNvSpPr txBox="1"/>
          <p:nvPr/>
        </p:nvSpPr>
        <p:spPr>
          <a:xfrm>
            <a:off x="5003346" y="3517600"/>
            <a:ext cx="2024743"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etter Software</a:t>
            </a:r>
          </a:p>
        </p:txBody>
      </p:sp>
      <p:sp>
        <p:nvSpPr>
          <p:cNvPr id="11" name="Arrow: Right 10">
            <a:extLst>
              <a:ext uri="{FF2B5EF4-FFF2-40B4-BE49-F238E27FC236}">
                <a16:creationId xmlns:a16="http://schemas.microsoft.com/office/drawing/2014/main" id="{300D701D-3020-4032-91AB-B3CEFCC2B25E}"/>
              </a:ext>
            </a:extLst>
          </p:cNvPr>
          <p:cNvSpPr/>
          <p:nvPr/>
        </p:nvSpPr>
        <p:spPr bwMode="auto">
          <a:xfrm>
            <a:off x="3918857" y="3722914"/>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Right 11">
            <a:extLst>
              <a:ext uri="{FF2B5EF4-FFF2-40B4-BE49-F238E27FC236}">
                <a16:creationId xmlns:a16="http://schemas.microsoft.com/office/drawing/2014/main" id="{0A5E993F-F5A4-47E7-B8D3-B1A980607B72}"/>
              </a:ext>
            </a:extLst>
          </p:cNvPr>
          <p:cNvSpPr/>
          <p:nvPr/>
        </p:nvSpPr>
        <p:spPr bwMode="auto">
          <a:xfrm rot="10800000">
            <a:off x="7149192" y="3725587"/>
            <a:ext cx="963386"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Right 12">
            <a:extLst>
              <a:ext uri="{FF2B5EF4-FFF2-40B4-BE49-F238E27FC236}">
                <a16:creationId xmlns:a16="http://schemas.microsoft.com/office/drawing/2014/main" id="{DA575D60-B5D6-4D07-B3FE-68D46630C666}"/>
              </a:ext>
            </a:extLst>
          </p:cNvPr>
          <p:cNvSpPr/>
          <p:nvPr/>
        </p:nvSpPr>
        <p:spPr bwMode="auto">
          <a:xfrm rot="16200000">
            <a:off x="5770108" y="4442238"/>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A7AF80B5-77F7-4650-9D1C-1AFE35720CCF}"/>
              </a:ext>
            </a:extLst>
          </p:cNvPr>
          <p:cNvSpPr/>
          <p:nvPr/>
        </p:nvSpPr>
        <p:spPr bwMode="auto">
          <a:xfrm rot="5400000">
            <a:off x="5736089" y="2998053"/>
            <a:ext cx="525238" cy="555172"/>
          </a:xfrm>
          <a:prstGeom prst="rightArrow">
            <a:avLst/>
          </a:prstGeom>
          <a:solidFill>
            <a:schemeClr val="tx2">
              <a:lumMod val="60000"/>
              <a:lumOff val="40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195807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49CF27-2C03-4922-802A-4553657429DA}"/>
              </a:ext>
            </a:extLst>
          </p:cNvPr>
          <p:cNvSpPr>
            <a:spLocks noGrp="1"/>
          </p:cNvSpPr>
          <p:nvPr>
            <p:ph type="title"/>
          </p:nvPr>
        </p:nvSpPr>
        <p:spPr>
          <a:xfrm>
            <a:off x="269239" y="2084172"/>
            <a:ext cx="11653523" cy="1158793"/>
          </a:xfrm>
        </p:spPr>
        <p:txBody>
          <a:bodyPr/>
          <a:lstStyle/>
          <a:p>
            <a:r>
              <a:rPr lang="en-US" dirty="0"/>
              <a:t>Terraform Overview</a:t>
            </a:r>
          </a:p>
        </p:txBody>
      </p:sp>
      <p:sp>
        <p:nvSpPr>
          <p:cNvPr id="7" name="TextBox 6">
            <a:extLst>
              <a:ext uri="{FF2B5EF4-FFF2-40B4-BE49-F238E27FC236}">
                <a16:creationId xmlns:a16="http://schemas.microsoft.com/office/drawing/2014/main" id="{ABF43BC4-DB59-4760-AEB4-B05BAD253168}"/>
              </a:ext>
            </a:extLst>
          </p:cNvPr>
          <p:cNvSpPr txBox="1"/>
          <p:nvPr/>
        </p:nvSpPr>
        <p:spPr>
          <a:xfrm>
            <a:off x="769257" y="3969657"/>
            <a:ext cx="6868232"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397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06049F3E-72B8-4C21-BFE5-7DA71C43C055}"/>
              </a:ext>
            </a:extLst>
          </p:cNvPr>
          <p:cNvSpPr txBox="1">
            <a:spLocks/>
          </p:cNvSpPr>
          <p:nvPr/>
        </p:nvSpPr>
        <p:spPr>
          <a:xfrm>
            <a:off x="228601" y="229055"/>
            <a:ext cx="11734800" cy="502849"/>
          </a:xfrm>
          <a:prstGeom prst="rect">
            <a:avLst/>
          </a:prstGeom>
        </p:spPr>
        <p:txBody>
          <a:bodyPr vert="horz" lIns="134464" tIns="44821" rIns="134464" bIns="134464" rtlCol="0" anchor="t" anchorCtr="0">
            <a:noAutofit/>
          </a:bodyPr>
          <a:lstStyle>
            <a:lvl1pPr algn="l" defTabSz="932597" rtl="0" eaLnBrk="1" latinLnBrk="0" hangingPunct="1">
              <a:lnSpc>
                <a:spcPct val="90000"/>
              </a:lnSpc>
              <a:spcBef>
                <a:spcPct val="0"/>
              </a:spcBef>
              <a:buNone/>
              <a:defRPr sz="3672" kern="1200" spc="-10" baseline="0">
                <a:solidFill>
                  <a:schemeClr val="accent1"/>
                </a:solidFill>
                <a:latin typeface="Segoe UI Light" panose="020B0502040204020203" pitchFamily="34" charset="0"/>
                <a:ea typeface="+mj-ea"/>
                <a:cs typeface="Segoe UI Light" panose="020B0502040204020203" pitchFamily="34" charset="0"/>
              </a:defRPr>
            </a:lvl1pPr>
          </a:lstStyle>
          <a:p>
            <a:pPr defTabSz="914225">
              <a:defRPr/>
            </a:pPr>
            <a:r>
              <a:rPr lang="en-US" sz="3600" dirty="0">
                <a:solidFill>
                  <a:srgbClr val="0078D7"/>
                </a:solidFill>
                <a:ea typeface=""/>
              </a:rPr>
              <a:t>Terraform + Azure</a:t>
            </a:r>
          </a:p>
        </p:txBody>
      </p:sp>
      <p:pic>
        <p:nvPicPr>
          <p:cNvPr id="6" name="Picture 5">
            <a:extLst>
              <a:ext uri="{FF2B5EF4-FFF2-40B4-BE49-F238E27FC236}">
                <a16:creationId xmlns:a16="http://schemas.microsoft.com/office/drawing/2014/main" id="{4F8E7DC9-8A74-7D47-9919-DA0D07E001CF}"/>
              </a:ext>
            </a:extLst>
          </p:cNvPr>
          <p:cNvPicPr>
            <a:picLocks noChangeAspect="1"/>
          </p:cNvPicPr>
          <p:nvPr/>
        </p:nvPicPr>
        <p:blipFill>
          <a:blip r:embed="rId2"/>
          <a:stretch>
            <a:fillRect/>
          </a:stretch>
        </p:blipFill>
        <p:spPr>
          <a:xfrm>
            <a:off x="88004" y="2950506"/>
            <a:ext cx="7715070" cy="1977096"/>
          </a:xfrm>
          <a:prstGeom prst="rect">
            <a:avLst/>
          </a:prstGeom>
        </p:spPr>
      </p:pic>
      <p:pic>
        <p:nvPicPr>
          <p:cNvPr id="7" name="Picture 6">
            <a:extLst>
              <a:ext uri="{FF2B5EF4-FFF2-40B4-BE49-F238E27FC236}">
                <a16:creationId xmlns:a16="http://schemas.microsoft.com/office/drawing/2014/main" id="{6342548B-AB5F-DD4C-8867-8B72EC68A105}"/>
              </a:ext>
            </a:extLst>
          </p:cNvPr>
          <p:cNvPicPr>
            <a:picLocks noChangeAspect="1"/>
          </p:cNvPicPr>
          <p:nvPr/>
        </p:nvPicPr>
        <p:blipFill>
          <a:blip r:embed="rId3"/>
          <a:stretch>
            <a:fillRect/>
          </a:stretch>
        </p:blipFill>
        <p:spPr>
          <a:xfrm>
            <a:off x="3705310" y="5266866"/>
            <a:ext cx="8486690" cy="1590648"/>
          </a:xfrm>
          <a:prstGeom prst="rect">
            <a:avLst/>
          </a:prstGeom>
        </p:spPr>
      </p:pic>
      <p:pic>
        <p:nvPicPr>
          <p:cNvPr id="9" name="Picture 8">
            <a:extLst>
              <a:ext uri="{FF2B5EF4-FFF2-40B4-BE49-F238E27FC236}">
                <a16:creationId xmlns:a16="http://schemas.microsoft.com/office/drawing/2014/main" id="{C989BA7C-6BB0-2A4D-B34C-D0A4F3BCF9FA}"/>
              </a:ext>
            </a:extLst>
          </p:cNvPr>
          <p:cNvPicPr>
            <a:picLocks noChangeAspect="1"/>
          </p:cNvPicPr>
          <p:nvPr/>
        </p:nvPicPr>
        <p:blipFill>
          <a:blip r:embed="rId4"/>
          <a:stretch>
            <a:fillRect/>
          </a:stretch>
        </p:blipFill>
        <p:spPr>
          <a:xfrm>
            <a:off x="102766" y="966568"/>
            <a:ext cx="6839998" cy="844151"/>
          </a:xfrm>
          <a:prstGeom prst="rect">
            <a:avLst/>
          </a:prstGeom>
        </p:spPr>
      </p:pic>
      <p:pic>
        <p:nvPicPr>
          <p:cNvPr id="10" name="Picture 9">
            <a:extLst>
              <a:ext uri="{FF2B5EF4-FFF2-40B4-BE49-F238E27FC236}">
                <a16:creationId xmlns:a16="http://schemas.microsoft.com/office/drawing/2014/main" id="{8CB8025A-717E-634A-A760-4A053D75B3CF}"/>
              </a:ext>
            </a:extLst>
          </p:cNvPr>
          <p:cNvPicPr>
            <a:picLocks noChangeAspect="1"/>
          </p:cNvPicPr>
          <p:nvPr/>
        </p:nvPicPr>
        <p:blipFill>
          <a:blip r:embed="rId5"/>
          <a:stretch>
            <a:fillRect/>
          </a:stretch>
        </p:blipFill>
        <p:spPr>
          <a:xfrm>
            <a:off x="7472946" y="551068"/>
            <a:ext cx="4472219" cy="2399437"/>
          </a:xfrm>
          <a:prstGeom prst="rect">
            <a:avLst/>
          </a:prstGeom>
        </p:spPr>
      </p:pic>
    </p:spTree>
    <p:extLst>
      <p:ext uri="{BB962C8B-B14F-4D97-AF65-F5344CB8AC3E}">
        <p14:creationId xmlns:p14="http://schemas.microsoft.com/office/powerpoint/2010/main" val="1510919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06049F3E-72B8-4C21-BFE5-7DA71C43C055}"/>
              </a:ext>
            </a:extLst>
          </p:cNvPr>
          <p:cNvSpPr txBox="1">
            <a:spLocks/>
          </p:cNvSpPr>
          <p:nvPr/>
        </p:nvSpPr>
        <p:spPr>
          <a:xfrm>
            <a:off x="228601" y="229055"/>
            <a:ext cx="11734800" cy="502849"/>
          </a:xfrm>
          <a:prstGeom prst="rect">
            <a:avLst/>
          </a:prstGeom>
        </p:spPr>
        <p:txBody>
          <a:bodyPr vert="horz" lIns="134464" tIns="44821" rIns="134464" bIns="134464" rtlCol="0" anchor="t" anchorCtr="0">
            <a:noAutofit/>
          </a:bodyPr>
          <a:lstStyle>
            <a:lvl1pPr algn="l" defTabSz="932597" rtl="0" eaLnBrk="1" latinLnBrk="0" hangingPunct="1">
              <a:lnSpc>
                <a:spcPct val="90000"/>
              </a:lnSpc>
              <a:spcBef>
                <a:spcPct val="0"/>
              </a:spcBef>
              <a:buNone/>
              <a:defRPr sz="3672" kern="1200" spc="-10" baseline="0">
                <a:solidFill>
                  <a:schemeClr val="accent1"/>
                </a:solidFill>
                <a:latin typeface="Segoe UI Light" panose="020B0502040204020203" pitchFamily="34" charset="0"/>
                <a:ea typeface="+mj-ea"/>
                <a:cs typeface="Segoe UI Light" panose="020B0502040204020203" pitchFamily="34" charset="0"/>
              </a:defRPr>
            </a:lvl1pPr>
          </a:lstStyle>
          <a:p>
            <a:pPr defTabSz="914225">
              <a:defRPr/>
            </a:pPr>
            <a:r>
              <a:rPr lang="en-US" sz="3600" dirty="0">
                <a:solidFill>
                  <a:srgbClr val="0078D7"/>
                </a:solidFill>
                <a:ea typeface=""/>
              </a:rPr>
              <a:t>Terraform + Azure</a:t>
            </a:r>
          </a:p>
        </p:txBody>
      </p:sp>
      <p:grpSp>
        <p:nvGrpSpPr>
          <p:cNvPr id="11" name="Group 10">
            <a:extLst>
              <a:ext uri="{FF2B5EF4-FFF2-40B4-BE49-F238E27FC236}">
                <a16:creationId xmlns:a16="http://schemas.microsoft.com/office/drawing/2014/main" id="{32370E32-6580-594D-AACE-1A7CE8D318D6}"/>
              </a:ext>
            </a:extLst>
          </p:cNvPr>
          <p:cNvGrpSpPr/>
          <p:nvPr/>
        </p:nvGrpSpPr>
        <p:grpSpPr>
          <a:xfrm>
            <a:off x="421394" y="1768306"/>
            <a:ext cx="10969970" cy="3321388"/>
            <a:chOff x="553104" y="4886325"/>
            <a:chExt cx="4635883" cy="1403611"/>
          </a:xfrm>
        </p:grpSpPr>
        <p:pic>
          <p:nvPicPr>
            <p:cNvPr id="12" name="Picture 3" descr="Image result for citrix logo">
              <a:hlinkClick r:id="rId2"/>
              <a:extLst>
                <a:ext uri="{FF2B5EF4-FFF2-40B4-BE49-F238E27FC236}">
                  <a16:creationId xmlns:a16="http://schemas.microsoft.com/office/drawing/2014/main" id="{54C24301-095F-7144-90C5-085B608C6B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7707" y="5623186"/>
              <a:ext cx="1066800" cy="59055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6">
              <a:extLst>
                <a:ext uri="{FF2B5EF4-FFF2-40B4-BE49-F238E27FC236}">
                  <a16:creationId xmlns:a16="http://schemas.microsoft.com/office/drawing/2014/main" id="{936B99AC-FF82-0144-8C02-FB42C109C2E2}"/>
                </a:ext>
              </a:extLst>
            </p:cNvPr>
            <p:cNvPicPr/>
            <p:nvPr/>
          </p:nvPicPr>
          <p:blipFill>
            <a:blip r:embed="rId4">
              <a:extLst>
                <a:ext uri="{96DAC541-7B7A-43D3-8B79-37D633B846F1}">
                  <asvg:svgBlip xmlns:asvg="http://schemas.microsoft.com/office/drawing/2016/SVG/main" r:embed="rId5"/>
                </a:ext>
              </a:extLst>
            </a:blip>
            <a:stretch>
              <a:fillRect/>
            </a:stretch>
          </p:blipFill>
          <p:spPr>
            <a:xfrm>
              <a:off x="1948798" y="4900295"/>
              <a:ext cx="466725" cy="534035"/>
            </a:xfrm>
            <a:prstGeom prst="rect">
              <a:avLst/>
            </a:prstGeom>
          </p:spPr>
        </p:pic>
        <p:pic>
          <p:nvPicPr>
            <p:cNvPr id="14" name="Picture 8" descr="Image result for marks and spencer logo">
              <a:hlinkClick r:id="rId6"/>
              <a:extLst>
                <a:ext uri="{FF2B5EF4-FFF2-40B4-BE49-F238E27FC236}">
                  <a16:creationId xmlns:a16="http://schemas.microsoft.com/office/drawing/2014/main" id="{86755F7C-C0EC-5C48-869A-557012A6C8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3903" y="5732724"/>
              <a:ext cx="933450" cy="3714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9" descr="Image result for boeing logo">
              <a:hlinkClick r:id="rId8"/>
              <a:extLst>
                <a:ext uri="{FF2B5EF4-FFF2-40B4-BE49-F238E27FC236}">
                  <a16:creationId xmlns:a16="http://schemas.microsoft.com/office/drawing/2014/main" id="{6EF5BDCD-CB09-6E46-A82C-A973146462D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3104" y="4886325"/>
              <a:ext cx="1190625" cy="56197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Image result for kpmg logo">
              <a:hlinkClick r:id="rId10"/>
              <a:extLst>
                <a:ext uri="{FF2B5EF4-FFF2-40B4-BE49-F238E27FC236}">
                  <a16:creationId xmlns:a16="http://schemas.microsoft.com/office/drawing/2014/main" id="{66D83318-079A-4F43-8E6D-CF8995D7683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18209" y="5713674"/>
              <a:ext cx="995689" cy="40957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4" descr="Image result for asos logo">
              <a:hlinkClick r:id="rId12"/>
              <a:extLst>
                <a:ext uri="{FF2B5EF4-FFF2-40B4-BE49-F238E27FC236}">
                  <a16:creationId xmlns:a16="http://schemas.microsoft.com/office/drawing/2014/main" id="{4085CC72-E94F-4248-9CC4-B5B78B45CD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97872" y="4990975"/>
              <a:ext cx="957262" cy="35267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5" descr="Image result for ambit energy logo">
              <a:hlinkClick r:id="rId14"/>
              <a:extLst>
                <a:ext uri="{FF2B5EF4-FFF2-40B4-BE49-F238E27FC236}">
                  <a16:creationId xmlns:a16="http://schemas.microsoft.com/office/drawing/2014/main" id="{B8872A42-D941-9845-977C-59027FE901D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75590" y="5546986"/>
              <a:ext cx="742950" cy="7429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Image result for rakuten logo">
              <a:hlinkClick r:id="rId16"/>
              <a:extLst>
                <a:ext uri="{FF2B5EF4-FFF2-40B4-BE49-F238E27FC236}">
                  <a16:creationId xmlns:a16="http://schemas.microsoft.com/office/drawing/2014/main" id="{06C7C47F-B98B-3C4D-B0C5-E5A85042A11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737483" y="5034695"/>
              <a:ext cx="1451504" cy="24765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8221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06049F3E-72B8-4C21-BFE5-7DA71C43C055}"/>
              </a:ext>
            </a:extLst>
          </p:cNvPr>
          <p:cNvSpPr txBox="1">
            <a:spLocks/>
          </p:cNvSpPr>
          <p:nvPr/>
        </p:nvSpPr>
        <p:spPr>
          <a:xfrm>
            <a:off x="228601" y="229055"/>
            <a:ext cx="11734800" cy="502849"/>
          </a:xfrm>
          <a:prstGeom prst="rect">
            <a:avLst/>
          </a:prstGeom>
        </p:spPr>
        <p:txBody>
          <a:bodyPr vert="horz" lIns="134464" tIns="44821" rIns="134464" bIns="134464" rtlCol="0" anchor="t" anchorCtr="0">
            <a:noAutofit/>
          </a:bodyPr>
          <a:lstStyle>
            <a:lvl1pPr algn="l" defTabSz="932597" rtl="0" eaLnBrk="1" latinLnBrk="0" hangingPunct="1">
              <a:lnSpc>
                <a:spcPct val="90000"/>
              </a:lnSpc>
              <a:spcBef>
                <a:spcPct val="0"/>
              </a:spcBef>
              <a:buNone/>
              <a:defRPr sz="3672" kern="1200" spc="-10" baseline="0">
                <a:solidFill>
                  <a:schemeClr val="accent1"/>
                </a:solidFill>
                <a:latin typeface="Segoe UI Light" panose="020B0502040204020203" pitchFamily="34" charset="0"/>
                <a:ea typeface="+mj-ea"/>
                <a:cs typeface="Segoe UI Light" panose="020B0502040204020203" pitchFamily="34" charset="0"/>
              </a:defRPr>
            </a:lvl1pPr>
          </a:lstStyle>
          <a:p>
            <a:pPr defTabSz="914225">
              <a:defRPr/>
            </a:pPr>
            <a:r>
              <a:rPr lang="en-US" sz="3600" dirty="0" err="1">
                <a:solidFill>
                  <a:srgbClr val="0078D7"/>
                </a:solidFill>
                <a:ea typeface=""/>
              </a:rPr>
              <a:t>HashiCorp</a:t>
            </a:r>
            <a:r>
              <a:rPr lang="en-US" sz="3600" dirty="0">
                <a:solidFill>
                  <a:srgbClr val="0078D7"/>
                </a:solidFill>
                <a:ea typeface=""/>
              </a:rPr>
              <a:t> Partnership</a:t>
            </a:r>
          </a:p>
        </p:txBody>
      </p:sp>
      <p:pic>
        <p:nvPicPr>
          <p:cNvPr id="5" name="Picture 4" descr="A screenshot of a cell phone&#10;&#10;Description automatically generated">
            <a:extLst>
              <a:ext uri="{FF2B5EF4-FFF2-40B4-BE49-F238E27FC236}">
                <a16:creationId xmlns:a16="http://schemas.microsoft.com/office/drawing/2014/main" id="{067AE8D4-A5A4-C64E-A72A-593B7162A61E}"/>
              </a:ext>
            </a:extLst>
          </p:cNvPr>
          <p:cNvPicPr>
            <a:picLocks noChangeAspect="1"/>
          </p:cNvPicPr>
          <p:nvPr/>
        </p:nvPicPr>
        <p:blipFill>
          <a:blip r:embed="rId2"/>
          <a:stretch>
            <a:fillRect/>
          </a:stretch>
        </p:blipFill>
        <p:spPr>
          <a:xfrm>
            <a:off x="1167563" y="927198"/>
            <a:ext cx="9299516" cy="5523700"/>
          </a:xfrm>
          <a:prstGeom prst="rect">
            <a:avLst/>
          </a:prstGeom>
        </p:spPr>
      </p:pic>
    </p:spTree>
    <p:extLst>
      <p:ext uri="{BB962C8B-B14F-4D97-AF65-F5344CB8AC3E}">
        <p14:creationId xmlns:p14="http://schemas.microsoft.com/office/powerpoint/2010/main" val="2036283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121885"/>
            <a:ext cx="11734800" cy="5165690"/>
          </a:xfrm>
        </p:spPr>
        <p:txBody>
          <a:bodyPr/>
          <a:lstStyle/>
          <a:p>
            <a:r>
              <a:rPr lang="en-US" sz="2745" dirty="0">
                <a:gradFill>
                  <a:gsLst>
                    <a:gs pos="1250">
                      <a:schemeClr val="tx1"/>
                    </a:gs>
                    <a:gs pos="100000">
                      <a:schemeClr val="tx1"/>
                    </a:gs>
                  </a:gsLst>
                  <a:lin ang="5400000" scaled="0"/>
                </a:gradFill>
              </a:rPr>
              <a:t>Multi-year agreement with </a:t>
            </a:r>
            <a:r>
              <a:rPr lang="en-US" sz="2745" dirty="0" err="1">
                <a:gradFill>
                  <a:gsLst>
                    <a:gs pos="1250">
                      <a:schemeClr val="tx1"/>
                    </a:gs>
                    <a:gs pos="100000">
                      <a:schemeClr val="tx1"/>
                    </a:gs>
                  </a:gsLst>
                  <a:lin ang="5400000" scaled="0"/>
                </a:gradFill>
              </a:rPr>
              <a:t>HashiCorp</a:t>
            </a:r>
            <a:r>
              <a:rPr lang="en-US" sz="2745" dirty="0">
                <a:gradFill>
                  <a:gsLst>
                    <a:gs pos="1250">
                      <a:schemeClr val="tx1"/>
                    </a:gs>
                    <a:gs pos="100000">
                      <a:schemeClr val="tx1"/>
                    </a:gs>
                  </a:gsLst>
                  <a:lin ang="5400000" scaled="0"/>
                </a:gradFill>
              </a:rPr>
              <a:t> where we jointly work on Terraform provider for Azure</a:t>
            </a:r>
          </a:p>
          <a:p>
            <a:r>
              <a:rPr lang="en-US" sz="2745" dirty="0">
                <a:gradFill>
                  <a:gsLst>
                    <a:gs pos="1250">
                      <a:schemeClr val="tx1"/>
                    </a:gs>
                    <a:gs pos="100000">
                      <a:schemeClr val="tx1"/>
                    </a:gs>
                  </a:gsLst>
                  <a:lin ang="5400000" scaled="0"/>
                </a:gradFill>
              </a:rPr>
              <a:t>Work is divided into milestones</a:t>
            </a:r>
          </a:p>
          <a:p>
            <a:pPr lvl="1"/>
            <a:r>
              <a:rPr lang="en-US" sz="2745" dirty="0">
                <a:gradFill>
                  <a:gsLst>
                    <a:gs pos="1250">
                      <a:schemeClr val="tx1"/>
                    </a:gs>
                    <a:gs pos="100000">
                      <a:schemeClr val="tx1"/>
                    </a:gs>
                  </a:gsLst>
                  <a:lin ang="5400000" scaled="0"/>
                </a:gradFill>
              </a:rPr>
              <a:t>Tracked publicly in GitHub at </a:t>
            </a:r>
          </a:p>
          <a:p>
            <a:pPr lvl="2"/>
            <a:r>
              <a:rPr lang="en-US" sz="2745" dirty="0">
                <a:gradFill>
                  <a:gsLst>
                    <a:gs pos="1250">
                      <a:schemeClr val="tx1"/>
                    </a:gs>
                    <a:gs pos="100000">
                      <a:schemeClr val="tx1"/>
                    </a:gs>
                  </a:gsLst>
                  <a:lin ang="5400000" scaled="0"/>
                </a:gradFill>
                <a:hlinkClick r:id="rId2">
                  <a:extLst>
                    <a:ext uri="{A12FA001-AC4F-418D-AE19-62706E023703}">
                      <ahyp:hlinkClr xmlns:ahyp="http://schemas.microsoft.com/office/drawing/2018/hyperlinkcolor" val="tx"/>
                    </a:ext>
                  </a:extLst>
                </a:hlinkClick>
              </a:rPr>
              <a:t>http://github.com/terraform-providers/terraform-provider-azurerm</a:t>
            </a:r>
            <a:r>
              <a:rPr lang="en-US" sz="2745" dirty="0">
                <a:gradFill>
                  <a:gsLst>
                    <a:gs pos="1250">
                      <a:schemeClr val="tx1"/>
                    </a:gs>
                    <a:gs pos="100000">
                      <a:schemeClr val="tx1"/>
                    </a:gs>
                  </a:gsLst>
                  <a:lin ang="5400000" scaled="0"/>
                </a:gradFill>
              </a:rPr>
              <a:t> </a:t>
            </a:r>
          </a:p>
          <a:p>
            <a:pPr lvl="1"/>
            <a:r>
              <a:rPr lang="en-US" sz="2745" dirty="0">
                <a:gradFill>
                  <a:gsLst>
                    <a:gs pos="1250">
                      <a:schemeClr val="tx1"/>
                    </a:gs>
                    <a:gs pos="100000">
                      <a:schemeClr val="tx1"/>
                    </a:gs>
                  </a:gsLst>
                  <a:lin ang="5400000" scaled="0"/>
                </a:gradFill>
              </a:rPr>
              <a:t>Labeled M1-M5, you might have seen this in labels on </a:t>
            </a:r>
            <a:r>
              <a:rPr lang="en-US" sz="2745" dirty="0" err="1">
                <a:gradFill>
                  <a:gsLst>
                    <a:gs pos="1250">
                      <a:schemeClr val="tx1"/>
                    </a:gs>
                    <a:gs pos="100000">
                      <a:schemeClr val="tx1"/>
                    </a:gs>
                  </a:gsLst>
                  <a:lin ang="5400000" scaled="0"/>
                </a:gradFill>
              </a:rPr>
              <a:t>github.com</a:t>
            </a:r>
            <a:endParaRPr lang="en-US" sz="2745" dirty="0">
              <a:gradFill>
                <a:gsLst>
                  <a:gs pos="1250">
                    <a:schemeClr val="tx1"/>
                  </a:gs>
                  <a:gs pos="100000">
                    <a:schemeClr val="tx1"/>
                  </a:gs>
                </a:gsLst>
                <a:lin ang="5400000" scaled="0"/>
              </a:gradFill>
            </a:endParaRPr>
          </a:p>
          <a:p>
            <a:r>
              <a:rPr lang="en-US" sz="2745" dirty="0">
                <a:gradFill>
                  <a:gsLst>
                    <a:gs pos="1250">
                      <a:schemeClr val="tx1"/>
                    </a:gs>
                    <a:gs pos="100000">
                      <a:schemeClr val="tx1"/>
                    </a:gs>
                  </a:gsLst>
                  <a:lin ang="5400000" scaled="0"/>
                </a:gradFill>
              </a:rPr>
              <a:t>Dedicated (small) Azure engineering team</a:t>
            </a:r>
          </a:p>
          <a:p>
            <a:pPr lvl="1"/>
            <a:r>
              <a:rPr lang="en-US" sz="2745" dirty="0">
                <a:gradFill>
                  <a:gsLst>
                    <a:gs pos="1250">
                      <a:schemeClr val="tx1"/>
                    </a:gs>
                    <a:gs pos="100000">
                      <a:schemeClr val="tx1"/>
                    </a:gs>
                  </a:gsLst>
                  <a:lin ang="5400000" scaled="0"/>
                </a:gradFill>
              </a:rPr>
              <a:t>Microsoft FTEs</a:t>
            </a:r>
          </a:p>
          <a:p>
            <a:pPr lvl="1"/>
            <a:r>
              <a:rPr lang="en-US" sz="2745" dirty="0">
                <a:gradFill>
                  <a:gsLst>
                    <a:gs pos="1250">
                      <a:schemeClr val="tx1"/>
                    </a:gs>
                    <a:gs pos="100000">
                      <a:schemeClr val="tx1"/>
                    </a:gs>
                  </a:gsLst>
                  <a:lin ang="5400000" scaled="0"/>
                </a:gradFill>
              </a:rPr>
              <a:t>Part-time SI/vendors</a:t>
            </a:r>
          </a:p>
          <a:p>
            <a:pPr lvl="1"/>
            <a:endParaRPr lang="en-US" dirty="0"/>
          </a:p>
        </p:txBody>
      </p:sp>
      <p:sp>
        <p:nvSpPr>
          <p:cNvPr id="8" name="Title 4">
            <a:extLst>
              <a:ext uri="{FF2B5EF4-FFF2-40B4-BE49-F238E27FC236}">
                <a16:creationId xmlns:a16="http://schemas.microsoft.com/office/drawing/2014/main" id="{06049F3E-72B8-4C21-BFE5-7DA71C43C055}"/>
              </a:ext>
            </a:extLst>
          </p:cNvPr>
          <p:cNvSpPr txBox="1">
            <a:spLocks/>
          </p:cNvSpPr>
          <p:nvPr/>
        </p:nvSpPr>
        <p:spPr>
          <a:xfrm>
            <a:off x="228601" y="229055"/>
            <a:ext cx="11734800" cy="502849"/>
          </a:xfrm>
          <a:prstGeom prst="rect">
            <a:avLst/>
          </a:prstGeom>
        </p:spPr>
        <p:txBody>
          <a:bodyPr vert="horz" lIns="134464" tIns="44821" rIns="134464" bIns="134464" rtlCol="0" anchor="t" anchorCtr="0">
            <a:noAutofit/>
          </a:bodyPr>
          <a:lstStyle>
            <a:lvl1pPr algn="l" defTabSz="932597" rtl="0" eaLnBrk="1" latinLnBrk="0" hangingPunct="1">
              <a:lnSpc>
                <a:spcPct val="90000"/>
              </a:lnSpc>
              <a:spcBef>
                <a:spcPct val="0"/>
              </a:spcBef>
              <a:buNone/>
              <a:defRPr sz="3672" kern="1200" spc="-10" baseline="0">
                <a:solidFill>
                  <a:schemeClr val="accent1"/>
                </a:solidFill>
                <a:latin typeface="Segoe UI Light" panose="020B0502040204020203" pitchFamily="34" charset="0"/>
                <a:ea typeface="+mj-ea"/>
                <a:cs typeface="Segoe UI Light" panose="020B0502040204020203" pitchFamily="34" charset="0"/>
              </a:defRPr>
            </a:lvl1pPr>
          </a:lstStyle>
          <a:p>
            <a:pPr defTabSz="914225">
              <a:defRPr/>
            </a:pPr>
            <a:r>
              <a:rPr lang="en-US" sz="3600" dirty="0" err="1">
                <a:solidFill>
                  <a:srgbClr val="0078D7"/>
                </a:solidFill>
                <a:ea typeface=""/>
              </a:rPr>
              <a:t>HashiCorp</a:t>
            </a:r>
            <a:r>
              <a:rPr lang="en-US" sz="3600" dirty="0">
                <a:solidFill>
                  <a:srgbClr val="0078D7"/>
                </a:solidFill>
                <a:ea typeface=""/>
              </a:rPr>
              <a:t> Partnership</a:t>
            </a:r>
          </a:p>
        </p:txBody>
      </p:sp>
    </p:spTree>
    <p:extLst>
      <p:ext uri="{BB962C8B-B14F-4D97-AF65-F5344CB8AC3E}">
        <p14:creationId xmlns:p14="http://schemas.microsoft.com/office/powerpoint/2010/main" val="1663373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121885"/>
            <a:ext cx="11734800" cy="5165690"/>
          </a:xfrm>
        </p:spPr>
        <p:txBody>
          <a:bodyPr/>
          <a:lstStyle/>
          <a:p>
            <a:pPr marL="448193" indent="-448193" defTabSz="896386">
              <a:spcBef>
                <a:spcPts val="0"/>
              </a:spcBef>
              <a:defRPr/>
            </a:pPr>
            <a:r>
              <a:rPr lang="en-US" sz="2745" dirty="0"/>
              <a:t>Basic idea: ”meet customers where they are at”</a:t>
            </a:r>
          </a:p>
          <a:p>
            <a:pPr marL="448193" indent="-448193" defTabSz="896386">
              <a:spcBef>
                <a:spcPts val="0"/>
              </a:spcBef>
              <a:defRPr/>
            </a:pPr>
            <a:r>
              <a:rPr lang="en-US" sz="2745" dirty="0"/>
              <a:t>DevOps OSS toolchain is excellent, but so is Azure DevOps offerings</a:t>
            </a:r>
          </a:p>
          <a:p>
            <a:pPr marL="448193" indent="-448193" defTabSz="896386">
              <a:spcBef>
                <a:spcPts val="0"/>
              </a:spcBef>
              <a:defRPr/>
            </a:pPr>
            <a:r>
              <a:rPr lang="en-US" sz="2745" dirty="0"/>
              <a:t>Many customers/industries have already adopted a set of DevOps best practices in “other” clouds</a:t>
            </a:r>
          </a:p>
          <a:p>
            <a:pPr marL="448193" indent="-448193" defTabSz="896386">
              <a:spcBef>
                <a:spcPts val="0"/>
              </a:spcBef>
              <a:defRPr/>
            </a:pPr>
            <a:r>
              <a:rPr lang="en-US" sz="2745" dirty="0"/>
              <a:t>Ensure customers are successful in our cloud</a:t>
            </a:r>
          </a:p>
        </p:txBody>
      </p:sp>
      <p:sp>
        <p:nvSpPr>
          <p:cNvPr id="8" name="Title 4">
            <a:extLst>
              <a:ext uri="{FF2B5EF4-FFF2-40B4-BE49-F238E27FC236}">
                <a16:creationId xmlns:a16="http://schemas.microsoft.com/office/drawing/2014/main" id="{06049F3E-72B8-4C21-BFE5-7DA71C43C055}"/>
              </a:ext>
            </a:extLst>
          </p:cNvPr>
          <p:cNvSpPr txBox="1">
            <a:spLocks/>
          </p:cNvSpPr>
          <p:nvPr/>
        </p:nvSpPr>
        <p:spPr>
          <a:xfrm>
            <a:off x="228601" y="229055"/>
            <a:ext cx="11734800" cy="502849"/>
          </a:xfrm>
          <a:prstGeom prst="rect">
            <a:avLst/>
          </a:prstGeom>
        </p:spPr>
        <p:txBody>
          <a:bodyPr vert="horz" lIns="134464" tIns="44821" rIns="134464" bIns="134464" rtlCol="0" anchor="t" anchorCtr="0">
            <a:noAutofit/>
          </a:bodyPr>
          <a:lstStyle>
            <a:lvl1pPr algn="l" defTabSz="932597" rtl="0" eaLnBrk="1" latinLnBrk="0" hangingPunct="1">
              <a:lnSpc>
                <a:spcPct val="90000"/>
              </a:lnSpc>
              <a:spcBef>
                <a:spcPct val="0"/>
              </a:spcBef>
              <a:buNone/>
              <a:defRPr sz="3672" kern="1200" spc="-10" baseline="0">
                <a:solidFill>
                  <a:schemeClr val="accent1"/>
                </a:solidFill>
                <a:latin typeface="Segoe UI Light" panose="020B0502040204020203" pitchFamily="34" charset="0"/>
                <a:ea typeface="+mj-ea"/>
                <a:cs typeface="Segoe UI Light" panose="020B0502040204020203" pitchFamily="34" charset="0"/>
              </a:defRPr>
            </a:lvl1pPr>
          </a:lstStyle>
          <a:p>
            <a:pPr defTabSz="914225">
              <a:defRPr/>
            </a:pPr>
            <a:r>
              <a:rPr lang="en-US" sz="3600" dirty="0">
                <a:solidFill>
                  <a:srgbClr val="0078D7"/>
                </a:solidFill>
                <a:ea typeface=""/>
              </a:rPr>
              <a:t>Terraform Positioning</a:t>
            </a:r>
          </a:p>
        </p:txBody>
      </p:sp>
    </p:spTree>
    <p:extLst>
      <p:ext uri="{BB962C8B-B14F-4D97-AF65-F5344CB8AC3E}">
        <p14:creationId xmlns:p14="http://schemas.microsoft.com/office/powerpoint/2010/main" val="3797102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06049F3E-72B8-4C21-BFE5-7DA71C43C055}"/>
              </a:ext>
            </a:extLst>
          </p:cNvPr>
          <p:cNvSpPr txBox="1">
            <a:spLocks/>
          </p:cNvSpPr>
          <p:nvPr/>
        </p:nvSpPr>
        <p:spPr>
          <a:xfrm>
            <a:off x="228601" y="229055"/>
            <a:ext cx="11734800" cy="502849"/>
          </a:xfrm>
          <a:prstGeom prst="rect">
            <a:avLst/>
          </a:prstGeom>
        </p:spPr>
        <p:txBody>
          <a:bodyPr vert="horz" lIns="134464" tIns="44821" rIns="134464" bIns="134464" rtlCol="0" anchor="t" anchorCtr="0">
            <a:noAutofit/>
          </a:bodyPr>
          <a:lstStyle>
            <a:lvl1pPr algn="l" defTabSz="932597" rtl="0" eaLnBrk="1" latinLnBrk="0" hangingPunct="1">
              <a:lnSpc>
                <a:spcPct val="90000"/>
              </a:lnSpc>
              <a:spcBef>
                <a:spcPct val="0"/>
              </a:spcBef>
              <a:buNone/>
              <a:defRPr sz="3672" kern="1200" spc="-10" baseline="0">
                <a:solidFill>
                  <a:schemeClr val="accent1"/>
                </a:solidFill>
                <a:latin typeface="Segoe UI Light" panose="020B0502040204020203" pitchFamily="34" charset="0"/>
                <a:ea typeface="+mj-ea"/>
                <a:cs typeface="Segoe UI Light" panose="020B0502040204020203" pitchFamily="34" charset="0"/>
              </a:defRPr>
            </a:lvl1pPr>
          </a:lstStyle>
          <a:p>
            <a:pPr defTabSz="914225">
              <a:defRPr/>
            </a:pPr>
            <a:r>
              <a:rPr lang="en-US" sz="3600" dirty="0">
                <a:solidFill>
                  <a:srgbClr val="0078D7"/>
                </a:solidFill>
                <a:ea typeface=""/>
              </a:rPr>
              <a:t>Case Study 1: Axon</a:t>
            </a:r>
          </a:p>
        </p:txBody>
      </p:sp>
      <p:sp>
        <p:nvSpPr>
          <p:cNvPr id="5" name="Text Placeholder 8">
            <a:extLst>
              <a:ext uri="{FF2B5EF4-FFF2-40B4-BE49-F238E27FC236}">
                <a16:creationId xmlns:a16="http://schemas.microsoft.com/office/drawing/2014/main" id="{FA6F35AB-FF39-1948-873A-752B8F055507}"/>
              </a:ext>
            </a:extLst>
          </p:cNvPr>
          <p:cNvSpPr txBox="1">
            <a:spLocks/>
          </p:cNvSpPr>
          <p:nvPr/>
        </p:nvSpPr>
        <p:spPr>
          <a:xfrm>
            <a:off x="228600" y="1005936"/>
            <a:ext cx="9704756" cy="5087817"/>
          </a:xfrm>
          <a:prstGeom prst="rect">
            <a:avLst/>
          </a:prstGeom>
        </p:spPr>
        <p:txBody>
          <a:bodyPr>
            <a:normAutofit lnSpcReduction="10000"/>
          </a:bodyPr>
          <a:lstStyle>
            <a:lvl1pPr marL="0" indent="0" algn="l" defTabSz="932597" rtl="0" eaLnBrk="1" latinLnBrk="0" hangingPunct="1">
              <a:lnSpc>
                <a:spcPct val="100000"/>
              </a:lnSpc>
              <a:spcBef>
                <a:spcPts val="1020"/>
              </a:spcBef>
              <a:buFont typeface="Arial" panose="020B0604020202020204" pitchFamily="34" charset="0"/>
              <a:buNone/>
              <a:defRPr sz="2448" kern="1200" spc="-10" baseline="0">
                <a:solidFill>
                  <a:schemeClr val="tx2"/>
                </a:solidFill>
                <a:latin typeface="Segoe UI Light" panose="020B0502040204020203" pitchFamily="34" charset="0"/>
                <a:ea typeface="+mn-ea"/>
                <a:cs typeface="Segoe UI Light" panose="020B0502040204020203" pitchFamily="34" charset="0"/>
              </a:defRPr>
            </a:lvl1pPr>
            <a:lvl2pPr marL="466298" indent="0" algn="l" defTabSz="932597" rtl="0" eaLnBrk="1" latinLnBrk="0" hangingPunct="1">
              <a:lnSpc>
                <a:spcPct val="100000"/>
              </a:lnSpc>
              <a:spcBef>
                <a:spcPts val="1020"/>
              </a:spcBef>
              <a:buFont typeface="Arial" panose="020B0604020202020204" pitchFamily="34" charset="0"/>
              <a:buNone/>
              <a:defRPr sz="2040" kern="1200" spc="-10" baseline="0">
                <a:solidFill>
                  <a:schemeClr val="tx2"/>
                </a:solidFill>
                <a:latin typeface="Segoe UI Light" panose="020B0502040204020203" pitchFamily="34" charset="0"/>
                <a:ea typeface="+mn-ea"/>
                <a:cs typeface="Segoe UI Light" panose="020B0502040204020203" pitchFamily="34" charset="0"/>
              </a:defRPr>
            </a:lvl2pPr>
            <a:lvl3pPr marL="932597" indent="0" algn="l" defTabSz="932597" rtl="0" eaLnBrk="1" latinLnBrk="0" hangingPunct="1">
              <a:lnSpc>
                <a:spcPct val="100000"/>
              </a:lnSpc>
              <a:spcBef>
                <a:spcPts val="1020"/>
              </a:spcBef>
              <a:buFont typeface="Arial" panose="020B0604020202020204" pitchFamily="34" charset="0"/>
              <a:buNone/>
              <a:defRPr sz="1836" kern="1200">
                <a:solidFill>
                  <a:schemeClr val="tx2"/>
                </a:solidFill>
                <a:latin typeface="Segoe UI" panose="020B0502040204020203" pitchFamily="34" charset="0"/>
                <a:ea typeface="+mn-ea"/>
                <a:cs typeface="Segoe UI" panose="020B0502040204020203" pitchFamily="34" charset="0"/>
              </a:defRPr>
            </a:lvl3pPr>
            <a:lvl4pPr marL="1398895" indent="0" algn="l" defTabSz="932597" rtl="0" eaLnBrk="1" latinLnBrk="0" hangingPunct="1">
              <a:lnSpc>
                <a:spcPct val="100000"/>
              </a:lnSpc>
              <a:spcBef>
                <a:spcPts val="1020"/>
              </a:spcBef>
              <a:buFont typeface="Arial" panose="020B0604020202020204" pitchFamily="34" charset="0"/>
              <a:buNone/>
              <a:defRPr sz="1632" kern="1200">
                <a:solidFill>
                  <a:schemeClr val="tx2"/>
                </a:solidFill>
                <a:latin typeface="Segoe UI" panose="020B0502040204020203" pitchFamily="34" charset="0"/>
                <a:ea typeface="+mn-ea"/>
                <a:cs typeface="Segoe UI" panose="020B0502040204020203" pitchFamily="34" charset="0"/>
              </a:defRPr>
            </a:lvl4pPr>
            <a:lvl5pPr marL="1865193" indent="0" algn="l" defTabSz="932597" rtl="0" eaLnBrk="1" latinLnBrk="0" hangingPunct="1">
              <a:lnSpc>
                <a:spcPct val="100000"/>
              </a:lnSpc>
              <a:spcBef>
                <a:spcPts val="1020"/>
              </a:spcBef>
              <a:buFont typeface="Arial" panose="020B0604020202020204" pitchFamily="34" charset="0"/>
              <a:buNone/>
              <a:defRPr sz="1428" kern="1200">
                <a:solidFill>
                  <a:schemeClr val="tx2"/>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defTabSz="914225">
              <a:spcBef>
                <a:spcPts val="1000"/>
              </a:spcBef>
            </a:pPr>
            <a:r>
              <a:rPr lang="en-US" sz="2157" dirty="0">
                <a:solidFill>
                  <a:srgbClr val="505050"/>
                </a:solidFill>
              </a:rPr>
              <a:t>Publicly Available at </a:t>
            </a:r>
            <a:r>
              <a:rPr lang="en-US" sz="2157" dirty="0">
                <a:solidFill>
                  <a:srgbClr val="505050"/>
                </a:solidFill>
                <a:hlinkClick r:id="rId2"/>
              </a:rPr>
              <a:t>https://customers.microsoft.com/en-us/story/axon-professional-services-azure</a:t>
            </a:r>
            <a:endParaRPr lang="en-US" sz="2157" dirty="0">
              <a:solidFill>
                <a:srgbClr val="505050"/>
              </a:solidFill>
            </a:endParaRPr>
          </a:p>
          <a:p>
            <a:pPr defTabSz="914225">
              <a:spcBef>
                <a:spcPts val="1000"/>
              </a:spcBef>
            </a:pPr>
            <a:r>
              <a:rPr lang="en-US" sz="2157" dirty="0">
                <a:solidFill>
                  <a:srgbClr val="505050"/>
                </a:solidFill>
              </a:rPr>
              <a:t>AWS to Azure Migration</a:t>
            </a:r>
          </a:p>
          <a:p>
            <a:pPr defTabSz="914225">
              <a:spcBef>
                <a:spcPts val="1000"/>
              </a:spcBef>
            </a:pPr>
            <a:r>
              <a:rPr lang="en-US" sz="2157" dirty="0">
                <a:solidFill>
                  <a:srgbClr val="505050"/>
                </a:solidFill>
              </a:rPr>
              <a:t>20 petabytes of data migrated, growing at 2 petabytes/month</a:t>
            </a:r>
          </a:p>
          <a:p>
            <a:pPr defTabSz="914225">
              <a:spcBef>
                <a:spcPts val="1000"/>
              </a:spcBef>
            </a:pPr>
            <a:r>
              <a:rPr lang="en-US" sz="2157" dirty="0">
                <a:solidFill>
                  <a:srgbClr val="505050"/>
                </a:solidFill>
              </a:rPr>
              <a:t>Migrated to Azure in 2017</a:t>
            </a:r>
          </a:p>
          <a:p>
            <a:pPr marL="457112" lvl="1" defTabSz="914225">
              <a:spcBef>
                <a:spcPts val="1000"/>
              </a:spcBef>
            </a:pPr>
            <a:r>
              <a:rPr lang="en-US" sz="1961" dirty="0">
                <a:solidFill>
                  <a:srgbClr val="505050"/>
                </a:solidFill>
              </a:rPr>
              <a:t>We were just getting going with Terraform in Azure </a:t>
            </a:r>
            <a:r>
              <a:rPr lang="en-US" sz="1961" dirty="0">
                <a:solidFill>
                  <a:srgbClr val="505050"/>
                </a:solidFill>
                <a:sym typeface="Wingdings"/>
              </a:rPr>
              <a:t>:)</a:t>
            </a:r>
          </a:p>
          <a:p>
            <a:pPr defTabSz="914225">
              <a:spcBef>
                <a:spcPts val="1000"/>
              </a:spcBef>
            </a:pPr>
            <a:r>
              <a:rPr lang="en-US" sz="2157" dirty="0">
                <a:solidFill>
                  <a:srgbClr val="505050"/>
                </a:solidFill>
              </a:rPr>
              <a:t>IaaS migration: storage mostly, but also compute and networking</a:t>
            </a:r>
          </a:p>
          <a:p>
            <a:pPr defTabSz="914225">
              <a:spcBef>
                <a:spcPts val="1000"/>
              </a:spcBef>
            </a:pPr>
            <a:r>
              <a:rPr lang="en-US" sz="2157" dirty="0">
                <a:solidFill>
                  <a:srgbClr val="505050"/>
                </a:solidFill>
              </a:rPr>
              <a:t>Key success factors</a:t>
            </a:r>
          </a:p>
          <a:p>
            <a:pPr marL="457112" lvl="1" defTabSz="914225">
              <a:spcBef>
                <a:spcPts val="1000"/>
              </a:spcBef>
            </a:pPr>
            <a:r>
              <a:rPr lang="en-US" sz="1961" dirty="0">
                <a:solidFill>
                  <a:srgbClr val="505050"/>
                </a:solidFill>
              </a:rPr>
              <a:t>Working with CSAs to jump ahead of customer needs</a:t>
            </a:r>
          </a:p>
          <a:p>
            <a:pPr marL="457112" lvl="1" defTabSz="914225">
              <a:spcBef>
                <a:spcPts val="1000"/>
              </a:spcBef>
            </a:pPr>
            <a:r>
              <a:rPr lang="en-US" sz="1961" dirty="0">
                <a:solidFill>
                  <a:srgbClr val="505050"/>
                </a:solidFill>
              </a:rPr>
              <a:t>Empowering others to enhance Terraform provider and docs</a:t>
            </a:r>
          </a:p>
          <a:p>
            <a:pPr defTabSz="914225">
              <a:spcBef>
                <a:spcPts val="1000"/>
              </a:spcBef>
            </a:pPr>
            <a:r>
              <a:rPr lang="en-US" sz="2157" dirty="0">
                <a:solidFill>
                  <a:srgbClr val="505050"/>
                </a:solidFill>
              </a:rPr>
              <a:t>“We don’t have to build each new environment from scratch. What used to take several weeks, we can do with Terraform in a few hours.”</a:t>
            </a:r>
          </a:p>
        </p:txBody>
      </p:sp>
    </p:spTree>
    <p:extLst>
      <p:ext uri="{BB962C8B-B14F-4D97-AF65-F5344CB8AC3E}">
        <p14:creationId xmlns:p14="http://schemas.microsoft.com/office/powerpoint/2010/main" val="2343793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4.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7.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8.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9.xml><?xml version="1.0" encoding="utf-8"?>
<a:theme xmlns:a="http://schemas.openxmlformats.org/drawingml/2006/main" name="1_OSS Theme with Bar">
  <a:themeElements>
    <a:clrScheme name="OSS Template">
      <a:dk1>
        <a:srgbClr val="191919"/>
      </a:dk1>
      <a:lt1>
        <a:sysClr val="window" lastClr="FFFFFF"/>
      </a:lt1>
      <a:dk2>
        <a:srgbClr val="505050"/>
      </a:dk2>
      <a:lt2>
        <a:srgbClr val="E7E6E6"/>
      </a:lt2>
      <a:accent1>
        <a:srgbClr val="0078D7"/>
      </a:accent1>
      <a:accent2>
        <a:srgbClr val="D83B01"/>
      </a:accent2>
      <a:accent3>
        <a:srgbClr val="107C10"/>
      </a:accent3>
      <a:accent4>
        <a:srgbClr val="7030A0"/>
      </a:accent4>
      <a:accent5>
        <a:srgbClr val="00188F"/>
      </a:accent5>
      <a:accent6>
        <a:srgbClr val="FFB900"/>
      </a:accent6>
      <a:hlink>
        <a:srgbClr val="0078D7"/>
      </a:hlink>
      <a:folHlink>
        <a:srgbClr val="7030A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22</TotalTime>
  <Words>1094</Words>
  <Application>Microsoft Office PowerPoint</Application>
  <PresentationFormat>Widescreen</PresentationFormat>
  <Paragraphs>162</Paragraphs>
  <Slides>18</Slides>
  <Notes>10</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18</vt:i4>
      </vt:variant>
    </vt:vector>
  </HeadingPairs>
  <TitlesOfParts>
    <vt:vector size="39" baseType="lpstr">
      <vt:lpstr>Apple Color Emoji</vt:lpstr>
      <vt:lpstr>Arial</vt:lpstr>
      <vt:lpstr>Calibri</vt:lpstr>
      <vt:lpstr>Calibri Light</vt:lpstr>
      <vt:lpstr>Consolas</vt:lpstr>
      <vt:lpstr>Segoe Semibold</vt:lpstr>
      <vt:lpstr>Segoe UI</vt:lpstr>
      <vt:lpstr>Segoe UI Light</vt:lpstr>
      <vt:lpstr>Segoe UI Semibold</vt:lpstr>
      <vt:lpstr>Segoe UI Semilight</vt:lpstr>
      <vt:lpstr>Wingdings</vt:lpstr>
      <vt:lpstr>Office Theme</vt:lpstr>
      <vt:lpstr>1_5-50002_Ignite_Breakout_Template</vt:lpstr>
      <vt:lpstr>1_WHITE TEMPLATE</vt:lpstr>
      <vt:lpstr>Server and Cloud 2013</vt:lpstr>
      <vt:lpstr>3_Server and Cloud 2013</vt:lpstr>
      <vt:lpstr>EBC_2017</vt:lpstr>
      <vt:lpstr>Azure PPT Template - 2018</vt:lpstr>
      <vt:lpstr>Dynamics 365</vt:lpstr>
      <vt:lpstr>1_OSS Theme with Bar</vt:lpstr>
      <vt:lpstr>think-cell Slide</vt:lpstr>
      <vt:lpstr>Azure + Terraform</vt:lpstr>
      <vt:lpstr>Software Innovation Collision</vt:lpstr>
      <vt:lpstr>Terraform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frastructure as Code</vt:lpstr>
      <vt:lpstr>Azure Provider</vt:lpstr>
      <vt:lpstr>Azure Resources &amp; Datasources</vt:lpstr>
      <vt:lpstr>Assembly</vt:lpstr>
      <vt:lpstr>Workflow</vt:lpstr>
      <vt:lpstr>Azurerm backend</vt:lpstr>
      <vt:lpstr>Modul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ntainer &amp; AKS Workshop</dc:title>
  <dc:creator>Chris Wiederspan</dc:creator>
  <cp:lastModifiedBy>Chris Wiederspan</cp:lastModifiedBy>
  <cp:revision>28</cp:revision>
  <dcterms:created xsi:type="dcterms:W3CDTF">2019-05-29T18:15:05Z</dcterms:created>
  <dcterms:modified xsi:type="dcterms:W3CDTF">2020-01-18T21:5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wieder@microsoft.com</vt:lpwstr>
  </property>
  <property fmtid="{D5CDD505-2E9C-101B-9397-08002B2CF9AE}" pid="5" name="MSIP_Label_f42aa342-8706-4288-bd11-ebb85995028c_SetDate">
    <vt:lpwstr>2019-05-29T19:23:33.031276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7cad4b7-23e9-45c7-ad6b-28499d83d327</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